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wmf" ContentType="image/x-wmf"/>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Override1.xml" ContentType="application/vnd.openxmlformats-officedocument.themeOverride+xml"/>
  <Override PartName="/ppt/theme/themeOverride2.xml" ContentType="application/vnd.openxmlformats-officedocument.themeOverride+xml"/>
  <Override PartName="/ppt/theme/themeOverride3.xml" ContentType="application/vnd.openxmlformats-officedocument.themeOverride+xml"/>
  <Override PartName="/ppt/theme/themeOverride4.xml" ContentType="application/vnd.openxmlformats-officedocument.themeOverride+xml"/>
  <Override PartName="/ppt/theme/themeOverride5.xml" ContentType="application/vnd.openxmlformats-officedocument.themeOverride+xml"/>
  <Override PartName="/ppt/theme/themeOverride6.xml" ContentType="application/vnd.openxmlformats-officedocument.themeOverride+xml"/>
  <Override PartName="/ppt/theme/themeOverride7.xml" ContentType="application/vnd.openxmlformats-officedocument.themeOverride+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heme/themeOverride8.xml" ContentType="application/vnd.openxmlformats-officedocument.themeOverride+xml"/>
  <Override PartName="/ppt/theme/themeOverride9.xml" ContentType="application/vnd.openxmlformats-officedocument.themeOverride+xml"/>
  <Override PartName="/ppt/theme/themeOverride10.xml" ContentType="application/vnd.openxmlformats-officedocument.themeOverride+xml"/>
  <Override PartName="/ppt/tags/tag2.xml" ContentType="application/vnd.openxmlformats-officedocument.presentationml.tags+xml"/>
  <Override PartName="/ppt/tags/tag3.xml" ContentType="application/vnd.openxmlformats-officedocument.presentationml.tags+xml"/>
  <Override PartName="/ppt/theme/themeOverride11.xml" ContentType="application/vnd.openxmlformats-officedocument.themeOverride+xml"/>
  <Override PartName="/ppt/theme/themeOverride12.xml" ContentType="application/vnd.openxmlformats-officedocument.themeOverride+xml"/>
  <Override PartName="/ppt/theme/themeOverride13.xml" ContentType="application/vnd.openxmlformats-officedocument.themeOverride+xml"/>
  <Override PartName="/ppt/theme/themeOverride14.xml" ContentType="application/vnd.openxmlformats-officedocument.themeOverride+xml"/>
  <Override PartName="/ppt/tags/tag4.xml" ContentType="application/vnd.openxmlformats-officedocument.presentationml.tags+xml"/>
  <Override PartName="/ppt/tags/tag5.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727" r:id="rId5"/>
  </p:sldMasterIdLst>
  <p:notesMasterIdLst>
    <p:notesMasterId r:id="rId33"/>
  </p:notesMasterIdLst>
  <p:handoutMasterIdLst>
    <p:handoutMasterId r:id="rId34"/>
  </p:handoutMasterIdLst>
  <p:sldIdLst>
    <p:sldId id="507" r:id="rId6"/>
    <p:sldId id="437" r:id="rId7"/>
    <p:sldId id="438" r:id="rId8"/>
    <p:sldId id="439" r:id="rId9"/>
    <p:sldId id="449" r:id="rId10"/>
    <p:sldId id="454" r:id="rId11"/>
    <p:sldId id="455" r:id="rId12"/>
    <p:sldId id="456" r:id="rId13"/>
    <p:sldId id="464" r:id="rId14"/>
    <p:sldId id="508" r:id="rId15"/>
    <p:sldId id="509" r:id="rId16"/>
    <p:sldId id="465" r:id="rId17"/>
    <p:sldId id="422" r:id="rId18"/>
    <p:sldId id="364" r:id="rId19"/>
    <p:sldId id="365" r:id="rId20"/>
    <p:sldId id="367" r:id="rId21"/>
    <p:sldId id="368" r:id="rId22"/>
    <p:sldId id="503" r:id="rId23"/>
    <p:sldId id="370" r:id="rId24"/>
    <p:sldId id="425" r:id="rId25"/>
    <p:sldId id="500" r:id="rId26"/>
    <p:sldId id="396" r:id="rId27"/>
    <p:sldId id="397" r:id="rId28"/>
    <p:sldId id="431" r:id="rId29"/>
    <p:sldId id="436" r:id="rId30"/>
    <p:sldId id="432" r:id="rId31"/>
    <p:sldId id="405" r:id="rId32"/>
  </p:sldIdLst>
  <p:sldSz cx="9144000" cy="5143500" type="screen16x9"/>
  <p:notesSz cx="9926638" cy="6797675"/>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ndardabschnitt" id="{6C782CE7-55FA-4670-9983-3548436657A9}">
          <p14:sldIdLst>
            <p14:sldId id="507"/>
            <p14:sldId id="437"/>
            <p14:sldId id="438"/>
            <p14:sldId id="439"/>
          </p14:sldIdLst>
        </p14:section>
        <p14:section name="Untitled Section" id="{69778D92-74D4-43DD-A8DE-6ECB7D961831}">
          <p14:sldIdLst>
            <p14:sldId id="449"/>
            <p14:sldId id="454"/>
            <p14:sldId id="455"/>
            <p14:sldId id="456"/>
            <p14:sldId id="464"/>
            <p14:sldId id="508"/>
            <p14:sldId id="509"/>
            <p14:sldId id="465"/>
            <p14:sldId id="422"/>
            <p14:sldId id="364"/>
            <p14:sldId id="365"/>
          </p14:sldIdLst>
        </p14:section>
        <p14:section name="Abschnitt ohne Titel" id="{420262A8-C3FF-4BB5-BCCC-AD532D7A892E}">
          <p14:sldIdLst>
            <p14:sldId id="367"/>
            <p14:sldId id="368"/>
            <p14:sldId id="503"/>
            <p14:sldId id="370"/>
            <p14:sldId id="425"/>
            <p14:sldId id="500"/>
            <p14:sldId id="396"/>
            <p14:sldId id="397"/>
            <p14:sldId id="431"/>
            <p14:sldId id="436"/>
            <p14:sldId id="432"/>
            <p14:sldId id="405"/>
          </p14:sldIdLst>
        </p14:section>
      </p14:sectionLst>
    </p:ext>
    <p:ext uri="{EFAFB233-063F-42B5-8137-9DF3F51BA10A}">
      <p15:sldGuideLst xmlns:p15="http://schemas.microsoft.com/office/powerpoint/2012/main" xmlns="">
        <p15:guide id="1" orient="horz" pos="1248">
          <p15:clr>
            <a:srgbClr val="A4A3A4"/>
          </p15:clr>
        </p15:guide>
        <p15:guide id="2" orient="horz" pos="4105">
          <p15:clr>
            <a:srgbClr val="A4A3A4"/>
          </p15:clr>
        </p15:guide>
        <p15:guide id="3" orient="horz" pos="4233">
          <p15:clr>
            <a:srgbClr val="A4A3A4"/>
          </p15:clr>
        </p15:guide>
        <p15:guide id="4" orient="horz" pos="240">
          <p15:clr>
            <a:srgbClr val="A4A3A4"/>
          </p15:clr>
        </p15:guide>
        <p15:guide id="5" pos="2880">
          <p15:clr>
            <a:srgbClr val="A4A3A4"/>
          </p15:clr>
        </p15:guide>
        <p15:guide id="6" pos="5400">
          <p15:clr>
            <a:srgbClr val="A4A3A4"/>
          </p15:clr>
        </p15:guide>
        <p15:guide id="7" pos="5578">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8300"/>
    <a:srgbClr val="8DC63F"/>
    <a:srgbClr val="FFFFFF"/>
    <a:srgbClr val="000000"/>
    <a:srgbClr val="C5C5C5"/>
    <a:srgbClr val="5F5F5F"/>
    <a:srgbClr val="FF00FF"/>
    <a:srgbClr val="DFF3FD"/>
    <a:srgbClr val="D5D6D2"/>
    <a:srgbClr val="E7F0F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B4B98B0-60AC-42C2-AFA5-B58CD77FA1E5}" styleName="Helle Formatvorlage 1 - Akz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7DF18680-E054-41AD-8BC1-D1AEF772440D}" styleName="Mittlere Formatvorlage 2 - Akz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73A0DAA-6AF3-43AB-8588-CEC1D06C72B9}" styleName="Mittlere Formatvorlag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1E4AEA4-8DFA-4A89-87EB-49C32662AFE0}" styleName="Mittlere Formatvorlage 2 - Akz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Mittlere Formatvorlage 2 - Akz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0A15C55-8517-42AA-B614-E9B94910E393}" styleName="Mittlere Formatvorlage 2 - Akz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85BE263C-DBD7-4A20-BB59-AAB30ACAA65A}" styleName="Mittlere Formatvorlage 3 - Akz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125E5076-3810-47DD-B79F-674D7AD40C01}" styleName="Dunkle Formatvorlage 1 - Akzent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6E25E649-3F16-4E02-A733-19D2CDBF48F0}" styleName="Mittlere Formatvorlage 3 - Akz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68D230F3-CF80-4859-8CE7-A43EE81993B5}" styleName="Helle Formatvorlage 1 - Akz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C083E6E3-FA7D-4D7B-A595-EF9225AFEA82}" styleName="Helle Formatvorlage 1 - Akz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364" autoAdjust="0"/>
    <p:restoredTop sz="91993" autoAdjust="0"/>
  </p:normalViewPr>
  <p:slideViewPr>
    <p:cSldViewPr snapToObjects="1" showGuides="1">
      <p:cViewPr>
        <p:scale>
          <a:sx n="100" d="100"/>
          <a:sy n="100" d="100"/>
        </p:scale>
        <p:origin x="-552" y="-72"/>
      </p:cViewPr>
      <p:guideLst>
        <p:guide orient="horz" pos="3066"/>
        <p:guide orient="horz" pos="307"/>
        <p:guide orient="horz" pos="855"/>
        <p:guide orient="horz" pos="231"/>
        <p:guide orient="horz" pos="996"/>
        <p:guide orient="horz" pos="1932"/>
        <p:guide orient="horz" pos="2187"/>
        <p:guide orient="horz" pos="2385"/>
        <p:guide pos="5545"/>
        <p:guide pos="329"/>
        <p:guide pos="1264"/>
        <p:guide pos="3617"/>
        <p:guide/>
      </p:guideLst>
    </p:cSldViewPr>
  </p:slideViewPr>
  <p:outlineViewPr>
    <p:cViewPr>
      <p:scale>
        <a:sx n="33" d="100"/>
        <a:sy n="33" d="100"/>
      </p:scale>
      <p:origin x="0" y="5430"/>
    </p:cViewPr>
  </p:outlineViewPr>
  <p:notesTextViewPr>
    <p:cViewPr>
      <p:scale>
        <a:sx n="100" d="100"/>
        <a:sy n="100" d="100"/>
      </p:scale>
      <p:origin x="0" y="0"/>
    </p:cViewPr>
  </p:notesTextViewPr>
  <p:sorterViewPr>
    <p:cViewPr>
      <p:scale>
        <a:sx n="66" d="100"/>
        <a:sy n="66" d="100"/>
      </p:scale>
      <p:origin x="0" y="0"/>
    </p:cViewPr>
  </p:sorterViewPr>
  <p:notesViewPr>
    <p:cSldViewPr snapToObjects="1" showGuides="1">
      <p:cViewPr varScale="1">
        <p:scale>
          <a:sx n="96" d="100"/>
          <a:sy n="96" d="100"/>
        </p:scale>
        <p:origin x="-2874" y="-102"/>
      </p:cViewPr>
      <p:guideLst>
        <p:guide orient="horz" pos="2141"/>
        <p:guide pos="3127"/>
      </p:guideLst>
    </p:cSldViewPr>
  </p:notesViewPr>
  <p:gridSpacing cx="45005" cy="45005"/>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 Type="http://schemas.openxmlformats.org/officeDocument/2006/relationships/customXml" Target="../customXml/item3.xml"/><Relationship Id="rId21" Type="http://schemas.openxmlformats.org/officeDocument/2006/relationships/slide" Target="slides/slide16.xml"/><Relationship Id="rId34" Type="http://schemas.openxmlformats.org/officeDocument/2006/relationships/handoutMaster" Target="handoutMasters/handoutMaster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notesMaster" Target="notesMasters/notesMaster1.xml"/><Relationship Id="rId38"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viewProps" Target="viewProp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4302625" cy="340265"/>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sz="quarter" idx="1"/>
          </p:nvPr>
        </p:nvSpPr>
        <p:spPr>
          <a:xfrm>
            <a:off x="5621696" y="0"/>
            <a:ext cx="4302625" cy="340265"/>
          </a:xfrm>
          <a:prstGeom prst="rect">
            <a:avLst/>
          </a:prstGeom>
        </p:spPr>
        <p:txBody>
          <a:bodyPr vert="horz" lIns="91440" tIns="45720" rIns="91440" bIns="45720" rtlCol="0"/>
          <a:lstStyle>
            <a:lvl1pPr algn="r">
              <a:defRPr sz="1200"/>
            </a:lvl1pPr>
          </a:lstStyle>
          <a:p>
            <a:fld id="{44642B51-84D5-443C-BF80-3148FAA640C1}" type="datetimeFigureOut">
              <a:rPr lang="de-DE" smtClean="0"/>
              <a:t>28.07.2017</a:t>
            </a:fld>
            <a:endParaRPr lang="de-DE"/>
          </a:p>
        </p:txBody>
      </p:sp>
      <p:sp>
        <p:nvSpPr>
          <p:cNvPr id="4" name="Fußzeilenplatzhalter 3"/>
          <p:cNvSpPr>
            <a:spLocks noGrp="1"/>
          </p:cNvSpPr>
          <p:nvPr>
            <p:ph type="ftr" sz="quarter" idx="2"/>
          </p:nvPr>
        </p:nvSpPr>
        <p:spPr>
          <a:xfrm>
            <a:off x="0" y="6456324"/>
            <a:ext cx="4302625" cy="340264"/>
          </a:xfrm>
          <a:prstGeom prst="rect">
            <a:avLst/>
          </a:prstGeom>
        </p:spPr>
        <p:txBody>
          <a:bodyPr vert="horz" lIns="91440" tIns="45720" rIns="91440" bIns="45720" rtlCol="0" anchor="b"/>
          <a:lstStyle>
            <a:lvl1pPr algn="l">
              <a:defRPr sz="1200"/>
            </a:lvl1pPr>
          </a:lstStyle>
          <a:p>
            <a:endParaRPr lang="de-DE"/>
          </a:p>
        </p:txBody>
      </p:sp>
      <p:sp>
        <p:nvSpPr>
          <p:cNvPr id="5" name="Foliennummernplatzhalter 4"/>
          <p:cNvSpPr>
            <a:spLocks noGrp="1"/>
          </p:cNvSpPr>
          <p:nvPr>
            <p:ph type="sldNum" sz="quarter" idx="3"/>
          </p:nvPr>
        </p:nvSpPr>
        <p:spPr>
          <a:xfrm>
            <a:off x="5621696" y="6456324"/>
            <a:ext cx="4302625" cy="340264"/>
          </a:xfrm>
          <a:prstGeom prst="rect">
            <a:avLst/>
          </a:prstGeom>
        </p:spPr>
        <p:txBody>
          <a:bodyPr vert="horz" lIns="91440" tIns="45720" rIns="91440" bIns="45720" rtlCol="0" anchor="b"/>
          <a:lstStyle>
            <a:lvl1pPr algn="r">
              <a:defRPr sz="1200"/>
            </a:lvl1pPr>
          </a:lstStyle>
          <a:p>
            <a:fld id="{C72936E3-395C-4E2E-9A5C-E39FDBB7E0F6}" type="slidenum">
              <a:rPr lang="de-DE" smtClean="0"/>
              <a:t>‹#›</a:t>
            </a:fld>
            <a:endParaRPr lang="de-DE"/>
          </a:p>
        </p:txBody>
      </p:sp>
    </p:spTree>
    <p:extLst>
      <p:ext uri="{BB962C8B-B14F-4D97-AF65-F5344CB8AC3E}">
        <p14:creationId xmlns:p14="http://schemas.microsoft.com/office/powerpoint/2010/main" val="116428982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4301543" cy="339884"/>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5622799" y="0"/>
            <a:ext cx="4301543" cy="339884"/>
          </a:xfrm>
          <a:prstGeom prst="rect">
            <a:avLst/>
          </a:prstGeom>
        </p:spPr>
        <p:txBody>
          <a:bodyPr vert="horz" lIns="91440" tIns="45720" rIns="91440" bIns="45720" rtlCol="0"/>
          <a:lstStyle>
            <a:lvl1pPr algn="r">
              <a:defRPr sz="1200"/>
            </a:lvl1pPr>
          </a:lstStyle>
          <a:p>
            <a:fld id="{576A636E-637B-46FB-9630-B39162DCA743}" type="datetimeFigureOut">
              <a:rPr lang="en-US" smtClean="0"/>
              <a:pPr/>
              <a:t>7/28/2017</a:t>
            </a:fld>
            <a:endParaRPr lang="en-US"/>
          </a:p>
        </p:txBody>
      </p:sp>
      <p:sp>
        <p:nvSpPr>
          <p:cNvPr id="4" name="Slide Image Placeholder 3"/>
          <p:cNvSpPr>
            <a:spLocks noGrp="1" noRot="1" noChangeAspect="1"/>
          </p:cNvSpPr>
          <p:nvPr>
            <p:ph type="sldImg" idx="2"/>
          </p:nvPr>
        </p:nvSpPr>
        <p:spPr>
          <a:xfrm>
            <a:off x="2697163" y="509588"/>
            <a:ext cx="4532312" cy="2549525"/>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992665" y="3228896"/>
            <a:ext cx="7941310" cy="3058954"/>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1" y="6456611"/>
            <a:ext cx="4301543" cy="339884"/>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5622799" y="6456611"/>
            <a:ext cx="4301543" cy="339884"/>
          </a:xfrm>
          <a:prstGeom prst="rect">
            <a:avLst/>
          </a:prstGeom>
        </p:spPr>
        <p:txBody>
          <a:bodyPr vert="horz" lIns="91440" tIns="45720" rIns="91440" bIns="45720" rtlCol="0" anchor="b"/>
          <a:lstStyle>
            <a:lvl1pPr algn="r">
              <a:defRPr sz="1200"/>
            </a:lvl1pPr>
          </a:lstStyle>
          <a:p>
            <a:fld id="{0BB30213-3389-4756-ADED-F048FFEFDAC9}" type="slidenum">
              <a:rPr lang="en-US" smtClean="0"/>
              <a:pPr/>
              <a:t>‹#›</a:t>
            </a:fld>
            <a:endParaRPr lang="en-US"/>
          </a:p>
        </p:txBody>
      </p:sp>
    </p:spTree>
    <p:extLst>
      <p:ext uri="{BB962C8B-B14F-4D97-AF65-F5344CB8AC3E}">
        <p14:creationId xmlns:p14="http://schemas.microsoft.com/office/powerpoint/2010/main" val="238876746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697163" y="509588"/>
            <a:ext cx="4532312" cy="2549525"/>
          </a:xfrm>
        </p:spPr>
      </p:sp>
      <p:sp>
        <p:nvSpPr>
          <p:cNvPr id="3" name="Notes Placeholder 2"/>
          <p:cNvSpPr>
            <a:spLocks noGrp="1"/>
          </p:cNvSpPr>
          <p:nvPr>
            <p:ph type="body" idx="1"/>
          </p:nvPr>
        </p:nvSpPr>
        <p:spPr/>
        <p:txBody>
          <a:bodyPr/>
          <a:lstStyle/>
          <a:p>
            <a:r>
              <a:rPr lang="en-GB" sz="1200" dirty="0" smtClean="0"/>
              <a:t>Germany</a:t>
            </a:r>
            <a:r>
              <a:rPr lang="en-GB" sz="1200" baseline="0" dirty="0" smtClean="0"/>
              <a:t> – 3kkk</a:t>
            </a:r>
            <a:endParaRPr lang="en-GB" sz="1200" dirty="0" smtClean="0"/>
          </a:p>
          <a:p>
            <a:endParaRPr lang="en-GB" dirty="0"/>
          </a:p>
        </p:txBody>
      </p:sp>
      <p:sp>
        <p:nvSpPr>
          <p:cNvPr id="4" name="Slide Number Placeholder 3"/>
          <p:cNvSpPr>
            <a:spLocks noGrp="1"/>
          </p:cNvSpPr>
          <p:nvPr>
            <p:ph type="sldNum" sz="quarter" idx="10"/>
          </p:nvPr>
        </p:nvSpPr>
        <p:spPr/>
        <p:txBody>
          <a:bodyPr/>
          <a:lstStyle/>
          <a:p>
            <a:fld id="{21D15983-A45F-4BAB-B9D2-9002C95F3F6C}" type="slidenum">
              <a:rPr lang="en-US" smtClean="0"/>
              <a:pPr/>
              <a:t>4</a:t>
            </a:fld>
            <a:endParaRPr lang="en-US" dirty="0"/>
          </a:p>
        </p:txBody>
      </p:sp>
    </p:spTree>
    <p:extLst>
      <p:ext uri="{BB962C8B-B14F-4D97-AF65-F5344CB8AC3E}">
        <p14:creationId xmlns:p14="http://schemas.microsoft.com/office/powerpoint/2010/main" val="262715020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697163" y="509588"/>
            <a:ext cx="4532312" cy="2549525"/>
          </a:xfrm>
        </p:spPr>
      </p:sp>
      <p:sp>
        <p:nvSpPr>
          <p:cNvPr id="3" name="Notes Placeholder 2"/>
          <p:cNvSpPr>
            <a:spLocks noGrp="1"/>
          </p:cNvSpPr>
          <p:nvPr>
            <p:ph type="body" idx="1"/>
          </p:nvPr>
        </p:nvSpPr>
        <p:spPr/>
        <p:txBody>
          <a:bodyPr>
            <a:normAutofit fontScale="92500" lnSpcReduction="20000"/>
          </a:bodyPr>
          <a:lstStyle/>
          <a:p>
            <a:pPr marL="171450" indent="-171450" defTabSz="914400">
              <a:buClr>
                <a:srgbClr val="009DD9"/>
              </a:buClr>
              <a:buFont typeface="Arial" panose="020B0604020202020204" pitchFamily="34" charset="0"/>
              <a:buChar char="•"/>
            </a:pPr>
            <a:r>
              <a:rPr lang="en-US" dirty="0" smtClean="0">
                <a:solidFill>
                  <a:schemeClr val="accent5"/>
                </a:solidFill>
              </a:rPr>
              <a:t>The</a:t>
            </a:r>
            <a:r>
              <a:rPr lang="en-US" dirty="0" smtClean="0">
                <a:solidFill>
                  <a:srgbClr val="5F5F5F"/>
                </a:solidFill>
              </a:rPr>
              <a:t> </a:t>
            </a:r>
            <a:r>
              <a:rPr lang="en-US" b="1" dirty="0" smtClean="0">
                <a:solidFill>
                  <a:srgbClr val="009DD9"/>
                </a:solidFill>
              </a:rPr>
              <a:t>future of fan relationships: </a:t>
            </a:r>
            <a:r>
              <a:rPr lang="en-US" dirty="0" smtClean="0">
                <a:solidFill>
                  <a:schemeClr val="accent5"/>
                </a:solidFill>
              </a:rPr>
              <a:t>a more </a:t>
            </a:r>
            <a:r>
              <a:rPr lang="en-US" b="1" dirty="0" smtClean="0">
                <a:solidFill>
                  <a:srgbClr val="009DD9"/>
                </a:solidFill>
              </a:rPr>
              <a:t>direct and customized </a:t>
            </a:r>
            <a:r>
              <a:rPr lang="en-US" dirty="0" smtClean="0">
                <a:solidFill>
                  <a:schemeClr val="accent5"/>
                </a:solidFill>
              </a:rPr>
              <a:t>interaction</a:t>
            </a:r>
            <a:r>
              <a:rPr lang="en-US" b="1" dirty="0" smtClean="0">
                <a:solidFill>
                  <a:schemeClr val="accent5"/>
                </a:solidFill>
              </a:rPr>
              <a:t> </a:t>
            </a:r>
            <a:r>
              <a:rPr lang="en-US" dirty="0" smtClean="0">
                <a:solidFill>
                  <a:schemeClr val="accent5"/>
                </a:solidFill>
              </a:rPr>
              <a:t>based on </a:t>
            </a:r>
            <a:r>
              <a:rPr lang="en-US" b="1" dirty="0" smtClean="0">
                <a:solidFill>
                  <a:srgbClr val="009DD9"/>
                </a:solidFill>
              </a:rPr>
              <a:t>data-driven solutions </a:t>
            </a:r>
            <a:r>
              <a:rPr lang="en-US" dirty="0" smtClean="0">
                <a:solidFill>
                  <a:schemeClr val="accent5"/>
                </a:solidFill>
              </a:rPr>
              <a:t>and</a:t>
            </a:r>
            <a:r>
              <a:rPr lang="en-US" dirty="0" smtClean="0">
                <a:solidFill>
                  <a:srgbClr val="5F5F5F"/>
                </a:solidFill>
              </a:rPr>
              <a:t> </a:t>
            </a:r>
            <a:r>
              <a:rPr lang="en-US" b="1" dirty="0" err="1" smtClean="0">
                <a:solidFill>
                  <a:srgbClr val="009DD9"/>
                </a:solidFill>
              </a:rPr>
              <a:t>behavioural</a:t>
            </a:r>
            <a:r>
              <a:rPr lang="en-US" b="1" dirty="0" smtClean="0">
                <a:solidFill>
                  <a:srgbClr val="009DD9"/>
                </a:solidFill>
              </a:rPr>
              <a:t> segmentations</a:t>
            </a:r>
            <a:r>
              <a:rPr lang="en-US" dirty="0" smtClean="0">
                <a:solidFill>
                  <a:srgbClr val="5F5F5F"/>
                </a:solidFill>
              </a:rPr>
              <a:t>. </a:t>
            </a:r>
          </a:p>
          <a:p>
            <a:pPr marL="171450" indent="-171450" defTabSz="914400">
              <a:buClr>
                <a:srgbClr val="009DD9"/>
              </a:buClr>
              <a:buFont typeface="Arial" panose="020B0604020202020204" pitchFamily="34" charset="0"/>
              <a:buChar char="•"/>
            </a:pPr>
            <a:endParaRPr lang="en-US" dirty="0" smtClean="0">
              <a:solidFill>
                <a:srgbClr val="5F5F5F"/>
              </a:solidFill>
            </a:endParaRPr>
          </a:p>
          <a:p>
            <a:pPr marL="171450" indent="-171450" defTabSz="914400">
              <a:buClr>
                <a:srgbClr val="009DD9"/>
              </a:buClr>
              <a:buFont typeface="Arial" panose="020B0604020202020204" pitchFamily="34" charset="0"/>
              <a:buChar char="•"/>
            </a:pPr>
            <a:r>
              <a:rPr lang="en-US" b="1" dirty="0" smtClean="0">
                <a:solidFill>
                  <a:srgbClr val="009DD9"/>
                </a:solidFill>
              </a:rPr>
              <a:t>Collection, analysis and application of fan-related data </a:t>
            </a:r>
            <a:r>
              <a:rPr lang="en-US" dirty="0" smtClean="0">
                <a:solidFill>
                  <a:schemeClr val="accent5"/>
                </a:solidFill>
              </a:rPr>
              <a:t>via CRM solutions </a:t>
            </a:r>
            <a:r>
              <a:rPr lang="en-US" b="1" dirty="0" smtClean="0">
                <a:solidFill>
                  <a:srgbClr val="009DD9"/>
                </a:solidFill>
              </a:rPr>
              <a:t>are central </a:t>
            </a:r>
            <a:r>
              <a:rPr lang="en-US" dirty="0" smtClean="0">
                <a:solidFill>
                  <a:schemeClr val="accent5"/>
                </a:solidFill>
              </a:rPr>
              <a:t>for fan development and optimization of fan relationships.</a:t>
            </a:r>
          </a:p>
          <a:p>
            <a:pPr marL="171450" indent="-171450" defTabSz="914400">
              <a:buClr>
                <a:srgbClr val="009DD9"/>
              </a:buClr>
              <a:buFont typeface="Arial" panose="020B0604020202020204" pitchFamily="34" charset="0"/>
              <a:buChar char="•"/>
            </a:pPr>
            <a:endParaRPr lang="en-US" dirty="0" smtClean="0">
              <a:solidFill>
                <a:srgbClr val="5F5F5F"/>
              </a:solidFill>
            </a:endParaRPr>
          </a:p>
          <a:p>
            <a:pPr marL="171450" indent="-171450" defTabSz="914400">
              <a:buClr>
                <a:srgbClr val="009DD9"/>
              </a:buClr>
              <a:buFont typeface="Arial" panose="020B0604020202020204" pitchFamily="34" charset="0"/>
              <a:buChar char="•"/>
            </a:pPr>
            <a:r>
              <a:rPr lang="en-US" b="1" dirty="0" smtClean="0">
                <a:solidFill>
                  <a:srgbClr val="009DD9"/>
                </a:solidFill>
              </a:rPr>
              <a:t>Rights</a:t>
            </a:r>
            <a:r>
              <a:rPr lang="en-US" dirty="0" smtClean="0">
                <a:solidFill>
                  <a:srgbClr val="009DD9"/>
                </a:solidFill>
              </a:rPr>
              <a:t> </a:t>
            </a:r>
            <a:r>
              <a:rPr lang="en-US" b="1" dirty="0" smtClean="0">
                <a:solidFill>
                  <a:srgbClr val="009DD9"/>
                </a:solidFill>
              </a:rPr>
              <a:t>holders competing intensively </a:t>
            </a:r>
            <a:r>
              <a:rPr lang="en-US" dirty="0" smtClean="0">
                <a:solidFill>
                  <a:srgbClr val="5F5F5F"/>
                </a:solidFill>
              </a:rPr>
              <a:t>on t</a:t>
            </a:r>
            <a:r>
              <a:rPr lang="en-US" dirty="0" smtClean="0">
                <a:solidFill>
                  <a:schemeClr val="accent5"/>
                </a:solidFill>
              </a:rPr>
              <a:t>he basis of </a:t>
            </a:r>
            <a:r>
              <a:rPr lang="en-US" b="1" dirty="0" smtClean="0">
                <a:solidFill>
                  <a:srgbClr val="009DD9"/>
                </a:solidFill>
              </a:rPr>
              <a:t>their</a:t>
            </a:r>
            <a:r>
              <a:rPr lang="en-US" dirty="0" smtClean="0">
                <a:solidFill>
                  <a:srgbClr val="009DD9"/>
                </a:solidFill>
              </a:rPr>
              <a:t> </a:t>
            </a:r>
            <a:r>
              <a:rPr lang="en-US" b="1" dirty="0" smtClean="0">
                <a:solidFill>
                  <a:srgbClr val="009DD9"/>
                </a:solidFill>
              </a:rPr>
              <a:t>ability to grow, </a:t>
            </a:r>
            <a:r>
              <a:rPr lang="en-US" b="1" dirty="0" err="1" smtClean="0">
                <a:solidFill>
                  <a:srgbClr val="009DD9"/>
                </a:solidFill>
              </a:rPr>
              <a:t>understan</a:t>
            </a:r>
            <a:r>
              <a:rPr lang="en-US" b="1" dirty="0" smtClean="0">
                <a:solidFill>
                  <a:srgbClr val="009DD9"/>
                </a:solidFill>
              </a:rPr>
              <a:t> and</a:t>
            </a:r>
            <a:r>
              <a:rPr lang="en-US" dirty="0" smtClean="0">
                <a:solidFill>
                  <a:schemeClr val="accent5"/>
                </a:solidFill>
              </a:rPr>
              <a:t> </a:t>
            </a:r>
            <a:r>
              <a:rPr lang="en-US" b="1" dirty="0" smtClean="0">
                <a:solidFill>
                  <a:srgbClr val="009DD9"/>
                </a:solidFill>
              </a:rPr>
              <a:t>monetize their fan base </a:t>
            </a:r>
            <a:r>
              <a:rPr lang="en-US" dirty="0" smtClean="0">
                <a:solidFill>
                  <a:schemeClr val="accent5"/>
                </a:solidFill>
              </a:rPr>
              <a:t>for their own and partner-specific marketing campaigns.</a:t>
            </a:r>
            <a:endParaRPr lang="de-DE" dirty="0" smtClean="0">
              <a:solidFill>
                <a:schemeClr val="accent5"/>
              </a:solidFill>
            </a:endParaRPr>
          </a:p>
          <a:p>
            <a:endParaRPr lang="en-GB" dirty="0" smtClean="0"/>
          </a:p>
          <a:p>
            <a:pPr marL="457200" marR="0" lvl="1" indent="0" algn="l" defTabSz="914400" rtl="0" eaLnBrk="1" fontAlgn="auto" latinLnBrk="0" hangingPunct="1">
              <a:lnSpc>
                <a:spcPct val="100000"/>
              </a:lnSpc>
              <a:spcBef>
                <a:spcPts val="0"/>
              </a:spcBef>
              <a:spcAft>
                <a:spcPts val="0"/>
              </a:spcAft>
              <a:buClr>
                <a:srgbClr val="009DD9"/>
              </a:buClr>
              <a:buSzTx/>
              <a:buFontTx/>
              <a:buNone/>
              <a:tabLst/>
              <a:defRPr/>
            </a:pPr>
            <a:r>
              <a:rPr lang="en-GB" sz="1400" b="1" cap="all" dirty="0" smtClean="0">
                <a:solidFill>
                  <a:srgbClr val="009DD9"/>
                </a:solidFill>
              </a:rPr>
              <a:t>OPTIMIZING FAN RELATIONSHIPS</a:t>
            </a:r>
            <a:endParaRPr lang="en-US" sz="1400" dirty="0" smtClean="0">
              <a:solidFill>
                <a:srgbClr val="009DD9"/>
              </a:solidFill>
            </a:endParaRPr>
          </a:p>
          <a:p>
            <a:pPr lvl="1">
              <a:buClr>
                <a:srgbClr val="009DD9"/>
              </a:buClr>
            </a:pPr>
            <a:r>
              <a:rPr lang="en-US" sz="1400" dirty="0" smtClean="0">
                <a:solidFill>
                  <a:srgbClr val="009DD9"/>
                </a:solidFill>
              </a:rPr>
              <a:t>Improved interaction with club fans</a:t>
            </a:r>
          </a:p>
          <a:p>
            <a:pPr lvl="1">
              <a:buClr>
                <a:srgbClr val="009DD9"/>
              </a:buClr>
            </a:pPr>
            <a:r>
              <a:rPr lang="en-US" sz="1400" dirty="0" smtClean="0">
                <a:solidFill>
                  <a:srgbClr val="009DD9"/>
                </a:solidFill>
              </a:rPr>
              <a:t>Enhancement of fan engagement with the club</a:t>
            </a:r>
          </a:p>
          <a:p>
            <a:pPr lvl="1">
              <a:buClr>
                <a:srgbClr val="009DD9"/>
              </a:buClr>
            </a:pPr>
            <a:r>
              <a:rPr lang="en-US" sz="1400" dirty="0" smtClean="0">
                <a:solidFill>
                  <a:srgbClr val="009DD9"/>
                </a:solidFill>
              </a:rPr>
              <a:t>Provision of tailor-made offers </a:t>
            </a:r>
            <a:br>
              <a:rPr lang="en-US" sz="1400" dirty="0" smtClean="0">
                <a:solidFill>
                  <a:srgbClr val="009DD9"/>
                </a:solidFill>
              </a:rPr>
            </a:br>
            <a:r>
              <a:rPr lang="en-US" sz="1400" dirty="0" smtClean="0">
                <a:solidFill>
                  <a:srgbClr val="009DD9"/>
                </a:solidFill>
              </a:rPr>
              <a:t>and solutions to satisfy fan needs</a:t>
            </a:r>
          </a:p>
          <a:p>
            <a:endParaRPr lang="en-GB"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GB" sz="1200" b="1" cap="all" dirty="0" smtClean="0">
                <a:solidFill>
                  <a:srgbClr val="B21DAC"/>
                </a:solidFill>
              </a:rPr>
              <a:t>PERFORMANCE ENHANCEMENT</a:t>
            </a:r>
          </a:p>
          <a:p>
            <a:pPr lvl="1">
              <a:lnSpc>
                <a:spcPct val="110000"/>
              </a:lnSpc>
              <a:spcBef>
                <a:spcPts val="600"/>
              </a:spcBef>
              <a:buClr>
                <a:srgbClr val="B21DAC"/>
              </a:buClr>
            </a:pPr>
            <a:r>
              <a:rPr lang="en-US" sz="1400" dirty="0" smtClean="0">
                <a:solidFill>
                  <a:srgbClr val="B21DAC"/>
                </a:solidFill>
              </a:rPr>
              <a:t>Optimization of existing business processes</a:t>
            </a:r>
          </a:p>
          <a:p>
            <a:pPr lvl="1">
              <a:lnSpc>
                <a:spcPct val="110000"/>
              </a:lnSpc>
              <a:spcBef>
                <a:spcPts val="600"/>
              </a:spcBef>
              <a:buClr>
                <a:srgbClr val="B21DAC"/>
              </a:buClr>
            </a:pPr>
            <a:r>
              <a:rPr lang="en-US" sz="1400" dirty="0" smtClean="0">
                <a:solidFill>
                  <a:srgbClr val="B21DAC"/>
                </a:solidFill>
              </a:rPr>
              <a:t>Increased efficiency realizes cost- saving potentials</a:t>
            </a:r>
          </a:p>
          <a:p>
            <a:pPr lvl="1">
              <a:lnSpc>
                <a:spcPct val="110000"/>
              </a:lnSpc>
              <a:spcBef>
                <a:spcPts val="600"/>
              </a:spcBef>
              <a:buClr>
                <a:srgbClr val="B21DAC"/>
              </a:buClr>
            </a:pPr>
            <a:r>
              <a:rPr lang="en-US" sz="1400" dirty="0" smtClean="0">
                <a:solidFill>
                  <a:srgbClr val="B21DAC"/>
                </a:solidFill>
              </a:rPr>
              <a:t>Rising effectiveness of </a:t>
            </a:r>
            <a:br>
              <a:rPr lang="en-US" sz="1400" dirty="0" smtClean="0">
                <a:solidFill>
                  <a:srgbClr val="B21DAC"/>
                </a:solidFill>
              </a:rPr>
            </a:br>
            <a:r>
              <a:rPr lang="en-US" sz="1400" dirty="0" smtClean="0">
                <a:solidFill>
                  <a:srgbClr val="B21DAC"/>
                </a:solidFill>
              </a:rPr>
              <a:t>(marketing) measures</a:t>
            </a:r>
          </a:p>
          <a:p>
            <a:pPr lvl="1">
              <a:buClr>
                <a:srgbClr val="FF8300"/>
              </a:buClr>
            </a:pPr>
            <a:endParaRPr lang="en-US" sz="1400" dirty="0" smtClean="0">
              <a:solidFill>
                <a:srgbClr val="B21DAC"/>
              </a:solidFill>
            </a:endParaRPr>
          </a:p>
          <a:p>
            <a:pPr marL="457200" marR="0" lvl="1" indent="0" algn="l" defTabSz="914400" rtl="0" eaLnBrk="1" fontAlgn="auto" latinLnBrk="0" hangingPunct="1">
              <a:lnSpc>
                <a:spcPct val="100000"/>
              </a:lnSpc>
              <a:spcBef>
                <a:spcPts val="0"/>
              </a:spcBef>
              <a:spcAft>
                <a:spcPts val="0"/>
              </a:spcAft>
              <a:buClr>
                <a:srgbClr val="FF8300"/>
              </a:buClr>
              <a:buSzTx/>
              <a:buFontTx/>
              <a:buNone/>
              <a:tabLst/>
              <a:defRPr/>
            </a:pPr>
            <a:r>
              <a:rPr lang="en-GB" sz="1400" b="1" cap="all" dirty="0" smtClean="0">
                <a:solidFill>
                  <a:srgbClr val="FF8300"/>
                </a:solidFill>
              </a:rPr>
              <a:t>DEVELOPING INCOME SOURCES</a:t>
            </a:r>
            <a:endParaRPr lang="en-US" sz="1400" dirty="0" smtClean="0">
              <a:solidFill>
                <a:srgbClr val="B21DAC"/>
              </a:solidFill>
            </a:endParaRPr>
          </a:p>
          <a:p>
            <a:pPr lvl="1">
              <a:buClr>
                <a:srgbClr val="FF8300"/>
              </a:buClr>
            </a:pPr>
            <a:r>
              <a:rPr lang="en-US" sz="1400" dirty="0" smtClean="0">
                <a:solidFill>
                  <a:srgbClr val="FF8300"/>
                </a:solidFill>
              </a:rPr>
              <a:t>Increase of sales revenues across all fan offers</a:t>
            </a:r>
          </a:p>
          <a:p>
            <a:pPr lvl="1">
              <a:buClr>
                <a:srgbClr val="FF8300"/>
              </a:buClr>
            </a:pPr>
            <a:r>
              <a:rPr lang="en-US" sz="1400" dirty="0" smtClean="0">
                <a:solidFill>
                  <a:srgbClr val="FF8300"/>
                </a:solidFill>
              </a:rPr>
              <a:t>Exploitation of cross- and upselling potentials</a:t>
            </a:r>
          </a:p>
          <a:p>
            <a:pPr lvl="1">
              <a:buClr>
                <a:srgbClr val="FF8300"/>
              </a:buClr>
            </a:pPr>
            <a:r>
              <a:rPr lang="en-US" sz="1400" dirty="0" smtClean="0">
                <a:solidFill>
                  <a:srgbClr val="FF8300"/>
                </a:solidFill>
              </a:rPr>
              <a:t>Development of new target groups</a:t>
            </a:r>
          </a:p>
          <a:p>
            <a:pPr lvl="1">
              <a:buClr>
                <a:srgbClr val="FF8300"/>
              </a:buClr>
            </a:pPr>
            <a:r>
              <a:rPr lang="en-US" sz="1400" dirty="0" smtClean="0">
                <a:solidFill>
                  <a:srgbClr val="FF8300"/>
                </a:solidFill>
              </a:rPr>
              <a:t>Increasing attractiveness for existing and potential sponsors</a:t>
            </a:r>
          </a:p>
          <a:p>
            <a:pPr lvl="1">
              <a:lnSpc>
                <a:spcPct val="110000"/>
              </a:lnSpc>
              <a:spcBef>
                <a:spcPts val="600"/>
              </a:spcBef>
              <a:buClr>
                <a:srgbClr val="B21DAC"/>
              </a:buClr>
            </a:pPr>
            <a:endParaRPr lang="en-US" sz="1400" dirty="0" smtClean="0">
              <a:solidFill>
                <a:srgbClr val="B21DAC"/>
              </a:solidFill>
            </a:endParaRPr>
          </a:p>
          <a:p>
            <a:pPr lvl="1">
              <a:lnSpc>
                <a:spcPct val="110000"/>
              </a:lnSpc>
              <a:spcBef>
                <a:spcPts val="600"/>
              </a:spcBef>
              <a:buClr>
                <a:srgbClr val="B21DAC"/>
              </a:buClr>
            </a:pPr>
            <a:endParaRPr lang="en-US" sz="1400" dirty="0" smtClean="0">
              <a:solidFill>
                <a:srgbClr val="B21DAC"/>
              </a:solidFill>
            </a:endParaRPr>
          </a:p>
          <a:p>
            <a:pPr lvl="1">
              <a:lnSpc>
                <a:spcPct val="110000"/>
              </a:lnSpc>
              <a:spcBef>
                <a:spcPts val="600"/>
              </a:spcBef>
              <a:buClr>
                <a:srgbClr val="B21DAC"/>
              </a:buClr>
            </a:pPr>
            <a:endParaRPr lang="en-US" sz="1400" dirty="0" smtClean="0">
              <a:solidFill>
                <a:srgbClr val="B21DAC"/>
              </a:solidFill>
            </a:endParaRPr>
          </a:p>
          <a:p>
            <a:endParaRPr lang="en-GB" dirty="0" smtClean="0"/>
          </a:p>
          <a:p>
            <a:endParaRPr lang="en-GB" dirty="0" smtClean="0"/>
          </a:p>
          <a:p>
            <a:endParaRPr lang="en-GB" dirty="0" smtClean="0"/>
          </a:p>
          <a:p>
            <a:endParaRPr lang="en-GB" dirty="0"/>
          </a:p>
        </p:txBody>
      </p:sp>
      <p:sp>
        <p:nvSpPr>
          <p:cNvPr id="4" name="Slide Number Placeholder 3"/>
          <p:cNvSpPr>
            <a:spLocks noGrp="1"/>
          </p:cNvSpPr>
          <p:nvPr>
            <p:ph type="sldNum" sz="quarter" idx="10"/>
          </p:nvPr>
        </p:nvSpPr>
        <p:spPr/>
        <p:txBody>
          <a:bodyPr/>
          <a:lstStyle/>
          <a:p>
            <a:fld id="{21D15983-A45F-4BAB-B9D2-9002C95F3F6C}" type="slidenum">
              <a:rPr lang="en-US" smtClean="0">
                <a:solidFill>
                  <a:prstClr val="black"/>
                </a:solidFill>
              </a:rPr>
              <a:pPr/>
              <a:t>21</a:t>
            </a:fld>
            <a:endParaRPr lang="en-US">
              <a:solidFill>
                <a:prstClr val="black"/>
              </a:solidFill>
            </a:endParaRPr>
          </a:p>
        </p:txBody>
      </p:sp>
    </p:spTree>
    <p:extLst>
      <p:ext uri="{BB962C8B-B14F-4D97-AF65-F5344CB8AC3E}">
        <p14:creationId xmlns:p14="http://schemas.microsoft.com/office/powerpoint/2010/main" val="326363522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697163" y="509588"/>
            <a:ext cx="4532312" cy="2549525"/>
          </a:xfrm>
        </p:spPr>
      </p:sp>
      <p:sp>
        <p:nvSpPr>
          <p:cNvPr id="3" name="Notes Placeholder 2"/>
          <p:cNvSpPr>
            <a:spLocks noGrp="1"/>
          </p:cNvSpPr>
          <p:nvPr>
            <p:ph type="body" idx="1"/>
          </p:nvPr>
        </p:nvSpPr>
        <p:spPr/>
        <p:txBody>
          <a:bodyPr>
            <a:normAutofit fontScale="92500" lnSpcReduction="20000"/>
          </a:bodyPr>
          <a:lstStyle/>
          <a:p>
            <a:pPr marL="171450" indent="-171450" defTabSz="914400">
              <a:buClr>
                <a:srgbClr val="009DD9"/>
              </a:buClr>
              <a:buFont typeface="Arial" panose="020B0604020202020204" pitchFamily="34" charset="0"/>
              <a:buChar char="•"/>
            </a:pPr>
            <a:r>
              <a:rPr lang="en-US" dirty="0" smtClean="0">
                <a:solidFill>
                  <a:schemeClr val="accent5"/>
                </a:solidFill>
              </a:rPr>
              <a:t>The</a:t>
            </a:r>
            <a:r>
              <a:rPr lang="en-US" dirty="0" smtClean="0">
                <a:solidFill>
                  <a:srgbClr val="5F5F5F"/>
                </a:solidFill>
              </a:rPr>
              <a:t> </a:t>
            </a:r>
            <a:r>
              <a:rPr lang="en-US" b="1" dirty="0" smtClean="0">
                <a:solidFill>
                  <a:srgbClr val="009DD9"/>
                </a:solidFill>
              </a:rPr>
              <a:t>future of fan relationships: </a:t>
            </a:r>
            <a:r>
              <a:rPr lang="en-US" dirty="0" smtClean="0">
                <a:solidFill>
                  <a:schemeClr val="accent5"/>
                </a:solidFill>
              </a:rPr>
              <a:t>a more </a:t>
            </a:r>
            <a:r>
              <a:rPr lang="en-US" b="1" dirty="0" smtClean="0">
                <a:solidFill>
                  <a:srgbClr val="009DD9"/>
                </a:solidFill>
              </a:rPr>
              <a:t>direct and customized </a:t>
            </a:r>
            <a:r>
              <a:rPr lang="en-US" dirty="0" smtClean="0">
                <a:solidFill>
                  <a:schemeClr val="accent5"/>
                </a:solidFill>
              </a:rPr>
              <a:t>interaction</a:t>
            </a:r>
            <a:r>
              <a:rPr lang="en-US" b="1" dirty="0" smtClean="0">
                <a:solidFill>
                  <a:schemeClr val="accent5"/>
                </a:solidFill>
              </a:rPr>
              <a:t> </a:t>
            </a:r>
            <a:r>
              <a:rPr lang="en-US" dirty="0" smtClean="0">
                <a:solidFill>
                  <a:schemeClr val="accent5"/>
                </a:solidFill>
              </a:rPr>
              <a:t>based on </a:t>
            </a:r>
            <a:r>
              <a:rPr lang="en-US" b="1" dirty="0" smtClean="0">
                <a:solidFill>
                  <a:srgbClr val="009DD9"/>
                </a:solidFill>
              </a:rPr>
              <a:t>data-driven solutions </a:t>
            </a:r>
            <a:r>
              <a:rPr lang="en-US" dirty="0" smtClean="0">
                <a:solidFill>
                  <a:schemeClr val="accent5"/>
                </a:solidFill>
              </a:rPr>
              <a:t>and</a:t>
            </a:r>
            <a:r>
              <a:rPr lang="en-US" dirty="0" smtClean="0">
                <a:solidFill>
                  <a:srgbClr val="5F5F5F"/>
                </a:solidFill>
              </a:rPr>
              <a:t> </a:t>
            </a:r>
            <a:r>
              <a:rPr lang="en-US" b="1" dirty="0" err="1" smtClean="0">
                <a:solidFill>
                  <a:srgbClr val="009DD9"/>
                </a:solidFill>
              </a:rPr>
              <a:t>behavioural</a:t>
            </a:r>
            <a:r>
              <a:rPr lang="en-US" b="1" dirty="0" smtClean="0">
                <a:solidFill>
                  <a:srgbClr val="009DD9"/>
                </a:solidFill>
              </a:rPr>
              <a:t> segmentations</a:t>
            </a:r>
            <a:r>
              <a:rPr lang="en-US" dirty="0" smtClean="0">
                <a:solidFill>
                  <a:srgbClr val="5F5F5F"/>
                </a:solidFill>
              </a:rPr>
              <a:t>. </a:t>
            </a:r>
          </a:p>
          <a:p>
            <a:pPr marL="171450" indent="-171450" defTabSz="914400">
              <a:buClr>
                <a:srgbClr val="009DD9"/>
              </a:buClr>
              <a:buFont typeface="Arial" panose="020B0604020202020204" pitchFamily="34" charset="0"/>
              <a:buChar char="•"/>
            </a:pPr>
            <a:endParaRPr lang="en-US" dirty="0" smtClean="0">
              <a:solidFill>
                <a:srgbClr val="5F5F5F"/>
              </a:solidFill>
            </a:endParaRPr>
          </a:p>
          <a:p>
            <a:pPr marL="171450" indent="-171450" defTabSz="914400">
              <a:buClr>
                <a:srgbClr val="009DD9"/>
              </a:buClr>
              <a:buFont typeface="Arial" panose="020B0604020202020204" pitchFamily="34" charset="0"/>
              <a:buChar char="•"/>
            </a:pPr>
            <a:r>
              <a:rPr lang="en-US" b="1" dirty="0" smtClean="0">
                <a:solidFill>
                  <a:srgbClr val="009DD9"/>
                </a:solidFill>
              </a:rPr>
              <a:t>Collection, analysis and application of fan-related data </a:t>
            </a:r>
            <a:r>
              <a:rPr lang="en-US" dirty="0" smtClean="0">
                <a:solidFill>
                  <a:schemeClr val="accent5"/>
                </a:solidFill>
              </a:rPr>
              <a:t>via CRM solutions </a:t>
            </a:r>
            <a:r>
              <a:rPr lang="en-US" b="1" dirty="0" smtClean="0">
                <a:solidFill>
                  <a:srgbClr val="009DD9"/>
                </a:solidFill>
              </a:rPr>
              <a:t>are central </a:t>
            </a:r>
            <a:r>
              <a:rPr lang="en-US" dirty="0" smtClean="0">
                <a:solidFill>
                  <a:schemeClr val="accent5"/>
                </a:solidFill>
              </a:rPr>
              <a:t>for fan development and optimization of fan relationships.</a:t>
            </a:r>
          </a:p>
          <a:p>
            <a:pPr marL="171450" indent="-171450" defTabSz="914400">
              <a:buClr>
                <a:srgbClr val="009DD9"/>
              </a:buClr>
              <a:buFont typeface="Arial" panose="020B0604020202020204" pitchFamily="34" charset="0"/>
              <a:buChar char="•"/>
            </a:pPr>
            <a:endParaRPr lang="en-US" dirty="0" smtClean="0">
              <a:solidFill>
                <a:srgbClr val="5F5F5F"/>
              </a:solidFill>
            </a:endParaRPr>
          </a:p>
          <a:p>
            <a:pPr marL="171450" indent="-171450" defTabSz="914400">
              <a:buClr>
                <a:srgbClr val="009DD9"/>
              </a:buClr>
              <a:buFont typeface="Arial" panose="020B0604020202020204" pitchFamily="34" charset="0"/>
              <a:buChar char="•"/>
            </a:pPr>
            <a:r>
              <a:rPr lang="en-US" b="1" dirty="0" smtClean="0">
                <a:solidFill>
                  <a:srgbClr val="009DD9"/>
                </a:solidFill>
              </a:rPr>
              <a:t>Rights</a:t>
            </a:r>
            <a:r>
              <a:rPr lang="en-US" dirty="0" smtClean="0">
                <a:solidFill>
                  <a:srgbClr val="009DD9"/>
                </a:solidFill>
              </a:rPr>
              <a:t> </a:t>
            </a:r>
            <a:r>
              <a:rPr lang="en-US" b="1" dirty="0" smtClean="0">
                <a:solidFill>
                  <a:srgbClr val="009DD9"/>
                </a:solidFill>
              </a:rPr>
              <a:t>holders competing intensively </a:t>
            </a:r>
            <a:r>
              <a:rPr lang="en-US" dirty="0" smtClean="0">
                <a:solidFill>
                  <a:srgbClr val="5F5F5F"/>
                </a:solidFill>
              </a:rPr>
              <a:t>on t</a:t>
            </a:r>
            <a:r>
              <a:rPr lang="en-US" dirty="0" smtClean="0">
                <a:solidFill>
                  <a:schemeClr val="accent5"/>
                </a:solidFill>
              </a:rPr>
              <a:t>he basis of </a:t>
            </a:r>
            <a:r>
              <a:rPr lang="en-US" b="1" dirty="0" smtClean="0">
                <a:solidFill>
                  <a:srgbClr val="009DD9"/>
                </a:solidFill>
              </a:rPr>
              <a:t>their</a:t>
            </a:r>
            <a:r>
              <a:rPr lang="en-US" dirty="0" smtClean="0">
                <a:solidFill>
                  <a:srgbClr val="009DD9"/>
                </a:solidFill>
              </a:rPr>
              <a:t> </a:t>
            </a:r>
            <a:r>
              <a:rPr lang="en-US" b="1" dirty="0" smtClean="0">
                <a:solidFill>
                  <a:srgbClr val="009DD9"/>
                </a:solidFill>
              </a:rPr>
              <a:t>ability to grow, </a:t>
            </a:r>
            <a:r>
              <a:rPr lang="en-US" b="1" dirty="0" err="1" smtClean="0">
                <a:solidFill>
                  <a:srgbClr val="009DD9"/>
                </a:solidFill>
              </a:rPr>
              <a:t>understan</a:t>
            </a:r>
            <a:r>
              <a:rPr lang="en-US" b="1" dirty="0" smtClean="0">
                <a:solidFill>
                  <a:srgbClr val="009DD9"/>
                </a:solidFill>
              </a:rPr>
              <a:t> and</a:t>
            </a:r>
            <a:r>
              <a:rPr lang="en-US" dirty="0" smtClean="0">
                <a:solidFill>
                  <a:schemeClr val="accent5"/>
                </a:solidFill>
              </a:rPr>
              <a:t> </a:t>
            </a:r>
            <a:r>
              <a:rPr lang="en-US" b="1" dirty="0" smtClean="0">
                <a:solidFill>
                  <a:srgbClr val="009DD9"/>
                </a:solidFill>
              </a:rPr>
              <a:t>monetize their fan base </a:t>
            </a:r>
            <a:r>
              <a:rPr lang="en-US" dirty="0" smtClean="0">
                <a:solidFill>
                  <a:schemeClr val="accent5"/>
                </a:solidFill>
              </a:rPr>
              <a:t>for their own and partner-specific marketing campaigns.</a:t>
            </a:r>
            <a:endParaRPr lang="de-DE" dirty="0" smtClean="0">
              <a:solidFill>
                <a:schemeClr val="accent5"/>
              </a:solidFill>
            </a:endParaRPr>
          </a:p>
          <a:p>
            <a:endParaRPr lang="en-GB" dirty="0" smtClean="0"/>
          </a:p>
          <a:p>
            <a:pPr marL="457200" marR="0" lvl="1" indent="0" algn="l" defTabSz="914400" rtl="0" eaLnBrk="1" fontAlgn="auto" latinLnBrk="0" hangingPunct="1">
              <a:lnSpc>
                <a:spcPct val="100000"/>
              </a:lnSpc>
              <a:spcBef>
                <a:spcPts val="0"/>
              </a:spcBef>
              <a:spcAft>
                <a:spcPts val="0"/>
              </a:spcAft>
              <a:buClr>
                <a:srgbClr val="009DD9"/>
              </a:buClr>
              <a:buSzTx/>
              <a:buFontTx/>
              <a:buNone/>
              <a:tabLst/>
              <a:defRPr/>
            </a:pPr>
            <a:r>
              <a:rPr lang="en-GB" sz="1400" b="1" cap="all" dirty="0" smtClean="0">
                <a:solidFill>
                  <a:srgbClr val="009DD9"/>
                </a:solidFill>
              </a:rPr>
              <a:t>OPTIMIZING FAN RELATIONSHIPS</a:t>
            </a:r>
            <a:endParaRPr lang="en-US" sz="1400" dirty="0" smtClean="0">
              <a:solidFill>
                <a:srgbClr val="009DD9"/>
              </a:solidFill>
            </a:endParaRPr>
          </a:p>
          <a:p>
            <a:pPr lvl="1">
              <a:buClr>
                <a:srgbClr val="009DD9"/>
              </a:buClr>
            </a:pPr>
            <a:r>
              <a:rPr lang="en-US" sz="1400" dirty="0" smtClean="0">
                <a:solidFill>
                  <a:srgbClr val="009DD9"/>
                </a:solidFill>
              </a:rPr>
              <a:t>Improved interaction with club fans</a:t>
            </a:r>
          </a:p>
          <a:p>
            <a:pPr lvl="1">
              <a:buClr>
                <a:srgbClr val="009DD9"/>
              </a:buClr>
            </a:pPr>
            <a:r>
              <a:rPr lang="en-US" sz="1400" dirty="0" smtClean="0">
                <a:solidFill>
                  <a:srgbClr val="009DD9"/>
                </a:solidFill>
              </a:rPr>
              <a:t>Enhancement of fan engagement with the club</a:t>
            </a:r>
          </a:p>
          <a:p>
            <a:pPr lvl="1">
              <a:buClr>
                <a:srgbClr val="009DD9"/>
              </a:buClr>
            </a:pPr>
            <a:r>
              <a:rPr lang="en-US" sz="1400" dirty="0" smtClean="0">
                <a:solidFill>
                  <a:srgbClr val="009DD9"/>
                </a:solidFill>
              </a:rPr>
              <a:t>Provision of tailor-made offers </a:t>
            </a:r>
            <a:br>
              <a:rPr lang="en-US" sz="1400" dirty="0" smtClean="0">
                <a:solidFill>
                  <a:srgbClr val="009DD9"/>
                </a:solidFill>
              </a:rPr>
            </a:br>
            <a:r>
              <a:rPr lang="en-US" sz="1400" dirty="0" smtClean="0">
                <a:solidFill>
                  <a:srgbClr val="009DD9"/>
                </a:solidFill>
              </a:rPr>
              <a:t>and solutions to satisfy fan needs</a:t>
            </a:r>
          </a:p>
          <a:p>
            <a:endParaRPr lang="en-GB"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GB" sz="1200" b="1" cap="all" dirty="0" smtClean="0">
                <a:solidFill>
                  <a:srgbClr val="B21DAC"/>
                </a:solidFill>
              </a:rPr>
              <a:t>PERFORMANCE ENHANCEMENT</a:t>
            </a:r>
          </a:p>
          <a:p>
            <a:pPr lvl="1">
              <a:lnSpc>
                <a:spcPct val="110000"/>
              </a:lnSpc>
              <a:spcBef>
                <a:spcPts val="600"/>
              </a:spcBef>
              <a:buClr>
                <a:srgbClr val="B21DAC"/>
              </a:buClr>
            </a:pPr>
            <a:r>
              <a:rPr lang="en-US" sz="1400" dirty="0" smtClean="0">
                <a:solidFill>
                  <a:srgbClr val="B21DAC"/>
                </a:solidFill>
              </a:rPr>
              <a:t>Optimization of existing business processes</a:t>
            </a:r>
          </a:p>
          <a:p>
            <a:pPr lvl="1">
              <a:lnSpc>
                <a:spcPct val="110000"/>
              </a:lnSpc>
              <a:spcBef>
                <a:spcPts val="600"/>
              </a:spcBef>
              <a:buClr>
                <a:srgbClr val="B21DAC"/>
              </a:buClr>
            </a:pPr>
            <a:r>
              <a:rPr lang="en-US" sz="1400" dirty="0" smtClean="0">
                <a:solidFill>
                  <a:srgbClr val="B21DAC"/>
                </a:solidFill>
              </a:rPr>
              <a:t>Increased efficiency realizes cost- saving potentials</a:t>
            </a:r>
          </a:p>
          <a:p>
            <a:pPr lvl="1">
              <a:lnSpc>
                <a:spcPct val="110000"/>
              </a:lnSpc>
              <a:spcBef>
                <a:spcPts val="600"/>
              </a:spcBef>
              <a:buClr>
                <a:srgbClr val="B21DAC"/>
              </a:buClr>
            </a:pPr>
            <a:r>
              <a:rPr lang="en-US" sz="1400" dirty="0" smtClean="0">
                <a:solidFill>
                  <a:srgbClr val="B21DAC"/>
                </a:solidFill>
              </a:rPr>
              <a:t>Rising effectiveness of </a:t>
            </a:r>
            <a:br>
              <a:rPr lang="en-US" sz="1400" dirty="0" smtClean="0">
                <a:solidFill>
                  <a:srgbClr val="B21DAC"/>
                </a:solidFill>
              </a:rPr>
            </a:br>
            <a:r>
              <a:rPr lang="en-US" sz="1400" dirty="0" smtClean="0">
                <a:solidFill>
                  <a:srgbClr val="B21DAC"/>
                </a:solidFill>
              </a:rPr>
              <a:t>(marketing) measures</a:t>
            </a:r>
          </a:p>
          <a:p>
            <a:pPr lvl="1">
              <a:buClr>
                <a:srgbClr val="FF8300"/>
              </a:buClr>
            </a:pPr>
            <a:endParaRPr lang="en-US" sz="1400" dirty="0" smtClean="0">
              <a:solidFill>
                <a:srgbClr val="B21DAC"/>
              </a:solidFill>
            </a:endParaRPr>
          </a:p>
          <a:p>
            <a:pPr marL="457200" marR="0" lvl="1" indent="0" algn="l" defTabSz="914400" rtl="0" eaLnBrk="1" fontAlgn="auto" latinLnBrk="0" hangingPunct="1">
              <a:lnSpc>
                <a:spcPct val="100000"/>
              </a:lnSpc>
              <a:spcBef>
                <a:spcPts val="0"/>
              </a:spcBef>
              <a:spcAft>
                <a:spcPts val="0"/>
              </a:spcAft>
              <a:buClr>
                <a:srgbClr val="FF8300"/>
              </a:buClr>
              <a:buSzTx/>
              <a:buFontTx/>
              <a:buNone/>
              <a:tabLst/>
              <a:defRPr/>
            </a:pPr>
            <a:r>
              <a:rPr lang="en-GB" sz="1400" b="1" cap="all" dirty="0" smtClean="0">
                <a:solidFill>
                  <a:srgbClr val="FF8300"/>
                </a:solidFill>
              </a:rPr>
              <a:t>DEVELOPING INCOME SOURCES</a:t>
            </a:r>
            <a:endParaRPr lang="en-US" sz="1400" dirty="0" smtClean="0">
              <a:solidFill>
                <a:srgbClr val="B21DAC"/>
              </a:solidFill>
            </a:endParaRPr>
          </a:p>
          <a:p>
            <a:pPr lvl="1">
              <a:buClr>
                <a:srgbClr val="FF8300"/>
              </a:buClr>
            </a:pPr>
            <a:r>
              <a:rPr lang="en-US" sz="1400" dirty="0" smtClean="0">
                <a:solidFill>
                  <a:srgbClr val="FF8300"/>
                </a:solidFill>
              </a:rPr>
              <a:t>Increase of sales revenues across all fan offers</a:t>
            </a:r>
          </a:p>
          <a:p>
            <a:pPr lvl="1">
              <a:buClr>
                <a:srgbClr val="FF8300"/>
              </a:buClr>
            </a:pPr>
            <a:r>
              <a:rPr lang="en-US" sz="1400" dirty="0" smtClean="0">
                <a:solidFill>
                  <a:srgbClr val="FF8300"/>
                </a:solidFill>
              </a:rPr>
              <a:t>Exploitation of cross- and upselling potentials</a:t>
            </a:r>
          </a:p>
          <a:p>
            <a:pPr lvl="1">
              <a:buClr>
                <a:srgbClr val="FF8300"/>
              </a:buClr>
            </a:pPr>
            <a:r>
              <a:rPr lang="en-US" sz="1400" dirty="0" smtClean="0">
                <a:solidFill>
                  <a:srgbClr val="FF8300"/>
                </a:solidFill>
              </a:rPr>
              <a:t>Development of new target groups</a:t>
            </a:r>
          </a:p>
          <a:p>
            <a:pPr lvl="1">
              <a:buClr>
                <a:srgbClr val="FF8300"/>
              </a:buClr>
            </a:pPr>
            <a:r>
              <a:rPr lang="en-US" sz="1400" dirty="0" smtClean="0">
                <a:solidFill>
                  <a:srgbClr val="FF8300"/>
                </a:solidFill>
              </a:rPr>
              <a:t>Increasing attractiveness for existing and potential sponsors</a:t>
            </a:r>
          </a:p>
          <a:p>
            <a:pPr lvl="1">
              <a:lnSpc>
                <a:spcPct val="110000"/>
              </a:lnSpc>
              <a:spcBef>
                <a:spcPts val="600"/>
              </a:spcBef>
              <a:buClr>
                <a:srgbClr val="B21DAC"/>
              </a:buClr>
            </a:pPr>
            <a:endParaRPr lang="en-US" sz="1400" dirty="0" smtClean="0">
              <a:solidFill>
                <a:srgbClr val="B21DAC"/>
              </a:solidFill>
            </a:endParaRPr>
          </a:p>
          <a:p>
            <a:pPr lvl="1">
              <a:lnSpc>
                <a:spcPct val="110000"/>
              </a:lnSpc>
              <a:spcBef>
                <a:spcPts val="600"/>
              </a:spcBef>
              <a:buClr>
                <a:srgbClr val="B21DAC"/>
              </a:buClr>
            </a:pPr>
            <a:endParaRPr lang="en-US" sz="1400" dirty="0" smtClean="0">
              <a:solidFill>
                <a:srgbClr val="B21DAC"/>
              </a:solidFill>
            </a:endParaRPr>
          </a:p>
          <a:p>
            <a:pPr lvl="1">
              <a:lnSpc>
                <a:spcPct val="110000"/>
              </a:lnSpc>
              <a:spcBef>
                <a:spcPts val="600"/>
              </a:spcBef>
              <a:buClr>
                <a:srgbClr val="B21DAC"/>
              </a:buClr>
            </a:pPr>
            <a:endParaRPr lang="en-US" sz="1400" dirty="0" smtClean="0">
              <a:solidFill>
                <a:srgbClr val="B21DAC"/>
              </a:solidFill>
            </a:endParaRPr>
          </a:p>
          <a:p>
            <a:endParaRPr lang="en-GB" dirty="0" smtClean="0"/>
          </a:p>
          <a:p>
            <a:endParaRPr lang="en-GB" dirty="0" smtClean="0"/>
          </a:p>
          <a:p>
            <a:endParaRPr lang="en-GB" dirty="0" smtClean="0"/>
          </a:p>
          <a:p>
            <a:endParaRPr lang="en-GB" dirty="0"/>
          </a:p>
        </p:txBody>
      </p:sp>
      <p:sp>
        <p:nvSpPr>
          <p:cNvPr id="4" name="Slide Number Placeholder 3"/>
          <p:cNvSpPr>
            <a:spLocks noGrp="1"/>
          </p:cNvSpPr>
          <p:nvPr>
            <p:ph type="sldNum" sz="quarter" idx="10"/>
          </p:nvPr>
        </p:nvSpPr>
        <p:spPr/>
        <p:txBody>
          <a:bodyPr/>
          <a:lstStyle/>
          <a:p>
            <a:fld id="{21D15983-A45F-4BAB-B9D2-9002C95F3F6C}" type="slidenum">
              <a:rPr lang="en-US" smtClean="0"/>
              <a:pPr/>
              <a:t>22</a:t>
            </a:fld>
            <a:endParaRPr lang="en-US"/>
          </a:p>
        </p:txBody>
      </p:sp>
    </p:spTree>
    <p:extLst>
      <p:ext uri="{BB962C8B-B14F-4D97-AF65-F5344CB8AC3E}">
        <p14:creationId xmlns:p14="http://schemas.microsoft.com/office/powerpoint/2010/main" val="326363522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697163" y="509588"/>
            <a:ext cx="4532312" cy="2549525"/>
          </a:xfrm>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dirty="0" smtClean="0">
                <a:solidFill>
                  <a:srgbClr val="5F5F5F"/>
                </a:solidFill>
              </a:rPr>
              <a:t>Collect</a:t>
            </a:r>
            <a:r>
              <a:rPr lang="en-US" sz="1200" b="1" baseline="0" dirty="0" smtClean="0">
                <a:solidFill>
                  <a:srgbClr val="5F5F5F"/>
                </a:solidFill>
              </a:rPr>
              <a:t> data: </a:t>
            </a:r>
            <a:r>
              <a:rPr lang="en-US" sz="1200" b="0" dirty="0" smtClean="0">
                <a:solidFill>
                  <a:srgbClr val="5F5F5F"/>
                </a:solidFill>
              </a:rPr>
              <a:t>Use as many touchpoints to </a:t>
            </a:r>
            <a:r>
              <a:rPr lang="en-US" sz="1200" b="0" dirty="0" smtClean="0">
                <a:solidFill>
                  <a:srgbClr val="009DD9"/>
                </a:solidFill>
              </a:rPr>
              <a:t>collect data </a:t>
            </a:r>
            <a:r>
              <a:rPr lang="en-US" sz="1200" b="0" dirty="0" smtClean="0">
                <a:solidFill>
                  <a:srgbClr val="5F5F5F"/>
                </a:solidFill>
              </a:rPr>
              <a:t>about fan behavior as possible</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b="0" dirty="0" smtClean="0">
              <a:solidFill>
                <a:srgbClr val="5F5F5F"/>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b="1" dirty="0" smtClean="0">
                <a:solidFill>
                  <a:srgbClr val="5F5F5F"/>
                </a:solidFill>
              </a:rPr>
              <a:t>Use generated </a:t>
            </a:r>
            <a:r>
              <a:rPr lang="en-US" sz="1200" b="0" dirty="0" smtClean="0">
                <a:solidFill>
                  <a:srgbClr val="5F5F5F"/>
                </a:solidFill>
              </a:rPr>
              <a:t>data, structure and </a:t>
            </a:r>
            <a:r>
              <a:rPr lang="en-US" sz="1200" b="0" dirty="0" smtClean="0">
                <a:solidFill>
                  <a:srgbClr val="B21DAC"/>
                </a:solidFill>
              </a:rPr>
              <a:t>analyze </a:t>
            </a:r>
            <a:r>
              <a:rPr lang="en-US" sz="1200" b="0" dirty="0" smtClean="0">
                <a:solidFill>
                  <a:srgbClr val="5F5F5F"/>
                </a:solidFill>
              </a:rPr>
              <a:t>it to </a:t>
            </a:r>
            <a:r>
              <a:rPr lang="en-US" sz="1200" b="0" dirty="0" smtClean="0">
                <a:solidFill>
                  <a:srgbClr val="B21DAC"/>
                </a:solidFill>
              </a:rPr>
              <a:t>segment </a:t>
            </a:r>
            <a:r>
              <a:rPr lang="en-US" sz="1200" b="0" dirty="0" smtClean="0">
                <a:solidFill>
                  <a:srgbClr val="5F5F5F"/>
                </a:solidFill>
              </a:rPr>
              <a:t>your fan base</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b="0" dirty="0" smtClean="0">
              <a:solidFill>
                <a:srgbClr val="5F5F5F"/>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b="1" dirty="0" smtClean="0">
                <a:solidFill>
                  <a:srgbClr val="FF8300"/>
                </a:solidFill>
              </a:rPr>
              <a:t>Apply data </a:t>
            </a:r>
            <a:r>
              <a:rPr lang="en-US" sz="1200" b="0" dirty="0" smtClean="0">
                <a:solidFill>
                  <a:srgbClr val="5F5F5F"/>
                </a:solidFill>
              </a:rPr>
              <a:t>to facilitate direct and customized interaction and segment-specific offers</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b="0" dirty="0" smtClean="0">
              <a:solidFill>
                <a:srgbClr val="5F5F5F"/>
              </a:solidFill>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b="0" dirty="0" smtClean="0">
              <a:solidFill>
                <a:srgbClr val="5F5F5F"/>
              </a:solidFill>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b="0" dirty="0" smtClean="0">
              <a:solidFill>
                <a:srgbClr val="5F5F5F"/>
              </a:solidFill>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b="0" dirty="0" smtClean="0">
              <a:solidFill>
                <a:srgbClr val="5F5F5F"/>
              </a:solidFill>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b="0" dirty="0" smtClean="0">
              <a:solidFill>
                <a:srgbClr val="5F5F5F"/>
              </a:solidFill>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b="1" dirty="0" smtClean="0">
              <a:solidFill>
                <a:srgbClr val="5F5F5F"/>
              </a:solidFill>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b="1" dirty="0" smtClean="0">
              <a:solidFill>
                <a:srgbClr val="5F5F5F"/>
              </a:solidFill>
            </a:endParaRPr>
          </a:p>
          <a:p>
            <a:endParaRPr lang="de-DE" dirty="0"/>
          </a:p>
        </p:txBody>
      </p:sp>
      <p:sp>
        <p:nvSpPr>
          <p:cNvPr id="4" name="Slide Number Placeholder 3"/>
          <p:cNvSpPr>
            <a:spLocks noGrp="1"/>
          </p:cNvSpPr>
          <p:nvPr>
            <p:ph type="sldNum" sz="quarter" idx="10"/>
          </p:nvPr>
        </p:nvSpPr>
        <p:spPr/>
        <p:txBody>
          <a:bodyPr/>
          <a:lstStyle/>
          <a:p>
            <a:fld id="{0BB30213-3389-4756-ADED-F048FFEFDAC9}" type="slidenum">
              <a:rPr lang="en-US" smtClean="0">
                <a:solidFill>
                  <a:prstClr val="black"/>
                </a:solidFill>
              </a:rPr>
              <a:pPr/>
              <a:t>23</a:t>
            </a:fld>
            <a:endParaRPr lang="en-US">
              <a:solidFill>
                <a:prstClr val="black"/>
              </a:solidFill>
            </a:endParaRPr>
          </a:p>
        </p:txBody>
      </p:sp>
    </p:spTree>
    <p:extLst>
      <p:ext uri="{BB962C8B-B14F-4D97-AF65-F5344CB8AC3E}">
        <p14:creationId xmlns:p14="http://schemas.microsoft.com/office/powerpoint/2010/main" val="351221909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697163" y="509588"/>
            <a:ext cx="4532312" cy="2549525"/>
          </a:xfrm>
        </p:spPr>
      </p:sp>
      <p:sp>
        <p:nvSpPr>
          <p:cNvPr id="3" name="Notes Placeholder 2"/>
          <p:cNvSpPr>
            <a:spLocks noGrp="1"/>
          </p:cNvSpPr>
          <p:nvPr>
            <p:ph type="body" idx="1"/>
          </p:nvPr>
        </p:nvSpPr>
        <p:spPr/>
        <p:txBody>
          <a:bodyPr/>
          <a:lstStyle/>
          <a:p>
            <a:pPr defTabSz="914400">
              <a:lnSpc>
                <a:spcPct val="90000"/>
              </a:lnSpc>
              <a:defRPr/>
            </a:pPr>
            <a:r>
              <a:rPr lang="en-US" sz="3600" b="1" dirty="0" smtClean="0">
                <a:solidFill>
                  <a:srgbClr val="FFFFFF"/>
                </a:solidFill>
              </a:rPr>
              <a:t>KEY FACTS</a:t>
            </a:r>
          </a:p>
          <a:p>
            <a:pPr defTabSz="914400">
              <a:lnSpc>
                <a:spcPct val="90000"/>
              </a:lnSpc>
              <a:defRPr/>
            </a:pPr>
            <a:endParaRPr lang="en-US" sz="800" b="1" dirty="0" smtClean="0">
              <a:solidFill>
                <a:srgbClr val="FFFFFF"/>
              </a:solidFill>
            </a:endParaRPr>
          </a:p>
          <a:p>
            <a:pPr marL="90488" indent="-90488" defTabSz="914400">
              <a:lnSpc>
                <a:spcPct val="90000"/>
              </a:lnSpc>
              <a:buClr>
                <a:srgbClr val="FFFFFF"/>
              </a:buClr>
              <a:buFont typeface="Arial" panose="020B0604020202020204" pitchFamily="34" charset="0"/>
              <a:buChar char="•"/>
            </a:pPr>
            <a:r>
              <a:rPr lang="en-US" sz="2000" dirty="0" smtClean="0">
                <a:solidFill>
                  <a:srgbClr val="FFFFFF"/>
                </a:solidFill>
              </a:rPr>
              <a:t>The Cleveland Cavaliers have introduced a service called “Flash Seats” which replaces physical tickets and allows ticket holders to enter Quicken Loans Arena simply by swiping a credit card or driver’s license at the stadium entrance.</a:t>
            </a:r>
          </a:p>
          <a:p>
            <a:pPr marL="90488" indent="-90488" defTabSz="914400">
              <a:lnSpc>
                <a:spcPct val="90000"/>
              </a:lnSpc>
              <a:buClr>
                <a:srgbClr val="FFFFFF"/>
              </a:buClr>
              <a:buFont typeface="Arial" panose="020B0604020202020204" pitchFamily="34" charset="0"/>
              <a:buChar char="•"/>
            </a:pPr>
            <a:r>
              <a:rPr lang="en-US" sz="2000" dirty="0" smtClean="0">
                <a:solidFill>
                  <a:srgbClr val="FFFFFF"/>
                </a:solidFill>
              </a:rPr>
              <a:t>The new technology not only provides the convenience of ticketless venue access but also offers a secure online marketplace for transferring and selling game seats.</a:t>
            </a:r>
          </a:p>
          <a:p>
            <a:pPr marL="90488" indent="-90488" defTabSz="914400">
              <a:lnSpc>
                <a:spcPct val="90000"/>
              </a:lnSpc>
              <a:buClr>
                <a:srgbClr val="FFFFFF"/>
              </a:buClr>
              <a:buFont typeface="Arial" panose="020B0604020202020204" pitchFamily="34" charset="0"/>
              <a:buChar char="•"/>
            </a:pPr>
            <a:r>
              <a:rPr lang="en-US" sz="2000" dirty="0" smtClean="0">
                <a:solidFill>
                  <a:srgbClr val="FFFFFF"/>
                </a:solidFill>
              </a:rPr>
              <a:t>By using their online “Flash Seat” account, season ticket holders can transfer their seats to other parties. After creating their own “Flash Seats” account the transferee can then use their personal identification to enter the arena. </a:t>
            </a:r>
          </a:p>
          <a:p>
            <a:pPr marL="90488" indent="-90488" defTabSz="914400">
              <a:lnSpc>
                <a:spcPct val="90000"/>
              </a:lnSpc>
              <a:buClr>
                <a:srgbClr val="FFFFFF"/>
              </a:buClr>
              <a:buFont typeface="Arial" panose="020B0604020202020204" pitchFamily="34" charset="0"/>
              <a:buChar char="•"/>
            </a:pPr>
            <a:endParaRPr lang="en-US" sz="2000" dirty="0" smtClean="0">
              <a:solidFill>
                <a:srgbClr val="FFFFFF"/>
              </a:solidFill>
            </a:endParaRPr>
          </a:p>
          <a:p>
            <a:pPr defTabSz="914400">
              <a:lnSpc>
                <a:spcPct val="90000"/>
              </a:lnSpc>
              <a:defRPr/>
            </a:pPr>
            <a:r>
              <a:rPr lang="en-US" sz="3200" b="1" dirty="0" smtClean="0">
                <a:solidFill>
                  <a:srgbClr val="FFFFFF"/>
                </a:solidFill>
              </a:rPr>
              <a:t>RESULTS</a:t>
            </a:r>
          </a:p>
          <a:p>
            <a:pPr defTabSz="914400">
              <a:lnSpc>
                <a:spcPct val="90000"/>
              </a:lnSpc>
              <a:defRPr/>
            </a:pPr>
            <a:endParaRPr lang="en-US" sz="600" b="1" dirty="0" smtClean="0">
              <a:solidFill>
                <a:srgbClr val="FFFFFF"/>
              </a:solidFill>
            </a:endParaRPr>
          </a:p>
          <a:p>
            <a:pPr marL="90488" indent="-90488" defTabSz="914400">
              <a:lnSpc>
                <a:spcPct val="90000"/>
              </a:lnSpc>
              <a:buClr>
                <a:srgbClr val="FFFFFF"/>
              </a:buClr>
              <a:buFont typeface="Arial" panose="020B0604020202020204" pitchFamily="34" charset="0"/>
              <a:buChar char="•"/>
            </a:pPr>
            <a:r>
              <a:rPr lang="en-US" sz="2000" dirty="0" smtClean="0">
                <a:solidFill>
                  <a:srgbClr val="FFFFFF"/>
                </a:solidFill>
              </a:rPr>
              <a:t>Fast access into the arena for fans without worrying about forgotten, lost or stolen tickets. </a:t>
            </a:r>
          </a:p>
          <a:p>
            <a:pPr marL="90488" indent="-90488" defTabSz="914400">
              <a:lnSpc>
                <a:spcPct val="90000"/>
              </a:lnSpc>
              <a:buClr>
                <a:srgbClr val="FFFFFF"/>
              </a:buClr>
              <a:buFont typeface="Arial" panose="020B0604020202020204" pitchFamily="34" charset="0"/>
              <a:buChar char="•"/>
            </a:pPr>
            <a:r>
              <a:rPr lang="en-US" sz="2000" dirty="0" smtClean="0">
                <a:solidFill>
                  <a:srgbClr val="FFFFFF"/>
                </a:solidFill>
              </a:rPr>
              <a:t>Through Flash Seats any fan can purchase tickets even for a sold-out game, thereby increasing the number of new on-site fans/attendants.  </a:t>
            </a:r>
          </a:p>
          <a:p>
            <a:pPr marL="90488" indent="-90488" defTabSz="914400">
              <a:lnSpc>
                <a:spcPct val="90000"/>
              </a:lnSpc>
              <a:buClr>
                <a:srgbClr val="FFFFFF"/>
              </a:buClr>
              <a:buFont typeface="Arial" panose="020B0604020202020204" pitchFamily="34" charset="0"/>
              <a:buChar char="•"/>
            </a:pPr>
            <a:r>
              <a:rPr lang="en-US" sz="2000" dirty="0" smtClean="0">
                <a:solidFill>
                  <a:srgbClr val="FFFFFF"/>
                </a:solidFill>
              </a:rPr>
              <a:t>Collection of data from fans and visitors attending the game using “Flash Seats”.</a:t>
            </a:r>
          </a:p>
          <a:p>
            <a:endParaRPr lang="en-GB" sz="2000" dirty="0"/>
          </a:p>
        </p:txBody>
      </p:sp>
      <p:sp>
        <p:nvSpPr>
          <p:cNvPr id="4" name="Slide Number Placeholder 3"/>
          <p:cNvSpPr>
            <a:spLocks noGrp="1"/>
          </p:cNvSpPr>
          <p:nvPr>
            <p:ph type="sldNum" sz="quarter" idx="10"/>
          </p:nvPr>
        </p:nvSpPr>
        <p:spPr/>
        <p:txBody>
          <a:bodyPr/>
          <a:lstStyle/>
          <a:p>
            <a:fld id="{3243C025-3C03-490F-AAD2-1B5F1E4FAF7B}" type="slidenum">
              <a:rPr lang="en-US" smtClean="0">
                <a:solidFill>
                  <a:prstClr val="black"/>
                </a:solidFill>
              </a:rPr>
              <a:pPr/>
              <a:t>24</a:t>
            </a:fld>
            <a:endParaRPr lang="en-US">
              <a:solidFill>
                <a:prstClr val="black"/>
              </a:solidFill>
            </a:endParaRPr>
          </a:p>
        </p:txBody>
      </p:sp>
    </p:spTree>
    <p:extLst>
      <p:ext uri="{BB962C8B-B14F-4D97-AF65-F5344CB8AC3E}">
        <p14:creationId xmlns:p14="http://schemas.microsoft.com/office/powerpoint/2010/main" val="36916430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697163" y="509588"/>
            <a:ext cx="4532312" cy="2549525"/>
          </a:xfrm>
        </p:spPr>
      </p:sp>
      <p:sp>
        <p:nvSpPr>
          <p:cNvPr id="3" name="Notes Placeholder 2"/>
          <p:cNvSpPr>
            <a:spLocks noGrp="1"/>
          </p:cNvSpPr>
          <p:nvPr>
            <p:ph type="body" idx="1"/>
          </p:nvPr>
        </p:nvSpPr>
        <p:spPr/>
        <p:txBody>
          <a:bodyPr/>
          <a:lstStyle/>
          <a:p>
            <a:pPr defTabSz="914400">
              <a:lnSpc>
                <a:spcPct val="90000"/>
              </a:lnSpc>
              <a:defRPr/>
            </a:pPr>
            <a:r>
              <a:rPr lang="en-US" sz="1600" b="1" dirty="0" smtClean="0">
                <a:solidFill>
                  <a:srgbClr val="FFFFFF"/>
                </a:solidFill>
              </a:rPr>
              <a:t>KEY FACTS</a:t>
            </a:r>
          </a:p>
          <a:p>
            <a:pPr defTabSz="914400">
              <a:lnSpc>
                <a:spcPct val="90000"/>
              </a:lnSpc>
              <a:defRPr/>
            </a:pPr>
            <a:endParaRPr lang="en-US" sz="200" b="1" dirty="0" smtClean="0">
              <a:solidFill>
                <a:srgbClr val="FFFFFF"/>
              </a:solidFill>
            </a:endParaRPr>
          </a:p>
          <a:p>
            <a:pPr marL="90488" indent="-90488" defTabSz="914400">
              <a:lnSpc>
                <a:spcPct val="90000"/>
              </a:lnSpc>
              <a:buClr>
                <a:srgbClr val="FFFFFF"/>
              </a:buClr>
              <a:buFont typeface="Arial" panose="020B0604020202020204" pitchFamily="34" charset="0"/>
              <a:buChar char="•"/>
            </a:pPr>
            <a:r>
              <a:rPr lang="en-US" sz="1050" dirty="0" smtClean="0">
                <a:solidFill>
                  <a:srgbClr val="FFFFFF"/>
                </a:solidFill>
              </a:rPr>
              <a:t>The San Francisco 49ers have developed a fan program called „Faithful 49“ in order to support fans in living their passion for the club and being rewarded for loyal fan behavior.</a:t>
            </a:r>
          </a:p>
          <a:p>
            <a:pPr marL="90488" indent="-90488" defTabSz="914400">
              <a:lnSpc>
                <a:spcPct val="90000"/>
              </a:lnSpc>
              <a:buClr>
                <a:srgbClr val="FFFFFF"/>
              </a:buClr>
              <a:buFont typeface="Arial" panose="020B0604020202020204" pitchFamily="34" charset="0"/>
              <a:buChar char="•"/>
            </a:pPr>
            <a:r>
              <a:rPr lang="en-US" sz="1050" dirty="0" smtClean="0">
                <a:solidFill>
                  <a:srgbClr val="FFFFFF"/>
                </a:solidFill>
              </a:rPr>
              <a:t>The San Francisco 49ers use apps and online access opportunities to create different touchpoints with fans or attendants of events at the stadium.</a:t>
            </a:r>
          </a:p>
          <a:p>
            <a:pPr marL="90488" indent="-90488" defTabSz="914400">
              <a:lnSpc>
                <a:spcPct val="90000"/>
              </a:lnSpc>
              <a:buClr>
                <a:srgbClr val="FFFFFF"/>
              </a:buClr>
              <a:buFont typeface="Arial" panose="020B0604020202020204" pitchFamily="34" charset="0"/>
              <a:buChar char="•"/>
            </a:pPr>
            <a:r>
              <a:rPr lang="en-US" sz="1050" dirty="0" smtClean="0">
                <a:solidFill>
                  <a:srgbClr val="FFFFFF"/>
                </a:solidFill>
              </a:rPr>
              <a:t>An app provides fans with different services like </a:t>
            </a:r>
          </a:p>
          <a:p>
            <a:pPr marL="547688" lvl="1" indent="-90488" defTabSz="914400">
              <a:lnSpc>
                <a:spcPct val="90000"/>
              </a:lnSpc>
              <a:buClr>
                <a:srgbClr val="FFFFFF"/>
              </a:buClr>
              <a:buFont typeface="Arial" panose="020B0604020202020204" pitchFamily="34" charset="0"/>
              <a:buChar char="•"/>
            </a:pPr>
            <a:r>
              <a:rPr lang="en-US" sz="1050" dirty="0" smtClean="0">
                <a:solidFill>
                  <a:srgbClr val="FFFFFF"/>
                </a:solidFill>
              </a:rPr>
              <a:t>in-seat order and delivery of food and merchandising</a:t>
            </a:r>
          </a:p>
          <a:p>
            <a:pPr marL="547688" lvl="1" indent="-90488" defTabSz="914400">
              <a:lnSpc>
                <a:spcPct val="90000"/>
              </a:lnSpc>
              <a:buClr>
                <a:srgbClr val="FFFFFF"/>
              </a:buClr>
              <a:buFont typeface="Arial" panose="020B0604020202020204" pitchFamily="34" charset="0"/>
              <a:buChar char="•"/>
            </a:pPr>
            <a:r>
              <a:rPr lang="en-US" sz="1050" dirty="0" smtClean="0">
                <a:solidFill>
                  <a:srgbClr val="FFFFFF"/>
                </a:solidFill>
              </a:rPr>
              <a:t>mobile ticketing</a:t>
            </a:r>
          </a:p>
          <a:p>
            <a:pPr marL="547688" lvl="1" indent="-90488" defTabSz="914400">
              <a:lnSpc>
                <a:spcPct val="90000"/>
              </a:lnSpc>
              <a:buClr>
                <a:srgbClr val="FFFFFF"/>
              </a:buClr>
              <a:buFont typeface="Arial" panose="020B0604020202020204" pitchFamily="34" charset="0"/>
              <a:buChar char="•"/>
            </a:pPr>
            <a:r>
              <a:rPr lang="en-US" sz="1050" dirty="0" smtClean="0">
                <a:solidFill>
                  <a:srgbClr val="FFFFFF"/>
                </a:solidFill>
              </a:rPr>
              <a:t>instant replay</a:t>
            </a:r>
          </a:p>
          <a:p>
            <a:pPr marL="547688" lvl="1" indent="-90488" defTabSz="914400">
              <a:lnSpc>
                <a:spcPct val="90000"/>
              </a:lnSpc>
              <a:buClr>
                <a:srgbClr val="FFFFFF"/>
              </a:buClr>
              <a:buFont typeface="Arial" panose="020B0604020202020204" pitchFamily="34" charset="0"/>
              <a:buChar char="•"/>
            </a:pPr>
            <a:r>
              <a:rPr lang="en-US" sz="1050" dirty="0" smtClean="0">
                <a:solidFill>
                  <a:srgbClr val="FFFFFF"/>
                </a:solidFill>
              </a:rPr>
              <a:t>stadia navigation and parking system.</a:t>
            </a:r>
          </a:p>
          <a:p>
            <a:endParaRPr lang="en-GB" dirty="0" smtClean="0"/>
          </a:p>
          <a:p>
            <a:pPr defTabSz="914400">
              <a:lnSpc>
                <a:spcPct val="90000"/>
              </a:lnSpc>
              <a:defRPr/>
            </a:pPr>
            <a:r>
              <a:rPr lang="en-US" sz="1600" b="1" dirty="0" smtClean="0">
                <a:solidFill>
                  <a:srgbClr val="FFFFFF"/>
                </a:solidFill>
              </a:rPr>
              <a:t>RESULTS</a:t>
            </a:r>
          </a:p>
          <a:p>
            <a:pPr marL="90488" indent="-90488" defTabSz="914400">
              <a:lnSpc>
                <a:spcPct val="90000"/>
              </a:lnSpc>
              <a:buClr>
                <a:srgbClr val="FFFFFF"/>
              </a:buClr>
              <a:buFont typeface="Arial" panose="020B0604020202020204" pitchFamily="34" charset="0"/>
              <a:buChar char="•"/>
            </a:pPr>
            <a:r>
              <a:rPr lang="en-US" sz="1200" dirty="0" smtClean="0">
                <a:solidFill>
                  <a:srgbClr val="FFFFFF"/>
                </a:solidFill>
              </a:rPr>
              <a:t>The fan program generates many data points with fans and potential customers in order to track fan behavior and generate relevant data for further analysis.</a:t>
            </a:r>
          </a:p>
          <a:p>
            <a:pPr marL="90488" indent="-90488" defTabSz="914400">
              <a:lnSpc>
                <a:spcPct val="90000"/>
              </a:lnSpc>
              <a:buClr>
                <a:srgbClr val="FFFFFF"/>
              </a:buClr>
              <a:buFont typeface="Arial" panose="020B0604020202020204" pitchFamily="34" charset="0"/>
              <a:buChar char="•"/>
            </a:pPr>
            <a:r>
              <a:rPr lang="en-US" sz="1200" dirty="0" smtClean="0">
                <a:solidFill>
                  <a:srgbClr val="FFFFFF"/>
                </a:solidFill>
              </a:rPr>
              <a:t>The event experience is increased along the whole customer journey as the fan program also focuses on touchpoints prior and past the event.</a:t>
            </a:r>
          </a:p>
          <a:p>
            <a:pPr marL="90488" indent="-90488" defTabSz="914400">
              <a:lnSpc>
                <a:spcPct val="90000"/>
              </a:lnSpc>
              <a:buClr>
                <a:srgbClr val="FFFFFF"/>
              </a:buClr>
              <a:buFont typeface="Arial" panose="020B0604020202020204" pitchFamily="34" charset="0"/>
              <a:buChar char="•"/>
            </a:pPr>
            <a:r>
              <a:rPr lang="en-US" sz="1200" dirty="0" smtClean="0">
                <a:solidFill>
                  <a:srgbClr val="FFFFFF"/>
                </a:solidFill>
              </a:rPr>
              <a:t>Not only 49ers fan information are collected but also data of friends or relatives as game tickets can be transferred easily. </a:t>
            </a:r>
          </a:p>
          <a:p>
            <a:pPr marL="90488" indent="-90488" defTabSz="914400">
              <a:lnSpc>
                <a:spcPct val="90000"/>
              </a:lnSpc>
              <a:buClr>
                <a:srgbClr val="FFFFFF"/>
              </a:buClr>
              <a:buFont typeface="Arial" panose="020B0604020202020204" pitchFamily="34" charset="0"/>
              <a:buChar char="•"/>
            </a:pPr>
            <a:r>
              <a:rPr lang="en-US" sz="1200" dirty="0" smtClean="0">
                <a:solidFill>
                  <a:srgbClr val="FFFFFF"/>
                </a:solidFill>
              </a:rPr>
              <a:t>The stadium is not only used for games of 49ers but also for other events which can be promoted via the app.</a:t>
            </a:r>
          </a:p>
          <a:p>
            <a:endParaRPr lang="en-GB" dirty="0"/>
          </a:p>
        </p:txBody>
      </p:sp>
      <p:sp>
        <p:nvSpPr>
          <p:cNvPr id="4" name="Slide Number Placeholder 3"/>
          <p:cNvSpPr>
            <a:spLocks noGrp="1"/>
          </p:cNvSpPr>
          <p:nvPr>
            <p:ph type="sldNum" sz="quarter" idx="10"/>
          </p:nvPr>
        </p:nvSpPr>
        <p:spPr/>
        <p:txBody>
          <a:bodyPr/>
          <a:lstStyle/>
          <a:p>
            <a:fld id="{3243C025-3C03-490F-AAD2-1B5F1E4FAF7B}" type="slidenum">
              <a:rPr lang="en-US" smtClean="0">
                <a:solidFill>
                  <a:prstClr val="black"/>
                </a:solidFill>
              </a:rPr>
              <a:pPr/>
              <a:t>25</a:t>
            </a:fld>
            <a:endParaRPr lang="en-US">
              <a:solidFill>
                <a:prstClr val="black"/>
              </a:solidFill>
            </a:endParaRPr>
          </a:p>
        </p:txBody>
      </p:sp>
    </p:spTree>
    <p:extLst>
      <p:ext uri="{BB962C8B-B14F-4D97-AF65-F5344CB8AC3E}">
        <p14:creationId xmlns:p14="http://schemas.microsoft.com/office/powerpoint/2010/main" val="36916430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697163" y="509588"/>
            <a:ext cx="4532312" cy="2549525"/>
          </a:xfrm>
        </p:spPr>
      </p:sp>
      <p:sp>
        <p:nvSpPr>
          <p:cNvPr id="3" name="Notes Placeholder 2"/>
          <p:cNvSpPr>
            <a:spLocks noGrp="1"/>
          </p:cNvSpPr>
          <p:nvPr>
            <p:ph type="body" idx="1"/>
          </p:nvPr>
        </p:nvSpPr>
        <p:spPr/>
        <p:txBody>
          <a:bodyPr/>
          <a:lstStyle/>
          <a:p>
            <a:pPr defTabSz="914400">
              <a:lnSpc>
                <a:spcPct val="90000"/>
              </a:lnSpc>
              <a:defRPr/>
            </a:pPr>
            <a:r>
              <a:rPr lang="en-US" sz="1600" b="1" dirty="0" smtClean="0">
                <a:solidFill>
                  <a:srgbClr val="FFFFFF"/>
                </a:solidFill>
              </a:rPr>
              <a:t>KEY FACTS</a:t>
            </a:r>
          </a:p>
          <a:p>
            <a:pPr defTabSz="914400">
              <a:lnSpc>
                <a:spcPct val="90000"/>
              </a:lnSpc>
              <a:defRPr/>
            </a:pPr>
            <a:endParaRPr lang="en-US" sz="200" b="1" dirty="0" smtClean="0">
              <a:solidFill>
                <a:srgbClr val="FFFFFF"/>
              </a:solidFill>
            </a:endParaRPr>
          </a:p>
          <a:p>
            <a:pPr marL="90488" indent="-90488" defTabSz="914400">
              <a:lnSpc>
                <a:spcPct val="90000"/>
              </a:lnSpc>
              <a:buClr>
                <a:srgbClr val="FFFFFF"/>
              </a:buClr>
              <a:buFont typeface="Arial" panose="020B0604020202020204" pitchFamily="34" charset="0"/>
              <a:buChar char="•"/>
            </a:pPr>
            <a:r>
              <a:rPr lang="en-US" sz="1050" dirty="0" smtClean="0">
                <a:solidFill>
                  <a:srgbClr val="FFFFFF"/>
                </a:solidFill>
              </a:rPr>
              <a:t>The San Francisco 49ers have developed a fan program called „Faithful 49“ in order to support fans in living their passion for the club and being rewarded for loyal fan behavior.</a:t>
            </a:r>
          </a:p>
          <a:p>
            <a:pPr marL="90488" indent="-90488" defTabSz="914400">
              <a:lnSpc>
                <a:spcPct val="90000"/>
              </a:lnSpc>
              <a:buClr>
                <a:srgbClr val="FFFFFF"/>
              </a:buClr>
              <a:buFont typeface="Arial" panose="020B0604020202020204" pitchFamily="34" charset="0"/>
              <a:buChar char="•"/>
            </a:pPr>
            <a:r>
              <a:rPr lang="en-US" sz="1050" dirty="0" smtClean="0">
                <a:solidFill>
                  <a:srgbClr val="FFFFFF"/>
                </a:solidFill>
              </a:rPr>
              <a:t>The San Francisco 49ers use apps and online access opportunities to create different touchpoints with fans or attendants of events at the stadium.</a:t>
            </a:r>
          </a:p>
          <a:p>
            <a:pPr marL="90488" indent="-90488" defTabSz="914400">
              <a:lnSpc>
                <a:spcPct val="90000"/>
              </a:lnSpc>
              <a:buClr>
                <a:srgbClr val="FFFFFF"/>
              </a:buClr>
              <a:buFont typeface="Arial" panose="020B0604020202020204" pitchFamily="34" charset="0"/>
              <a:buChar char="•"/>
            </a:pPr>
            <a:r>
              <a:rPr lang="en-US" sz="1050" dirty="0" smtClean="0">
                <a:solidFill>
                  <a:srgbClr val="FFFFFF"/>
                </a:solidFill>
              </a:rPr>
              <a:t>An app provides fans with different services like </a:t>
            </a:r>
          </a:p>
          <a:p>
            <a:pPr marL="547688" lvl="1" indent="-90488" defTabSz="914400">
              <a:lnSpc>
                <a:spcPct val="90000"/>
              </a:lnSpc>
              <a:buClr>
                <a:srgbClr val="FFFFFF"/>
              </a:buClr>
              <a:buFont typeface="Arial" panose="020B0604020202020204" pitchFamily="34" charset="0"/>
              <a:buChar char="•"/>
            </a:pPr>
            <a:r>
              <a:rPr lang="en-US" sz="1050" dirty="0" smtClean="0">
                <a:solidFill>
                  <a:srgbClr val="FFFFFF"/>
                </a:solidFill>
              </a:rPr>
              <a:t>in-seat order and delivery of food and merchandising</a:t>
            </a:r>
          </a:p>
          <a:p>
            <a:pPr marL="547688" lvl="1" indent="-90488" defTabSz="914400">
              <a:lnSpc>
                <a:spcPct val="90000"/>
              </a:lnSpc>
              <a:buClr>
                <a:srgbClr val="FFFFFF"/>
              </a:buClr>
              <a:buFont typeface="Arial" panose="020B0604020202020204" pitchFamily="34" charset="0"/>
              <a:buChar char="•"/>
            </a:pPr>
            <a:r>
              <a:rPr lang="en-US" sz="1050" dirty="0" smtClean="0">
                <a:solidFill>
                  <a:srgbClr val="FFFFFF"/>
                </a:solidFill>
              </a:rPr>
              <a:t>mobile ticketing</a:t>
            </a:r>
          </a:p>
          <a:p>
            <a:pPr marL="547688" lvl="1" indent="-90488" defTabSz="914400">
              <a:lnSpc>
                <a:spcPct val="90000"/>
              </a:lnSpc>
              <a:buClr>
                <a:srgbClr val="FFFFFF"/>
              </a:buClr>
              <a:buFont typeface="Arial" panose="020B0604020202020204" pitchFamily="34" charset="0"/>
              <a:buChar char="•"/>
            </a:pPr>
            <a:r>
              <a:rPr lang="en-US" sz="1050" dirty="0" smtClean="0">
                <a:solidFill>
                  <a:srgbClr val="FFFFFF"/>
                </a:solidFill>
              </a:rPr>
              <a:t>instant replay</a:t>
            </a:r>
          </a:p>
          <a:p>
            <a:pPr marL="547688" lvl="1" indent="-90488" defTabSz="914400">
              <a:lnSpc>
                <a:spcPct val="90000"/>
              </a:lnSpc>
              <a:buClr>
                <a:srgbClr val="FFFFFF"/>
              </a:buClr>
              <a:buFont typeface="Arial" panose="020B0604020202020204" pitchFamily="34" charset="0"/>
              <a:buChar char="•"/>
            </a:pPr>
            <a:r>
              <a:rPr lang="en-US" sz="1050" dirty="0" smtClean="0">
                <a:solidFill>
                  <a:srgbClr val="FFFFFF"/>
                </a:solidFill>
              </a:rPr>
              <a:t>stadia navigation and parking system.</a:t>
            </a:r>
          </a:p>
          <a:p>
            <a:endParaRPr lang="en-GB" dirty="0" smtClean="0"/>
          </a:p>
          <a:p>
            <a:pPr defTabSz="914400">
              <a:lnSpc>
                <a:spcPct val="90000"/>
              </a:lnSpc>
              <a:defRPr/>
            </a:pPr>
            <a:r>
              <a:rPr lang="en-US" sz="1600" b="1" dirty="0" smtClean="0">
                <a:solidFill>
                  <a:srgbClr val="FFFFFF"/>
                </a:solidFill>
              </a:rPr>
              <a:t>RESULTS</a:t>
            </a:r>
          </a:p>
          <a:p>
            <a:pPr marL="90488" indent="-90488" defTabSz="914400">
              <a:lnSpc>
                <a:spcPct val="90000"/>
              </a:lnSpc>
              <a:buClr>
                <a:srgbClr val="FFFFFF"/>
              </a:buClr>
              <a:buFont typeface="Arial" panose="020B0604020202020204" pitchFamily="34" charset="0"/>
              <a:buChar char="•"/>
            </a:pPr>
            <a:r>
              <a:rPr lang="en-US" sz="1200" dirty="0" smtClean="0">
                <a:solidFill>
                  <a:srgbClr val="FFFFFF"/>
                </a:solidFill>
              </a:rPr>
              <a:t>The fan program generates many data points with fans and potential customers in order to track fan behavior and generate relevant data for further analysis.</a:t>
            </a:r>
          </a:p>
          <a:p>
            <a:pPr marL="90488" indent="-90488" defTabSz="914400">
              <a:lnSpc>
                <a:spcPct val="90000"/>
              </a:lnSpc>
              <a:buClr>
                <a:srgbClr val="FFFFFF"/>
              </a:buClr>
              <a:buFont typeface="Arial" panose="020B0604020202020204" pitchFamily="34" charset="0"/>
              <a:buChar char="•"/>
            </a:pPr>
            <a:r>
              <a:rPr lang="en-US" sz="1200" dirty="0" smtClean="0">
                <a:solidFill>
                  <a:srgbClr val="FFFFFF"/>
                </a:solidFill>
              </a:rPr>
              <a:t>The event experience is increased along the whole customer journey as the fan program also focuses on touchpoints prior and past the event.</a:t>
            </a:r>
          </a:p>
          <a:p>
            <a:pPr marL="90488" indent="-90488" defTabSz="914400">
              <a:lnSpc>
                <a:spcPct val="90000"/>
              </a:lnSpc>
              <a:buClr>
                <a:srgbClr val="FFFFFF"/>
              </a:buClr>
              <a:buFont typeface="Arial" panose="020B0604020202020204" pitchFamily="34" charset="0"/>
              <a:buChar char="•"/>
            </a:pPr>
            <a:r>
              <a:rPr lang="en-US" sz="1200" dirty="0" smtClean="0">
                <a:solidFill>
                  <a:srgbClr val="FFFFFF"/>
                </a:solidFill>
              </a:rPr>
              <a:t>Not only 49ers fan information are collected but also data of friends or relatives as game tickets can be transferred easily. </a:t>
            </a:r>
          </a:p>
          <a:p>
            <a:pPr marL="90488" indent="-90488" defTabSz="914400">
              <a:lnSpc>
                <a:spcPct val="90000"/>
              </a:lnSpc>
              <a:buClr>
                <a:srgbClr val="FFFFFF"/>
              </a:buClr>
              <a:buFont typeface="Arial" panose="020B0604020202020204" pitchFamily="34" charset="0"/>
              <a:buChar char="•"/>
            </a:pPr>
            <a:r>
              <a:rPr lang="en-US" sz="1200" dirty="0" smtClean="0">
                <a:solidFill>
                  <a:srgbClr val="FFFFFF"/>
                </a:solidFill>
              </a:rPr>
              <a:t>The stadium is not only used for games of 49ers but also for other events which can be promoted via the app.</a:t>
            </a:r>
          </a:p>
          <a:p>
            <a:endParaRPr lang="en-GB" dirty="0"/>
          </a:p>
        </p:txBody>
      </p:sp>
      <p:sp>
        <p:nvSpPr>
          <p:cNvPr id="4" name="Slide Number Placeholder 3"/>
          <p:cNvSpPr>
            <a:spLocks noGrp="1"/>
          </p:cNvSpPr>
          <p:nvPr>
            <p:ph type="sldNum" sz="quarter" idx="10"/>
          </p:nvPr>
        </p:nvSpPr>
        <p:spPr/>
        <p:txBody>
          <a:bodyPr/>
          <a:lstStyle/>
          <a:p>
            <a:fld id="{3243C025-3C03-490F-AAD2-1B5F1E4FAF7B}" type="slidenum">
              <a:rPr lang="en-US" smtClean="0">
                <a:solidFill>
                  <a:prstClr val="black"/>
                </a:solidFill>
              </a:rPr>
              <a:pPr/>
              <a:t>26</a:t>
            </a:fld>
            <a:endParaRPr lang="en-US">
              <a:solidFill>
                <a:prstClr val="black"/>
              </a:solidFill>
            </a:endParaRPr>
          </a:p>
        </p:txBody>
      </p:sp>
    </p:spTree>
    <p:extLst>
      <p:ext uri="{BB962C8B-B14F-4D97-AF65-F5344CB8AC3E}">
        <p14:creationId xmlns:p14="http://schemas.microsoft.com/office/powerpoint/2010/main" val="36916430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697163" y="509588"/>
            <a:ext cx="4532312" cy="2549525"/>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0BB30213-3389-4756-ADED-F048FFEFDAC9}" type="slidenum">
              <a:rPr lang="en-US" smtClean="0">
                <a:solidFill>
                  <a:prstClr val="black"/>
                </a:solidFill>
              </a:rPr>
              <a:pPr/>
              <a:t>27</a:t>
            </a:fld>
            <a:endParaRPr lang="en-US">
              <a:solidFill>
                <a:prstClr val="black"/>
              </a:solidFill>
            </a:endParaRPr>
          </a:p>
        </p:txBody>
      </p:sp>
    </p:spTree>
    <p:extLst>
      <p:ext uri="{BB962C8B-B14F-4D97-AF65-F5344CB8AC3E}">
        <p14:creationId xmlns:p14="http://schemas.microsoft.com/office/powerpoint/2010/main" val="402133242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697163" y="509588"/>
            <a:ext cx="4532312" cy="254952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243C025-3C03-490F-AAD2-1B5F1E4FAF7B}" type="slidenum">
              <a:rPr lang="en-US" smtClean="0">
                <a:solidFill>
                  <a:prstClr val="black"/>
                </a:solidFill>
              </a:rPr>
              <a:pPr/>
              <a:t>5</a:t>
            </a:fld>
            <a:endParaRPr lang="en-US">
              <a:solidFill>
                <a:prstClr val="black"/>
              </a:solidFill>
            </a:endParaRPr>
          </a:p>
        </p:txBody>
      </p:sp>
    </p:spTree>
    <p:extLst>
      <p:ext uri="{BB962C8B-B14F-4D97-AF65-F5344CB8AC3E}">
        <p14:creationId xmlns:p14="http://schemas.microsoft.com/office/powerpoint/2010/main" val="36916430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697163" y="509588"/>
            <a:ext cx="4532312" cy="2549525"/>
          </a:xfrm>
        </p:spPr>
      </p:sp>
      <p:sp>
        <p:nvSpPr>
          <p:cNvPr id="3" name="Notes Placeholder 2"/>
          <p:cNvSpPr>
            <a:spLocks noGrp="1"/>
          </p:cNvSpPr>
          <p:nvPr>
            <p:ph type="body" idx="1"/>
          </p:nvPr>
        </p:nvSpPr>
        <p:spPr/>
        <p:txBody>
          <a:bodyPr/>
          <a:lstStyle/>
          <a:p>
            <a:pPr marL="0" marR="0" lvl="0" indent="0" defTabSz="914400" eaLnBrk="1" fontAlgn="auto" latinLnBrk="0" hangingPunct="1">
              <a:lnSpc>
                <a:spcPct val="100000"/>
              </a:lnSpc>
              <a:spcBef>
                <a:spcPts val="0"/>
              </a:spcBef>
              <a:spcAft>
                <a:spcPts val="0"/>
              </a:spcAft>
              <a:buClr>
                <a:srgbClr val="009DD9"/>
              </a:buClr>
              <a:buSzTx/>
              <a:buFont typeface="Arial" panose="020B0604020202020204" pitchFamily="34" charset="0"/>
              <a:buNone/>
              <a:tabLst/>
              <a:defRPr/>
            </a:pPr>
            <a:r>
              <a:rPr kumimoji="0" lang="en-AU" sz="1200" b="0" i="0" u="none" strike="noStrike" kern="0" cap="none" spc="0" normalizeH="0" baseline="0" noProof="0" dirty="0" smtClean="0">
                <a:ln>
                  <a:noFill/>
                </a:ln>
                <a:solidFill>
                  <a:srgbClr val="5F5F5F"/>
                </a:solidFill>
                <a:effectLst/>
                <a:uLnTx/>
                <a:uFillTx/>
              </a:rPr>
              <a:t>RIGHTS HOLDERS</a:t>
            </a:r>
          </a:p>
          <a:p>
            <a:pPr marL="171450" marR="0" lvl="0" indent="-171450" defTabSz="914400" eaLnBrk="1" fontAlgn="auto" latinLnBrk="0" hangingPunct="1">
              <a:lnSpc>
                <a:spcPct val="100000"/>
              </a:lnSpc>
              <a:spcBef>
                <a:spcPts val="0"/>
              </a:spcBef>
              <a:spcAft>
                <a:spcPts val="0"/>
              </a:spcAft>
              <a:buClr>
                <a:srgbClr val="009DD9"/>
              </a:buClr>
              <a:buSzTx/>
              <a:buFont typeface="Arial" panose="020B0604020202020204" pitchFamily="34" charset="0"/>
              <a:buChar char="•"/>
              <a:tabLst/>
              <a:defRPr/>
            </a:pPr>
            <a:r>
              <a:rPr kumimoji="0" lang="en-AU" sz="1200" b="0" i="0" u="none" strike="noStrike" kern="0" cap="none" spc="0" normalizeH="0" baseline="0" noProof="0" dirty="0" smtClean="0">
                <a:ln>
                  <a:noFill/>
                </a:ln>
                <a:solidFill>
                  <a:srgbClr val="5F5F5F"/>
                </a:solidFill>
                <a:effectLst/>
                <a:uLnTx/>
                <a:uFillTx/>
              </a:rPr>
              <a:t>Maintaining control over the production of primary content, and creating a wider range of additional/secondary content.</a:t>
            </a:r>
          </a:p>
          <a:p>
            <a:pPr marL="171450" marR="0" lvl="0" indent="-171450" defTabSz="914400" eaLnBrk="1" fontAlgn="auto" latinLnBrk="0" hangingPunct="1">
              <a:lnSpc>
                <a:spcPct val="100000"/>
              </a:lnSpc>
              <a:spcBef>
                <a:spcPts val="0"/>
              </a:spcBef>
              <a:spcAft>
                <a:spcPts val="0"/>
              </a:spcAft>
              <a:buClr>
                <a:srgbClr val="009DD9"/>
              </a:buClr>
              <a:buSzTx/>
              <a:buFont typeface="Arial" panose="020B0604020202020204" pitchFamily="34" charset="0"/>
              <a:buChar char="•"/>
              <a:tabLst/>
              <a:defRPr/>
            </a:pPr>
            <a:r>
              <a:rPr kumimoji="0" lang="en-AU" sz="1200" b="0" i="0" u="none" strike="noStrike" kern="0" cap="none" spc="0" normalizeH="0" baseline="0" noProof="0" dirty="0" smtClean="0">
                <a:ln>
                  <a:noFill/>
                </a:ln>
                <a:solidFill>
                  <a:srgbClr val="5F5F5F"/>
                </a:solidFill>
                <a:effectLst/>
                <a:uLnTx/>
                <a:uFillTx/>
              </a:rPr>
              <a:t>Broadcasting over their own platforms, including branded TV channels and digital platforms.</a:t>
            </a:r>
          </a:p>
          <a:p>
            <a:pPr marL="171450" marR="0" lvl="0" indent="-171450" defTabSz="914400" eaLnBrk="1" fontAlgn="auto" latinLnBrk="0" hangingPunct="1">
              <a:lnSpc>
                <a:spcPct val="100000"/>
              </a:lnSpc>
              <a:spcBef>
                <a:spcPts val="0"/>
              </a:spcBef>
              <a:spcAft>
                <a:spcPts val="0"/>
              </a:spcAft>
              <a:buClr>
                <a:srgbClr val="009DD9"/>
              </a:buClr>
              <a:buSzTx/>
              <a:buFont typeface="Arial" panose="020B0604020202020204" pitchFamily="34" charset="0"/>
              <a:buChar char="•"/>
              <a:tabLst/>
              <a:defRPr/>
            </a:pPr>
            <a:r>
              <a:rPr kumimoji="0" lang="en-AU" sz="1200" b="0" i="0" u="none" strike="noStrike" kern="0" cap="none" spc="0" normalizeH="0" baseline="0" noProof="0" dirty="0" smtClean="0">
                <a:ln>
                  <a:noFill/>
                </a:ln>
                <a:solidFill>
                  <a:srgbClr val="5F5F5F"/>
                </a:solidFill>
                <a:effectLst/>
                <a:uLnTx/>
                <a:uFillTx/>
              </a:rPr>
              <a:t>Expanded partnerships with broadcasters, creating new and engaging content available to consumers over a range of platforms.</a:t>
            </a:r>
          </a:p>
          <a:p>
            <a:pPr marL="171450" marR="0" lvl="0" indent="-171450" defTabSz="914400" eaLnBrk="1" fontAlgn="auto" latinLnBrk="0" hangingPunct="1">
              <a:lnSpc>
                <a:spcPct val="100000"/>
              </a:lnSpc>
              <a:spcBef>
                <a:spcPts val="0"/>
              </a:spcBef>
              <a:spcAft>
                <a:spcPts val="0"/>
              </a:spcAft>
              <a:buClr>
                <a:srgbClr val="009DD9"/>
              </a:buClr>
              <a:buSzTx/>
              <a:buFont typeface="Arial" panose="020B0604020202020204" pitchFamily="34" charset="0"/>
              <a:buChar char="•"/>
              <a:tabLst/>
              <a:defRPr/>
            </a:pPr>
            <a:endParaRPr kumimoji="0" lang="en-AU" sz="1200" b="0" i="0" u="none" strike="noStrike" kern="0" cap="none" spc="0" normalizeH="0" baseline="0" noProof="0" dirty="0" smtClean="0">
              <a:ln>
                <a:noFill/>
              </a:ln>
              <a:solidFill>
                <a:srgbClr val="5F5F5F"/>
              </a:solidFill>
              <a:effectLst/>
              <a:uLnTx/>
              <a:uFillTx/>
            </a:endParaRPr>
          </a:p>
          <a:p>
            <a:pPr marL="0" marR="0" lvl="0" indent="0" defTabSz="914400" eaLnBrk="1" fontAlgn="auto" latinLnBrk="0" hangingPunct="1">
              <a:lnSpc>
                <a:spcPct val="100000"/>
              </a:lnSpc>
              <a:spcBef>
                <a:spcPts val="0"/>
              </a:spcBef>
              <a:spcAft>
                <a:spcPts val="0"/>
              </a:spcAft>
              <a:buClr>
                <a:srgbClr val="009DD9"/>
              </a:buClr>
              <a:buSzTx/>
              <a:buFont typeface="Arial" panose="020B0604020202020204" pitchFamily="34" charset="0"/>
              <a:buNone/>
              <a:tabLst/>
              <a:defRPr/>
            </a:pPr>
            <a:r>
              <a:rPr kumimoji="0" lang="en-AU" sz="1200" b="0" i="0" u="none" strike="noStrike" kern="0" cap="none" spc="0" normalizeH="0" baseline="0" noProof="0" dirty="0" smtClean="0">
                <a:ln>
                  <a:noFill/>
                </a:ln>
                <a:solidFill>
                  <a:srgbClr val="5F5F5F"/>
                </a:solidFill>
                <a:effectLst/>
                <a:uLnTx/>
                <a:uFillTx/>
              </a:rPr>
              <a:t>ATHLETES/INFLUENCERS</a:t>
            </a:r>
          </a:p>
          <a:p>
            <a:pPr marL="171450" marR="0" lvl="0" indent="-171450" defTabSz="914400" eaLnBrk="1" fontAlgn="auto" latinLnBrk="0" hangingPunct="1">
              <a:lnSpc>
                <a:spcPct val="100000"/>
              </a:lnSpc>
              <a:spcBef>
                <a:spcPts val="0"/>
              </a:spcBef>
              <a:spcAft>
                <a:spcPts val="0"/>
              </a:spcAft>
              <a:buClr>
                <a:srgbClr val="009DD9"/>
              </a:buClr>
              <a:buSzTx/>
              <a:buFont typeface="Arial" panose="020B0604020202020204" pitchFamily="34" charset="0"/>
              <a:buChar char="•"/>
              <a:tabLst/>
              <a:defRPr/>
            </a:pPr>
            <a:r>
              <a:rPr kumimoji="0" lang="en-AU" sz="1200" b="0" i="0" u="none" strike="noStrike" kern="0" cap="none" spc="0" normalizeH="0" baseline="0" noProof="0" dirty="0" smtClean="0">
                <a:ln>
                  <a:noFill/>
                </a:ln>
                <a:solidFill>
                  <a:srgbClr val="5F5F5F"/>
                </a:solidFill>
                <a:effectLst/>
                <a:uLnTx/>
                <a:uFillTx/>
              </a:rPr>
              <a:t>Short-form, highly personal content, broadcast using player-led distribution channels.</a:t>
            </a:r>
          </a:p>
          <a:p>
            <a:pPr marL="171450" marR="0" lvl="0" indent="-171450" defTabSz="914400" eaLnBrk="1" fontAlgn="auto" latinLnBrk="0" hangingPunct="1">
              <a:lnSpc>
                <a:spcPct val="100000"/>
              </a:lnSpc>
              <a:spcBef>
                <a:spcPts val="0"/>
              </a:spcBef>
              <a:spcAft>
                <a:spcPts val="0"/>
              </a:spcAft>
              <a:buClr>
                <a:srgbClr val="009DD9"/>
              </a:buClr>
              <a:buSzTx/>
              <a:buFont typeface="Arial" panose="020B0604020202020204" pitchFamily="34" charset="0"/>
              <a:buChar char="•"/>
              <a:tabLst/>
              <a:defRPr/>
            </a:pPr>
            <a:r>
              <a:rPr kumimoji="0" lang="en-AU" sz="1200" b="0" i="0" u="none" strike="noStrike" kern="0" cap="none" spc="0" normalizeH="0" baseline="0" noProof="0" dirty="0" smtClean="0">
                <a:ln>
                  <a:noFill/>
                </a:ln>
                <a:solidFill>
                  <a:srgbClr val="5F5F5F"/>
                </a:solidFill>
                <a:effectLst/>
                <a:uLnTx/>
                <a:uFillTx/>
              </a:rPr>
              <a:t>Partnership with traditional production companies to create long-form documentaries.</a:t>
            </a:r>
          </a:p>
          <a:p>
            <a:pPr marL="171450" marR="0" lvl="0" indent="-171450" defTabSz="914400" eaLnBrk="1" fontAlgn="auto" latinLnBrk="0" hangingPunct="1">
              <a:lnSpc>
                <a:spcPct val="100000"/>
              </a:lnSpc>
              <a:spcBef>
                <a:spcPts val="0"/>
              </a:spcBef>
              <a:spcAft>
                <a:spcPts val="0"/>
              </a:spcAft>
              <a:buClr>
                <a:srgbClr val="009DD9"/>
              </a:buClr>
              <a:buSzTx/>
              <a:buFont typeface="Arial" panose="020B0604020202020204" pitchFamily="34" charset="0"/>
              <a:buChar char="•"/>
              <a:tabLst/>
              <a:defRPr/>
            </a:pPr>
            <a:r>
              <a:rPr kumimoji="0" lang="en-AU" sz="1200" b="0" i="0" u="none" strike="noStrike" kern="0" cap="none" spc="0" normalizeH="0" baseline="0" noProof="0" dirty="0" smtClean="0">
                <a:ln>
                  <a:noFill/>
                </a:ln>
                <a:solidFill>
                  <a:srgbClr val="5F5F5F"/>
                </a:solidFill>
                <a:effectLst/>
                <a:uLnTx/>
                <a:uFillTx/>
              </a:rPr>
              <a:t>Increasing utilisation of social media and digital platforms to create and distribute content – particularly within minority sports.</a:t>
            </a:r>
          </a:p>
          <a:p>
            <a:pPr marL="171450" marR="0" lvl="0" indent="-171450" defTabSz="914400" eaLnBrk="1" fontAlgn="auto" latinLnBrk="0" hangingPunct="1">
              <a:lnSpc>
                <a:spcPct val="100000"/>
              </a:lnSpc>
              <a:spcBef>
                <a:spcPts val="0"/>
              </a:spcBef>
              <a:spcAft>
                <a:spcPts val="0"/>
              </a:spcAft>
              <a:buClr>
                <a:srgbClr val="009DD9"/>
              </a:buClr>
              <a:buSzTx/>
              <a:buFont typeface="Arial" panose="020B0604020202020204" pitchFamily="34" charset="0"/>
              <a:buChar char="•"/>
              <a:tabLst/>
              <a:defRPr/>
            </a:pPr>
            <a:endParaRPr kumimoji="0" lang="en-AU" sz="1200" b="0" i="0" u="none" strike="noStrike" kern="0" cap="none" spc="0" normalizeH="0" baseline="0" noProof="0" dirty="0" smtClean="0">
              <a:ln>
                <a:noFill/>
              </a:ln>
              <a:solidFill>
                <a:srgbClr val="5F5F5F"/>
              </a:solidFill>
              <a:effectLst/>
              <a:uLnTx/>
              <a:uFillTx/>
            </a:endParaRPr>
          </a:p>
          <a:p>
            <a:pPr marL="0" marR="0" lvl="0" indent="0" defTabSz="914400" eaLnBrk="1" fontAlgn="auto" latinLnBrk="0" hangingPunct="1">
              <a:lnSpc>
                <a:spcPct val="100000"/>
              </a:lnSpc>
              <a:spcBef>
                <a:spcPts val="0"/>
              </a:spcBef>
              <a:spcAft>
                <a:spcPts val="0"/>
              </a:spcAft>
              <a:buClr>
                <a:srgbClr val="009DD9"/>
              </a:buClr>
              <a:buSzTx/>
              <a:buFont typeface="Arial" panose="020B0604020202020204" pitchFamily="34" charset="0"/>
              <a:buNone/>
              <a:tabLst/>
              <a:defRPr/>
            </a:pPr>
            <a:r>
              <a:rPr kumimoji="0" lang="en-AU" sz="1200" b="0" i="0" u="none" strike="noStrike" kern="0" cap="none" spc="0" normalizeH="0" baseline="0" noProof="0" dirty="0" smtClean="0">
                <a:ln>
                  <a:noFill/>
                </a:ln>
                <a:solidFill>
                  <a:srgbClr val="5F5F5F"/>
                </a:solidFill>
                <a:effectLst/>
                <a:uLnTx/>
                <a:uFillTx/>
              </a:rPr>
              <a:t>SPONSORS</a:t>
            </a:r>
          </a:p>
          <a:p>
            <a:pPr marL="171450" marR="0" lvl="0" indent="-171450" defTabSz="914400" eaLnBrk="1" fontAlgn="auto" latinLnBrk="0" hangingPunct="1">
              <a:lnSpc>
                <a:spcPct val="100000"/>
              </a:lnSpc>
              <a:spcBef>
                <a:spcPts val="0"/>
              </a:spcBef>
              <a:spcAft>
                <a:spcPts val="0"/>
              </a:spcAft>
              <a:buClr>
                <a:srgbClr val="009DD9"/>
              </a:buClr>
              <a:buSzTx/>
              <a:buFont typeface="Arial" panose="020B0604020202020204" pitchFamily="34" charset="0"/>
              <a:buChar char="•"/>
              <a:tabLst/>
              <a:defRPr/>
            </a:pPr>
            <a:r>
              <a:rPr kumimoji="0" lang="en-AU" sz="1200" b="0" i="0" u="none" strike="noStrike" kern="0" cap="none" spc="0" normalizeH="0" baseline="0" noProof="0" dirty="0" smtClean="0">
                <a:ln>
                  <a:noFill/>
                </a:ln>
                <a:solidFill>
                  <a:srgbClr val="5F5F5F"/>
                </a:solidFill>
                <a:effectLst/>
                <a:uLnTx/>
                <a:uFillTx/>
              </a:rPr>
              <a:t>Sponsors are seeking more integrated partnerships, and are creating new, highly relevant content.</a:t>
            </a:r>
          </a:p>
          <a:p>
            <a:pPr marL="171450" marR="0" lvl="0" indent="-171450" defTabSz="914400" eaLnBrk="1" fontAlgn="auto" latinLnBrk="0" hangingPunct="1">
              <a:lnSpc>
                <a:spcPct val="100000"/>
              </a:lnSpc>
              <a:spcBef>
                <a:spcPts val="0"/>
              </a:spcBef>
              <a:spcAft>
                <a:spcPts val="0"/>
              </a:spcAft>
              <a:buClr>
                <a:srgbClr val="009DD9"/>
              </a:buClr>
              <a:buSzTx/>
              <a:buFont typeface="Arial" panose="020B0604020202020204" pitchFamily="34" charset="0"/>
              <a:buChar char="•"/>
              <a:tabLst/>
              <a:defRPr/>
            </a:pPr>
            <a:r>
              <a:rPr kumimoji="0" lang="en-AU" sz="1200" b="0" i="0" u="none" strike="noStrike" kern="0" cap="none" spc="0" normalizeH="0" baseline="0" noProof="0" dirty="0" smtClean="0">
                <a:ln>
                  <a:noFill/>
                </a:ln>
                <a:solidFill>
                  <a:srgbClr val="5F5F5F"/>
                </a:solidFill>
                <a:effectLst/>
                <a:uLnTx/>
                <a:uFillTx/>
              </a:rPr>
              <a:t>Strategic tie-ups going way beyond traditional sponsorship are increasing. </a:t>
            </a:r>
          </a:p>
          <a:p>
            <a:pPr marL="171450" marR="0" lvl="0" indent="-171450" defTabSz="914400" eaLnBrk="1" fontAlgn="auto" latinLnBrk="0" hangingPunct="1">
              <a:lnSpc>
                <a:spcPct val="100000"/>
              </a:lnSpc>
              <a:spcBef>
                <a:spcPts val="0"/>
              </a:spcBef>
              <a:spcAft>
                <a:spcPts val="0"/>
              </a:spcAft>
              <a:buClr>
                <a:srgbClr val="009DD9"/>
              </a:buClr>
              <a:buSzTx/>
              <a:buFont typeface="Arial" panose="020B0604020202020204" pitchFamily="34" charset="0"/>
              <a:buChar char="•"/>
              <a:tabLst/>
              <a:defRPr/>
            </a:pPr>
            <a:r>
              <a:rPr kumimoji="0" lang="en-AU" sz="1200" b="0" i="0" u="none" strike="noStrike" kern="0" cap="none" spc="0" normalizeH="0" baseline="0" noProof="0" dirty="0" smtClean="0">
                <a:ln>
                  <a:noFill/>
                </a:ln>
                <a:solidFill>
                  <a:srgbClr val="5F5F5F"/>
                </a:solidFill>
                <a:effectLst/>
                <a:uLnTx/>
                <a:uFillTx/>
              </a:rPr>
              <a:t>Brands are working directly with athletes to create new and engaging content.</a:t>
            </a:r>
          </a:p>
          <a:p>
            <a:pPr marL="0" marR="0" lvl="0" indent="0" defTabSz="914400" eaLnBrk="1" fontAlgn="auto" latinLnBrk="0" hangingPunct="1">
              <a:lnSpc>
                <a:spcPct val="100000"/>
              </a:lnSpc>
              <a:spcBef>
                <a:spcPts val="0"/>
              </a:spcBef>
              <a:spcAft>
                <a:spcPts val="0"/>
              </a:spcAft>
              <a:buClr>
                <a:srgbClr val="009DD9"/>
              </a:buClr>
              <a:buSzTx/>
              <a:buFont typeface="Arial" panose="020B0604020202020204" pitchFamily="34" charset="0"/>
              <a:buNone/>
              <a:tabLst/>
              <a:defRPr/>
            </a:pPr>
            <a:endParaRPr kumimoji="0" lang="en-AU" sz="1200" b="0" i="0" u="none" strike="noStrike" kern="0" cap="none" spc="0" normalizeH="0" baseline="0" noProof="0" dirty="0" smtClean="0">
              <a:ln>
                <a:noFill/>
              </a:ln>
              <a:solidFill>
                <a:srgbClr val="5F5F5F"/>
              </a:solidFill>
              <a:effectLst/>
              <a:uLnTx/>
              <a:uFillTx/>
            </a:endParaRPr>
          </a:p>
          <a:p>
            <a:pPr marL="171450" marR="0" lvl="0" indent="-171450" defTabSz="914400" eaLnBrk="1" fontAlgn="auto" latinLnBrk="0" hangingPunct="1">
              <a:lnSpc>
                <a:spcPct val="100000"/>
              </a:lnSpc>
              <a:spcBef>
                <a:spcPts val="0"/>
              </a:spcBef>
              <a:spcAft>
                <a:spcPts val="0"/>
              </a:spcAft>
              <a:buClr>
                <a:srgbClr val="009DD9"/>
              </a:buClr>
              <a:buSzTx/>
              <a:buFont typeface="Arial" panose="020B0604020202020204" pitchFamily="34" charset="0"/>
              <a:buChar char="•"/>
              <a:tabLst/>
              <a:defRPr/>
            </a:pPr>
            <a:endParaRPr kumimoji="0" lang="en-AU" sz="1200" b="0" i="0" u="none" strike="noStrike" kern="0" cap="none" spc="0" normalizeH="0" baseline="0" noProof="0" dirty="0" smtClean="0">
              <a:ln>
                <a:noFill/>
              </a:ln>
              <a:solidFill>
                <a:srgbClr val="5F5F5F"/>
              </a:solidFill>
              <a:effectLst/>
              <a:uLnTx/>
              <a:uFillTx/>
            </a:endParaRPr>
          </a:p>
          <a:p>
            <a:pPr marL="171450" marR="0" lvl="0" indent="-171450" defTabSz="914400" eaLnBrk="1" fontAlgn="auto" latinLnBrk="0" hangingPunct="1">
              <a:lnSpc>
                <a:spcPct val="100000"/>
              </a:lnSpc>
              <a:spcBef>
                <a:spcPts val="0"/>
              </a:spcBef>
              <a:spcAft>
                <a:spcPts val="0"/>
              </a:spcAft>
              <a:buClr>
                <a:srgbClr val="009DD9"/>
              </a:buClr>
              <a:buSzTx/>
              <a:buFont typeface="Arial" panose="020B0604020202020204" pitchFamily="34" charset="0"/>
              <a:buChar char="•"/>
              <a:tabLst/>
              <a:defRPr/>
            </a:pPr>
            <a:endParaRPr kumimoji="0" lang="en-AU" sz="1200" b="0" i="0" u="none" strike="noStrike" kern="0" cap="none" spc="0" normalizeH="0" baseline="0" noProof="0" dirty="0" smtClean="0">
              <a:ln>
                <a:noFill/>
              </a:ln>
              <a:solidFill>
                <a:srgbClr val="5F5F5F"/>
              </a:solidFill>
              <a:effectLst/>
              <a:uLnTx/>
              <a:uFillTx/>
            </a:endParaRPr>
          </a:p>
          <a:p>
            <a:endParaRPr lang="en-US" dirty="0"/>
          </a:p>
        </p:txBody>
      </p:sp>
      <p:sp>
        <p:nvSpPr>
          <p:cNvPr id="4" name="Slide Number Placeholder 3"/>
          <p:cNvSpPr>
            <a:spLocks noGrp="1"/>
          </p:cNvSpPr>
          <p:nvPr>
            <p:ph type="sldNum" sz="quarter" idx="10"/>
          </p:nvPr>
        </p:nvSpPr>
        <p:spPr/>
        <p:txBody>
          <a:bodyPr/>
          <a:lstStyle/>
          <a:p>
            <a:fld id="{3243C025-3C03-490F-AAD2-1B5F1E4FAF7B}" type="slidenum">
              <a:rPr lang="en-US" smtClean="0">
                <a:solidFill>
                  <a:prstClr val="black"/>
                </a:solidFill>
              </a:rPr>
              <a:pPr/>
              <a:t>8</a:t>
            </a:fld>
            <a:endParaRPr lang="en-US">
              <a:solidFill>
                <a:prstClr val="black"/>
              </a:solidFill>
            </a:endParaRPr>
          </a:p>
        </p:txBody>
      </p:sp>
    </p:spTree>
    <p:extLst>
      <p:ext uri="{BB962C8B-B14F-4D97-AF65-F5344CB8AC3E}">
        <p14:creationId xmlns:p14="http://schemas.microsoft.com/office/powerpoint/2010/main" val="36916430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697163" y="509588"/>
            <a:ext cx="4532312" cy="254952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243C025-3C03-490F-AAD2-1B5F1E4FAF7B}" type="slidenum">
              <a:rPr lang="en-US" smtClean="0">
                <a:solidFill>
                  <a:prstClr val="black"/>
                </a:solidFill>
              </a:rPr>
              <a:pPr/>
              <a:t>9</a:t>
            </a:fld>
            <a:endParaRPr lang="en-US">
              <a:solidFill>
                <a:prstClr val="black"/>
              </a:solidFill>
            </a:endParaRPr>
          </a:p>
        </p:txBody>
      </p:sp>
    </p:spTree>
    <p:extLst>
      <p:ext uri="{BB962C8B-B14F-4D97-AF65-F5344CB8AC3E}">
        <p14:creationId xmlns:p14="http://schemas.microsoft.com/office/powerpoint/2010/main" val="36916430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697163" y="509588"/>
            <a:ext cx="4532312" cy="2549525"/>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0BB30213-3389-4756-ADED-F048FFEFDAC9}" type="slidenum">
              <a:rPr lang="en-US" smtClean="0"/>
              <a:pPr/>
              <a:t>12</a:t>
            </a:fld>
            <a:endParaRPr lang="en-US"/>
          </a:p>
        </p:txBody>
      </p:sp>
    </p:spTree>
    <p:extLst>
      <p:ext uri="{BB962C8B-B14F-4D97-AF65-F5344CB8AC3E}">
        <p14:creationId xmlns:p14="http://schemas.microsoft.com/office/powerpoint/2010/main" val="402133242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697163" y="509588"/>
            <a:ext cx="4532312" cy="2549525"/>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ED74AF4E-08D9-2F42-899C-E2C593ABF6BD}" type="slidenum">
              <a:rPr lang="en-US" smtClean="0">
                <a:solidFill>
                  <a:prstClr val="black"/>
                </a:solidFill>
              </a:rPr>
              <a:pPr>
                <a:defRPr/>
              </a:pPr>
              <a:t>15</a:t>
            </a:fld>
            <a:endParaRPr lang="en-US">
              <a:solidFill>
                <a:prstClr val="black"/>
              </a:solidFill>
            </a:endParaRPr>
          </a:p>
        </p:txBody>
      </p:sp>
    </p:spTree>
    <p:extLst>
      <p:ext uri="{BB962C8B-B14F-4D97-AF65-F5344CB8AC3E}">
        <p14:creationId xmlns:p14="http://schemas.microsoft.com/office/powerpoint/2010/main" val="301635953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697163" y="509588"/>
            <a:ext cx="4532312" cy="2549525"/>
          </a:xfrm>
        </p:spPr>
      </p:sp>
      <p:sp>
        <p:nvSpPr>
          <p:cNvPr id="3" name="Notes Placeholder 2"/>
          <p:cNvSpPr>
            <a:spLocks noGrp="1"/>
          </p:cNvSpPr>
          <p:nvPr>
            <p:ph type="body" idx="1"/>
          </p:nvPr>
        </p:nvSpPr>
        <p:spPr/>
        <p:txBody>
          <a:bodyPr>
            <a:normAutofit/>
          </a:bodyPr>
          <a:lstStyle/>
          <a:p>
            <a:pPr defTabSz="914400"/>
            <a:r>
              <a:rPr lang="en-GB" sz="1200" b="1" dirty="0" smtClean="0">
                <a:solidFill>
                  <a:srgbClr val="009DD9"/>
                </a:solidFill>
              </a:rPr>
              <a:t>FAN ACQUISITION</a:t>
            </a:r>
          </a:p>
          <a:p>
            <a:pPr defTabSz="914400"/>
            <a:r>
              <a:rPr lang="en-GB" sz="1200" b="1" dirty="0" smtClean="0">
                <a:solidFill>
                  <a:srgbClr val="009DD9"/>
                </a:solidFill>
              </a:rPr>
              <a:t>WHO: </a:t>
            </a:r>
            <a:r>
              <a:rPr lang="en-GB" sz="1200" dirty="0" smtClean="0">
                <a:solidFill>
                  <a:srgbClr val="5F5F5F"/>
                </a:solidFill>
              </a:rPr>
              <a:t>Significant segment only beginning to understand social internally </a:t>
            </a:r>
            <a:r>
              <a:rPr lang="en-GB" sz="1200" b="1" u="sng" dirty="0" smtClean="0">
                <a:solidFill>
                  <a:srgbClr val="009DD9"/>
                </a:solidFill>
              </a:rPr>
              <a:t>~30%</a:t>
            </a:r>
            <a:endParaRPr lang="en-GB" sz="1200" b="1" dirty="0" smtClean="0">
              <a:solidFill>
                <a:srgbClr val="009DD9"/>
              </a:solidFill>
            </a:endParaRPr>
          </a:p>
          <a:p>
            <a:pPr defTabSz="914400"/>
            <a:r>
              <a:rPr lang="en-GB" sz="1200" b="1" dirty="0" smtClean="0">
                <a:solidFill>
                  <a:srgbClr val="009DD9"/>
                </a:solidFill>
              </a:rPr>
              <a:t>HOW: </a:t>
            </a:r>
            <a:r>
              <a:rPr lang="en-GB" sz="1200" dirty="0" smtClean="0">
                <a:solidFill>
                  <a:srgbClr val="5F5F5F"/>
                </a:solidFill>
              </a:rPr>
              <a:t>Limited investment in resource to manage community or content.</a:t>
            </a:r>
          </a:p>
          <a:p>
            <a:pPr defTabSz="914400"/>
            <a:endParaRPr lang="en-GB" sz="1200" dirty="0" smtClean="0">
              <a:solidFill>
                <a:srgbClr val="5F5F5F"/>
              </a:solidFill>
            </a:endParaRPr>
          </a:p>
          <a:p>
            <a:pPr defTabSz="914400"/>
            <a:r>
              <a:rPr lang="en-GB" sz="1200" b="1" dirty="0" smtClean="0">
                <a:solidFill>
                  <a:srgbClr val="5F5F5F"/>
                </a:solidFill>
              </a:rPr>
              <a:t>FAN ENGAGEMENT</a:t>
            </a:r>
          </a:p>
          <a:p>
            <a:pPr defTabSz="914400"/>
            <a:r>
              <a:rPr lang="en-GB" sz="1200" b="1" dirty="0" smtClean="0">
                <a:solidFill>
                  <a:srgbClr val="009DD9"/>
                </a:solidFill>
              </a:rPr>
              <a:t>WHO: </a:t>
            </a:r>
            <a:r>
              <a:rPr lang="en-GB" sz="1200" dirty="0" smtClean="0">
                <a:solidFill>
                  <a:srgbClr val="5F5F5F"/>
                </a:solidFill>
              </a:rPr>
              <a:t>Majority of the industry are now focusing on engagement rather than fan size. </a:t>
            </a:r>
            <a:r>
              <a:rPr lang="en-GB" sz="1400" b="1" u="sng" dirty="0" smtClean="0">
                <a:solidFill>
                  <a:srgbClr val="009DD9"/>
                </a:solidFill>
              </a:rPr>
              <a:t>~60%</a:t>
            </a:r>
            <a:r>
              <a:rPr lang="en-GB" sz="1200" b="1" u="sng" dirty="0" smtClean="0">
                <a:solidFill>
                  <a:srgbClr val="009DD9"/>
                </a:solidFill>
              </a:rPr>
              <a:t> </a:t>
            </a:r>
            <a:r>
              <a:rPr lang="en-GB" sz="1200" dirty="0" smtClean="0">
                <a:solidFill>
                  <a:srgbClr val="5F5F5F"/>
                </a:solidFill>
              </a:rPr>
              <a:t>of market.</a:t>
            </a:r>
            <a:endParaRPr lang="en-GB" sz="1200" b="1" dirty="0" smtClean="0">
              <a:solidFill>
                <a:srgbClr val="009DD9"/>
              </a:solidFill>
            </a:endParaRPr>
          </a:p>
          <a:p>
            <a:pPr defTabSz="914400"/>
            <a:r>
              <a:rPr lang="en-GB" sz="1200" b="1" dirty="0" smtClean="0">
                <a:solidFill>
                  <a:srgbClr val="009DD9"/>
                </a:solidFill>
              </a:rPr>
              <a:t>HOW: </a:t>
            </a:r>
            <a:r>
              <a:rPr lang="en-GB" sz="1200" dirty="0" smtClean="0">
                <a:solidFill>
                  <a:srgbClr val="5F5F5F"/>
                </a:solidFill>
              </a:rPr>
              <a:t>Investing in digital &amp; social teams/agencies. Including digital &amp; social assets in contract but for no money. More sophisticated cross media strategies emerging.</a:t>
            </a:r>
          </a:p>
          <a:p>
            <a:pPr defTabSz="914400"/>
            <a:endParaRPr lang="en-GB" sz="1200" b="1" dirty="0" smtClean="0">
              <a:solidFill>
                <a:srgbClr val="5F5F5F"/>
              </a:solidFill>
            </a:endParaRPr>
          </a:p>
          <a:p>
            <a:pPr defTabSz="914400"/>
            <a:r>
              <a:rPr lang="en-GB" sz="1200" b="1" dirty="0" smtClean="0">
                <a:solidFill>
                  <a:srgbClr val="5F5F5F"/>
                </a:solidFill>
              </a:rPr>
              <a:t>FAN MONETIZATION</a:t>
            </a:r>
          </a:p>
          <a:p>
            <a:pPr defTabSz="914400"/>
            <a:r>
              <a:rPr lang="en-GB" sz="1200" b="1" dirty="0" smtClean="0">
                <a:solidFill>
                  <a:srgbClr val="009DD9"/>
                </a:solidFill>
              </a:rPr>
              <a:t>WHO: </a:t>
            </a:r>
            <a:r>
              <a:rPr lang="en-GB" sz="1200" dirty="0" smtClean="0">
                <a:solidFill>
                  <a:srgbClr val="5F5F5F"/>
                </a:solidFill>
              </a:rPr>
              <a:t>Leading US and European rights holders (teams, comps &amp; athletes) </a:t>
            </a:r>
            <a:r>
              <a:rPr lang="en-GB" sz="1200" b="1" u="sng" dirty="0" smtClean="0">
                <a:solidFill>
                  <a:srgbClr val="009DD9"/>
                </a:solidFill>
              </a:rPr>
              <a:t>~10% </a:t>
            </a:r>
            <a:r>
              <a:rPr lang="en-GB" sz="1200" dirty="0" smtClean="0">
                <a:solidFill>
                  <a:srgbClr val="5F5F5F"/>
                </a:solidFill>
              </a:rPr>
              <a:t>of market </a:t>
            </a:r>
            <a:endParaRPr lang="en-GB" sz="1200" b="1" dirty="0" smtClean="0">
              <a:solidFill>
                <a:srgbClr val="009DD9"/>
              </a:solidFill>
            </a:endParaRPr>
          </a:p>
          <a:p>
            <a:pPr defTabSz="914400"/>
            <a:r>
              <a:rPr lang="en-GB" sz="1200" b="1" dirty="0" smtClean="0">
                <a:solidFill>
                  <a:srgbClr val="009DD9"/>
                </a:solidFill>
              </a:rPr>
              <a:t>HOW: </a:t>
            </a:r>
            <a:r>
              <a:rPr lang="en-GB" sz="1200" dirty="0" smtClean="0">
                <a:solidFill>
                  <a:srgbClr val="5F5F5F"/>
                </a:solidFill>
              </a:rPr>
              <a:t>Including digital &amp; social assets in sponsorship contracts. Rights holder team act as “activation agency“, experts in engaging their fan base. Targeting 15% of contract price through this. Selling tickets &amp; merchandise online.</a:t>
            </a:r>
          </a:p>
          <a:p>
            <a:pPr defTabSz="914400"/>
            <a:endParaRPr lang="en-GB" sz="1200" b="1" dirty="0" smtClean="0">
              <a:solidFill>
                <a:srgbClr val="5F5F5F"/>
              </a:solidFill>
            </a:endParaRPr>
          </a:p>
          <a:p>
            <a:endParaRPr lang="en-US" dirty="0"/>
          </a:p>
        </p:txBody>
      </p:sp>
      <p:sp>
        <p:nvSpPr>
          <p:cNvPr id="4" name="Slide Number Placeholder 3"/>
          <p:cNvSpPr>
            <a:spLocks noGrp="1"/>
          </p:cNvSpPr>
          <p:nvPr>
            <p:ph type="sldNum" sz="quarter" idx="10"/>
          </p:nvPr>
        </p:nvSpPr>
        <p:spPr/>
        <p:txBody>
          <a:bodyPr/>
          <a:lstStyle/>
          <a:p>
            <a:pPr>
              <a:defRPr/>
            </a:pPr>
            <a:fld id="{ED74AF4E-08D9-2F42-899C-E2C593ABF6BD}" type="slidenum">
              <a:rPr lang="en-US" smtClean="0">
                <a:solidFill>
                  <a:prstClr val="black"/>
                </a:solidFill>
              </a:rPr>
              <a:pPr>
                <a:defRPr/>
              </a:pPr>
              <a:t>16</a:t>
            </a:fld>
            <a:endParaRPr lang="en-US">
              <a:solidFill>
                <a:prstClr val="black"/>
              </a:solidFill>
            </a:endParaRPr>
          </a:p>
        </p:txBody>
      </p:sp>
    </p:spTree>
    <p:extLst>
      <p:ext uri="{BB962C8B-B14F-4D97-AF65-F5344CB8AC3E}">
        <p14:creationId xmlns:p14="http://schemas.microsoft.com/office/powerpoint/2010/main" val="301635953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697163" y="509588"/>
            <a:ext cx="4532312" cy="2549525"/>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ED74AF4E-08D9-2F42-899C-E2C593ABF6BD}" type="slidenum">
              <a:rPr lang="en-US" smtClean="0">
                <a:solidFill>
                  <a:prstClr val="black"/>
                </a:solidFill>
              </a:rPr>
              <a:pPr>
                <a:defRPr/>
              </a:pPr>
              <a:t>17</a:t>
            </a:fld>
            <a:endParaRPr lang="en-US">
              <a:solidFill>
                <a:prstClr val="black"/>
              </a:solidFill>
            </a:endParaRPr>
          </a:p>
        </p:txBody>
      </p:sp>
    </p:spTree>
    <p:extLst>
      <p:ext uri="{BB962C8B-B14F-4D97-AF65-F5344CB8AC3E}">
        <p14:creationId xmlns:p14="http://schemas.microsoft.com/office/powerpoint/2010/main" val="301635953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697163" y="509588"/>
            <a:ext cx="4532312" cy="2549525"/>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0BB30213-3389-4756-ADED-F048FFEFDAC9}" type="slidenum">
              <a:rPr lang="en-US" smtClean="0">
                <a:solidFill>
                  <a:prstClr val="black"/>
                </a:solidFill>
              </a:rPr>
              <a:pPr/>
              <a:t>19</a:t>
            </a:fld>
            <a:endParaRPr lang="en-US">
              <a:solidFill>
                <a:prstClr val="black"/>
              </a:solidFill>
            </a:endParaRPr>
          </a:p>
        </p:txBody>
      </p:sp>
    </p:spTree>
    <p:extLst>
      <p:ext uri="{BB962C8B-B14F-4D97-AF65-F5344CB8AC3E}">
        <p14:creationId xmlns:p14="http://schemas.microsoft.com/office/powerpoint/2010/main" val="402133242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hemeOverride" Target="../theme/themeOverride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hemeOverride" Target="../theme/themeOverride5.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hemeOverride" Target="../theme/themeOverride6.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Master" Target="../slideMasters/slideMaster1.xml"/><Relationship Id="rId1" Type="http://schemas.openxmlformats.org/officeDocument/2006/relationships/themeOverride" Target="../theme/themeOverride7.xml"/><Relationship Id="rId4" Type="http://schemas.openxmlformats.org/officeDocument/2006/relationships/image" Target="../media/image10.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slideMaster" Target="../slideMasters/slideMaster2.xml"/><Relationship Id="rId1" Type="http://schemas.openxmlformats.org/officeDocument/2006/relationships/themeOverride" Target="../theme/themeOverride8.xml"/><Relationship Id="rId4" Type="http://schemas.openxmlformats.org/officeDocument/2006/relationships/image" Target="../media/image16.pn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slideMaster" Target="../slideMasters/slideMaster2.xml"/><Relationship Id="rId1" Type="http://schemas.openxmlformats.org/officeDocument/2006/relationships/themeOverride" Target="../theme/themeOverride9.xml"/><Relationship Id="rId4" Type="http://schemas.openxmlformats.org/officeDocument/2006/relationships/image" Target="../media/image16.png"/></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hemeOverride" Target="../theme/themeOverride10.xml"/></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12.emf"/><Relationship Id="rId4" Type="http://schemas.openxmlformats.org/officeDocument/2006/relationships/oleObject" Target="../embeddings/oleObject2.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18.png"/><Relationship Id="rId5" Type="http://schemas.openxmlformats.org/officeDocument/2006/relationships/image" Target="../media/image12.emf"/><Relationship Id="rId4" Type="http://schemas.openxmlformats.org/officeDocument/2006/relationships/oleObject" Target="../embeddings/oleObject3.bin"/></Relationships>
</file>

<file path=ppt/slideLayouts/_rels/slideLayout28.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hemeOverride" Target="../theme/themeOverride1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hemeOverride" Target="../theme/themeOverride1.xml"/><Relationship Id="rId4" Type="http://schemas.openxmlformats.org/officeDocument/2006/relationships/image" Target="../media/image6.png"/></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hemeOverride" Target="../theme/themeOverride1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slideMaster" Target="../slideMasters/slideMaster2.xml"/><Relationship Id="rId1" Type="http://schemas.openxmlformats.org/officeDocument/2006/relationships/themeOverride" Target="../theme/themeOverride13.xml"/><Relationship Id="rId4" Type="http://schemas.openxmlformats.org/officeDocument/2006/relationships/image" Target="../media/image21.png"/></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2.xml"/><Relationship Id="rId1" Type="http://schemas.openxmlformats.org/officeDocument/2006/relationships/themeOverride" Target="../theme/themeOverride14.xml"/><Relationship Id="rId4" Type="http://schemas.openxmlformats.org/officeDocument/2006/relationships/image" Target="../media/image11.png"/></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12.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12.emf"/><Relationship Id="rId4" Type="http://schemas.openxmlformats.org/officeDocument/2006/relationships/oleObject" Target="../embeddings/oleObject5.bin"/></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hemeOverride" Target="../theme/themeOverride2.xml"/><Relationship Id="rId4" Type="http://schemas.openxmlformats.org/officeDocument/2006/relationships/image" Target="../media/image7.pn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hemeOverride" Target="../theme/themeOverride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foli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044859" y="1878965"/>
            <a:ext cx="5757831" cy="1034129"/>
          </a:xfrm>
        </p:spPr>
        <p:txBody>
          <a:bodyPr wrap="square" tIns="0" bIns="0">
            <a:spAutoFit/>
          </a:bodyPr>
          <a:lstStyle>
            <a:lvl1pPr algn="r">
              <a:lnSpc>
                <a:spcPct val="80000"/>
              </a:lnSpc>
              <a:tabLst>
                <a:tab pos="508000" algn="l"/>
              </a:tabLst>
              <a:defRPr sz="4200" b="0" cap="all" baseline="0">
                <a:solidFill>
                  <a:srgbClr val="009DD9"/>
                </a:solidFill>
              </a:defRPr>
            </a:lvl1pPr>
          </a:lstStyle>
          <a:p>
            <a:r>
              <a:rPr lang="en-US" noProof="0" dirty="0" smtClean="0"/>
              <a:t>CLICK TO EDIT MASTER TITLE STYLE</a:t>
            </a:r>
            <a:endParaRPr lang="en-US" noProof="0" dirty="0"/>
          </a:p>
        </p:txBody>
      </p:sp>
      <p:sp>
        <p:nvSpPr>
          <p:cNvPr id="3" name="Subtitle 2"/>
          <p:cNvSpPr>
            <a:spLocks noGrp="1"/>
          </p:cNvSpPr>
          <p:nvPr>
            <p:ph type="subTitle" idx="1" hasCustomPrompt="1"/>
          </p:nvPr>
        </p:nvSpPr>
        <p:spPr>
          <a:xfrm>
            <a:off x="3044859" y="2919851"/>
            <a:ext cx="5757831" cy="276999"/>
          </a:xfrm>
          <a:prstGeom prst="rect">
            <a:avLst/>
          </a:prstGeom>
        </p:spPr>
        <p:txBody>
          <a:bodyPr wrap="square" tIns="0" bIns="0">
            <a:spAutoFit/>
          </a:bodyPr>
          <a:lstStyle>
            <a:lvl1pPr marL="0" indent="0" algn="r">
              <a:lnSpc>
                <a:spcPct val="100000"/>
              </a:lnSpc>
              <a:spcBef>
                <a:spcPts val="0"/>
              </a:spcBef>
              <a:buNone/>
              <a:defRPr sz="1800" cap="all"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CLICK TO EDIT MASTER SUBTITLE STYLE</a:t>
            </a:r>
            <a:endParaRPr lang="en-US" noProof="0" dirty="0"/>
          </a:p>
        </p:txBody>
      </p:sp>
      <p:sp>
        <p:nvSpPr>
          <p:cNvPr id="12" name="Text Placeholder 2"/>
          <p:cNvSpPr>
            <a:spLocks noGrp="1"/>
          </p:cNvSpPr>
          <p:nvPr>
            <p:ph type="body" idx="17"/>
          </p:nvPr>
        </p:nvSpPr>
        <p:spPr>
          <a:xfrm>
            <a:off x="3044859" y="4852619"/>
            <a:ext cx="5757831" cy="169277"/>
          </a:xfrm>
          <a:prstGeom prst="rect">
            <a:avLst/>
          </a:prstGeom>
        </p:spPr>
        <p:txBody>
          <a:bodyPr wrap="square" anchor="b" anchorCtr="0">
            <a:spAutoFit/>
          </a:bodyPr>
          <a:lstStyle>
            <a:lvl1pPr marL="0" indent="0" algn="r">
              <a:lnSpc>
                <a:spcPct val="100000"/>
              </a:lnSpc>
              <a:spcBef>
                <a:spcPts val="0"/>
              </a:spcBef>
              <a:buNone/>
              <a:defRPr sz="11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noProof="0" smtClean="0"/>
              <a:t>Textmasterformat bearbeiten</a:t>
            </a:r>
          </a:p>
        </p:txBody>
      </p:sp>
      <p:pic>
        <p:nvPicPr>
          <p:cNvPr id="10" name="Picture 9" descr="PPT-White-Cover-Graphic-WS.png"/>
          <p:cNvPicPr>
            <a:picLocks noChangeAspect="1"/>
          </p:cNvPicPr>
          <p:nvPr userDrawn="1"/>
        </p:nvPicPr>
        <p:blipFill rotWithShape="1">
          <a:blip r:embed="rId2" cstate="screen"/>
          <a:srcRect l="53267" b="69630"/>
          <a:stretch/>
        </p:blipFill>
        <p:spPr>
          <a:xfrm>
            <a:off x="4874513" y="0"/>
            <a:ext cx="4269489" cy="1562100"/>
          </a:xfrm>
          <a:prstGeom prst="rect">
            <a:avLst/>
          </a:prstGeom>
        </p:spPr>
      </p:pic>
      <p:pic>
        <p:nvPicPr>
          <p:cNvPr id="13" name="Picture 12" descr="Nielsen_S.png"/>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341370" y="278065"/>
            <a:ext cx="672296" cy="237744"/>
          </a:xfrm>
          <a:prstGeom prst="rect">
            <a:avLst/>
          </a:prstGeom>
        </p:spPr>
      </p:pic>
    </p:spTree>
    <p:extLst>
      <p:ext uri="{BB962C8B-B14F-4D97-AF65-F5344CB8AC3E}">
        <p14:creationId xmlns:p14="http://schemas.microsoft.com/office/powerpoint/2010/main" val="284430908"/>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 Subtitle 2">
    <p:spTree>
      <p:nvGrpSpPr>
        <p:cNvPr id="1" name=""/>
        <p:cNvGrpSpPr/>
        <p:nvPr/>
      </p:nvGrpSpPr>
      <p:grpSpPr>
        <a:xfrm>
          <a:off x="0" y="0"/>
          <a:ext cx="0" cy="0"/>
          <a:chOff x="0" y="0"/>
          <a:chExt cx="0" cy="0"/>
        </a:xfrm>
      </p:grpSpPr>
      <p:sp>
        <p:nvSpPr>
          <p:cNvPr id="8" name="Text Placeholder 2"/>
          <p:cNvSpPr>
            <a:spLocks noGrp="1"/>
          </p:cNvSpPr>
          <p:nvPr>
            <p:ph type="body" idx="13" hasCustomPrompt="1"/>
          </p:nvPr>
        </p:nvSpPr>
        <p:spPr>
          <a:xfrm>
            <a:off x="522290" y="960122"/>
            <a:ext cx="8278266" cy="228973"/>
          </a:xfrm>
          <a:prstGeom prst="rect">
            <a:avLst/>
          </a:prstGeom>
        </p:spPr>
        <p:txBody>
          <a:bodyPr wrap="square" tIns="0" bIns="0" anchor="t" anchorCtr="0">
            <a:spAutoFit/>
          </a:bodyPr>
          <a:lstStyle>
            <a:lvl1pPr marL="0" indent="0">
              <a:spcBef>
                <a:spcPts val="0"/>
              </a:spcBef>
              <a:buNone/>
              <a:defRPr sz="1600" b="0"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subtitle</a:t>
            </a:r>
          </a:p>
        </p:txBody>
      </p:sp>
      <p:sp>
        <p:nvSpPr>
          <p:cNvPr id="2" name="Titel 1"/>
          <p:cNvSpPr>
            <a:spLocks noGrp="1"/>
          </p:cNvSpPr>
          <p:nvPr>
            <p:ph type="title" hasCustomPrompt="1"/>
          </p:nvPr>
        </p:nvSpPr>
        <p:spPr/>
        <p:txBody>
          <a:bodyPr/>
          <a:lstStyle/>
          <a:p>
            <a:r>
              <a:rPr lang="en-US" noProof="0" dirty="0" smtClean="0"/>
              <a:t>Click to edit Master title style</a:t>
            </a:r>
            <a:endParaRPr lang="en-US" noProof="0" dirty="0"/>
          </a:p>
        </p:txBody>
      </p:sp>
      <p:sp>
        <p:nvSpPr>
          <p:cNvPr id="3" name="Fußzeilenplatzhalter 2"/>
          <p:cNvSpPr>
            <a:spLocks noGrp="1"/>
          </p:cNvSpPr>
          <p:nvPr>
            <p:ph type="ftr" sz="quarter" idx="14"/>
          </p:nvPr>
        </p:nvSpPr>
        <p:spPr>
          <a:xfrm>
            <a:off x="522289" y="4948014"/>
            <a:ext cx="8278268" cy="123111"/>
          </a:xfrm>
          <a:prstGeom prst="rect">
            <a:avLst/>
          </a:prstGeom>
        </p:spPr>
        <p:txBody>
          <a:bodyPr/>
          <a:lstStyle/>
          <a:p>
            <a:endParaRPr lang="en-US" noProof="0" dirty="0"/>
          </a:p>
        </p:txBody>
      </p:sp>
    </p:spTree>
    <p:extLst>
      <p:ext uri="{BB962C8B-B14F-4D97-AF65-F5344CB8AC3E}">
        <p14:creationId xmlns:p14="http://schemas.microsoft.com/office/powerpoint/2010/main" val="1594887570"/>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Dark Title + Subtitle">
    <p:bg>
      <p:bgPr>
        <a:solidFill>
          <a:srgbClr val="000000"/>
        </a:solidFill>
        <a:effectLst/>
      </p:bgPr>
    </p:bg>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US" noProof="0" dirty="0" smtClean="0"/>
              <a:t>Click to edit Master title style</a:t>
            </a:r>
            <a:endParaRPr lang="en-US" noProof="0" dirty="0"/>
          </a:p>
        </p:txBody>
      </p:sp>
      <p:sp>
        <p:nvSpPr>
          <p:cNvPr id="3" name="Fußzeilenplatzhalter 2"/>
          <p:cNvSpPr>
            <a:spLocks noGrp="1"/>
          </p:cNvSpPr>
          <p:nvPr>
            <p:ph type="ftr" sz="quarter" idx="10"/>
          </p:nvPr>
        </p:nvSpPr>
        <p:spPr>
          <a:xfrm>
            <a:off x="522289" y="4948014"/>
            <a:ext cx="8278268" cy="123111"/>
          </a:xfrm>
          <a:prstGeom prst="rect">
            <a:avLst/>
          </a:prstGeom>
        </p:spPr>
        <p:txBody>
          <a:bodyPr/>
          <a:lstStyle/>
          <a:p>
            <a:endParaRPr lang="en-US" noProof="0" dirty="0"/>
          </a:p>
        </p:txBody>
      </p:sp>
      <p:sp>
        <p:nvSpPr>
          <p:cNvPr id="5" name="Text Placeholder 2"/>
          <p:cNvSpPr>
            <a:spLocks noGrp="1"/>
          </p:cNvSpPr>
          <p:nvPr>
            <p:ph type="body" idx="13" hasCustomPrompt="1"/>
          </p:nvPr>
        </p:nvSpPr>
        <p:spPr>
          <a:xfrm>
            <a:off x="522290" y="960122"/>
            <a:ext cx="8278266" cy="228973"/>
          </a:xfrm>
          <a:prstGeom prst="rect">
            <a:avLst/>
          </a:prstGeom>
        </p:spPr>
        <p:txBody>
          <a:bodyPr wrap="square" tIns="0" bIns="0" anchor="t" anchorCtr="0">
            <a:spAutoFit/>
          </a:bodyPr>
          <a:lstStyle>
            <a:lvl1pPr marL="0" indent="0">
              <a:spcBef>
                <a:spcPts val="0"/>
              </a:spcBef>
              <a:buNone/>
              <a:defRPr sz="1600" b="0"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subtitle</a:t>
            </a:r>
          </a:p>
        </p:txBody>
      </p:sp>
    </p:spTree>
    <p:extLst>
      <p:ext uri="{BB962C8B-B14F-4D97-AF65-F5344CB8AC3E}">
        <p14:creationId xmlns:p14="http://schemas.microsoft.com/office/powerpoint/2010/main" val="372144597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ext Slide">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US" noProof="0" dirty="0" smtClean="0"/>
              <a:t>Click to edit Master title style</a:t>
            </a:r>
            <a:endParaRPr lang="en-US" noProof="0" dirty="0"/>
          </a:p>
        </p:txBody>
      </p:sp>
      <p:sp>
        <p:nvSpPr>
          <p:cNvPr id="3" name="Fußzeilenplatzhalter 2"/>
          <p:cNvSpPr>
            <a:spLocks noGrp="1"/>
          </p:cNvSpPr>
          <p:nvPr>
            <p:ph type="ftr" sz="quarter" idx="16"/>
          </p:nvPr>
        </p:nvSpPr>
        <p:spPr>
          <a:xfrm>
            <a:off x="522289" y="4948014"/>
            <a:ext cx="8278268" cy="123111"/>
          </a:xfrm>
          <a:prstGeom prst="rect">
            <a:avLst/>
          </a:prstGeom>
        </p:spPr>
        <p:txBody>
          <a:bodyPr/>
          <a:lstStyle/>
          <a:p>
            <a:endParaRPr lang="en-US" noProof="0" dirty="0"/>
          </a:p>
        </p:txBody>
      </p:sp>
      <p:sp>
        <p:nvSpPr>
          <p:cNvPr id="5" name="Textplatzhalter 4"/>
          <p:cNvSpPr>
            <a:spLocks noGrp="1"/>
          </p:cNvSpPr>
          <p:nvPr>
            <p:ph type="body" sz="quarter" idx="17" hasCustomPrompt="1"/>
          </p:nvPr>
        </p:nvSpPr>
        <p:spPr>
          <a:xfrm>
            <a:off x="522290" y="1390651"/>
            <a:ext cx="8278266" cy="3476625"/>
          </a:xfrm>
        </p:spPr>
        <p:txBody>
          <a:bodyPr/>
          <a:lstStyle>
            <a:lvl5pPr marL="896938" indent="0">
              <a:buNone/>
              <a:defRPr/>
            </a:lvl5pPr>
          </a:lstStyle>
          <a:p>
            <a:pPr lvl="0"/>
            <a:r>
              <a:rPr lang="en-US" noProof="0" dirty="0" smtClean="0"/>
              <a:t>Standard body copy</a:t>
            </a:r>
          </a:p>
          <a:p>
            <a:pPr lvl="1"/>
            <a:r>
              <a:rPr lang="en-US" noProof="0" dirty="0" smtClean="0"/>
              <a:t>Bullet point first level</a:t>
            </a:r>
          </a:p>
          <a:p>
            <a:pPr lvl="2"/>
            <a:r>
              <a:rPr lang="en-US" noProof="0" dirty="0" smtClean="0"/>
              <a:t>Bullet point second level</a:t>
            </a:r>
          </a:p>
          <a:p>
            <a:pPr lvl="3"/>
            <a:r>
              <a:rPr lang="en-US" noProof="0" dirty="0" smtClean="0"/>
              <a:t>Headline</a:t>
            </a:r>
          </a:p>
        </p:txBody>
      </p:sp>
      <p:sp>
        <p:nvSpPr>
          <p:cNvPr id="9" name="Textplatzhalter 8"/>
          <p:cNvSpPr>
            <a:spLocks noGrp="1"/>
          </p:cNvSpPr>
          <p:nvPr>
            <p:ph type="body" sz="quarter" idx="18" hasCustomPrompt="1"/>
          </p:nvPr>
        </p:nvSpPr>
        <p:spPr>
          <a:xfrm>
            <a:off x="522290" y="962024"/>
            <a:ext cx="8278266" cy="228973"/>
          </a:xfrm>
        </p:spPr>
        <p:txBody>
          <a:bodyPr wrap="square" lIns="0" tIns="0" rIns="0" bIns="0">
            <a:spAutoFit/>
          </a:bodyPr>
          <a:lstStyle>
            <a:lvl1pPr>
              <a:spcBef>
                <a:spcPts val="0"/>
              </a:spcBef>
              <a:spcAft>
                <a:spcPts val="0"/>
              </a:spcAft>
              <a:defRPr sz="1600"/>
            </a:lvl1pPr>
          </a:lstStyle>
          <a:p>
            <a:pPr lvl="0"/>
            <a:r>
              <a:rPr lang="en-US" noProof="0" dirty="0" smtClean="0"/>
              <a:t>Click to edit subtitle</a:t>
            </a:r>
          </a:p>
        </p:txBody>
      </p:sp>
    </p:spTree>
    <p:extLst>
      <p:ext uri="{BB962C8B-B14F-4D97-AF65-F5344CB8AC3E}">
        <p14:creationId xmlns:p14="http://schemas.microsoft.com/office/powerpoint/2010/main" val="3822224540"/>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Dark Text Slide">
    <p:bg>
      <p:bgPr>
        <a:solidFill>
          <a:srgbClr val="000000"/>
        </a:solidFill>
        <a:effectLst/>
      </p:bgPr>
    </p:bg>
    <p:spTree>
      <p:nvGrpSpPr>
        <p:cNvPr id="1" name=""/>
        <p:cNvGrpSpPr/>
        <p:nvPr/>
      </p:nvGrpSpPr>
      <p:grpSpPr>
        <a:xfrm>
          <a:off x="0" y="0"/>
          <a:ext cx="0" cy="0"/>
          <a:chOff x="0" y="0"/>
          <a:chExt cx="0" cy="0"/>
        </a:xfrm>
      </p:grpSpPr>
      <p:sp>
        <p:nvSpPr>
          <p:cNvPr id="8" name="Textplatzhalter 7"/>
          <p:cNvSpPr>
            <a:spLocks noGrp="1"/>
          </p:cNvSpPr>
          <p:nvPr>
            <p:ph type="body" sz="quarter" idx="11" hasCustomPrompt="1"/>
          </p:nvPr>
        </p:nvSpPr>
        <p:spPr>
          <a:xfrm>
            <a:off x="522288" y="1390650"/>
            <a:ext cx="8280400" cy="3476624"/>
          </a:xfrm>
        </p:spPr>
        <p:txBody>
          <a:bodyPr/>
          <a:lstStyle/>
          <a:p>
            <a:pPr lvl="0"/>
            <a:r>
              <a:rPr lang="en-US" noProof="0" dirty="0" smtClean="0"/>
              <a:t>Standard body copy</a:t>
            </a:r>
          </a:p>
          <a:p>
            <a:pPr lvl="1"/>
            <a:r>
              <a:rPr lang="en-US" noProof="0" dirty="0" smtClean="0"/>
              <a:t>Bullet point first level</a:t>
            </a:r>
          </a:p>
          <a:p>
            <a:pPr lvl="2"/>
            <a:r>
              <a:rPr lang="en-US" noProof="0" dirty="0" smtClean="0"/>
              <a:t>Bullet point second level</a:t>
            </a:r>
          </a:p>
          <a:p>
            <a:pPr lvl="3"/>
            <a:r>
              <a:rPr lang="en-US" noProof="0" dirty="0" smtClean="0"/>
              <a:t>Headline</a:t>
            </a:r>
          </a:p>
        </p:txBody>
      </p:sp>
      <p:sp>
        <p:nvSpPr>
          <p:cNvPr id="10" name="Textplatzhalter 9"/>
          <p:cNvSpPr>
            <a:spLocks noGrp="1"/>
          </p:cNvSpPr>
          <p:nvPr>
            <p:ph type="body" sz="quarter" idx="12" hasCustomPrompt="1"/>
          </p:nvPr>
        </p:nvSpPr>
        <p:spPr>
          <a:xfrm>
            <a:off x="522288" y="962145"/>
            <a:ext cx="8280399" cy="228973"/>
          </a:xfrm>
        </p:spPr>
        <p:txBody>
          <a:bodyPr wrap="square">
            <a:spAutoFit/>
          </a:bodyPr>
          <a:lstStyle>
            <a:lvl1pPr>
              <a:spcBef>
                <a:spcPts val="0"/>
              </a:spcBef>
              <a:defRPr sz="1600" b="0"/>
            </a:lvl1pPr>
          </a:lstStyle>
          <a:p>
            <a:pPr lvl="0"/>
            <a:r>
              <a:rPr lang="en-US" noProof="0" dirty="0" smtClean="0"/>
              <a:t>Click to edit subtitle</a:t>
            </a:r>
          </a:p>
        </p:txBody>
      </p:sp>
      <p:sp>
        <p:nvSpPr>
          <p:cNvPr id="4" name="Footer Placeholder 3"/>
          <p:cNvSpPr>
            <a:spLocks noGrp="1"/>
          </p:cNvSpPr>
          <p:nvPr>
            <p:ph type="ftr" sz="quarter" idx="13"/>
          </p:nvPr>
        </p:nvSpPr>
        <p:spPr>
          <a:xfrm>
            <a:off x="522289" y="4948014"/>
            <a:ext cx="8278268" cy="123111"/>
          </a:xfrm>
          <a:prstGeom prst="rect">
            <a:avLst/>
          </a:prstGeom>
        </p:spPr>
        <p:txBody>
          <a:bodyPr/>
          <a:lstStyle/>
          <a:p>
            <a:endParaRPr lang="en-US" dirty="0"/>
          </a:p>
        </p:txBody>
      </p:sp>
      <p:sp>
        <p:nvSpPr>
          <p:cNvPr id="5" name="Title 4"/>
          <p:cNvSpPr>
            <a:spLocks noGrp="1"/>
          </p:cNvSpPr>
          <p:nvPr>
            <p:ph type="title"/>
          </p:nvPr>
        </p:nvSpPr>
        <p:spPr/>
        <p:txBody>
          <a:bodyPr/>
          <a:lstStyle/>
          <a:p>
            <a:r>
              <a:rPr lang="de-DE" dirty="0" smtClean="0"/>
              <a:t>Titelmasterformat durch Klicken bearbeiten</a:t>
            </a:r>
            <a:endParaRPr lang="en-GB" dirty="0"/>
          </a:p>
        </p:txBody>
      </p:sp>
    </p:spTree>
    <p:extLst>
      <p:ext uri="{BB962C8B-B14F-4D97-AF65-F5344CB8AC3E}">
        <p14:creationId xmlns:p14="http://schemas.microsoft.com/office/powerpoint/2010/main" val="250080934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 Picture">
    <p:spTree>
      <p:nvGrpSpPr>
        <p:cNvPr id="1" name=""/>
        <p:cNvGrpSpPr/>
        <p:nvPr/>
      </p:nvGrpSpPr>
      <p:grpSpPr>
        <a:xfrm>
          <a:off x="0" y="0"/>
          <a:ext cx="0" cy="0"/>
          <a:chOff x="0" y="0"/>
          <a:chExt cx="0" cy="0"/>
        </a:xfrm>
      </p:grpSpPr>
      <p:sp>
        <p:nvSpPr>
          <p:cNvPr id="3" name="Bildplatzhalter 2"/>
          <p:cNvSpPr>
            <a:spLocks noGrp="1"/>
          </p:cNvSpPr>
          <p:nvPr>
            <p:ph type="pic" sz="quarter" idx="10" hasCustomPrompt="1"/>
          </p:nvPr>
        </p:nvSpPr>
        <p:spPr>
          <a:xfrm>
            <a:off x="178593" y="0"/>
            <a:ext cx="8965408" cy="5143500"/>
          </a:xfrm>
        </p:spPr>
        <p:txBody>
          <a:bodyPr anchor="ctr"/>
          <a:lstStyle>
            <a:lvl1pPr algn="ctr">
              <a:defRPr/>
            </a:lvl1pPr>
          </a:lstStyle>
          <a:p>
            <a:r>
              <a:rPr lang="en-US" noProof="0" dirty="0" smtClean="0"/>
              <a:t>Click on icon to edit picture</a:t>
            </a:r>
          </a:p>
          <a:p>
            <a:endParaRPr lang="en-US" noProof="0" dirty="0" smtClean="0"/>
          </a:p>
          <a:p>
            <a:endParaRPr lang="en-US" noProof="0" dirty="0" smtClean="0"/>
          </a:p>
          <a:p>
            <a:endParaRPr lang="en-US" noProof="0" dirty="0"/>
          </a:p>
        </p:txBody>
      </p:sp>
      <p:grpSp>
        <p:nvGrpSpPr>
          <p:cNvPr id="10" name="Group 13"/>
          <p:cNvGrpSpPr>
            <a:grpSpLocks/>
          </p:cNvGrpSpPr>
          <p:nvPr userDrawn="1"/>
        </p:nvGrpSpPr>
        <p:grpSpPr bwMode="auto">
          <a:xfrm>
            <a:off x="8866218" y="4944602"/>
            <a:ext cx="197170" cy="152541"/>
            <a:chOff x="8865610" y="6593564"/>
            <a:chExt cx="198515" cy="203224"/>
          </a:xfrm>
        </p:grpSpPr>
        <p:sp>
          <p:nvSpPr>
            <p:cNvPr id="12" name="Oval 11"/>
            <p:cNvSpPr>
              <a:spLocks noChangeAspect="1"/>
            </p:cNvSpPr>
            <p:nvPr/>
          </p:nvSpPr>
          <p:spPr>
            <a:xfrm>
              <a:off x="8887350" y="6593564"/>
              <a:ext cx="154791" cy="203224"/>
            </a:xfrm>
            <a:prstGeom prst="ellipse">
              <a:avLst/>
            </a:prstGeom>
            <a:solidFill>
              <a:srgbClr val="A6A6A6"/>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noProof="0" dirty="0">
                <a:solidFill>
                  <a:schemeClr val="bg1">
                    <a:lumMod val="65000"/>
                  </a:schemeClr>
                </a:solidFill>
              </a:endParaRPr>
            </a:p>
          </p:txBody>
        </p:sp>
        <p:sp>
          <p:nvSpPr>
            <p:cNvPr id="13" name="Text Box 17"/>
            <p:cNvSpPr txBox="1">
              <a:spLocks noChangeArrowheads="1"/>
            </p:cNvSpPr>
            <p:nvPr/>
          </p:nvSpPr>
          <p:spPr bwMode="auto">
            <a:xfrm>
              <a:off x="8865610" y="6606615"/>
              <a:ext cx="198515" cy="1640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eaLnBrk="0" hangingPunct="0">
                <a:defRPr sz="2400">
                  <a:solidFill>
                    <a:schemeClr val="tx1"/>
                  </a:solidFill>
                  <a:latin typeface="Calibri" charset="0"/>
                  <a:ea typeface="ＭＳ Ｐゴシック" charset="0"/>
                  <a:cs typeface="ＭＳ Ｐゴシック" charset="0"/>
                </a:defRPr>
              </a:lvl1pPr>
              <a:lvl2pPr marL="742950" indent="-285750" eaLnBrk="0" hangingPunct="0">
                <a:defRPr sz="2400">
                  <a:solidFill>
                    <a:schemeClr val="tx1"/>
                  </a:solidFill>
                  <a:latin typeface="Calibri" charset="0"/>
                  <a:ea typeface="ＭＳ Ｐゴシック" charset="0"/>
                </a:defRPr>
              </a:lvl2pPr>
              <a:lvl3pPr marL="1143000" indent="-228600" eaLnBrk="0" hangingPunct="0">
                <a:defRPr sz="2400">
                  <a:solidFill>
                    <a:schemeClr val="tx1"/>
                  </a:solidFill>
                  <a:latin typeface="Calibri" charset="0"/>
                  <a:ea typeface="ＭＳ Ｐゴシック" charset="0"/>
                </a:defRPr>
              </a:lvl3pPr>
              <a:lvl4pPr marL="1600200" indent="-228600" eaLnBrk="0" hangingPunct="0">
                <a:defRPr sz="2400">
                  <a:solidFill>
                    <a:schemeClr val="tx1"/>
                  </a:solidFill>
                  <a:latin typeface="Calibri" charset="0"/>
                  <a:ea typeface="ＭＳ Ｐゴシック" charset="0"/>
                </a:defRPr>
              </a:lvl4pPr>
              <a:lvl5pPr marL="2057400" indent="-228600" eaLnBrk="0" hangingPunct="0">
                <a:defRPr sz="2400">
                  <a:solidFill>
                    <a:schemeClr val="tx1"/>
                  </a:solidFill>
                  <a:latin typeface="Calibri" charset="0"/>
                  <a:ea typeface="ＭＳ Ｐゴシック" charset="0"/>
                </a:defRPr>
              </a:lvl5pPr>
              <a:lvl6pPr marL="2514600" indent="-228600" eaLnBrk="0" fontAlgn="base" hangingPunct="0">
                <a:spcBef>
                  <a:spcPct val="0"/>
                </a:spcBef>
                <a:spcAft>
                  <a:spcPct val="0"/>
                </a:spcAft>
                <a:defRPr sz="2400">
                  <a:solidFill>
                    <a:schemeClr val="tx1"/>
                  </a:solidFill>
                  <a:latin typeface="Calibri" charset="0"/>
                  <a:ea typeface="ＭＳ Ｐゴシック" charset="0"/>
                </a:defRPr>
              </a:lvl6pPr>
              <a:lvl7pPr marL="2971800" indent="-228600" eaLnBrk="0" fontAlgn="base" hangingPunct="0">
                <a:spcBef>
                  <a:spcPct val="0"/>
                </a:spcBef>
                <a:spcAft>
                  <a:spcPct val="0"/>
                </a:spcAft>
                <a:defRPr sz="2400">
                  <a:solidFill>
                    <a:schemeClr val="tx1"/>
                  </a:solidFill>
                  <a:latin typeface="Calibri" charset="0"/>
                  <a:ea typeface="ＭＳ Ｐゴシック" charset="0"/>
                </a:defRPr>
              </a:lvl7pPr>
              <a:lvl8pPr marL="3429000" indent="-228600" eaLnBrk="0" fontAlgn="base" hangingPunct="0">
                <a:spcBef>
                  <a:spcPct val="0"/>
                </a:spcBef>
                <a:spcAft>
                  <a:spcPct val="0"/>
                </a:spcAft>
                <a:defRPr sz="2400">
                  <a:solidFill>
                    <a:schemeClr val="tx1"/>
                  </a:solidFill>
                  <a:latin typeface="Calibri" charset="0"/>
                  <a:ea typeface="ＭＳ Ｐゴシック" charset="0"/>
                </a:defRPr>
              </a:lvl8pPr>
              <a:lvl9pPr marL="3886200" indent="-228600" eaLnBrk="0" fontAlgn="base" hangingPunct="0">
                <a:spcBef>
                  <a:spcPct val="0"/>
                </a:spcBef>
                <a:spcAft>
                  <a:spcPct val="0"/>
                </a:spcAft>
                <a:defRPr sz="2400">
                  <a:solidFill>
                    <a:schemeClr val="tx1"/>
                  </a:solidFill>
                  <a:latin typeface="Calibri" charset="0"/>
                  <a:ea typeface="ＭＳ Ｐゴシック" charset="0"/>
                </a:defRPr>
              </a:lvl9pPr>
            </a:lstStyle>
            <a:p>
              <a:pPr algn="ctr" eaLnBrk="1" hangingPunct="1"/>
              <a:fld id="{DA511B95-C89F-A64E-A1AC-7F4F4998E56B}" type="slidenum">
                <a:rPr lang="en-US" sz="800" noProof="0">
                  <a:solidFill>
                    <a:srgbClr val="FFFFFF"/>
                  </a:solidFill>
                </a:rPr>
                <a:pPr algn="ctr" eaLnBrk="1" hangingPunct="1"/>
                <a:t>‹#›</a:t>
              </a:fld>
              <a:endParaRPr lang="en-US" sz="800" noProof="0" dirty="0">
                <a:solidFill>
                  <a:srgbClr val="FFFFFF"/>
                </a:solidFill>
              </a:endParaRPr>
            </a:p>
          </p:txBody>
        </p:sp>
      </p:grpSp>
      <p:sp>
        <p:nvSpPr>
          <p:cNvPr id="2" name="Title 1"/>
          <p:cNvSpPr>
            <a:spLocks noGrp="1"/>
          </p:cNvSpPr>
          <p:nvPr>
            <p:ph type="title"/>
          </p:nvPr>
        </p:nvSpPr>
        <p:spPr/>
        <p:txBody>
          <a:bodyPr/>
          <a:lstStyle/>
          <a:p>
            <a:r>
              <a:rPr lang="de-DE" smtClean="0"/>
              <a:t>Titelmasterformat durch Klicken bearbeiten</a:t>
            </a:r>
            <a:endParaRPr lang="en-GB"/>
          </a:p>
        </p:txBody>
      </p:sp>
    </p:spTree>
    <p:extLst>
      <p:ext uri="{BB962C8B-B14F-4D97-AF65-F5344CB8AC3E}">
        <p14:creationId xmlns:p14="http://schemas.microsoft.com/office/powerpoint/2010/main" val="986116550"/>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Divder Slide">
    <p:spTree>
      <p:nvGrpSpPr>
        <p:cNvPr id="1" name=""/>
        <p:cNvGrpSpPr/>
        <p:nvPr/>
      </p:nvGrpSpPr>
      <p:grpSpPr>
        <a:xfrm>
          <a:off x="0" y="0"/>
          <a:ext cx="0" cy="0"/>
          <a:chOff x="0" y="0"/>
          <a:chExt cx="0" cy="0"/>
        </a:xfrm>
      </p:grpSpPr>
      <p:sp>
        <p:nvSpPr>
          <p:cNvPr id="6" name="Rectangle 5"/>
          <p:cNvSpPr/>
          <p:nvPr userDrawn="1"/>
        </p:nvSpPr>
        <p:spPr>
          <a:xfrm>
            <a:off x="2" y="0"/>
            <a:ext cx="179905" cy="5143500"/>
          </a:xfrm>
          <a:prstGeom prst="rect">
            <a:avLst/>
          </a:prstGeom>
          <a:solidFill>
            <a:srgbClr val="00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noProof="0" dirty="0"/>
          </a:p>
        </p:txBody>
      </p:sp>
      <p:pic>
        <p:nvPicPr>
          <p:cNvPr id="18"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0"/>
            <a:ext cx="2038792" cy="5143500"/>
          </a:xfrm>
          <a:prstGeom prst="rect">
            <a:avLst/>
          </a:prstGeom>
        </p:spPr>
      </p:pic>
      <p:sp>
        <p:nvSpPr>
          <p:cNvPr id="2" name="Titel 1"/>
          <p:cNvSpPr>
            <a:spLocks noGrp="1"/>
          </p:cNvSpPr>
          <p:nvPr>
            <p:ph type="title" hasCustomPrompt="1"/>
          </p:nvPr>
        </p:nvSpPr>
        <p:spPr>
          <a:xfrm>
            <a:off x="2152650" y="2409332"/>
            <a:ext cx="6650038" cy="415498"/>
          </a:xfrm>
        </p:spPr>
        <p:txBody>
          <a:bodyPr wrap="square" anchor="t"/>
          <a:lstStyle>
            <a:lvl1pPr algn="ctr">
              <a:defRPr sz="3000"/>
            </a:lvl1pPr>
          </a:lstStyle>
          <a:p>
            <a:r>
              <a:rPr lang="en-US" noProof="0" dirty="0" smtClean="0"/>
              <a:t>Click to edit Master title style</a:t>
            </a:r>
            <a:endParaRPr lang="en-US" noProof="0" dirty="0"/>
          </a:p>
        </p:txBody>
      </p:sp>
      <p:pic>
        <p:nvPicPr>
          <p:cNvPr id="7" name="Picture 29"/>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8558389" y="0"/>
            <a:ext cx="254000" cy="342900"/>
          </a:xfrm>
          <a:prstGeom prst="rect">
            <a:avLst/>
          </a:prstGeom>
        </p:spPr>
      </p:pic>
    </p:spTree>
    <p:extLst>
      <p:ext uri="{BB962C8B-B14F-4D97-AF65-F5344CB8AC3E}">
        <p14:creationId xmlns:p14="http://schemas.microsoft.com/office/powerpoint/2010/main" val="1249104187"/>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Dark Divder Slide">
    <p:bg>
      <p:bgPr>
        <a:solidFill>
          <a:srgbClr val="000000"/>
        </a:solidFill>
        <a:effectLst/>
      </p:bgPr>
    </p:bg>
    <p:spTree>
      <p:nvGrpSpPr>
        <p:cNvPr id="1" name=""/>
        <p:cNvGrpSpPr/>
        <p:nvPr/>
      </p:nvGrpSpPr>
      <p:grpSpPr>
        <a:xfrm>
          <a:off x="0" y="0"/>
          <a:ext cx="0" cy="0"/>
          <a:chOff x="0" y="0"/>
          <a:chExt cx="0" cy="0"/>
        </a:xfrm>
      </p:grpSpPr>
      <p:pic>
        <p:nvPicPr>
          <p:cNvPr id="12" name="Picture 6"/>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0" y="0"/>
            <a:ext cx="2038792" cy="5143500"/>
          </a:xfrm>
          <a:prstGeom prst="rect">
            <a:avLst/>
          </a:prstGeom>
        </p:spPr>
      </p:pic>
      <p:sp>
        <p:nvSpPr>
          <p:cNvPr id="8" name="Titel 1"/>
          <p:cNvSpPr>
            <a:spLocks noGrp="1"/>
          </p:cNvSpPr>
          <p:nvPr>
            <p:ph type="title" hasCustomPrompt="1"/>
          </p:nvPr>
        </p:nvSpPr>
        <p:spPr>
          <a:xfrm>
            <a:off x="2152650" y="2397790"/>
            <a:ext cx="6650038" cy="415498"/>
          </a:xfrm>
        </p:spPr>
        <p:txBody>
          <a:bodyPr wrap="square" anchor="t">
            <a:spAutoFit/>
          </a:bodyPr>
          <a:lstStyle>
            <a:lvl1pPr algn="ctr">
              <a:defRPr sz="3000"/>
            </a:lvl1pPr>
          </a:lstStyle>
          <a:p>
            <a:r>
              <a:rPr lang="en-US" noProof="0" dirty="0" smtClean="0"/>
              <a:t>Click to edit Master title style</a:t>
            </a:r>
            <a:endParaRPr lang="en-US" noProof="0" dirty="0"/>
          </a:p>
        </p:txBody>
      </p:sp>
    </p:spTree>
    <p:extLst>
      <p:ext uri="{BB962C8B-B14F-4D97-AF65-F5344CB8AC3E}">
        <p14:creationId xmlns:p14="http://schemas.microsoft.com/office/powerpoint/2010/main" val="123521212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p:cSld name="Final Slide">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a:extLst>
              <a:ext uri="{28A0092B-C50C-407E-A947-70E740481C1C}">
                <a14:useLocalDpi xmlns:a14="http://schemas.microsoft.com/office/drawing/2010/main"/>
              </a:ext>
            </a:extLst>
          </a:blip>
          <a:srcRect b="40104"/>
          <a:stretch/>
        </p:blipFill>
        <p:spPr>
          <a:xfrm>
            <a:off x="6069056" y="769012"/>
            <a:ext cx="1427496" cy="495908"/>
          </a:xfrm>
          <a:prstGeom prst="rect">
            <a:avLst/>
          </a:prstGeom>
        </p:spPr>
      </p:pic>
      <p:pic>
        <p:nvPicPr>
          <p:cNvPr id="5" name="Picture 2"/>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 y="835782"/>
            <a:ext cx="5517105" cy="4307719"/>
          </a:xfrm>
          <a:prstGeom prst="rect">
            <a:avLst/>
          </a:prstGeom>
        </p:spPr>
      </p:pic>
    </p:spTree>
    <p:extLst>
      <p:ext uri="{BB962C8B-B14F-4D97-AF65-F5344CB8AC3E}">
        <p14:creationId xmlns:p14="http://schemas.microsoft.com/office/powerpoint/2010/main" val="2834878554"/>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Dark Final Slide">
    <p:bg>
      <p:bgPr>
        <a:solidFill>
          <a:srgbClr val="000000"/>
        </a:solidFill>
        <a:effectLst/>
      </p:bgPr>
    </p:bg>
    <p:spTree>
      <p:nvGrpSpPr>
        <p:cNvPr id="1" name=""/>
        <p:cNvGrpSpPr/>
        <p:nvPr/>
      </p:nvGrpSpPr>
      <p:grpSpPr>
        <a:xfrm>
          <a:off x="0" y="0"/>
          <a:ext cx="0" cy="0"/>
          <a:chOff x="0" y="0"/>
          <a:chExt cx="0" cy="0"/>
        </a:xfrm>
      </p:grpSpPr>
      <p:pic>
        <p:nvPicPr>
          <p:cNvPr id="6" name="Picture 3"/>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6069056" y="769012"/>
            <a:ext cx="1427496" cy="827948"/>
          </a:xfrm>
          <a:prstGeom prst="rect">
            <a:avLst/>
          </a:prstGeom>
        </p:spPr>
      </p:pic>
      <p:pic>
        <p:nvPicPr>
          <p:cNvPr id="5" name="Picture 2"/>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a:xfrm>
            <a:off x="1" y="835782"/>
            <a:ext cx="5517105" cy="4307719"/>
          </a:xfrm>
          <a:prstGeom prst="rect">
            <a:avLst/>
          </a:prstGeom>
        </p:spPr>
      </p:pic>
    </p:spTree>
    <p:extLst>
      <p:ext uri="{BB962C8B-B14F-4D97-AF65-F5344CB8AC3E}">
        <p14:creationId xmlns:p14="http://schemas.microsoft.com/office/powerpoint/2010/main" val="22191532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Reporting 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044880" y="1930429"/>
            <a:ext cx="5667603" cy="982664"/>
          </a:xfrm>
        </p:spPr>
        <p:txBody>
          <a:bodyPr wrap="square" tIns="0" bIns="0">
            <a:noAutofit/>
          </a:bodyPr>
          <a:lstStyle>
            <a:lvl1pPr algn="r">
              <a:lnSpc>
                <a:spcPct val="80000"/>
              </a:lnSpc>
              <a:tabLst>
                <a:tab pos="508000" algn="l"/>
              </a:tabLst>
              <a:defRPr sz="4500" b="0" cap="all" baseline="0">
                <a:solidFill>
                  <a:srgbClr val="009DD9"/>
                </a:solidFill>
              </a:defRPr>
            </a:lvl1pPr>
          </a:lstStyle>
          <a:p>
            <a:r>
              <a:rPr lang="en-US" noProof="0" dirty="0"/>
              <a:t>CLICK TO EDIT MASTER TITLE STYLE</a:t>
            </a:r>
          </a:p>
        </p:txBody>
      </p:sp>
      <p:sp>
        <p:nvSpPr>
          <p:cNvPr id="3" name="Subtitle 2"/>
          <p:cNvSpPr>
            <a:spLocks noGrp="1"/>
          </p:cNvSpPr>
          <p:nvPr>
            <p:ph type="subTitle" idx="1" hasCustomPrompt="1"/>
          </p:nvPr>
        </p:nvSpPr>
        <p:spPr>
          <a:xfrm>
            <a:off x="3044880" y="2920331"/>
            <a:ext cx="5667603" cy="307777"/>
          </a:xfrm>
          <a:prstGeom prst="rect">
            <a:avLst/>
          </a:prstGeom>
        </p:spPr>
        <p:txBody>
          <a:bodyPr wrap="square" tIns="0" bIns="0">
            <a:spAutoFit/>
          </a:bodyPr>
          <a:lstStyle>
            <a:lvl1pPr marL="0" indent="0" algn="r">
              <a:lnSpc>
                <a:spcPct val="100000"/>
              </a:lnSpc>
              <a:spcBef>
                <a:spcPts val="0"/>
              </a:spcBef>
              <a:buNone/>
              <a:defRPr sz="2000" cap="all"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a:t>CLICK TO EDIT MASTER SUBTITLE STYLE</a:t>
            </a:r>
          </a:p>
        </p:txBody>
      </p:sp>
      <p:sp>
        <p:nvSpPr>
          <p:cNvPr id="12" name="Text Placeholder 2"/>
          <p:cNvSpPr>
            <a:spLocks noGrp="1"/>
          </p:cNvSpPr>
          <p:nvPr>
            <p:ph type="body" idx="17"/>
          </p:nvPr>
        </p:nvSpPr>
        <p:spPr>
          <a:xfrm>
            <a:off x="3044880" y="4498849"/>
            <a:ext cx="5667603" cy="523046"/>
          </a:xfrm>
          <a:prstGeom prst="rect">
            <a:avLst/>
          </a:prstGeom>
        </p:spPr>
        <p:txBody>
          <a:bodyPr wrap="square" anchor="b" anchorCtr="0"/>
          <a:lstStyle>
            <a:lvl1pPr marL="0" indent="0" algn="r">
              <a:lnSpc>
                <a:spcPct val="100000"/>
              </a:lnSpc>
              <a:spcBef>
                <a:spcPts val="0"/>
              </a:spcBef>
              <a:buNone/>
              <a:defRPr sz="12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s</a:t>
            </a:r>
          </a:p>
        </p:txBody>
      </p:sp>
      <p:pic>
        <p:nvPicPr>
          <p:cNvPr id="4" name="Picture 3" descr="PPT-White-Cover-Graphic.png"/>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4935838" y="-6436"/>
            <a:ext cx="4215536" cy="1282011"/>
          </a:xfrm>
          <a:prstGeom prst="rect">
            <a:avLst/>
          </a:prstGeom>
        </p:spPr>
      </p:pic>
      <p:pic>
        <p:nvPicPr>
          <p:cNvPr id="7" name="Picture 9" descr="Nielsen_S.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31800" y="276495"/>
            <a:ext cx="889600" cy="235942"/>
          </a:xfrm>
          <a:prstGeom prst="rect">
            <a:avLst/>
          </a:prstGeom>
        </p:spPr>
      </p:pic>
    </p:spTree>
    <p:extLst>
      <p:ext uri="{BB962C8B-B14F-4D97-AF65-F5344CB8AC3E}">
        <p14:creationId xmlns:p14="http://schemas.microsoft.com/office/powerpoint/2010/main" val="1136859500"/>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sp>
        <p:nvSpPr>
          <p:cNvPr id="12" name="Text Placeholder 2"/>
          <p:cNvSpPr>
            <a:spLocks noGrp="1"/>
          </p:cNvSpPr>
          <p:nvPr>
            <p:ph type="body" idx="17"/>
          </p:nvPr>
        </p:nvSpPr>
        <p:spPr>
          <a:xfrm>
            <a:off x="3044859" y="4852619"/>
            <a:ext cx="5757831" cy="169277"/>
          </a:xfrm>
          <a:prstGeom prst="rect">
            <a:avLst/>
          </a:prstGeom>
        </p:spPr>
        <p:txBody>
          <a:bodyPr wrap="square" anchor="b" anchorCtr="0">
            <a:spAutoFit/>
          </a:bodyPr>
          <a:lstStyle>
            <a:lvl1pPr marL="0" indent="0" algn="r">
              <a:lnSpc>
                <a:spcPct val="100000"/>
              </a:lnSpc>
              <a:spcBef>
                <a:spcPts val="0"/>
              </a:spcBef>
              <a:buNone/>
              <a:defRPr sz="11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noProof="0" smtClean="0"/>
              <a:t>Textmasterformat bearbeiten</a:t>
            </a:r>
          </a:p>
        </p:txBody>
      </p:sp>
      <p:sp>
        <p:nvSpPr>
          <p:cNvPr id="2" name="Title 1"/>
          <p:cNvSpPr>
            <a:spLocks noGrp="1"/>
          </p:cNvSpPr>
          <p:nvPr>
            <p:ph type="ctrTitle" hasCustomPrompt="1"/>
          </p:nvPr>
        </p:nvSpPr>
        <p:spPr>
          <a:xfrm>
            <a:off x="3044859" y="2132144"/>
            <a:ext cx="5757831" cy="1034129"/>
          </a:xfrm>
        </p:spPr>
        <p:txBody>
          <a:bodyPr wrap="square" tIns="0" bIns="0">
            <a:spAutoFit/>
          </a:bodyPr>
          <a:lstStyle>
            <a:lvl1pPr algn="r">
              <a:lnSpc>
                <a:spcPct val="80000"/>
              </a:lnSpc>
              <a:tabLst>
                <a:tab pos="508000" algn="l"/>
              </a:tabLst>
              <a:defRPr sz="4200" b="0" cap="all" baseline="0">
                <a:solidFill>
                  <a:srgbClr val="009DD9"/>
                </a:solidFill>
              </a:defRPr>
            </a:lvl1pPr>
          </a:lstStyle>
          <a:p>
            <a:r>
              <a:rPr lang="en-US" noProof="0" dirty="0" smtClean="0"/>
              <a:t>CLICK TO EDIT MASTER TITLE STYLE</a:t>
            </a:r>
            <a:endParaRPr lang="en-US" noProof="0" dirty="0"/>
          </a:p>
        </p:txBody>
      </p:sp>
      <p:sp>
        <p:nvSpPr>
          <p:cNvPr id="3" name="Subtitle 2"/>
          <p:cNvSpPr>
            <a:spLocks noGrp="1"/>
          </p:cNvSpPr>
          <p:nvPr>
            <p:ph type="subTitle" idx="1" hasCustomPrompt="1"/>
          </p:nvPr>
        </p:nvSpPr>
        <p:spPr>
          <a:xfrm>
            <a:off x="3044859" y="3173029"/>
            <a:ext cx="5757831" cy="276999"/>
          </a:xfrm>
          <a:prstGeom prst="rect">
            <a:avLst/>
          </a:prstGeom>
        </p:spPr>
        <p:txBody>
          <a:bodyPr wrap="square" lIns="0" tIns="0" bIns="0">
            <a:spAutoFit/>
          </a:bodyPr>
          <a:lstStyle>
            <a:lvl1pPr marL="0" indent="0" algn="r">
              <a:lnSpc>
                <a:spcPct val="100000"/>
              </a:lnSpc>
              <a:spcBef>
                <a:spcPts val="0"/>
              </a:spcBef>
              <a:buNone/>
              <a:defRPr sz="1800" cap="all"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CLICK TO EDIT MASTER SUBTITLE STYLE</a:t>
            </a:r>
            <a:endParaRPr lang="en-US" noProof="0" dirty="0"/>
          </a:p>
        </p:txBody>
      </p:sp>
      <p:pic>
        <p:nvPicPr>
          <p:cNvPr id="10" name="Picture 9" descr="Nielsen_S.png"/>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8122792" y="278065"/>
            <a:ext cx="672296" cy="237744"/>
          </a:xfrm>
          <a:prstGeom prst="rect">
            <a:avLst/>
          </a:prstGeom>
        </p:spPr>
      </p:pic>
      <p:pic>
        <p:nvPicPr>
          <p:cNvPr id="8" name="Picture 3" descr="PPT-White-Cover-Graphic-No-Image.png"/>
          <p:cNvPicPr>
            <a:picLocks noChangeAspect="1"/>
          </p:cNvPicPr>
          <p:nvPr userDrawn="1"/>
        </p:nvPicPr>
        <p:blipFill rotWithShape="1">
          <a:blip r:embed="rId3">
            <a:extLst>
              <a:ext uri="{28A0092B-C50C-407E-A947-70E740481C1C}">
                <a14:useLocalDpi xmlns:a14="http://schemas.microsoft.com/office/drawing/2010/main"/>
              </a:ext>
            </a:extLst>
          </a:blip>
          <a:srcRect t="359"/>
          <a:stretch/>
        </p:blipFill>
        <p:spPr>
          <a:xfrm>
            <a:off x="1" y="0"/>
            <a:ext cx="4569243" cy="3530600"/>
          </a:xfrm>
          <a:prstGeom prst="rect">
            <a:avLst/>
          </a:prstGeom>
        </p:spPr>
      </p:pic>
    </p:spTree>
    <p:extLst>
      <p:ext uri="{BB962C8B-B14F-4D97-AF65-F5344CB8AC3E}">
        <p14:creationId xmlns:p14="http://schemas.microsoft.com/office/powerpoint/2010/main" val="3059835778"/>
      </p:ext>
    </p:extLst>
  </p:cSld>
  <p:clrMapOvr>
    <a:masterClrMapping/>
  </p:clrMapOvr>
  <p:transition>
    <p:fade/>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Reporting Title Slide 2">
    <p:spTree>
      <p:nvGrpSpPr>
        <p:cNvPr id="1" name=""/>
        <p:cNvGrpSpPr/>
        <p:nvPr/>
      </p:nvGrpSpPr>
      <p:grpSpPr>
        <a:xfrm>
          <a:off x="0" y="0"/>
          <a:ext cx="0" cy="0"/>
          <a:chOff x="0" y="0"/>
          <a:chExt cx="0" cy="0"/>
        </a:xfrm>
      </p:grpSpPr>
      <p:sp>
        <p:nvSpPr>
          <p:cNvPr id="12" name="Text Placeholder 2"/>
          <p:cNvSpPr>
            <a:spLocks noGrp="1"/>
          </p:cNvSpPr>
          <p:nvPr>
            <p:ph type="body" idx="17"/>
          </p:nvPr>
        </p:nvSpPr>
        <p:spPr>
          <a:xfrm>
            <a:off x="3044880" y="4498849"/>
            <a:ext cx="5667603" cy="523046"/>
          </a:xfrm>
          <a:prstGeom prst="rect">
            <a:avLst/>
          </a:prstGeom>
        </p:spPr>
        <p:txBody>
          <a:bodyPr wrap="square" anchor="b" anchorCtr="0"/>
          <a:lstStyle>
            <a:lvl1pPr marL="0" indent="0" algn="r">
              <a:lnSpc>
                <a:spcPct val="100000"/>
              </a:lnSpc>
              <a:spcBef>
                <a:spcPts val="0"/>
              </a:spcBef>
              <a:buNone/>
              <a:defRPr sz="12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s</a:t>
            </a:r>
          </a:p>
        </p:txBody>
      </p:sp>
      <p:sp>
        <p:nvSpPr>
          <p:cNvPr id="2" name="Title 1"/>
          <p:cNvSpPr>
            <a:spLocks noGrp="1"/>
          </p:cNvSpPr>
          <p:nvPr>
            <p:ph type="ctrTitle" hasCustomPrompt="1"/>
          </p:nvPr>
        </p:nvSpPr>
        <p:spPr>
          <a:xfrm>
            <a:off x="3044880" y="2183608"/>
            <a:ext cx="5667603" cy="982664"/>
          </a:xfrm>
        </p:spPr>
        <p:txBody>
          <a:bodyPr wrap="square" tIns="0" bIns="0">
            <a:noAutofit/>
          </a:bodyPr>
          <a:lstStyle>
            <a:lvl1pPr algn="r">
              <a:lnSpc>
                <a:spcPct val="80000"/>
              </a:lnSpc>
              <a:tabLst>
                <a:tab pos="508000" algn="l"/>
              </a:tabLst>
              <a:defRPr sz="4500" b="0" cap="all" baseline="0">
                <a:solidFill>
                  <a:srgbClr val="009DD9"/>
                </a:solidFill>
              </a:defRPr>
            </a:lvl1pPr>
          </a:lstStyle>
          <a:p>
            <a:r>
              <a:rPr lang="en-US" noProof="0" dirty="0"/>
              <a:t>CLICK TO EDIT MASTER TITLE STYLE</a:t>
            </a:r>
          </a:p>
        </p:txBody>
      </p:sp>
      <p:sp>
        <p:nvSpPr>
          <p:cNvPr id="3" name="Subtitle 2"/>
          <p:cNvSpPr>
            <a:spLocks noGrp="1"/>
          </p:cNvSpPr>
          <p:nvPr>
            <p:ph type="subTitle" idx="1" hasCustomPrompt="1"/>
          </p:nvPr>
        </p:nvSpPr>
        <p:spPr>
          <a:xfrm>
            <a:off x="3044880" y="3173509"/>
            <a:ext cx="5667603" cy="307777"/>
          </a:xfrm>
          <a:prstGeom prst="rect">
            <a:avLst/>
          </a:prstGeom>
        </p:spPr>
        <p:txBody>
          <a:bodyPr wrap="square" lIns="0" tIns="0" bIns="0">
            <a:spAutoFit/>
          </a:bodyPr>
          <a:lstStyle>
            <a:lvl1pPr marL="0" indent="0" algn="r">
              <a:lnSpc>
                <a:spcPct val="100000"/>
              </a:lnSpc>
              <a:spcBef>
                <a:spcPts val="0"/>
              </a:spcBef>
              <a:buNone/>
              <a:defRPr sz="2000" cap="all"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a:t>CLICK TO EDIT MASTER SUBTITLE STYLE</a:t>
            </a:r>
          </a:p>
        </p:txBody>
      </p:sp>
      <p:pic>
        <p:nvPicPr>
          <p:cNvPr id="4" name="Picture 3" descr="PPT-White-Cover-Graphic-No-Image.png"/>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750" y="-6569"/>
            <a:ext cx="6115907" cy="3557016"/>
          </a:xfrm>
          <a:prstGeom prst="rect">
            <a:avLst/>
          </a:prstGeom>
        </p:spPr>
      </p:pic>
      <p:pic>
        <p:nvPicPr>
          <p:cNvPr id="8" name="Picture 9" descr="Nielsen_S.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808928" y="276225"/>
            <a:ext cx="889600" cy="235942"/>
          </a:xfrm>
          <a:prstGeom prst="rect">
            <a:avLst/>
          </a:prstGeom>
        </p:spPr>
      </p:pic>
    </p:spTree>
    <p:extLst>
      <p:ext uri="{BB962C8B-B14F-4D97-AF65-F5344CB8AC3E}">
        <p14:creationId xmlns:p14="http://schemas.microsoft.com/office/powerpoint/2010/main" val="2050625254"/>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Dark Reporting Title Slide">
    <p:bg>
      <p:bgPr>
        <a:solidFill>
          <a:srgbClr val="000000"/>
        </a:solidFill>
        <a:effectLst/>
      </p:bgPr>
    </p:bg>
    <p:spTree>
      <p:nvGrpSpPr>
        <p:cNvPr id="1" name=""/>
        <p:cNvGrpSpPr/>
        <p:nvPr/>
      </p:nvGrpSpPr>
      <p:grpSpPr>
        <a:xfrm>
          <a:off x="0" y="0"/>
          <a:ext cx="0" cy="0"/>
          <a:chOff x="0" y="0"/>
          <a:chExt cx="0" cy="0"/>
        </a:xfrm>
      </p:grpSpPr>
      <p:pic>
        <p:nvPicPr>
          <p:cNvPr id="9" name="Picture 1" descr="PPT-Black-Cover-Graphic.png"/>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 y="21"/>
            <a:ext cx="4061679" cy="1442465"/>
          </a:xfrm>
          <a:prstGeom prst="rect">
            <a:avLst/>
          </a:prstGeom>
        </p:spPr>
      </p:pic>
      <p:sp>
        <p:nvSpPr>
          <p:cNvPr id="10" name="Textplatzhalter 7"/>
          <p:cNvSpPr>
            <a:spLocks noGrp="1"/>
          </p:cNvSpPr>
          <p:nvPr>
            <p:ph type="body" sz="quarter" idx="10" hasCustomPrompt="1"/>
          </p:nvPr>
        </p:nvSpPr>
        <p:spPr>
          <a:xfrm>
            <a:off x="431801" y="4496281"/>
            <a:ext cx="5489575" cy="529829"/>
          </a:xfrm>
        </p:spPr>
        <p:txBody>
          <a:bodyPr anchor="b">
            <a:normAutofit/>
          </a:bodyPr>
          <a:lstStyle>
            <a:lvl1pPr>
              <a:spcBef>
                <a:spcPts val="0"/>
              </a:spcBef>
              <a:defRPr sz="1200" cap="none" baseline="0">
                <a:solidFill>
                  <a:schemeClr val="tx1"/>
                </a:solidFill>
              </a:defRPr>
            </a:lvl1pPr>
          </a:lstStyle>
          <a:p>
            <a:pPr lvl="0"/>
            <a:r>
              <a:rPr lang="en-US" noProof="0" dirty="0"/>
              <a:t>Click to edit Master text styles</a:t>
            </a:r>
          </a:p>
        </p:txBody>
      </p:sp>
      <p:sp>
        <p:nvSpPr>
          <p:cNvPr id="12" name="Titel 1"/>
          <p:cNvSpPr>
            <a:spLocks noGrp="1"/>
          </p:cNvSpPr>
          <p:nvPr>
            <p:ph type="title" hasCustomPrompt="1"/>
          </p:nvPr>
        </p:nvSpPr>
        <p:spPr>
          <a:xfrm>
            <a:off x="431801" y="1930431"/>
            <a:ext cx="5489575" cy="984250"/>
          </a:xfrm>
        </p:spPr>
        <p:txBody>
          <a:bodyPr wrap="square" anchor="b">
            <a:noAutofit/>
          </a:bodyPr>
          <a:lstStyle>
            <a:lvl1pPr>
              <a:lnSpc>
                <a:spcPct val="80000"/>
              </a:lnSpc>
              <a:defRPr sz="4500"/>
            </a:lvl1pPr>
          </a:lstStyle>
          <a:p>
            <a:r>
              <a:rPr lang="en-US" noProof="0" dirty="0"/>
              <a:t>CLICK TO EDIT MASTER TITLE STYLE</a:t>
            </a:r>
            <a:endParaRPr lang="de-DE" dirty="0"/>
          </a:p>
        </p:txBody>
      </p:sp>
      <p:sp>
        <p:nvSpPr>
          <p:cNvPr id="14" name="Textplatzhalter 9"/>
          <p:cNvSpPr>
            <a:spLocks noGrp="1"/>
          </p:cNvSpPr>
          <p:nvPr>
            <p:ph type="body" sz="quarter" idx="11" hasCustomPrompt="1"/>
          </p:nvPr>
        </p:nvSpPr>
        <p:spPr>
          <a:xfrm>
            <a:off x="431540" y="2916113"/>
            <a:ext cx="5489835" cy="307777"/>
          </a:xfrm>
        </p:spPr>
        <p:txBody>
          <a:bodyPr anchor="t">
            <a:spAutoFit/>
          </a:bodyPr>
          <a:lstStyle>
            <a:lvl1pPr>
              <a:spcBef>
                <a:spcPts val="0"/>
              </a:spcBef>
              <a:defRPr sz="2000" cap="all" baseline="0">
                <a:solidFill>
                  <a:schemeClr val="tx1"/>
                </a:solidFill>
              </a:defRPr>
            </a:lvl1pPr>
          </a:lstStyle>
          <a:p>
            <a:pPr lvl="0"/>
            <a:r>
              <a:rPr lang="en-US" noProof="0" dirty="0"/>
              <a:t>CLICK TO EDIT MASTER SUBTITLE STYLE</a:t>
            </a:r>
          </a:p>
        </p:txBody>
      </p:sp>
      <p:pic>
        <p:nvPicPr>
          <p:cNvPr id="7" name="Picture 19" descr="Nielsen_R.png"/>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invGray">
          <a:xfrm>
            <a:off x="7823200" y="276673"/>
            <a:ext cx="889000" cy="235783"/>
          </a:xfrm>
          <a:prstGeom prst="rect">
            <a:avLst/>
          </a:prstGeom>
        </p:spPr>
      </p:pic>
    </p:spTree>
    <p:extLst>
      <p:ext uri="{BB962C8B-B14F-4D97-AF65-F5344CB8AC3E}">
        <p14:creationId xmlns:p14="http://schemas.microsoft.com/office/powerpoint/2010/main" val="30901710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Dark Reporting Title Slide 2">
    <p:bg>
      <p:bgPr>
        <a:solidFill>
          <a:srgbClr val="000000"/>
        </a:solidFill>
        <a:effectLst/>
      </p:bgPr>
    </p:bg>
    <p:spTree>
      <p:nvGrpSpPr>
        <p:cNvPr id="1" name=""/>
        <p:cNvGrpSpPr/>
        <p:nvPr/>
      </p:nvGrpSpPr>
      <p:grpSpPr>
        <a:xfrm>
          <a:off x="0" y="0"/>
          <a:ext cx="0" cy="0"/>
          <a:chOff x="0" y="0"/>
          <a:chExt cx="0" cy="0"/>
        </a:xfrm>
      </p:grpSpPr>
      <p:pic>
        <p:nvPicPr>
          <p:cNvPr id="7" name="Picture 1" descr="PPT-Black-Cover-Graphic-No-Image.png"/>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777494" y="0"/>
            <a:ext cx="8366506" cy="5143500"/>
          </a:xfrm>
          <a:prstGeom prst="rect">
            <a:avLst/>
          </a:prstGeom>
        </p:spPr>
      </p:pic>
      <p:sp>
        <p:nvSpPr>
          <p:cNvPr id="10" name="Textplatzhalter 7"/>
          <p:cNvSpPr>
            <a:spLocks noGrp="1"/>
          </p:cNvSpPr>
          <p:nvPr>
            <p:ph type="body" sz="quarter" idx="10" hasCustomPrompt="1"/>
          </p:nvPr>
        </p:nvSpPr>
        <p:spPr>
          <a:xfrm>
            <a:off x="431801" y="4496281"/>
            <a:ext cx="5489575" cy="529829"/>
          </a:xfrm>
        </p:spPr>
        <p:txBody>
          <a:bodyPr anchor="b">
            <a:normAutofit/>
          </a:bodyPr>
          <a:lstStyle>
            <a:lvl1pPr>
              <a:spcBef>
                <a:spcPts val="0"/>
              </a:spcBef>
              <a:defRPr sz="1200" cap="none" baseline="0">
                <a:solidFill>
                  <a:schemeClr val="tx1"/>
                </a:solidFill>
              </a:defRPr>
            </a:lvl1pPr>
          </a:lstStyle>
          <a:p>
            <a:pPr lvl="0"/>
            <a:r>
              <a:rPr lang="en-US" noProof="0" dirty="0"/>
              <a:t>Click to edit Master text styles</a:t>
            </a:r>
          </a:p>
        </p:txBody>
      </p:sp>
      <p:sp>
        <p:nvSpPr>
          <p:cNvPr id="12" name="Titel 1"/>
          <p:cNvSpPr>
            <a:spLocks noGrp="1"/>
          </p:cNvSpPr>
          <p:nvPr>
            <p:ph type="title" hasCustomPrompt="1"/>
          </p:nvPr>
        </p:nvSpPr>
        <p:spPr>
          <a:xfrm>
            <a:off x="431801" y="2166705"/>
            <a:ext cx="5489575" cy="984250"/>
          </a:xfrm>
        </p:spPr>
        <p:txBody>
          <a:bodyPr wrap="square" anchor="b">
            <a:noAutofit/>
          </a:bodyPr>
          <a:lstStyle>
            <a:lvl1pPr>
              <a:lnSpc>
                <a:spcPct val="80000"/>
              </a:lnSpc>
              <a:defRPr sz="4500"/>
            </a:lvl1pPr>
          </a:lstStyle>
          <a:p>
            <a:r>
              <a:rPr lang="en-US" noProof="0" dirty="0"/>
              <a:t>CLICK TO EDIT MASTER TITLE STYLE</a:t>
            </a:r>
            <a:endParaRPr lang="de-DE" dirty="0"/>
          </a:p>
        </p:txBody>
      </p:sp>
      <p:sp>
        <p:nvSpPr>
          <p:cNvPr id="14" name="Textplatzhalter 9"/>
          <p:cNvSpPr>
            <a:spLocks noGrp="1"/>
          </p:cNvSpPr>
          <p:nvPr>
            <p:ph type="body" sz="quarter" idx="11" hasCustomPrompt="1"/>
          </p:nvPr>
        </p:nvSpPr>
        <p:spPr>
          <a:xfrm>
            <a:off x="431540" y="3152389"/>
            <a:ext cx="5489835" cy="307777"/>
          </a:xfrm>
        </p:spPr>
        <p:txBody>
          <a:bodyPr anchor="t">
            <a:spAutoFit/>
          </a:bodyPr>
          <a:lstStyle>
            <a:lvl1pPr>
              <a:spcBef>
                <a:spcPts val="0"/>
              </a:spcBef>
              <a:defRPr sz="2000" cap="all" baseline="0">
                <a:solidFill>
                  <a:schemeClr val="tx1"/>
                </a:solidFill>
              </a:defRPr>
            </a:lvl1pPr>
          </a:lstStyle>
          <a:p>
            <a:pPr lvl="0"/>
            <a:r>
              <a:rPr lang="en-US" noProof="0" dirty="0"/>
              <a:t>CLICK TO EDIT MASTER SUBTITLE STYLE</a:t>
            </a:r>
          </a:p>
        </p:txBody>
      </p:sp>
      <p:pic>
        <p:nvPicPr>
          <p:cNvPr id="8" name="Picture 19" descr="Nielsen_R.png"/>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invGray">
          <a:xfrm>
            <a:off x="452305" y="280190"/>
            <a:ext cx="889000" cy="235783"/>
          </a:xfrm>
          <a:prstGeom prst="rect">
            <a:avLst/>
          </a:prstGeom>
        </p:spPr>
      </p:pic>
    </p:spTree>
    <p:extLst>
      <p:ext uri="{BB962C8B-B14F-4D97-AF65-F5344CB8AC3E}">
        <p14:creationId xmlns:p14="http://schemas.microsoft.com/office/powerpoint/2010/main" val="418582656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6" name="Titel 5"/>
          <p:cNvSpPr>
            <a:spLocks noGrp="1"/>
          </p:cNvSpPr>
          <p:nvPr>
            <p:ph type="title" hasCustomPrompt="1"/>
          </p:nvPr>
        </p:nvSpPr>
        <p:spPr/>
        <p:txBody>
          <a:bodyPr/>
          <a:lstStyle/>
          <a:p>
            <a:r>
              <a:rPr lang="en-US" noProof="0" dirty="0"/>
              <a:t>Click to edit Master title style</a:t>
            </a:r>
          </a:p>
        </p:txBody>
      </p:sp>
      <p:sp>
        <p:nvSpPr>
          <p:cNvPr id="8" name="Fußzeilenplatzhalter 7"/>
          <p:cNvSpPr>
            <a:spLocks noGrp="1"/>
          </p:cNvSpPr>
          <p:nvPr>
            <p:ph type="ftr" sz="quarter" idx="10"/>
          </p:nvPr>
        </p:nvSpPr>
        <p:spPr/>
        <p:txBody>
          <a:bodyPr/>
          <a:lstStyle/>
          <a:p>
            <a:r>
              <a:rPr lang="en-US" dirty="0">
                <a:solidFill>
                  <a:srgbClr val="5F5F5F"/>
                </a:solidFill>
              </a:rPr>
              <a:t>Footer</a:t>
            </a:r>
          </a:p>
        </p:txBody>
      </p:sp>
    </p:spTree>
    <p:extLst>
      <p:ext uri="{BB962C8B-B14F-4D97-AF65-F5344CB8AC3E}">
        <p14:creationId xmlns:p14="http://schemas.microsoft.com/office/powerpoint/2010/main" val="2125406742"/>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only 2">
    <p:spTree>
      <p:nvGrpSpPr>
        <p:cNvPr id="1" name=""/>
        <p:cNvGrpSpPr/>
        <p:nvPr/>
      </p:nvGrpSpPr>
      <p:grpSpPr>
        <a:xfrm>
          <a:off x="0" y="0"/>
          <a:ext cx="0" cy="0"/>
          <a:chOff x="0" y="0"/>
          <a:chExt cx="0" cy="0"/>
        </a:xfrm>
      </p:grpSpPr>
      <p:sp>
        <p:nvSpPr>
          <p:cNvPr id="6" name="Titel 5"/>
          <p:cNvSpPr>
            <a:spLocks noGrp="1"/>
          </p:cNvSpPr>
          <p:nvPr>
            <p:ph type="title" hasCustomPrompt="1"/>
          </p:nvPr>
        </p:nvSpPr>
        <p:spPr/>
        <p:txBody>
          <a:bodyPr/>
          <a:lstStyle/>
          <a:p>
            <a:r>
              <a:rPr lang="en-US" noProof="0" dirty="0"/>
              <a:t>Click to edit Master title style</a:t>
            </a:r>
          </a:p>
        </p:txBody>
      </p:sp>
      <p:sp>
        <p:nvSpPr>
          <p:cNvPr id="8" name="Fußzeilenplatzhalter 7"/>
          <p:cNvSpPr>
            <a:spLocks noGrp="1"/>
          </p:cNvSpPr>
          <p:nvPr>
            <p:ph type="ftr" sz="quarter" idx="10"/>
          </p:nvPr>
        </p:nvSpPr>
        <p:spPr/>
        <p:txBody>
          <a:bodyPr/>
          <a:lstStyle/>
          <a:p>
            <a:r>
              <a:rPr lang="en-US" dirty="0">
                <a:solidFill>
                  <a:srgbClr val="5F5F5F"/>
                </a:solidFill>
              </a:rPr>
              <a:t>Footer</a:t>
            </a:r>
          </a:p>
        </p:txBody>
      </p:sp>
      <p:pic>
        <p:nvPicPr>
          <p:cNvPr id="5" name="Picture 1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8467" y="2"/>
            <a:ext cx="1752600" cy="523875"/>
          </a:xfrm>
          <a:prstGeom prst="rect">
            <a:avLst/>
          </a:prstGeom>
        </p:spPr>
      </p:pic>
    </p:spTree>
    <p:extLst>
      <p:ext uri="{BB962C8B-B14F-4D97-AF65-F5344CB8AC3E}">
        <p14:creationId xmlns:p14="http://schemas.microsoft.com/office/powerpoint/2010/main" val="3368238128"/>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Dark Title only">
    <p:bg>
      <p:bgPr>
        <a:solidFill>
          <a:srgbClr val="000000"/>
        </a:solidFill>
        <a:effectLst/>
      </p:bgPr>
    </p:bg>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US" noProof="0" dirty="0"/>
              <a:t>Click to edit Master title style</a:t>
            </a:r>
          </a:p>
        </p:txBody>
      </p:sp>
      <p:sp>
        <p:nvSpPr>
          <p:cNvPr id="3" name="Fußzeilenplatzhalter 2"/>
          <p:cNvSpPr>
            <a:spLocks noGrp="1"/>
          </p:cNvSpPr>
          <p:nvPr>
            <p:ph type="ftr" sz="quarter" idx="10"/>
          </p:nvPr>
        </p:nvSpPr>
        <p:spPr/>
        <p:txBody>
          <a:bodyPr/>
          <a:lstStyle/>
          <a:p>
            <a:r>
              <a:rPr lang="en-US" dirty="0">
                <a:solidFill>
                  <a:srgbClr val="FFFFFF"/>
                </a:solidFill>
              </a:rPr>
              <a:t>Footer</a:t>
            </a:r>
          </a:p>
        </p:txBody>
      </p:sp>
    </p:spTree>
    <p:extLst>
      <p:ext uri="{BB962C8B-B14F-4D97-AF65-F5344CB8AC3E}">
        <p14:creationId xmlns:p14="http://schemas.microsoft.com/office/powerpoint/2010/main" val="6149202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 Subtitl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29336772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41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Text Placeholder 2"/>
          <p:cNvSpPr>
            <a:spLocks noGrp="1"/>
          </p:cNvSpPr>
          <p:nvPr>
            <p:ph type="body" idx="13" hasCustomPrompt="1"/>
          </p:nvPr>
        </p:nvSpPr>
        <p:spPr>
          <a:xfrm>
            <a:off x="657252" y="960602"/>
            <a:ext cx="8054975" cy="276999"/>
          </a:xfrm>
          <a:prstGeom prst="rect">
            <a:avLst/>
          </a:prstGeom>
        </p:spPr>
        <p:txBody>
          <a:bodyPr wrap="square" tIns="0" bIns="0" anchor="t" anchorCtr="0">
            <a:spAutoFit/>
          </a:bodyPr>
          <a:lstStyle>
            <a:lvl1pPr marL="0" indent="0">
              <a:spcBef>
                <a:spcPts val="0"/>
              </a:spcBef>
              <a:buNone/>
              <a:defRPr sz="1800" b="0"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subtitle</a:t>
            </a:r>
          </a:p>
        </p:txBody>
      </p:sp>
      <p:sp>
        <p:nvSpPr>
          <p:cNvPr id="2" name="Titel 1"/>
          <p:cNvSpPr>
            <a:spLocks noGrp="1"/>
          </p:cNvSpPr>
          <p:nvPr>
            <p:ph type="title" hasCustomPrompt="1"/>
          </p:nvPr>
        </p:nvSpPr>
        <p:spPr/>
        <p:txBody>
          <a:bodyPr/>
          <a:lstStyle/>
          <a:p>
            <a:r>
              <a:rPr lang="en-US" noProof="0" dirty="0"/>
              <a:t>Click to edit Master title style</a:t>
            </a:r>
          </a:p>
        </p:txBody>
      </p:sp>
      <p:sp>
        <p:nvSpPr>
          <p:cNvPr id="3" name="Fußzeilenplatzhalter 2"/>
          <p:cNvSpPr>
            <a:spLocks noGrp="1"/>
          </p:cNvSpPr>
          <p:nvPr>
            <p:ph type="ftr" sz="quarter" idx="14"/>
          </p:nvPr>
        </p:nvSpPr>
        <p:spPr/>
        <p:txBody>
          <a:bodyPr/>
          <a:lstStyle/>
          <a:p>
            <a:r>
              <a:rPr lang="en-US" dirty="0">
                <a:solidFill>
                  <a:srgbClr val="5F5F5F"/>
                </a:solidFill>
              </a:rPr>
              <a:t>Footer</a:t>
            </a:r>
          </a:p>
        </p:txBody>
      </p:sp>
    </p:spTree>
    <p:extLst>
      <p:ext uri="{BB962C8B-B14F-4D97-AF65-F5344CB8AC3E}">
        <p14:creationId xmlns:p14="http://schemas.microsoft.com/office/powerpoint/2010/main" val="1329913650"/>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 Subtitle 2">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4740803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43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Text Placeholder 2"/>
          <p:cNvSpPr>
            <a:spLocks noGrp="1"/>
          </p:cNvSpPr>
          <p:nvPr>
            <p:ph type="body" idx="13" hasCustomPrompt="1"/>
          </p:nvPr>
        </p:nvSpPr>
        <p:spPr>
          <a:xfrm>
            <a:off x="657252" y="960602"/>
            <a:ext cx="8054975" cy="276999"/>
          </a:xfrm>
          <a:prstGeom prst="rect">
            <a:avLst/>
          </a:prstGeom>
        </p:spPr>
        <p:txBody>
          <a:bodyPr wrap="square" tIns="0" bIns="0" anchor="t" anchorCtr="0">
            <a:spAutoFit/>
          </a:bodyPr>
          <a:lstStyle>
            <a:lvl1pPr marL="0" indent="0">
              <a:spcBef>
                <a:spcPts val="0"/>
              </a:spcBef>
              <a:buNone/>
              <a:defRPr sz="1800" b="0"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subtitle</a:t>
            </a:r>
          </a:p>
        </p:txBody>
      </p:sp>
      <p:sp>
        <p:nvSpPr>
          <p:cNvPr id="2" name="Titel 1"/>
          <p:cNvSpPr>
            <a:spLocks noGrp="1"/>
          </p:cNvSpPr>
          <p:nvPr>
            <p:ph type="title" hasCustomPrompt="1"/>
          </p:nvPr>
        </p:nvSpPr>
        <p:spPr/>
        <p:txBody>
          <a:bodyPr/>
          <a:lstStyle/>
          <a:p>
            <a:r>
              <a:rPr lang="en-US" noProof="0" dirty="0"/>
              <a:t>Click to edit Master title style</a:t>
            </a:r>
          </a:p>
        </p:txBody>
      </p:sp>
      <p:sp>
        <p:nvSpPr>
          <p:cNvPr id="3" name="Fußzeilenplatzhalter 2"/>
          <p:cNvSpPr>
            <a:spLocks noGrp="1"/>
          </p:cNvSpPr>
          <p:nvPr>
            <p:ph type="ftr" sz="quarter" idx="14"/>
          </p:nvPr>
        </p:nvSpPr>
        <p:spPr/>
        <p:txBody>
          <a:bodyPr/>
          <a:lstStyle/>
          <a:p>
            <a:r>
              <a:rPr lang="en-US" dirty="0">
                <a:solidFill>
                  <a:srgbClr val="5F5F5F"/>
                </a:solidFill>
              </a:rPr>
              <a:t>Footer</a:t>
            </a:r>
          </a:p>
        </p:txBody>
      </p:sp>
      <p:pic>
        <p:nvPicPr>
          <p:cNvPr id="6" name="Picture 13"/>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8467" y="2"/>
            <a:ext cx="1752600" cy="523875"/>
          </a:xfrm>
          <a:prstGeom prst="rect">
            <a:avLst/>
          </a:prstGeom>
        </p:spPr>
      </p:pic>
    </p:spTree>
    <p:extLst>
      <p:ext uri="{BB962C8B-B14F-4D97-AF65-F5344CB8AC3E}">
        <p14:creationId xmlns:p14="http://schemas.microsoft.com/office/powerpoint/2010/main" val="1768444458"/>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Dark Title + Subtitle">
    <p:bg>
      <p:bgPr>
        <a:solidFill>
          <a:srgbClr val="000000"/>
        </a:solidFill>
        <a:effectLst/>
      </p:bgPr>
    </p:bg>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US" noProof="0" dirty="0"/>
              <a:t>Click to edit Master title style</a:t>
            </a:r>
          </a:p>
        </p:txBody>
      </p:sp>
      <p:sp>
        <p:nvSpPr>
          <p:cNvPr id="3" name="Fußzeilenplatzhalter 2"/>
          <p:cNvSpPr>
            <a:spLocks noGrp="1"/>
          </p:cNvSpPr>
          <p:nvPr>
            <p:ph type="ftr" sz="quarter" idx="10"/>
          </p:nvPr>
        </p:nvSpPr>
        <p:spPr/>
        <p:txBody>
          <a:bodyPr/>
          <a:lstStyle/>
          <a:p>
            <a:r>
              <a:rPr lang="en-US" dirty="0">
                <a:solidFill>
                  <a:srgbClr val="FFFFFF"/>
                </a:solidFill>
              </a:rPr>
              <a:t>Footer</a:t>
            </a:r>
          </a:p>
        </p:txBody>
      </p:sp>
      <p:sp>
        <p:nvSpPr>
          <p:cNvPr id="5" name="Text Placeholder 2"/>
          <p:cNvSpPr>
            <a:spLocks noGrp="1"/>
          </p:cNvSpPr>
          <p:nvPr>
            <p:ph type="body" idx="13" hasCustomPrompt="1"/>
          </p:nvPr>
        </p:nvSpPr>
        <p:spPr>
          <a:xfrm>
            <a:off x="657252" y="960602"/>
            <a:ext cx="8054975" cy="276999"/>
          </a:xfrm>
          <a:prstGeom prst="rect">
            <a:avLst/>
          </a:prstGeom>
        </p:spPr>
        <p:txBody>
          <a:bodyPr wrap="square" tIns="0" bIns="0" anchor="t" anchorCtr="0">
            <a:spAutoFit/>
          </a:bodyPr>
          <a:lstStyle>
            <a:lvl1pPr marL="0" indent="0">
              <a:spcBef>
                <a:spcPts val="0"/>
              </a:spcBef>
              <a:buNone/>
              <a:defRPr sz="1800" b="0"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subtitle</a:t>
            </a:r>
          </a:p>
        </p:txBody>
      </p:sp>
    </p:spTree>
    <p:extLst>
      <p:ext uri="{BB962C8B-B14F-4D97-AF65-F5344CB8AC3E}">
        <p14:creationId xmlns:p14="http://schemas.microsoft.com/office/powerpoint/2010/main" val="247155602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xt Slide">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US" noProof="0" dirty="0"/>
              <a:t>Click to edit Master title style</a:t>
            </a:r>
          </a:p>
        </p:txBody>
      </p:sp>
      <p:sp>
        <p:nvSpPr>
          <p:cNvPr id="3" name="Fußzeilenplatzhalter 2"/>
          <p:cNvSpPr>
            <a:spLocks noGrp="1"/>
          </p:cNvSpPr>
          <p:nvPr>
            <p:ph type="ftr" sz="quarter" idx="16"/>
          </p:nvPr>
        </p:nvSpPr>
        <p:spPr/>
        <p:txBody>
          <a:bodyPr/>
          <a:lstStyle/>
          <a:p>
            <a:r>
              <a:rPr lang="en-US" dirty="0">
                <a:solidFill>
                  <a:srgbClr val="5F5F5F"/>
                </a:solidFill>
              </a:rPr>
              <a:t>Footer</a:t>
            </a:r>
          </a:p>
        </p:txBody>
      </p:sp>
      <p:sp>
        <p:nvSpPr>
          <p:cNvPr id="5" name="Textplatzhalter 4"/>
          <p:cNvSpPr>
            <a:spLocks noGrp="1"/>
          </p:cNvSpPr>
          <p:nvPr>
            <p:ph type="body" sz="quarter" idx="17" hasCustomPrompt="1"/>
          </p:nvPr>
        </p:nvSpPr>
        <p:spPr>
          <a:xfrm>
            <a:off x="657252" y="1390650"/>
            <a:ext cx="8054975" cy="3408760"/>
          </a:xfrm>
        </p:spPr>
        <p:txBody>
          <a:bodyPr/>
          <a:lstStyle>
            <a:lvl5pPr marL="896938" indent="0">
              <a:buNone/>
              <a:defRPr/>
            </a:lvl5pPr>
          </a:lstStyle>
          <a:p>
            <a:pPr lvl="0"/>
            <a:r>
              <a:rPr lang="en-US" noProof="0" dirty="0"/>
              <a:t>Standard body copy</a:t>
            </a:r>
          </a:p>
          <a:p>
            <a:pPr lvl="1"/>
            <a:r>
              <a:rPr lang="en-US" noProof="0" dirty="0"/>
              <a:t>Bullet point first level</a:t>
            </a:r>
          </a:p>
          <a:p>
            <a:pPr lvl="2"/>
            <a:r>
              <a:rPr lang="en-US" noProof="0" dirty="0"/>
              <a:t>Bullet point second level</a:t>
            </a:r>
          </a:p>
          <a:p>
            <a:pPr lvl="3"/>
            <a:r>
              <a:rPr lang="en-US" noProof="0" dirty="0"/>
              <a:t>Headline</a:t>
            </a:r>
          </a:p>
        </p:txBody>
      </p:sp>
      <p:sp>
        <p:nvSpPr>
          <p:cNvPr id="9" name="Textplatzhalter 8"/>
          <p:cNvSpPr>
            <a:spLocks noGrp="1"/>
          </p:cNvSpPr>
          <p:nvPr>
            <p:ph type="body" sz="quarter" idx="18" hasCustomPrompt="1"/>
          </p:nvPr>
        </p:nvSpPr>
        <p:spPr>
          <a:xfrm>
            <a:off x="657252" y="962504"/>
            <a:ext cx="8054975" cy="276999"/>
          </a:xfrm>
        </p:spPr>
        <p:txBody>
          <a:bodyPr wrap="square" lIns="0" tIns="0" rIns="0" bIns="0">
            <a:spAutoFit/>
          </a:bodyPr>
          <a:lstStyle>
            <a:lvl1pPr>
              <a:spcBef>
                <a:spcPts val="0"/>
              </a:spcBef>
              <a:spcAft>
                <a:spcPts val="0"/>
              </a:spcAft>
              <a:defRPr sz="1800"/>
            </a:lvl1pPr>
          </a:lstStyle>
          <a:p>
            <a:pPr lvl="0"/>
            <a:r>
              <a:rPr lang="en-US" noProof="0" dirty="0"/>
              <a:t>Click to edit subtitle</a:t>
            </a:r>
          </a:p>
        </p:txBody>
      </p:sp>
    </p:spTree>
    <p:extLst>
      <p:ext uri="{BB962C8B-B14F-4D97-AF65-F5344CB8AC3E}">
        <p14:creationId xmlns:p14="http://schemas.microsoft.com/office/powerpoint/2010/main" val="3944096935"/>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Dark Title Slide">
    <p:bg>
      <p:bgPr>
        <a:solidFill>
          <a:srgbClr val="000000"/>
        </a:solidFill>
        <a:effectLst/>
      </p:bgPr>
    </p:bg>
    <p:spTree>
      <p:nvGrpSpPr>
        <p:cNvPr id="1" name=""/>
        <p:cNvGrpSpPr/>
        <p:nvPr/>
      </p:nvGrpSpPr>
      <p:grpSpPr>
        <a:xfrm>
          <a:off x="0" y="0"/>
          <a:ext cx="0" cy="0"/>
          <a:chOff x="0" y="0"/>
          <a:chExt cx="0" cy="0"/>
        </a:xfrm>
      </p:grpSpPr>
      <p:sp>
        <p:nvSpPr>
          <p:cNvPr id="10" name="Textplatzhalter 7"/>
          <p:cNvSpPr>
            <a:spLocks noGrp="1"/>
          </p:cNvSpPr>
          <p:nvPr>
            <p:ph type="body" sz="quarter" idx="10" hasCustomPrompt="1"/>
          </p:nvPr>
        </p:nvSpPr>
        <p:spPr>
          <a:xfrm>
            <a:off x="341313" y="4868215"/>
            <a:ext cx="5580063" cy="157415"/>
          </a:xfrm>
        </p:spPr>
        <p:txBody>
          <a:bodyPr wrap="square" anchor="b">
            <a:spAutoFit/>
          </a:bodyPr>
          <a:lstStyle>
            <a:lvl1pPr>
              <a:spcBef>
                <a:spcPts val="0"/>
              </a:spcBef>
              <a:defRPr sz="1100" cap="none" baseline="0">
                <a:solidFill>
                  <a:schemeClr val="tx1"/>
                </a:solidFill>
              </a:defRPr>
            </a:lvl1pPr>
          </a:lstStyle>
          <a:p>
            <a:pPr lvl="0"/>
            <a:r>
              <a:rPr lang="en-US" noProof="0" dirty="0" smtClean="0"/>
              <a:t>Click to edit Master text styles</a:t>
            </a:r>
          </a:p>
        </p:txBody>
      </p:sp>
      <p:sp>
        <p:nvSpPr>
          <p:cNvPr id="12" name="Titel 1"/>
          <p:cNvSpPr>
            <a:spLocks noGrp="1"/>
          </p:cNvSpPr>
          <p:nvPr>
            <p:ph type="title" hasCustomPrompt="1"/>
          </p:nvPr>
        </p:nvSpPr>
        <p:spPr>
          <a:xfrm>
            <a:off x="341313" y="1880552"/>
            <a:ext cx="5580063" cy="1034129"/>
          </a:xfrm>
        </p:spPr>
        <p:txBody>
          <a:bodyPr wrap="square" anchor="b">
            <a:spAutoFit/>
          </a:bodyPr>
          <a:lstStyle>
            <a:lvl1pPr>
              <a:lnSpc>
                <a:spcPct val="80000"/>
              </a:lnSpc>
              <a:defRPr sz="4200"/>
            </a:lvl1pPr>
          </a:lstStyle>
          <a:p>
            <a:r>
              <a:rPr lang="en-US" noProof="0" dirty="0" smtClean="0"/>
              <a:t>CLICK TO EDIT MASTER TITLE STYLE</a:t>
            </a:r>
            <a:endParaRPr lang="de-DE" dirty="0"/>
          </a:p>
        </p:txBody>
      </p:sp>
      <p:sp>
        <p:nvSpPr>
          <p:cNvPr id="14" name="Textplatzhalter 9"/>
          <p:cNvSpPr>
            <a:spLocks noGrp="1"/>
          </p:cNvSpPr>
          <p:nvPr>
            <p:ph type="body" sz="quarter" idx="11" hasCustomPrompt="1"/>
          </p:nvPr>
        </p:nvSpPr>
        <p:spPr>
          <a:xfrm>
            <a:off x="341050" y="2915633"/>
            <a:ext cx="5580327" cy="257635"/>
          </a:xfrm>
        </p:spPr>
        <p:txBody>
          <a:bodyPr wrap="square" anchor="t">
            <a:spAutoFit/>
          </a:bodyPr>
          <a:lstStyle>
            <a:lvl1pPr>
              <a:spcBef>
                <a:spcPts val="0"/>
              </a:spcBef>
              <a:defRPr sz="1800" cap="all" baseline="0">
                <a:solidFill>
                  <a:schemeClr val="tx1"/>
                </a:solidFill>
              </a:defRPr>
            </a:lvl1pPr>
          </a:lstStyle>
          <a:p>
            <a:pPr lvl="0"/>
            <a:r>
              <a:rPr lang="en-US" noProof="0" dirty="0" smtClean="0"/>
              <a:t>CLICK TO EDIT MASTER SUBTITLE STYLE</a:t>
            </a:r>
          </a:p>
        </p:txBody>
      </p:sp>
      <p:pic>
        <p:nvPicPr>
          <p:cNvPr id="8" name="Picture 7" descr="PPT-Black-Cover-Graphic-WS.png"/>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0" y="1"/>
            <a:ext cx="3127376" cy="1494985"/>
          </a:xfrm>
          <a:prstGeom prst="rect">
            <a:avLst/>
          </a:prstGeom>
        </p:spPr>
      </p:pic>
      <p:pic>
        <p:nvPicPr>
          <p:cNvPr id="13" name="Picture 12" descr="Nielsen_R.png"/>
          <p:cNvPicPr>
            <a:picLocks noChangeAspect="1"/>
          </p:cNvPicPr>
          <p:nvPr userDrawn="1"/>
        </p:nvPicPr>
        <p:blipFill>
          <a:blip r:embed="rId4" cstate="screen">
            <a:extLst>
              <a:ext uri="{28A0092B-C50C-407E-A947-70E740481C1C}">
                <a14:useLocalDpi xmlns:a14="http://schemas.microsoft.com/office/drawing/2010/main" val="0"/>
              </a:ext>
            </a:extLst>
          </a:blip>
          <a:stretch>
            <a:fillRect/>
          </a:stretch>
        </p:blipFill>
        <p:spPr bwMode="invGray">
          <a:xfrm>
            <a:off x="8115920" y="276878"/>
            <a:ext cx="679019" cy="240121"/>
          </a:xfrm>
          <a:prstGeom prst="rect">
            <a:avLst/>
          </a:prstGeom>
        </p:spPr>
      </p:pic>
    </p:spTree>
    <p:extLst>
      <p:ext uri="{BB962C8B-B14F-4D97-AF65-F5344CB8AC3E}">
        <p14:creationId xmlns:p14="http://schemas.microsoft.com/office/powerpoint/2010/main" val="198722985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ext Slide 2">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US" noProof="0" dirty="0"/>
              <a:t>Click to edit Master title style</a:t>
            </a:r>
          </a:p>
        </p:txBody>
      </p:sp>
      <p:sp>
        <p:nvSpPr>
          <p:cNvPr id="3" name="Fußzeilenplatzhalter 2"/>
          <p:cNvSpPr>
            <a:spLocks noGrp="1"/>
          </p:cNvSpPr>
          <p:nvPr>
            <p:ph type="ftr" sz="quarter" idx="16"/>
          </p:nvPr>
        </p:nvSpPr>
        <p:spPr/>
        <p:txBody>
          <a:bodyPr/>
          <a:lstStyle/>
          <a:p>
            <a:r>
              <a:rPr lang="en-US" dirty="0">
                <a:solidFill>
                  <a:srgbClr val="5F5F5F"/>
                </a:solidFill>
              </a:rPr>
              <a:t>Footer</a:t>
            </a:r>
          </a:p>
        </p:txBody>
      </p:sp>
      <p:sp>
        <p:nvSpPr>
          <p:cNvPr id="5" name="Textplatzhalter 4"/>
          <p:cNvSpPr>
            <a:spLocks noGrp="1"/>
          </p:cNvSpPr>
          <p:nvPr>
            <p:ph type="body" sz="quarter" idx="17" hasCustomPrompt="1"/>
          </p:nvPr>
        </p:nvSpPr>
        <p:spPr>
          <a:xfrm>
            <a:off x="657252" y="1390651"/>
            <a:ext cx="8054975" cy="3408759"/>
          </a:xfrm>
        </p:spPr>
        <p:txBody>
          <a:bodyPr/>
          <a:lstStyle>
            <a:lvl5pPr marL="896938" indent="0">
              <a:buNone/>
              <a:defRPr/>
            </a:lvl5pPr>
          </a:lstStyle>
          <a:p>
            <a:pPr lvl="0"/>
            <a:r>
              <a:rPr lang="en-US" noProof="0" dirty="0"/>
              <a:t>Standard body copy</a:t>
            </a:r>
          </a:p>
          <a:p>
            <a:pPr lvl="1"/>
            <a:r>
              <a:rPr lang="en-US" noProof="0" dirty="0"/>
              <a:t>Bullet point first level</a:t>
            </a:r>
          </a:p>
          <a:p>
            <a:pPr lvl="2"/>
            <a:r>
              <a:rPr lang="en-US" noProof="0" dirty="0"/>
              <a:t>Bullet point second level</a:t>
            </a:r>
          </a:p>
          <a:p>
            <a:pPr lvl="3"/>
            <a:r>
              <a:rPr lang="en-US" noProof="0" dirty="0"/>
              <a:t>Headline</a:t>
            </a:r>
          </a:p>
        </p:txBody>
      </p:sp>
      <p:sp>
        <p:nvSpPr>
          <p:cNvPr id="9" name="Textplatzhalter 8"/>
          <p:cNvSpPr>
            <a:spLocks noGrp="1"/>
          </p:cNvSpPr>
          <p:nvPr>
            <p:ph type="body" sz="quarter" idx="18" hasCustomPrompt="1"/>
          </p:nvPr>
        </p:nvSpPr>
        <p:spPr>
          <a:xfrm>
            <a:off x="657225" y="962504"/>
            <a:ext cx="8053388" cy="276999"/>
          </a:xfrm>
        </p:spPr>
        <p:txBody>
          <a:bodyPr>
            <a:spAutoFit/>
          </a:bodyPr>
          <a:lstStyle>
            <a:lvl1pPr>
              <a:spcBef>
                <a:spcPts val="0"/>
              </a:spcBef>
              <a:defRPr sz="1800"/>
            </a:lvl1pPr>
          </a:lstStyle>
          <a:p>
            <a:pPr lvl="0"/>
            <a:r>
              <a:rPr lang="en-US" noProof="0" dirty="0"/>
              <a:t>Click to edit subtitle</a:t>
            </a:r>
          </a:p>
        </p:txBody>
      </p:sp>
      <p:pic>
        <p:nvPicPr>
          <p:cNvPr id="6" name="Picture 1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8467" y="2"/>
            <a:ext cx="1752600" cy="523875"/>
          </a:xfrm>
          <a:prstGeom prst="rect">
            <a:avLst/>
          </a:prstGeom>
        </p:spPr>
      </p:pic>
    </p:spTree>
    <p:extLst>
      <p:ext uri="{BB962C8B-B14F-4D97-AF65-F5344CB8AC3E}">
        <p14:creationId xmlns:p14="http://schemas.microsoft.com/office/powerpoint/2010/main" val="579093589"/>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ext Slide 2; two columns">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US" noProof="0" dirty="0"/>
              <a:t>Click to edit Master title style</a:t>
            </a:r>
          </a:p>
        </p:txBody>
      </p:sp>
      <p:sp>
        <p:nvSpPr>
          <p:cNvPr id="3" name="Fußzeilenplatzhalter 2"/>
          <p:cNvSpPr>
            <a:spLocks noGrp="1"/>
          </p:cNvSpPr>
          <p:nvPr>
            <p:ph type="ftr" sz="quarter" idx="16"/>
          </p:nvPr>
        </p:nvSpPr>
        <p:spPr/>
        <p:txBody>
          <a:bodyPr/>
          <a:lstStyle/>
          <a:p>
            <a:r>
              <a:rPr lang="en-US" dirty="0">
                <a:solidFill>
                  <a:srgbClr val="5F5F5F"/>
                </a:solidFill>
              </a:rPr>
              <a:t>Footer</a:t>
            </a:r>
          </a:p>
        </p:txBody>
      </p:sp>
      <p:sp>
        <p:nvSpPr>
          <p:cNvPr id="5" name="Textplatzhalter 4"/>
          <p:cNvSpPr>
            <a:spLocks noGrp="1"/>
          </p:cNvSpPr>
          <p:nvPr>
            <p:ph type="body" sz="quarter" idx="17" hasCustomPrompt="1"/>
          </p:nvPr>
        </p:nvSpPr>
        <p:spPr>
          <a:xfrm>
            <a:off x="657252" y="1390650"/>
            <a:ext cx="8054975" cy="3408760"/>
          </a:xfrm>
        </p:spPr>
        <p:txBody>
          <a:bodyPr numCol="2" spcCol="288000"/>
          <a:lstStyle>
            <a:lvl5pPr marL="896938" indent="0">
              <a:buNone/>
              <a:defRPr/>
            </a:lvl5pPr>
          </a:lstStyle>
          <a:p>
            <a:pPr lvl="0"/>
            <a:r>
              <a:rPr lang="en-US" noProof="0" dirty="0"/>
              <a:t>Standard body copy</a:t>
            </a:r>
          </a:p>
          <a:p>
            <a:pPr lvl="1"/>
            <a:r>
              <a:rPr lang="en-US" noProof="0" dirty="0"/>
              <a:t>Bullet point first level</a:t>
            </a:r>
          </a:p>
          <a:p>
            <a:pPr lvl="2"/>
            <a:r>
              <a:rPr lang="en-US" noProof="0" dirty="0"/>
              <a:t>Bullet point second level</a:t>
            </a:r>
          </a:p>
          <a:p>
            <a:pPr lvl="3"/>
            <a:r>
              <a:rPr lang="en-US" noProof="0" dirty="0"/>
              <a:t>Headline</a:t>
            </a:r>
          </a:p>
        </p:txBody>
      </p:sp>
      <p:sp>
        <p:nvSpPr>
          <p:cNvPr id="9" name="Textplatzhalter 8"/>
          <p:cNvSpPr>
            <a:spLocks noGrp="1"/>
          </p:cNvSpPr>
          <p:nvPr>
            <p:ph type="body" sz="quarter" idx="18" hasCustomPrompt="1"/>
          </p:nvPr>
        </p:nvSpPr>
        <p:spPr>
          <a:xfrm>
            <a:off x="657225" y="962504"/>
            <a:ext cx="8053388" cy="276999"/>
          </a:xfrm>
        </p:spPr>
        <p:txBody>
          <a:bodyPr>
            <a:spAutoFit/>
          </a:bodyPr>
          <a:lstStyle>
            <a:lvl1pPr>
              <a:spcBef>
                <a:spcPts val="0"/>
              </a:spcBef>
              <a:defRPr sz="1800"/>
            </a:lvl1pPr>
          </a:lstStyle>
          <a:p>
            <a:pPr lvl="0"/>
            <a:r>
              <a:rPr lang="en-US" noProof="0" dirty="0"/>
              <a:t>Click to edit subtitle</a:t>
            </a:r>
          </a:p>
        </p:txBody>
      </p:sp>
      <p:pic>
        <p:nvPicPr>
          <p:cNvPr id="6" name="Picture 1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8467" y="2"/>
            <a:ext cx="1752600" cy="523875"/>
          </a:xfrm>
          <a:prstGeom prst="rect">
            <a:avLst/>
          </a:prstGeom>
        </p:spPr>
      </p:pic>
    </p:spTree>
    <p:extLst>
      <p:ext uri="{BB962C8B-B14F-4D97-AF65-F5344CB8AC3E}">
        <p14:creationId xmlns:p14="http://schemas.microsoft.com/office/powerpoint/2010/main" val="3176824815"/>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ark Text Slide">
    <p:bg>
      <p:bgPr>
        <a:solidFill>
          <a:srgbClr val="000000"/>
        </a:solidFill>
        <a:effectLst/>
      </p:bgPr>
    </p:bg>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US" noProof="0" dirty="0"/>
              <a:t>Click to edit Master title style</a:t>
            </a:r>
          </a:p>
        </p:txBody>
      </p:sp>
      <p:sp>
        <p:nvSpPr>
          <p:cNvPr id="3" name="Fußzeilenplatzhalter 2"/>
          <p:cNvSpPr>
            <a:spLocks noGrp="1"/>
          </p:cNvSpPr>
          <p:nvPr>
            <p:ph type="ftr" sz="quarter" idx="10"/>
          </p:nvPr>
        </p:nvSpPr>
        <p:spPr/>
        <p:txBody>
          <a:bodyPr/>
          <a:lstStyle/>
          <a:p>
            <a:r>
              <a:rPr lang="en-US" dirty="0">
                <a:solidFill>
                  <a:srgbClr val="FFFFFF"/>
                </a:solidFill>
              </a:rPr>
              <a:t>Footer</a:t>
            </a:r>
          </a:p>
        </p:txBody>
      </p:sp>
      <p:sp>
        <p:nvSpPr>
          <p:cNvPr id="8" name="Textplatzhalter 7"/>
          <p:cNvSpPr>
            <a:spLocks noGrp="1"/>
          </p:cNvSpPr>
          <p:nvPr>
            <p:ph type="body" sz="quarter" idx="11" hasCustomPrompt="1"/>
          </p:nvPr>
        </p:nvSpPr>
        <p:spPr>
          <a:xfrm>
            <a:off x="657252" y="1390651"/>
            <a:ext cx="8054975" cy="3408759"/>
          </a:xfrm>
        </p:spPr>
        <p:txBody>
          <a:bodyPr/>
          <a:lstStyle/>
          <a:p>
            <a:pPr lvl="0"/>
            <a:r>
              <a:rPr lang="en-US" noProof="0" dirty="0"/>
              <a:t>Standard body copy</a:t>
            </a:r>
          </a:p>
          <a:p>
            <a:pPr lvl="1"/>
            <a:r>
              <a:rPr lang="en-US" noProof="0" dirty="0"/>
              <a:t>Bullet point first level</a:t>
            </a:r>
          </a:p>
          <a:p>
            <a:pPr lvl="2"/>
            <a:r>
              <a:rPr lang="en-US" noProof="0" dirty="0"/>
              <a:t>Bullet point second level</a:t>
            </a:r>
          </a:p>
          <a:p>
            <a:pPr lvl="3"/>
            <a:r>
              <a:rPr lang="en-US" noProof="0" dirty="0"/>
              <a:t>Headline</a:t>
            </a:r>
          </a:p>
        </p:txBody>
      </p:sp>
      <p:sp>
        <p:nvSpPr>
          <p:cNvPr id="10" name="Textplatzhalter 9"/>
          <p:cNvSpPr>
            <a:spLocks noGrp="1"/>
          </p:cNvSpPr>
          <p:nvPr>
            <p:ph type="body" sz="quarter" idx="12" hasCustomPrompt="1"/>
          </p:nvPr>
        </p:nvSpPr>
        <p:spPr>
          <a:xfrm>
            <a:off x="657252" y="962625"/>
            <a:ext cx="8054975" cy="276999"/>
          </a:xfrm>
        </p:spPr>
        <p:txBody>
          <a:bodyPr>
            <a:spAutoFit/>
          </a:bodyPr>
          <a:lstStyle>
            <a:lvl1pPr>
              <a:spcBef>
                <a:spcPts val="0"/>
              </a:spcBef>
              <a:defRPr sz="1800" b="0"/>
            </a:lvl1pPr>
          </a:lstStyle>
          <a:p>
            <a:pPr lvl="0"/>
            <a:r>
              <a:rPr lang="en-US" noProof="0" dirty="0"/>
              <a:t>Click to edit subtitle</a:t>
            </a:r>
          </a:p>
        </p:txBody>
      </p:sp>
    </p:spTree>
    <p:extLst>
      <p:ext uri="{BB962C8B-B14F-4D97-AF65-F5344CB8AC3E}">
        <p14:creationId xmlns:p14="http://schemas.microsoft.com/office/powerpoint/2010/main" val="287310352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 Picture">
    <p:spTree>
      <p:nvGrpSpPr>
        <p:cNvPr id="1" name=""/>
        <p:cNvGrpSpPr/>
        <p:nvPr/>
      </p:nvGrpSpPr>
      <p:grpSpPr>
        <a:xfrm>
          <a:off x="0" y="0"/>
          <a:ext cx="0" cy="0"/>
          <a:chOff x="0" y="0"/>
          <a:chExt cx="0" cy="0"/>
        </a:xfrm>
      </p:grpSpPr>
      <p:sp>
        <p:nvSpPr>
          <p:cNvPr id="3" name="Bildplatzhalter 2"/>
          <p:cNvSpPr>
            <a:spLocks noGrp="1"/>
          </p:cNvSpPr>
          <p:nvPr>
            <p:ph type="pic" sz="quarter" idx="10" hasCustomPrompt="1"/>
          </p:nvPr>
        </p:nvSpPr>
        <p:spPr>
          <a:xfrm>
            <a:off x="224015" y="0"/>
            <a:ext cx="8919986" cy="5143500"/>
          </a:xfrm>
        </p:spPr>
        <p:txBody>
          <a:bodyPr anchor="ctr"/>
          <a:lstStyle>
            <a:lvl1pPr algn="ctr">
              <a:defRPr/>
            </a:lvl1pPr>
          </a:lstStyle>
          <a:p>
            <a:r>
              <a:rPr lang="en-US" noProof="0" dirty="0"/>
              <a:t>Click on icon to edit picture</a:t>
            </a:r>
          </a:p>
          <a:p>
            <a:endParaRPr lang="en-US" noProof="0" dirty="0"/>
          </a:p>
          <a:p>
            <a:endParaRPr lang="en-US" noProof="0" dirty="0"/>
          </a:p>
          <a:p>
            <a:endParaRPr lang="en-US" noProof="0" dirty="0"/>
          </a:p>
        </p:txBody>
      </p:sp>
      <p:sp>
        <p:nvSpPr>
          <p:cNvPr id="6" name="Titel 5"/>
          <p:cNvSpPr>
            <a:spLocks noGrp="1"/>
          </p:cNvSpPr>
          <p:nvPr>
            <p:ph type="title" hasCustomPrompt="1"/>
          </p:nvPr>
        </p:nvSpPr>
        <p:spPr/>
        <p:txBody>
          <a:bodyPr/>
          <a:lstStyle/>
          <a:p>
            <a:r>
              <a:rPr lang="en-US" noProof="0" dirty="0"/>
              <a:t>Click to edit Master title style</a:t>
            </a:r>
          </a:p>
        </p:txBody>
      </p:sp>
      <p:grpSp>
        <p:nvGrpSpPr>
          <p:cNvPr id="10" name="Group 13"/>
          <p:cNvGrpSpPr>
            <a:grpSpLocks/>
          </p:cNvGrpSpPr>
          <p:nvPr userDrawn="1"/>
        </p:nvGrpSpPr>
        <p:grpSpPr bwMode="auto">
          <a:xfrm>
            <a:off x="8849687" y="4926097"/>
            <a:ext cx="207963" cy="157163"/>
            <a:chOff x="8848016" y="6568281"/>
            <a:chExt cx="209382" cy="209382"/>
          </a:xfrm>
        </p:grpSpPr>
        <p:sp>
          <p:nvSpPr>
            <p:cNvPr id="12" name="Oval 11"/>
            <p:cNvSpPr/>
            <p:nvPr/>
          </p:nvSpPr>
          <p:spPr>
            <a:xfrm>
              <a:off x="8848016" y="6568281"/>
              <a:ext cx="209382" cy="209382"/>
            </a:xfrm>
            <a:prstGeom prst="ellipse">
              <a:avLst/>
            </a:prstGeom>
            <a:solidFill>
              <a:srgbClr val="A6A6A6"/>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srgbClr val="FFFFFF">
                    <a:lumMod val="65000"/>
                  </a:srgbClr>
                </a:solidFill>
              </a:endParaRPr>
            </a:p>
          </p:txBody>
        </p:sp>
        <p:sp>
          <p:nvSpPr>
            <p:cNvPr id="13" name="Text Box 17"/>
            <p:cNvSpPr txBox="1">
              <a:spLocks noChangeArrowheads="1"/>
            </p:cNvSpPr>
            <p:nvPr/>
          </p:nvSpPr>
          <p:spPr bwMode="auto">
            <a:xfrm>
              <a:off x="8880301" y="6577332"/>
              <a:ext cx="135571" cy="184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eaLnBrk="0" hangingPunct="0">
                <a:defRPr sz="2400">
                  <a:solidFill>
                    <a:schemeClr val="tx1"/>
                  </a:solidFill>
                  <a:latin typeface="Calibri" charset="0"/>
                  <a:ea typeface="ＭＳ Ｐゴシック" charset="0"/>
                  <a:cs typeface="ＭＳ Ｐゴシック" charset="0"/>
                </a:defRPr>
              </a:lvl1pPr>
              <a:lvl2pPr marL="742950" indent="-285750" eaLnBrk="0" hangingPunct="0">
                <a:defRPr sz="2400">
                  <a:solidFill>
                    <a:schemeClr val="tx1"/>
                  </a:solidFill>
                  <a:latin typeface="Calibri" charset="0"/>
                  <a:ea typeface="ＭＳ Ｐゴシック" charset="0"/>
                </a:defRPr>
              </a:lvl2pPr>
              <a:lvl3pPr marL="1143000" indent="-228600" eaLnBrk="0" hangingPunct="0">
                <a:defRPr sz="2400">
                  <a:solidFill>
                    <a:schemeClr val="tx1"/>
                  </a:solidFill>
                  <a:latin typeface="Calibri" charset="0"/>
                  <a:ea typeface="ＭＳ Ｐゴシック" charset="0"/>
                </a:defRPr>
              </a:lvl3pPr>
              <a:lvl4pPr marL="1600200" indent="-228600" eaLnBrk="0" hangingPunct="0">
                <a:defRPr sz="2400">
                  <a:solidFill>
                    <a:schemeClr val="tx1"/>
                  </a:solidFill>
                  <a:latin typeface="Calibri" charset="0"/>
                  <a:ea typeface="ＭＳ Ｐゴシック" charset="0"/>
                </a:defRPr>
              </a:lvl4pPr>
              <a:lvl5pPr marL="2057400" indent="-228600" eaLnBrk="0" hangingPunct="0">
                <a:defRPr sz="2400">
                  <a:solidFill>
                    <a:schemeClr val="tx1"/>
                  </a:solidFill>
                  <a:latin typeface="Calibri" charset="0"/>
                  <a:ea typeface="ＭＳ Ｐゴシック" charset="0"/>
                </a:defRPr>
              </a:lvl5pPr>
              <a:lvl6pPr marL="2514600" indent="-228600" eaLnBrk="0" fontAlgn="base" hangingPunct="0">
                <a:spcBef>
                  <a:spcPct val="0"/>
                </a:spcBef>
                <a:spcAft>
                  <a:spcPct val="0"/>
                </a:spcAft>
                <a:defRPr sz="2400">
                  <a:solidFill>
                    <a:schemeClr val="tx1"/>
                  </a:solidFill>
                  <a:latin typeface="Calibri" charset="0"/>
                  <a:ea typeface="ＭＳ Ｐゴシック" charset="0"/>
                </a:defRPr>
              </a:lvl6pPr>
              <a:lvl7pPr marL="2971800" indent="-228600" eaLnBrk="0" fontAlgn="base" hangingPunct="0">
                <a:spcBef>
                  <a:spcPct val="0"/>
                </a:spcBef>
                <a:spcAft>
                  <a:spcPct val="0"/>
                </a:spcAft>
                <a:defRPr sz="2400">
                  <a:solidFill>
                    <a:schemeClr val="tx1"/>
                  </a:solidFill>
                  <a:latin typeface="Calibri" charset="0"/>
                  <a:ea typeface="ＭＳ Ｐゴシック" charset="0"/>
                </a:defRPr>
              </a:lvl7pPr>
              <a:lvl8pPr marL="3429000" indent="-228600" eaLnBrk="0" fontAlgn="base" hangingPunct="0">
                <a:spcBef>
                  <a:spcPct val="0"/>
                </a:spcBef>
                <a:spcAft>
                  <a:spcPct val="0"/>
                </a:spcAft>
                <a:defRPr sz="2400">
                  <a:solidFill>
                    <a:schemeClr val="tx1"/>
                  </a:solidFill>
                  <a:latin typeface="Calibri" charset="0"/>
                  <a:ea typeface="ＭＳ Ｐゴシック" charset="0"/>
                </a:defRPr>
              </a:lvl8pPr>
              <a:lvl9pPr marL="3886200" indent="-228600" eaLnBrk="0" fontAlgn="base" hangingPunct="0">
                <a:spcBef>
                  <a:spcPct val="0"/>
                </a:spcBef>
                <a:spcAft>
                  <a:spcPct val="0"/>
                </a:spcAft>
                <a:defRPr sz="2400">
                  <a:solidFill>
                    <a:schemeClr val="tx1"/>
                  </a:solidFill>
                  <a:latin typeface="Calibri" charset="0"/>
                  <a:ea typeface="ＭＳ Ｐゴシック" charset="0"/>
                </a:defRPr>
              </a:lvl9pPr>
            </a:lstStyle>
            <a:p>
              <a:pPr algn="ctr" eaLnBrk="1" hangingPunct="1"/>
              <a:fld id="{DA511B95-C89F-A64E-A1AC-7F4F4998E56B}" type="slidenum">
                <a:rPr lang="en-US" sz="900">
                  <a:solidFill>
                    <a:srgbClr val="FFFFFF"/>
                  </a:solidFill>
                </a:rPr>
                <a:pPr algn="ctr" eaLnBrk="1" hangingPunct="1"/>
                <a:t>‹#›</a:t>
              </a:fld>
              <a:endParaRPr lang="en-US" sz="900" dirty="0">
                <a:solidFill>
                  <a:srgbClr val="FFFFFF"/>
                </a:solidFill>
              </a:endParaRPr>
            </a:p>
          </p:txBody>
        </p:sp>
      </p:grpSp>
    </p:spTree>
    <p:extLst>
      <p:ext uri="{BB962C8B-B14F-4D97-AF65-F5344CB8AC3E}">
        <p14:creationId xmlns:p14="http://schemas.microsoft.com/office/powerpoint/2010/main" val="736550141"/>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Divder Slide">
    <p:spTree>
      <p:nvGrpSpPr>
        <p:cNvPr id="1" name=""/>
        <p:cNvGrpSpPr/>
        <p:nvPr/>
      </p:nvGrpSpPr>
      <p:grpSpPr>
        <a:xfrm>
          <a:off x="0" y="0"/>
          <a:ext cx="0" cy="0"/>
          <a:chOff x="0" y="0"/>
          <a:chExt cx="0" cy="0"/>
        </a:xfrm>
      </p:grpSpPr>
      <p:sp>
        <p:nvSpPr>
          <p:cNvPr id="5" name="Rectangle 3"/>
          <p:cNvSpPr/>
          <p:nvPr userDrawn="1"/>
        </p:nvSpPr>
        <p:spPr>
          <a:xfrm>
            <a:off x="0" y="0"/>
            <a:ext cx="224014" cy="5143500"/>
          </a:xfrm>
          <a:prstGeom prst="rect">
            <a:avLst/>
          </a:prstGeom>
          <a:solidFill>
            <a:srgbClr val="00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FFFFFF"/>
              </a:solidFill>
            </a:endParaRPr>
          </a:p>
        </p:txBody>
      </p:sp>
      <p:pic>
        <p:nvPicPr>
          <p:cNvPr id="6" name="Picture 6"/>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2822" y="0"/>
            <a:ext cx="2730500" cy="5143500"/>
          </a:xfrm>
          <a:prstGeom prst="rect">
            <a:avLst/>
          </a:prstGeom>
        </p:spPr>
      </p:pic>
      <p:pic>
        <p:nvPicPr>
          <p:cNvPr id="7" name="Picture 8"/>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6091555" y="2"/>
            <a:ext cx="2755900" cy="257175"/>
          </a:xfrm>
          <a:prstGeom prst="rect">
            <a:avLst/>
          </a:prstGeom>
        </p:spPr>
      </p:pic>
      <p:sp>
        <p:nvSpPr>
          <p:cNvPr id="2" name="Titel 1"/>
          <p:cNvSpPr>
            <a:spLocks noGrp="1"/>
          </p:cNvSpPr>
          <p:nvPr>
            <p:ph type="title" hasCustomPrompt="1"/>
          </p:nvPr>
        </p:nvSpPr>
        <p:spPr>
          <a:xfrm>
            <a:off x="2152650" y="2409395"/>
            <a:ext cx="6558140" cy="346249"/>
          </a:xfrm>
        </p:spPr>
        <p:txBody>
          <a:bodyPr/>
          <a:lstStyle>
            <a:lvl1pPr algn="ctr">
              <a:defRPr sz="3200"/>
            </a:lvl1pPr>
          </a:lstStyle>
          <a:p>
            <a:r>
              <a:rPr lang="en-US" noProof="0" dirty="0"/>
              <a:t>Click to edit Master title style</a:t>
            </a:r>
          </a:p>
        </p:txBody>
      </p:sp>
    </p:spTree>
    <p:extLst>
      <p:ext uri="{BB962C8B-B14F-4D97-AF65-F5344CB8AC3E}">
        <p14:creationId xmlns:p14="http://schemas.microsoft.com/office/powerpoint/2010/main" val="4021919236"/>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ark Divder Slide">
    <p:bg>
      <p:bgPr>
        <a:solidFill>
          <a:srgbClr val="000000"/>
        </a:solidFill>
        <a:effectLst/>
      </p:bgPr>
    </p:bg>
    <p:spTree>
      <p:nvGrpSpPr>
        <p:cNvPr id="1" name=""/>
        <p:cNvGrpSpPr/>
        <p:nvPr/>
      </p:nvGrpSpPr>
      <p:grpSpPr>
        <a:xfrm>
          <a:off x="0" y="0"/>
          <a:ext cx="0" cy="0"/>
          <a:chOff x="0" y="0"/>
          <a:chExt cx="0" cy="0"/>
        </a:xfrm>
      </p:grpSpPr>
      <p:pic>
        <p:nvPicPr>
          <p:cNvPr id="6" name="Picture 6"/>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2822" y="0"/>
            <a:ext cx="2730500" cy="5143500"/>
          </a:xfrm>
          <a:prstGeom prst="rect">
            <a:avLst/>
          </a:prstGeom>
        </p:spPr>
      </p:pic>
      <p:sp>
        <p:nvSpPr>
          <p:cNvPr id="8" name="Titel 1"/>
          <p:cNvSpPr>
            <a:spLocks noGrp="1"/>
          </p:cNvSpPr>
          <p:nvPr>
            <p:ph type="title" hasCustomPrompt="1"/>
          </p:nvPr>
        </p:nvSpPr>
        <p:spPr>
          <a:xfrm>
            <a:off x="2152650" y="2409395"/>
            <a:ext cx="6558140" cy="346249"/>
          </a:xfrm>
        </p:spPr>
        <p:txBody>
          <a:bodyPr/>
          <a:lstStyle>
            <a:lvl1pPr algn="ctr">
              <a:defRPr sz="3200"/>
            </a:lvl1pPr>
          </a:lstStyle>
          <a:p>
            <a:r>
              <a:rPr lang="en-US" noProof="0" dirty="0"/>
              <a:t>Click to edit Master title style</a:t>
            </a:r>
          </a:p>
        </p:txBody>
      </p:sp>
      <p:pic>
        <p:nvPicPr>
          <p:cNvPr id="9" name="Picture 4"/>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a:xfrm>
            <a:off x="6091555" y="2"/>
            <a:ext cx="2755900" cy="257175"/>
          </a:xfrm>
          <a:prstGeom prst="rect">
            <a:avLst/>
          </a:prstGeom>
        </p:spPr>
      </p:pic>
    </p:spTree>
    <p:extLst>
      <p:ext uri="{BB962C8B-B14F-4D97-AF65-F5344CB8AC3E}">
        <p14:creationId xmlns:p14="http://schemas.microsoft.com/office/powerpoint/2010/main" val="295019475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p:cSld name="Final Slide">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1581150"/>
            <a:ext cx="6083300" cy="3562350"/>
          </a:xfrm>
          <a:prstGeom prst="rect">
            <a:avLst/>
          </a:prstGeom>
        </p:spPr>
      </p:pic>
      <p:pic>
        <p:nvPicPr>
          <p:cNvPr id="4" name="Picture 3"/>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6539089" y="764117"/>
            <a:ext cx="1905000" cy="828675"/>
          </a:xfrm>
          <a:prstGeom prst="rect">
            <a:avLst/>
          </a:prstGeom>
        </p:spPr>
      </p:pic>
    </p:spTree>
    <p:extLst>
      <p:ext uri="{BB962C8B-B14F-4D97-AF65-F5344CB8AC3E}">
        <p14:creationId xmlns:p14="http://schemas.microsoft.com/office/powerpoint/2010/main" val="2547445132"/>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ark Final Slide">
    <p:bg>
      <p:bgPr>
        <a:solidFill>
          <a:srgbClr val="000000"/>
        </a:solidFill>
        <a:effectLst/>
      </p:bgPr>
    </p:bg>
    <p:spTree>
      <p:nvGrpSpPr>
        <p:cNvPr id="1" name=""/>
        <p:cNvGrpSpPr/>
        <p:nvPr/>
      </p:nvGrpSpPr>
      <p:grpSpPr>
        <a:xfrm>
          <a:off x="0" y="0"/>
          <a:ext cx="0" cy="0"/>
          <a:chOff x="0" y="0"/>
          <a:chExt cx="0" cy="0"/>
        </a:xfrm>
      </p:grpSpPr>
      <p:pic>
        <p:nvPicPr>
          <p:cNvPr id="5" name="Picture 2"/>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0" y="1581150"/>
            <a:ext cx="6083300" cy="3562350"/>
          </a:xfrm>
          <a:prstGeom prst="rect">
            <a:avLst/>
          </a:prstGeom>
        </p:spPr>
      </p:pic>
      <p:pic>
        <p:nvPicPr>
          <p:cNvPr id="7" name="Picture 3"/>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a:xfrm>
            <a:off x="6539089" y="764117"/>
            <a:ext cx="1905000" cy="828675"/>
          </a:xfrm>
          <a:prstGeom prst="rect">
            <a:avLst/>
          </a:prstGeom>
        </p:spPr>
      </p:pic>
    </p:spTree>
    <p:extLst>
      <p:ext uri="{BB962C8B-B14F-4D97-AF65-F5344CB8AC3E}">
        <p14:creationId xmlns:p14="http://schemas.microsoft.com/office/powerpoint/2010/main" val="205895921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3_STANDARD PAGE_BLANK">
    <p:spTree>
      <p:nvGrpSpPr>
        <p:cNvPr id="1" name=""/>
        <p:cNvGrpSpPr/>
        <p:nvPr/>
      </p:nvGrpSpPr>
      <p:grpSpPr>
        <a:xfrm>
          <a:off x="0" y="0"/>
          <a:ext cx="0" cy="0"/>
          <a:chOff x="0" y="0"/>
          <a:chExt cx="0" cy="0"/>
        </a:xfrm>
      </p:grpSpPr>
      <p:sp>
        <p:nvSpPr>
          <p:cNvPr id="3" name="Titel 2"/>
          <p:cNvSpPr>
            <a:spLocks noGrp="1"/>
          </p:cNvSpPr>
          <p:nvPr>
            <p:ph type="title" hasCustomPrompt="1"/>
          </p:nvPr>
        </p:nvSpPr>
        <p:spPr>
          <a:xfrm>
            <a:off x="611287" y="358247"/>
            <a:ext cx="7909935" cy="161583"/>
          </a:xfrm>
        </p:spPr>
        <p:txBody>
          <a:bodyPr/>
          <a:lstStyle/>
          <a:p>
            <a:r>
              <a:rPr lang="en-GB" noProof="0" dirty="0"/>
              <a:t>Click to add title</a:t>
            </a:r>
          </a:p>
        </p:txBody>
      </p:sp>
      <p:sp>
        <p:nvSpPr>
          <p:cNvPr id="4" name="Text Placeholder 3"/>
          <p:cNvSpPr>
            <a:spLocks noGrp="1"/>
          </p:cNvSpPr>
          <p:nvPr>
            <p:ph type="body" sz="quarter" idx="10"/>
          </p:nvPr>
        </p:nvSpPr>
        <p:spPr>
          <a:xfrm>
            <a:off x="611187" y="944192"/>
            <a:ext cx="7219950" cy="276999"/>
          </a:xfrm>
        </p:spPr>
        <p:txBody>
          <a:bodyPr>
            <a:spAutoFit/>
          </a:bodyPr>
          <a:lstStyle>
            <a:lvl1pPr>
              <a:defRPr lang="en-US" sz="1800" b="1" kern="1200" dirty="0" smtClean="0">
                <a:latin typeface="+mj-lt"/>
              </a:defRPr>
            </a:lvl1pPr>
            <a:lvl2pPr>
              <a:defRPr lang="en-US" sz="1600" b="1" kern="1200" dirty="0" smtClean="0">
                <a:solidFill>
                  <a:srgbClr val="000000"/>
                </a:solidFill>
                <a:latin typeface="Arial" panose="020B0604020202020204" pitchFamily="34" charset="0"/>
                <a:ea typeface="+mn-ea"/>
                <a:cs typeface="+mn-cs"/>
              </a:defRPr>
            </a:lvl2pPr>
            <a:lvl3pPr>
              <a:defRPr lang="en-US" sz="1800" kern="1200" dirty="0" smtClean="0">
                <a:latin typeface="+mn-lt"/>
                <a:ea typeface="+mn-ea"/>
                <a:cs typeface="+mn-cs"/>
              </a:defRPr>
            </a:lvl3pPr>
            <a:lvl4pPr>
              <a:defRPr lang="en-US" sz="1800" kern="1200" dirty="0" smtClean="0">
                <a:solidFill>
                  <a:schemeClr val="tx1"/>
                </a:solidFill>
                <a:ea typeface="+mn-ea"/>
                <a:cs typeface="+mn-cs"/>
              </a:defRPr>
            </a:lvl4pPr>
            <a:lvl5pPr>
              <a:defRPr lang="en-US" sz="1800" kern="1200" dirty="0">
                <a:ea typeface="+mn-ea"/>
                <a:cs typeface="+mn-cs"/>
              </a:defRPr>
            </a:lvl5pPr>
          </a:lstStyle>
          <a:p>
            <a:pPr lvl="0"/>
            <a:r>
              <a:rPr lang="en-US" dirty="0"/>
              <a:t>Click to edit Master text styles</a:t>
            </a:r>
          </a:p>
        </p:txBody>
      </p:sp>
    </p:spTree>
    <p:extLst>
      <p:ext uri="{BB962C8B-B14F-4D97-AF65-F5344CB8AC3E}">
        <p14:creationId xmlns:p14="http://schemas.microsoft.com/office/powerpoint/2010/main" val="3925530913"/>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STANDARD PAGE_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14811969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46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Titel 2"/>
          <p:cNvSpPr>
            <a:spLocks noGrp="1"/>
          </p:cNvSpPr>
          <p:nvPr>
            <p:ph type="title" hasCustomPrompt="1"/>
          </p:nvPr>
        </p:nvSpPr>
        <p:spPr/>
        <p:txBody>
          <a:bodyPr/>
          <a:lstStyle/>
          <a:p>
            <a:r>
              <a:rPr lang="en-US" noProof="0" dirty="0"/>
              <a:t>Click to add title</a:t>
            </a:r>
          </a:p>
        </p:txBody>
      </p:sp>
      <p:sp>
        <p:nvSpPr>
          <p:cNvPr id="4" name="Rectangle 15"/>
          <p:cNvSpPr>
            <a:spLocks noChangeArrowheads="1"/>
          </p:cNvSpPr>
          <p:nvPr userDrawn="1"/>
        </p:nvSpPr>
        <p:spPr bwMode="auto">
          <a:xfrm>
            <a:off x="7945442" y="4931274"/>
            <a:ext cx="585205"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algn="r">
              <a:spcBef>
                <a:spcPct val="0"/>
              </a:spcBef>
              <a:defRPr/>
            </a:pPr>
            <a:fld id="{D64DF7A3-1778-431B-97B3-A6AF953B96C2}" type="slidenum">
              <a:rPr lang="en-US" sz="1000" smtClean="0">
                <a:solidFill>
                  <a:srgbClr val="FFFFFF"/>
                </a:solidFill>
              </a:rPr>
              <a:pPr algn="r">
                <a:spcBef>
                  <a:spcPct val="0"/>
                </a:spcBef>
                <a:defRPr/>
              </a:pPr>
              <a:t>‹#›</a:t>
            </a:fld>
            <a:endParaRPr lang="en-US" sz="1000" dirty="0">
              <a:solidFill>
                <a:srgbClr val="FFFFFF"/>
              </a:solidFill>
            </a:endParaRPr>
          </a:p>
        </p:txBody>
      </p:sp>
    </p:spTree>
    <p:extLst>
      <p:ext uri="{BB962C8B-B14F-4D97-AF65-F5344CB8AC3E}">
        <p14:creationId xmlns:p14="http://schemas.microsoft.com/office/powerpoint/2010/main" val="774268615"/>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Benutzerdefiniertes Layout">
    <p:spTree>
      <p:nvGrpSpPr>
        <p:cNvPr id="1" name=""/>
        <p:cNvGrpSpPr/>
        <p:nvPr/>
      </p:nvGrpSpPr>
      <p:grpSpPr>
        <a:xfrm>
          <a:off x="0" y="0"/>
          <a:ext cx="0" cy="0"/>
          <a:chOff x="0" y="0"/>
          <a:chExt cx="0" cy="0"/>
        </a:xfrm>
      </p:grpSpPr>
      <p:sp>
        <p:nvSpPr>
          <p:cNvPr id="2" name="Titel 1"/>
          <p:cNvSpPr>
            <a:spLocks noGrp="1"/>
          </p:cNvSpPr>
          <p:nvPr>
            <p:ph type="title"/>
          </p:nvPr>
        </p:nvSpPr>
        <p:spPr>
          <a:xfrm>
            <a:off x="522287" y="483069"/>
            <a:ext cx="8278269" cy="332399"/>
          </a:xfrm>
        </p:spPr>
        <p:txBody>
          <a:bodyPr/>
          <a:lstStyle/>
          <a:p>
            <a:r>
              <a:rPr lang="de-DE" dirty="0" smtClean="0"/>
              <a:t>Titelmasterformat durch Klicken bearbeiten</a:t>
            </a:r>
            <a:endParaRPr lang="de-DE" dirty="0"/>
          </a:p>
        </p:txBody>
      </p:sp>
      <p:sp>
        <p:nvSpPr>
          <p:cNvPr id="3" name="Fußzeilenplatzhalter 2"/>
          <p:cNvSpPr>
            <a:spLocks noGrp="1"/>
          </p:cNvSpPr>
          <p:nvPr>
            <p:ph type="ftr" sz="quarter" idx="10"/>
          </p:nvPr>
        </p:nvSpPr>
        <p:spPr>
          <a:xfrm>
            <a:off x="522289" y="4948014"/>
            <a:ext cx="8278268" cy="123111"/>
          </a:xfrm>
          <a:prstGeom prst="rect">
            <a:avLst/>
          </a:prstGeom>
        </p:spPr>
        <p:txBody>
          <a:bodyPr/>
          <a:lstStyle/>
          <a:p>
            <a:endParaRPr lang="en-US" dirty="0"/>
          </a:p>
        </p:txBody>
      </p:sp>
    </p:spTree>
    <p:extLst>
      <p:ext uri="{BB962C8B-B14F-4D97-AF65-F5344CB8AC3E}">
        <p14:creationId xmlns:p14="http://schemas.microsoft.com/office/powerpoint/2010/main" val="984197338"/>
      </p:ext>
    </p:extLst>
  </p:cSld>
  <p:clrMapOvr>
    <a:masterClrMapping/>
  </p:clrMapOvr>
  <p:transition>
    <p:fade/>
  </p:transition>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STANDARD PAGE_PICTUR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04066994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48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Titel 2"/>
          <p:cNvSpPr>
            <a:spLocks noGrp="1"/>
          </p:cNvSpPr>
          <p:nvPr>
            <p:ph type="title" hasCustomPrompt="1"/>
          </p:nvPr>
        </p:nvSpPr>
        <p:spPr/>
        <p:txBody>
          <a:bodyPr/>
          <a:lstStyle/>
          <a:p>
            <a:r>
              <a:rPr lang="en-US" noProof="0" dirty="0"/>
              <a:t>Click to add title</a:t>
            </a:r>
          </a:p>
        </p:txBody>
      </p:sp>
      <p:sp>
        <p:nvSpPr>
          <p:cNvPr id="5" name="Bildplatzhalter 3"/>
          <p:cNvSpPr>
            <a:spLocks noGrp="1"/>
          </p:cNvSpPr>
          <p:nvPr>
            <p:ph type="pic" sz="quarter" idx="15" hasCustomPrompt="1"/>
          </p:nvPr>
        </p:nvSpPr>
        <p:spPr>
          <a:xfrm>
            <a:off x="0" y="715294"/>
            <a:ext cx="9144000" cy="4151981"/>
          </a:xfrm>
          <a:prstGeom prst="rect">
            <a:avLst/>
          </a:prstGeom>
          <a:noFill/>
          <a:ln>
            <a:noFill/>
          </a:ln>
          <a:effectLst>
            <a:innerShdw blurRad="127000" dist="38100" dir="5400000">
              <a:prstClr val="black">
                <a:alpha val="22000"/>
              </a:prstClr>
            </a:innerShdw>
          </a:effectLst>
        </p:spPr>
        <p:txBody>
          <a:bodyPr tIns="576000" anchor="ctr">
            <a:noAutofit/>
          </a:bodyPr>
          <a:lstStyle>
            <a:lvl1pPr algn="ctr">
              <a:defRPr kumimoji="0" lang="en-US" sz="1400" kern="1200" noProof="0" dirty="0">
                <a:solidFill>
                  <a:schemeClr val="accent3"/>
                </a:solidFill>
                <a:effectLst/>
              </a:defRPr>
            </a:lvl1pPr>
          </a:lstStyle>
          <a:p>
            <a:pPr lvl="0" eaLnBrk="1" hangingPunct="1">
              <a:spcBef>
                <a:spcPts val="250"/>
              </a:spcBef>
              <a:buClr>
                <a:schemeClr val="accent1"/>
              </a:buClr>
              <a:buSzPct val="80000"/>
              <a:buFontTx/>
            </a:pPr>
            <a:r>
              <a:rPr lang="en-US" noProof="0" dirty="0"/>
              <a:t>Click icon to add background image from gallery or delete box</a:t>
            </a:r>
          </a:p>
        </p:txBody>
      </p:sp>
      <p:sp>
        <p:nvSpPr>
          <p:cNvPr id="4" name="Rectangle 15"/>
          <p:cNvSpPr>
            <a:spLocks noChangeArrowheads="1"/>
          </p:cNvSpPr>
          <p:nvPr userDrawn="1"/>
        </p:nvSpPr>
        <p:spPr bwMode="auto">
          <a:xfrm>
            <a:off x="7945442" y="4931274"/>
            <a:ext cx="585205"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algn="r">
              <a:spcBef>
                <a:spcPct val="0"/>
              </a:spcBef>
              <a:defRPr/>
            </a:pPr>
            <a:fld id="{D64DF7A3-1778-431B-97B3-A6AF953B96C2}" type="slidenum">
              <a:rPr lang="en-US" sz="1000" smtClean="0">
                <a:solidFill>
                  <a:srgbClr val="FFFFFF"/>
                </a:solidFill>
              </a:rPr>
              <a:pPr algn="r">
                <a:spcBef>
                  <a:spcPct val="0"/>
                </a:spcBef>
                <a:defRPr/>
              </a:pPr>
              <a:t>‹#›</a:t>
            </a:fld>
            <a:endParaRPr lang="en-US" sz="1000" dirty="0">
              <a:solidFill>
                <a:srgbClr val="FFFFFF"/>
              </a:solidFill>
            </a:endParaRPr>
          </a:p>
        </p:txBody>
      </p:sp>
    </p:spTree>
    <p:extLst>
      <p:ext uri="{BB962C8B-B14F-4D97-AF65-F5344CB8AC3E}">
        <p14:creationId xmlns:p14="http://schemas.microsoft.com/office/powerpoint/2010/main" val="3919564723"/>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DIVIDING/CHAPTER PAGE ">
    <p:spTree>
      <p:nvGrpSpPr>
        <p:cNvPr id="1" name=""/>
        <p:cNvGrpSpPr/>
        <p:nvPr/>
      </p:nvGrpSpPr>
      <p:grpSpPr>
        <a:xfrm>
          <a:off x="0" y="0"/>
          <a:ext cx="0" cy="0"/>
          <a:chOff x="0" y="0"/>
          <a:chExt cx="0" cy="0"/>
        </a:xfrm>
      </p:grpSpPr>
      <p:sp>
        <p:nvSpPr>
          <p:cNvPr id="9" name="Bildplatzhalter 3"/>
          <p:cNvSpPr>
            <a:spLocks noGrp="1"/>
          </p:cNvSpPr>
          <p:nvPr>
            <p:ph type="pic" sz="quarter" idx="15" hasCustomPrompt="1"/>
          </p:nvPr>
        </p:nvSpPr>
        <p:spPr>
          <a:xfrm>
            <a:off x="0" y="715294"/>
            <a:ext cx="9144000" cy="4151981"/>
          </a:xfrm>
          <a:prstGeom prst="rect">
            <a:avLst/>
          </a:prstGeom>
          <a:noFill/>
          <a:ln>
            <a:noFill/>
          </a:ln>
          <a:effectLst>
            <a:innerShdw blurRad="127000" dist="38100" dir="5400000">
              <a:prstClr val="black">
                <a:alpha val="22000"/>
              </a:prstClr>
            </a:innerShdw>
          </a:effectLst>
        </p:spPr>
        <p:txBody>
          <a:bodyPr tIns="576000" anchor="ctr">
            <a:noAutofit/>
          </a:bodyPr>
          <a:lstStyle>
            <a:lvl1pPr algn="ctr" eaLnBrk="1" hangingPunct="1">
              <a:spcBef>
                <a:spcPts val="250"/>
              </a:spcBef>
              <a:buClr>
                <a:schemeClr val="accent1"/>
              </a:buClr>
              <a:buSzPct val="80000"/>
              <a:buFontTx/>
              <a:defRPr kumimoji="0" lang="en-US" sz="1400" kern="1200" noProof="0" dirty="0">
                <a:solidFill>
                  <a:schemeClr val="accent3"/>
                </a:solidFill>
                <a:effectLst/>
              </a:defRPr>
            </a:lvl1pPr>
          </a:lstStyle>
          <a:p>
            <a:pPr lvl="0" eaLnBrk="1" hangingPunct="1">
              <a:spcBef>
                <a:spcPts val="250"/>
              </a:spcBef>
              <a:buClr>
                <a:schemeClr val="accent1"/>
              </a:buClr>
              <a:buSzPct val="80000"/>
              <a:buFontTx/>
            </a:pPr>
            <a:r>
              <a:rPr lang="en-US" noProof="0" dirty="0"/>
              <a:t>Click icon to add background image from gallery or delete box</a:t>
            </a:r>
          </a:p>
        </p:txBody>
      </p:sp>
      <p:sp>
        <p:nvSpPr>
          <p:cNvPr id="3" name="Titel 2"/>
          <p:cNvSpPr>
            <a:spLocks noGrp="1"/>
          </p:cNvSpPr>
          <p:nvPr>
            <p:ph type="title" hasCustomPrompt="1"/>
          </p:nvPr>
        </p:nvSpPr>
        <p:spPr/>
        <p:txBody>
          <a:bodyPr/>
          <a:lstStyle>
            <a:lvl1pPr>
              <a:defRPr/>
            </a:lvl1pPr>
          </a:lstStyle>
          <a:p>
            <a:r>
              <a:rPr lang="en-US" noProof="0" dirty="0"/>
              <a:t>Click to add title</a:t>
            </a:r>
          </a:p>
        </p:txBody>
      </p:sp>
      <p:sp>
        <p:nvSpPr>
          <p:cNvPr id="4" name="Textplatzhalter 3"/>
          <p:cNvSpPr>
            <a:spLocks noGrp="1"/>
          </p:cNvSpPr>
          <p:nvPr>
            <p:ph type="body" sz="quarter" idx="10" hasCustomPrompt="1"/>
          </p:nvPr>
        </p:nvSpPr>
        <p:spPr>
          <a:xfrm>
            <a:off x="611189" y="2110620"/>
            <a:ext cx="4593858" cy="1323439"/>
          </a:xfrm>
          <a:prstGeom prst="rect">
            <a:avLst/>
          </a:prstGeom>
        </p:spPr>
        <p:txBody>
          <a:bodyPr wrap="square" lIns="0" tIns="0" rIns="0" bIns="0" anchor="ctr">
            <a:spAutoFit/>
          </a:bodyPr>
          <a:lstStyle>
            <a:lvl1pPr marL="0" indent="0">
              <a:lnSpc>
                <a:spcPct val="100000"/>
              </a:lnSpc>
              <a:spcBef>
                <a:spcPts val="0"/>
              </a:spcBef>
              <a:defRPr sz="4000" b="1" cap="all" baseline="0">
                <a:solidFill>
                  <a:schemeClr val="bg1"/>
                </a:solidFill>
                <a:latin typeface="+mn-lt"/>
              </a:defRPr>
            </a:lvl1pPr>
            <a:lvl2pPr marL="361950" indent="-360363">
              <a:spcBef>
                <a:spcPts val="1200"/>
              </a:spcBef>
              <a:defRPr sz="3600" cap="all" baseline="0">
                <a:solidFill>
                  <a:schemeClr val="bg1"/>
                </a:solidFill>
              </a:defRPr>
            </a:lvl2pPr>
          </a:lstStyle>
          <a:p>
            <a:pPr lvl="0"/>
            <a:r>
              <a:rPr lang="en-US" noProof="0" dirty="0"/>
              <a:t>Click to add title</a:t>
            </a:r>
          </a:p>
          <a:p>
            <a:pPr lvl="1"/>
            <a:r>
              <a:rPr lang="en-US" noProof="0" dirty="0"/>
              <a:t>Subchapter</a:t>
            </a:r>
          </a:p>
        </p:txBody>
      </p:sp>
      <p:sp>
        <p:nvSpPr>
          <p:cNvPr id="6" name="Bildplatzhalter 4"/>
          <p:cNvSpPr>
            <a:spLocks noGrp="1" noChangeAspect="1"/>
          </p:cNvSpPr>
          <p:nvPr>
            <p:ph type="pic" sz="quarter" idx="11" hasCustomPrompt="1"/>
          </p:nvPr>
        </p:nvSpPr>
        <p:spPr>
          <a:xfrm>
            <a:off x="5480371" y="1637356"/>
            <a:ext cx="3042232" cy="2282541"/>
          </a:xfrm>
          <a:prstGeom prst="rect">
            <a:avLst/>
          </a:prstGeom>
        </p:spPr>
        <p:txBody>
          <a:bodyPr>
            <a:noAutofit/>
          </a:bodyPr>
          <a:lstStyle>
            <a:lvl1pPr marL="0" marR="0" indent="0" algn="l" defTabSz="914400" rtl="0" eaLnBrk="1" fontAlgn="base" latinLnBrk="0" hangingPunct="1">
              <a:lnSpc>
                <a:spcPct val="100000"/>
              </a:lnSpc>
              <a:spcBef>
                <a:spcPts val="250"/>
              </a:spcBef>
              <a:spcAft>
                <a:spcPct val="0"/>
              </a:spcAft>
              <a:buClr>
                <a:schemeClr val="accent1"/>
              </a:buClr>
              <a:buSzPct val="80000"/>
              <a:buFontTx/>
              <a:buNone/>
              <a:tabLst/>
              <a:defRPr sz="1100">
                <a:solidFill>
                  <a:schemeClr val="tx1"/>
                </a:solidFill>
              </a:defRPr>
            </a:lvl1pPr>
          </a:lstStyle>
          <a:p>
            <a:pPr lvl="0" eaLnBrk="1" hangingPunct="1">
              <a:spcBef>
                <a:spcPts val="250"/>
              </a:spcBef>
              <a:buClr>
                <a:schemeClr val="accent1"/>
              </a:buClr>
              <a:buSzPct val="80000"/>
              <a:buFontTx/>
            </a:pPr>
            <a:r>
              <a:rPr lang="en-GB" noProof="0" dirty="0"/>
              <a:t>Click icon to add business icon circle or green sports characters from graphic gallery</a:t>
            </a:r>
          </a:p>
        </p:txBody>
      </p:sp>
      <p:sp>
        <p:nvSpPr>
          <p:cNvPr id="7" name="Rectangle 15"/>
          <p:cNvSpPr>
            <a:spLocks noChangeArrowheads="1"/>
          </p:cNvSpPr>
          <p:nvPr userDrawn="1"/>
        </p:nvSpPr>
        <p:spPr bwMode="auto">
          <a:xfrm>
            <a:off x="7945442" y="4931274"/>
            <a:ext cx="585205"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algn="r">
              <a:spcBef>
                <a:spcPct val="0"/>
              </a:spcBef>
              <a:defRPr/>
            </a:pPr>
            <a:fld id="{D64DF7A3-1778-431B-97B3-A6AF953B96C2}" type="slidenum">
              <a:rPr lang="en-US" sz="1000" smtClean="0">
                <a:solidFill>
                  <a:srgbClr val="FFFFFF"/>
                </a:solidFill>
              </a:rPr>
              <a:pPr algn="r">
                <a:spcBef>
                  <a:spcPct val="0"/>
                </a:spcBef>
                <a:defRPr/>
              </a:pPr>
              <a:t>‹#›</a:t>
            </a:fld>
            <a:endParaRPr lang="en-US" sz="1000" dirty="0">
              <a:solidFill>
                <a:srgbClr val="FFFFFF"/>
              </a:solidFill>
            </a:endParaRPr>
          </a:p>
        </p:txBody>
      </p:sp>
    </p:spTree>
    <p:extLst>
      <p:ext uri="{BB962C8B-B14F-4D97-AF65-F5344CB8AC3E}">
        <p14:creationId xmlns:p14="http://schemas.microsoft.com/office/powerpoint/2010/main" val="1207960559"/>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ark Title Slide 2">
    <p:bg>
      <p:bgPr>
        <a:solidFill>
          <a:srgbClr val="000000"/>
        </a:solidFill>
        <a:effectLst/>
      </p:bgPr>
    </p:bg>
    <p:spTree>
      <p:nvGrpSpPr>
        <p:cNvPr id="1" name=""/>
        <p:cNvGrpSpPr/>
        <p:nvPr/>
      </p:nvGrpSpPr>
      <p:grpSpPr>
        <a:xfrm>
          <a:off x="0" y="0"/>
          <a:ext cx="0" cy="0"/>
          <a:chOff x="0" y="0"/>
          <a:chExt cx="0" cy="0"/>
        </a:xfrm>
      </p:grpSpPr>
      <p:sp>
        <p:nvSpPr>
          <p:cNvPr id="10" name="Textplatzhalter 7"/>
          <p:cNvSpPr>
            <a:spLocks noGrp="1"/>
          </p:cNvSpPr>
          <p:nvPr>
            <p:ph type="body" sz="quarter" idx="10" hasCustomPrompt="1"/>
          </p:nvPr>
        </p:nvSpPr>
        <p:spPr>
          <a:xfrm>
            <a:off x="341313" y="4868215"/>
            <a:ext cx="5580063" cy="157415"/>
          </a:xfrm>
        </p:spPr>
        <p:txBody>
          <a:bodyPr wrap="square" anchor="b">
            <a:spAutoFit/>
          </a:bodyPr>
          <a:lstStyle>
            <a:lvl1pPr>
              <a:spcBef>
                <a:spcPts val="0"/>
              </a:spcBef>
              <a:defRPr sz="1100" cap="none" baseline="0">
                <a:solidFill>
                  <a:schemeClr val="tx1"/>
                </a:solidFill>
              </a:defRPr>
            </a:lvl1pPr>
          </a:lstStyle>
          <a:p>
            <a:pPr lvl="0"/>
            <a:r>
              <a:rPr lang="en-US" noProof="0" dirty="0" smtClean="0"/>
              <a:t>Click to edit Master text styles</a:t>
            </a:r>
          </a:p>
        </p:txBody>
      </p:sp>
      <p:sp>
        <p:nvSpPr>
          <p:cNvPr id="12" name="Titel 1"/>
          <p:cNvSpPr>
            <a:spLocks noGrp="1"/>
          </p:cNvSpPr>
          <p:nvPr>
            <p:ph type="title" hasCustomPrompt="1"/>
          </p:nvPr>
        </p:nvSpPr>
        <p:spPr>
          <a:xfrm>
            <a:off x="341313" y="2116827"/>
            <a:ext cx="5580063" cy="1034129"/>
          </a:xfrm>
        </p:spPr>
        <p:txBody>
          <a:bodyPr wrap="square" anchor="b">
            <a:spAutoFit/>
          </a:bodyPr>
          <a:lstStyle>
            <a:lvl1pPr>
              <a:lnSpc>
                <a:spcPct val="80000"/>
              </a:lnSpc>
              <a:defRPr sz="4200"/>
            </a:lvl1pPr>
          </a:lstStyle>
          <a:p>
            <a:r>
              <a:rPr lang="en-US" noProof="0" dirty="0" smtClean="0"/>
              <a:t>CLICK TO EDIT MASTER TITLE STYLE</a:t>
            </a:r>
            <a:endParaRPr lang="de-DE" dirty="0"/>
          </a:p>
        </p:txBody>
      </p:sp>
      <p:sp>
        <p:nvSpPr>
          <p:cNvPr id="14" name="Textplatzhalter 9"/>
          <p:cNvSpPr>
            <a:spLocks noGrp="1"/>
          </p:cNvSpPr>
          <p:nvPr>
            <p:ph type="body" sz="quarter" idx="11" hasCustomPrompt="1"/>
          </p:nvPr>
        </p:nvSpPr>
        <p:spPr>
          <a:xfrm>
            <a:off x="341050" y="3151909"/>
            <a:ext cx="5580327" cy="257635"/>
          </a:xfrm>
        </p:spPr>
        <p:txBody>
          <a:bodyPr wrap="square" anchor="t">
            <a:spAutoFit/>
          </a:bodyPr>
          <a:lstStyle>
            <a:lvl1pPr>
              <a:spcBef>
                <a:spcPts val="0"/>
              </a:spcBef>
              <a:defRPr sz="1800" cap="all" baseline="0">
                <a:solidFill>
                  <a:schemeClr val="tx1"/>
                </a:solidFill>
              </a:defRPr>
            </a:lvl1pPr>
          </a:lstStyle>
          <a:p>
            <a:pPr lvl="0"/>
            <a:r>
              <a:rPr lang="en-US" noProof="0" dirty="0" smtClean="0"/>
              <a:t>CLICK TO EDIT MASTER SUBTITLE STYLE</a:t>
            </a:r>
          </a:p>
        </p:txBody>
      </p:sp>
      <p:pic>
        <p:nvPicPr>
          <p:cNvPr id="9" name="Picture 8" descr="Nielsen_R.png"/>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bwMode="invGray">
          <a:xfrm>
            <a:off x="345762" y="276878"/>
            <a:ext cx="679019" cy="240121"/>
          </a:xfrm>
          <a:prstGeom prst="rect">
            <a:avLst/>
          </a:prstGeom>
        </p:spPr>
      </p:pic>
      <p:pic>
        <p:nvPicPr>
          <p:cNvPr id="11" name="Picture 10" descr="PPT-Black-Cover-Graphic-No-Image-WS.png"/>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2777742" y="0"/>
            <a:ext cx="6366259" cy="5143500"/>
          </a:xfrm>
          <a:prstGeom prst="rect">
            <a:avLst/>
          </a:prstGeom>
        </p:spPr>
      </p:pic>
    </p:spTree>
    <p:extLst>
      <p:ext uri="{BB962C8B-B14F-4D97-AF65-F5344CB8AC3E}">
        <p14:creationId xmlns:p14="http://schemas.microsoft.com/office/powerpoint/2010/main" val="298988199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6" name="Titel 5"/>
          <p:cNvSpPr>
            <a:spLocks noGrp="1"/>
          </p:cNvSpPr>
          <p:nvPr>
            <p:ph type="title"/>
          </p:nvPr>
        </p:nvSpPr>
        <p:spPr>
          <a:xfrm>
            <a:off x="522287" y="484770"/>
            <a:ext cx="8278269" cy="332399"/>
          </a:xfrm>
        </p:spPr>
        <p:txBody>
          <a:bodyPr/>
          <a:lstStyle/>
          <a:p>
            <a:r>
              <a:rPr lang="de-DE" dirty="0" smtClean="0"/>
              <a:t>Titelmasterformat durch Klicken bearbeiten</a:t>
            </a:r>
            <a:endParaRPr lang="en-US" noProof="0" dirty="0"/>
          </a:p>
        </p:txBody>
      </p:sp>
      <p:sp>
        <p:nvSpPr>
          <p:cNvPr id="8" name="Fußzeilenplatzhalter 7"/>
          <p:cNvSpPr>
            <a:spLocks noGrp="1"/>
          </p:cNvSpPr>
          <p:nvPr>
            <p:ph type="ftr" sz="quarter" idx="10"/>
          </p:nvPr>
        </p:nvSpPr>
        <p:spPr>
          <a:xfrm>
            <a:off x="522289" y="4948014"/>
            <a:ext cx="8278268" cy="123111"/>
          </a:xfrm>
          <a:prstGeom prst="rect">
            <a:avLst/>
          </a:prstGeom>
        </p:spPr>
        <p:txBody>
          <a:bodyPr/>
          <a:lstStyle/>
          <a:p>
            <a:endParaRPr lang="en-US" noProof="0" dirty="0"/>
          </a:p>
        </p:txBody>
      </p:sp>
    </p:spTree>
    <p:extLst>
      <p:ext uri="{BB962C8B-B14F-4D97-AF65-F5344CB8AC3E}">
        <p14:creationId xmlns:p14="http://schemas.microsoft.com/office/powerpoint/2010/main" val="3996481224"/>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 2">
    <p:spTree>
      <p:nvGrpSpPr>
        <p:cNvPr id="1" name=""/>
        <p:cNvGrpSpPr/>
        <p:nvPr/>
      </p:nvGrpSpPr>
      <p:grpSpPr>
        <a:xfrm>
          <a:off x="0" y="0"/>
          <a:ext cx="0" cy="0"/>
          <a:chOff x="0" y="0"/>
          <a:chExt cx="0" cy="0"/>
        </a:xfrm>
      </p:grpSpPr>
      <p:sp>
        <p:nvSpPr>
          <p:cNvPr id="6" name="Titel 5"/>
          <p:cNvSpPr>
            <a:spLocks noGrp="1"/>
          </p:cNvSpPr>
          <p:nvPr>
            <p:ph type="title"/>
          </p:nvPr>
        </p:nvSpPr>
        <p:spPr>
          <a:xfrm>
            <a:off x="522287" y="484770"/>
            <a:ext cx="8278269" cy="332399"/>
          </a:xfrm>
        </p:spPr>
        <p:txBody>
          <a:bodyPr/>
          <a:lstStyle>
            <a:lvl1pPr>
              <a:defRPr sz="2400"/>
            </a:lvl1pPr>
          </a:lstStyle>
          <a:p>
            <a:r>
              <a:rPr lang="de-DE" dirty="0" smtClean="0"/>
              <a:t>Titelmasterformat durch Klicken bearbeiten</a:t>
            </a:r>
            <a:endParaRPr lang="en-US" noProof="0" dirty="0"/>
          </a:p>
        </p:txBody>
      </p:sp>
      <p:sp>
        <p:nvSpPr>
          <p:cNvPr id="8" name="Fußzeilenplatzhalter 7"/>
          <p:cNvSpPr>
            <a:spLocks noGrp="1"/>
          </p:cNvSpPr>
          <p:nvPr>
            <p:ph type="ftr" sz="quarter" idx="10"/>
          </p:nvPr>
        </p:nvSpPr>
        <p:spPr>
          <a:xfrm>
            <a:off x="522289" y="4948014"/>
            <a:ext cx="8278268" cy="123111"/>
          </a:xfrm>
          <a:prstGeom prst="rect">
            <a:avLst/>
          </a:prstGeom>
        </p:spPr>
        <p:txBody>
          <a:bodyPr/>
          <a:lstStyle/>
          <a:p>
            <a:endParaRPr lang="en-US" noProof="0" dirty="0"/>
          </a:p>
        </p:txBody>
      </p:sp>
    </p:spTree>
    <p:extLst>
      <p:ext uri="{BB962C8B-B14F-4D97-AF65-F5344CB8AC3E}">
        <p14:creationId xmlns:p14="http://schemas.microsoft.com/office/powerpoint/2010/main" val="1376834984"/>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Dark Title only">
    <p:bg>
      <p:bgPr>
        <a:solidFill>
          <a:srgbClr val="000000"/>
        </a:solidFill>
        <a:effectLst/>
      </p:bgPr>
    </p:bg>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US" noProof="0" dirty="0" smtClean="0"/>
              <a:t>Click to edit Master title style</a:t>
            </a:r>
            <a:endParaRPr lang="en-US" noProof="0" dirty="0"/>
          </a:p>
        </p:txBody>
      </p:sp>
      <p:sp>
        <p:nvSpPr>
          <p:cNvPr id="3" name="Fußzeilenplatzhalter 2"/>
          <p:cNvSpPr>
            <a:spLocks noGrp="1"/>
          </p:cNvSpPr>
          <p:nvPr>
            <p:ph type="ftr" sz="quarter" idx="10"/>
          </p:nvPr>
        </p:nvSpPr>
        <p:spPr>
          <a:xfrm>
            <a:off x="522289" y="4948014"/>
            <a:ext cx="8278268" cy="123111"/>
          </a:xfrm>
          <a:prstGeom prst="rect">
            <a:avLst/>
          </a:prstGeom>
        </p:spPr>
        <p:txBody>
          <a:bodyPr/>
          <a:lstStyle/>
          <a:p>
            <a:endParaRPr lang="en-US" noProof="0" dirty="0"/>
          </a:p>
        </p:txBody>
      </p:sp>
    </p:spTree>
    <p:extLst>
      <p:ext uri="{BB962C8B-B14F-4D97-AF65-F5344CB8AC3E}">
        <p14:creationId xmlns:p14="http://schemas.microsoft.com/office/powerpoint/2010/main" val="279322164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 Subtitle">
    <p:spTree>
      <p:nvGrpSpPr>
        <p:cNvPr id="1" name=""/>
        <p:cNvGrpSpPr/>
        <p:nvPr/>
      </p:nvGrpSpPr>
      <p:grpSpPr>
        <a:xfrm>
          <a:off x="0" y="0"/>
          <a:ext cx="0" cy="0"/>
          <a:chOff x="0" y="0"/>
          <a:chExt cx="0" cy="0"/>
        </a:xfrm>
      </p:grpSpPr>
      <p:sp>
        <p:nvSpPr>
          <p:cNvPr id="8" name="Text Placeholder 2"/>
          <p:cNvSpPr>
            <a:spLocks noGrp="1"/>
          </p:cNvSpPr>
          <p:nvPr>
            <p:ph type="body" idx="13" hasCustomPrompt="1"/>
          </p:nvPr>
        </p:nvSpPr>
        <p:spPr>
          <a:xfrm>
            <a:off x="522290" y="960122"/>
            <a:ext cx="8278266" cy="228973"/>
          </a:xfrm>
          <a:prstGeom prst="rect">
            <a:avLst/>
          </a:prstGeom>
        </p:spPr>
        <p:txBody>
          <a:bodyPr wrap="square" tIns="0" bIns="0" anchor="t" anchorCtr="0">
            <a:spAutoFit/>
          </a:bodyPr>
          <a:lstStyle>
            <a:lvl1pPr marL="0" indent="0">
              <a:spcBef>
                <a:spcPts val="0"/>
              </a:spcBef>
              <a:buNone/>
              <a:defRPr sz="1600" b="0"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subtitle</a:t>
            </a:r>
          </a:p>
        </p:txBody>
      </p:sp>
      <p:sp>
        <p:nvSpPr>
          <p:cNvPr id="2" name="Titel 1"/>
          <p:cNvSpPr>
            <a:spLocks noGrp="1"/>
          </p:cNvSpPr>
          <p:nvPr>
            <p:ph type="title" hasCustomPrompt="1"/>
          </p:nvPr>
        </p:nvSpPr>
        <p:spPr/>
        <p:txBody>
          <a:bodyPr/>
          <a:lstStyle/>
          <a:p>
            <a:r>
              <a:rPr lang="en-US" noProof="0" dirty="0" smtClean="0"/>
              <a:t>Click to edit Master title style</a:t>
            </a:r>
            <a:endParaRPr lang="en-US" noProof="0" dirty="0"/>
          </a:p>
        </p:txBody>
      </p:sp>
      <p:sp>
        <p:nvSpPr>
          <p:cNvPr id="3" name="Fußzeilenplatzhalter 2"/>
          <p:cNvSpPr>
            <a:spLocks noGrp="1"/>
          </p:cNvSpPr>
          <p:nvPr>
            <p:ph type="ftr" sz="quarter" idx="14"/>
          </p:nvPr>
        </p:nvSpPr>
        <p:spPr>
          <a:xfrm>
            <a:off x="522289" y="4948014"/>
            <a:ext cx="8278268" cy="123111"/>
          </a:xfrm>
          <a:prstGeom prst="rect">
            <a:avLst/>
          </a:prstGeom>
        </p:spPr>
        <p:txBody>
          <a:bodyPr/>
          <a:lstStyle/>
          <a:p>
            <a:endParaRPr lang="en-US" noProof="0" dirty="0"/>
          </a:p>
        </p:txBody>
      </p:sp>
    </p:spTree>
    <p:extLst>
      <p:ext uri="{BB962C8B-B14F-4D97-AF65-F5344CB8AC3E}">
        <p14:creationId xmlns:p14="http://schemas.microsoft.com/office/powerpoint/2010/main" val="4202588143"/>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6.xml"/><Relationship Id="rId13" Type="http://schemas.openxmlformats.org/officeDocument/2006/relationships/slideLayout" Target="../slideLayouts/slideLayout31.xml"/><Relationship Id="rId18" Type="http://schemas.openxmlformats.org/officeDocument/2006/relationships/slideLayout" Target="../slideLayouts/slideLayout36.xml"/><Relationship Id="rId26" Type="http://schemas.openxmlformats.org/officeDocument/2006/relationships/tags" Target="../tags/tag1.xml"/><Relationship Id="rId3" Type="http://schemas.openxmlformats.org/officeDocument/2006/relationships/slideLayout" Target="../slideLayouts/slideLayout21.xml"/><Relationship Id="rId21" Type="http://schemas.openxmlformats.org/officeDocument/2006/relationships/slideLayout" Target="../slideLayouts/slideLayout39.xml"/><Relationship Id="rId7" Type="http://schemas.openxmlformats.org/officeDocument/2006/relationships/slideLayout" Target="../slideLayouts/slideLayout25.xml"/><Relationship Id="rId12" Type="http://schemas.openxmlformats.org/officeDocument/2006/relationships/slideLayout" Target="../slideLayouts/slideLayout30.xml"/><Relationship Id="rId17" Type="http://schemas.openxmlformats.org/officeDocument/2006/relationships/slideLayout" Target="../slideLayouts/slideLayout35.xml"/><Relationship Id="rId25" Type="http://schemas.openxmlformats.org/officeDocument/2006/relationships/vmlDrawing" Target="../drawings/vmlDrawing1.vml"/><Relationship Id="rId2" Type="http://schemas.openxmlformats.org/officeDocument/2006/relationships/slideLayout" Target="../slideLayouts/slideLayout20.xml"/><Relationship Id="rId16" Type="http://schemas.openxmlformats.org/officeDocument/2006/relationships/slideLayout" Target="../slideLayouts/slideLayout34.xml"/><Relationship Id="rId20" Type="http://schemas.openxmlformats.org/officeDocument/2006/relationships/slideLayout" Target="../slideLayouts/slideLayout38.xml"/><Relationship Id="rId29" Type="http://schemas.openxmlformats.org/officeDocument/2006/relationships/image" Target="../media/image1.png"/><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24" Type="http://schemas.openxmlformats.org/officeDocument/2006/relationships/theme" Target="../theme/theme2.xml"/><Relationship Id="rId5" Type="http://schemas.openxmlformats.org/officeDocument/2006/relationships/slideLayout" Target="../slideLayouts/slideLayout23.xml"/><Relationship Id="rId15" Type="http://schemas.openxmlformats.org/officeDocument/2006/relationships/slideLayout" Target="../slideLayouts/slideLayout33.xml"/><Relationship Id="rId23" Type="http://schemas.openxmlformats.org/officeDocument/2006/relationships/slideLayout" Target="../slideLayouts/slideLayout41.xml"/><Relationship Id="rId28" Type="http://schemas.openxmlformats.org/officeDocument/2006/relationships/image" Target="../media/image12.emf"/><Relationship Id="rId10" Type="http://schemas.openxmlformats.org/officeDocument/2006/relationships/slideLayout" Target="../slideLayouts/slideLayout28.xml"/><Relationship Id="rId19" Type="http://schemas.openxmlformats.org/officeDocument/2006/relationships/slideLayout" Target="../slideLayouts/slideLayout37.xml"/><Relationship Id="rId4" Type="http://schemas.openxmlformats.org/officeDocument/2006/relationships/slideLayout" Target="../slideLayouts/slideLayout22.xml"/><Relationship Id="rId9" Type="http://schemas.openxmlformats.org/officeDocument/2006/relationships/slideLayout" Target="../slideLayouts/slideLayout27.xml"/><Relationship Id="rId14" Type="http://schemas.openxmlformats.org/officeDocument/2006/relationships/slideLayout" Target="../slideLayouts/slideLayout32.xml"/><Relationship Id="rId22" Type="http://schemas.openxmlformats.org/officeDocument/2006/relationships/slideLayout" Target="../slideLayouts/slideLayout40.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3" name="Rectangle 22"/>
          <p:cNvSpPr/>
          <p:nvPr/>
        </p:nvSpPr>
        <p:spPr>
          <a:xfrm>
            <a:off x="2" y="0"/>
            <a:ext cx="179905" cy="5143500"/>
          </a:xfrm>
          <a:prstGeom prst="rect">
            <a:avLst/>
          </a:prstGeom>
          <a:solidFill>
            <a:srgbClr val="00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noProof="0" dirty="0"/>
          </a:p>
        </p:txBody>
      </p:sp>
      <p:sp>
        <p:nvSpPr>
          <p:cNvPr id="2" name="Title Placeholder 1"/>
          <p:cNvSpPr>
            <a:spLocks noGrp="1"/>
          </p:cNvSpPr>
          <p:nvPr>
            <p:ph type="title"/>
          </p:nvPr>
        </p:nvSpPr>
        <p:spPr>
          <a:xfrm>
            <a:off x="522287" y="483069"/>
            <a:ext cx="8278269" cy="332399"/>
          </a:xfrm>
          <a:prstGeom prst="rect">
            <a:avLst/>
          </a:prstGeom>
        </p:spPr>
        <p:txBody>
          <a:bodyPr vert="horz" wrap="square" lIns="0" tIns="0" rIns="0" bIns="0" rtlCol="0" anchor="t" anchorCtr="0">
            <a:spAutoFit/>
          </a:bodyPr>
          <a:lstStyle/>
          <a:p>
            <a:r>
              <a:rPr lang="de-DE" noProof="0" dirty="0" smtClean="0"/>
              <a:t>Titelmasterformat durch Klicken bearbeiten</a:t>
            </a:r>
            <a:endParaRPr lang="en-US" noProof="0" dirty="0"/>
          </a:p>
        </p:txBody>
      </p:sp>
      <p:sp>
        <p:nvSpPr>
          <p:cNvPr id="8" name="Text Box 17"/>
          <p:cNvSpPr txBox="1">
            <a:spLocks noChangeArrowheads="1"/>
          </p:cNvSpPr>
          <p:nvPr/>
        </p:nvSpPr>
        <p:spPr bwMode="auto">
          <a:xfrm>
            <a:off x="8864741" y="4954684"/>
            <a:ext cx="197170" cy="123111"/>
          </a:xfrm>
          <a:prstGeom prst="rect">
            <a:avLst/>
          </a:prstGeom>
          <a:noFill/>
          <a:ln w="9525">
            <a:noFill/>
            <a:miter lim="800000"/>
            <a:headEnd/>
            <a:tailEnd/>
          </a:ln>
          <a:effectLst/>
        </p:spPr>
        <p:txBody>
          <a:bodyPr wrap="none" lIns="0" tIns="0" rIns="0" bIns="0" anchor="ctr" anchorCtr="0">
            <a:spAutoFit/>
          </a:bodyPr>
          <a:lstStyle/>
          <a:p>
            <a:pPr algn="ctr" defTabSz="914400">
              <a:spcBef>
                <a:spcPts val="0"/>
              </a:spcBef>
            </a:pPr>
            <a:fld id="{0D7D805D-F6E5-43ED-9D8A-77676030D49C}" type="slidenum">
              <a:rPr lang="en-US" sz="800" b="0" noProof="0">
                <a:solidFill>
                  <a:srgbClr val="009DD9"/>
                </a:solidFill>
              </a:rPr>
              <a:pPr algn="ctr" defTabSz="914400">
                <a:spcBef>
                  <a:spcPts val="0"/>
                </a:spcBef>
              </a:pPr>
              <a:t>‹#›</a:t>
            </a:fld>
            <a:endParaRPr lang="en-US" sz="800" b="0" noProof="0" dirty="0">
              <a:solidFill>
                <a:srgbClr val="009DD9"/>
              </a:solidFill>
            </a:endParaRPr>
          </a:p>
        </p:txBody>
      </p:sp>
      <p:sp>
        <p:nvSpPr>
          <p:cNvPr id="18" name="Rectangle 9"/>
          <p:cNvSpPr/>
          <p:nvPr/>
        </p:nvSpPr>
        <p:spPr bwMode="gray">
          <a:xfrm rot="16200000">
            <a:off x="-1101238" y="3862355"/>
            <a:ext cx="2382383" cy="179906"/>
          </a:xfrm>
          <a:prstGeom prst="rect">
            <a:avLst/>
          </a:prstGeom>
        </p:spPr>
        <p:txBody>
          <a:bodyPr wrap="square" anchor="ctr">
            <a:noAutofit/>
          </a:bodyPr>
          <a:lstStyle/>
          <a:p>
            <a:pPr algn="l" defTabSz="914400">
              <a:spcBef>
                <a:spcPct val="50000"/>
              </a:spcBef>
            </a:pPr>
            <a:r>
              <a:rPr lang="en-US" sz="600" noProof="0" dirty="0" smtClean="0">
                <a:solidFill>
                  <a:srgbClr val="5F5F5F"/>
                </a:solidFill>
                <a:latin typeface="Calibri"/>
                <a:cs typeface="Calibri"/>
              </a:rPr>
              <a:t>Copyright ©2017</a:t>
            </a:r>
            <a:r>
              <a:rPr lang="en-US" sz="600" baseline="0" noProof="0" dirty="0" smtClean="0">
                <a:solidFill>
                  <a:srgbClr val="5F5F5F"/>
                </a:solidFill>
                <a:latin typeface="Calibri"/>
                <a:cs typeface="Calibri"/>
              </a:rPr>
              <a:t> </a:t>
            </a:r>
            <a:r>
              <a:rPr lang="en-US" sz="600" noProof="0" dirty="0" smtClean="0">
                <a:solidFill>
                  <a:srgbClr val="5F5F5F"/>
                </a:solidFill>
                <a:latin typeface="Calibri"/>
                <a:cs typeface="Calibri"/>
              </a:rPr>
              <a:t> The Nielsen Company. Confidential and proprietary.</a:t>
            </a:r>
            <a:endParaRPr lang="en-US" sz="600" noProof="0" dirty="0">
              <a:solidFill>
                <a:srgbClr val="5F5F5F"/>
              </a:solidFill>
              <a:latin typeface="Calibri"/>
              <a:cs typeface="Calibri"/>
            </a:endParaRPr>
          </a:p>
        </p:txBody>
      </p:sp>
      <p:sp>
        <p:nvSpPr>
          <p:cNvPr id="6" name="Textplatzhalter 5"/>
          <p:cNvSpPr>
            <a:spLocks noGrp="1"/>
          </p:cNvSpPr>
          <p:nvPr>
            <p:ph type="body" idx="1"/>
          </p:nvPr>
        </p:nvSpPr>
        <p:spPr>
          <a:xfrm>
            <a:off x="522289" y="1221583"/>
            <a:ext cx="8278268" cy="3510756"/>
          </a:xfrm>
          <a:prstGeom prst="rect">
            <a:avLst/>
          </a:prstGeom>
        </p:spPr>
        <p:txBody>
          <a:bodyPr vert="horz" lIns="0" tIns="0" rIns="0" bIns="0" rtlCol="0">
            <a:noAutofit/>
          </a:bodyPr>
          <a:lstStyle/>
          <a:p>
            <a:pPr lvl="0"/>
            <a:r>
              <a:rPr lang="en-US" noProof="0" dirty="0" smtClean="0"/>
              <a:t>Standard body copy</a:t>
            </a:r>
          </a:p>
          <a:p>
            <a:pPr lvl="1"/>
            <a:r>
              <a:rPr lang="en-US" noProof="0" dirty="0" smtClean="0"/>
              <a:t>Bullet point first level</a:t>
            </a:r>
          </a:p>
          <a:p>
            <a:pPr lvl="2"/>
            <a:r>
              <a:rPr lang="en-US" noProof="0" dirty="0" smtClean="0"/>
              <a:t>Bullet point second level</a:t>
            </a:r>
          </a:p>
          <a:p>
            <a:pPr lvl="3"/>
            <a:r>
              <a:rPr lang="en-US" noProof="0" dirty="0" smtClean="0"/>
              <a:t>Headline</a:t>
            </a:r>
          </a:p>
        </p:txBody>
      </p:sp>
      <p:grpSp>
        <p:nvGrpSpPr>
          <p:cNvPr id="16" name="Gruppieren 15"/>
          <p:cNvGrpSpPr/>
          <p:nvPr userDrawn="1"/>
        </p:nvGrpSpPr>
        <p:grpSpPr>
          <a:xfrm>
            <a:off x="518935" y="-133351"/>
            <a:ext cx="8281622" cy="125226"/>
            <a:chOff x="518935" y="-45909"/>
            <a:chExt cx="8281622" cy="35481"/>
          </a:xfrm>
        </p:grpSpPr>
        <p:cxnSp>
          <p:nvCxnSpPr>
            <p:cNvPr id="9" name="Gerade Verbindung 8"/>
            <p:cNvCxnSpPr/>
            <p:nvPr userDrawn="1"/>
          </p:nvCxnSpPr>
          <p:spPr>
            <a:xfrm flipV="1">
              <a:off x="518935" y="-45909"/>
              <a:ext cx="0" cy="35481"/>
            </a:xfrm>
            <a:prstGeom prst="line">
              <a:avLst/>
            </a:prstGeom>
            <a:ln w="3175">
              <a:solidFill>
                <a:srgbClr val="D5D6D2"/>
              </a:solidFill>
            </a:ln>
          </p:spPr>
          <p:style>
            <a:lnRef idx="2">
              <a:schemeClr val="accent1"/>
            </a:lnRef>
            <a:fillRef idx="0">
              <a:schemeClr val="accent1"/>
            </a:fillRef>
            <a:effectRef idx="1">
              <a:schemeClr val="accent1"/>
            </a:effectRef>
            <a:fontRef idx="minor">
              <a:schemeClr val="tx1"/>
            </a:fontRef>
          </p:style>
        </p:cxnSp>
        <p:cxnSp>
          <p:nvCxnSpPr>
            <p:cNvPr id="13" name="Gerade Verbindung 12"/>
            <p:cNvCxnSpPr/>
            <p:nvPr userDrawn="1"/>
          </p:nvCxnSpPr>
          <p:spPr>
            <a:xfrm flipV="1">
              <a:off x="8800557" y="-45909"/>
              <a:ext cx="0" cy="35481"/>
            </a:xfrm>
            <a:prstGeom prst="line">
              <a:avLst/>
            </a:prstGeom>
            <a:ln w="3175">
              <a:solidFill>
                <a:srgbClr val="D5D6D2"/>
              </a:solidFill>
            </a:ln>
          </p:spPr>
          <p:style>
            <a:lnRef idx="2">
              <a:schemeClr val="accent1"/>
            </a:lnRef>
            <a:fillRef idx="0">
              <a:schemeClr val="accent1"/>
            </a:fillRef>
            <a:effectRef idx="1">
              <a:schemeClr val="accent1"/>
            </a:effectRef>
            <a:fontRef idx="minor">
              <a:schemeClr val="tx1"/>
            </a:fontRef>
          </p:style>
        </p:cxnSp>
        <p:cxnSp>
          <p:nvCxnSpPr>
            <p:cNvPr id="34" name="Gerade Verbindung 33"/>
            <p:cNvCxnSpPr/>
            <p:nvPr userDrawn="1"/>
          </p:nvCxnSpPr>
          <p:spPr>
            <a:xfrm flipV="1">
              <a:off x="4659395" y="-45909"/>
              <a:ext cx="0" cy="35481"/>
            </a:xfrm>
            <a:prstGeom prst="line">
              <a:avLst/>
            </a:prstGeom>
            <a:ln w="3175">
              <a:solidFill>
                <a:srgbClr val="D5D6D2"/>
              </a:solidFill>
            </a:ln>
          </p:spPr>
          <p:style>
            <a:lnRef idx="2">
              <a:schemeClr val="accent1"/>
            </a:lnRef>
            <a:fillRef idx="0">
              <a:schemeClr val="accent1"/>
            </a:fillRef>
            <a:effectRef idx="1">
              <a:schemeClr val="accent1"/>
            </a:effectRef>
            <a:fontRef idx="minor">
              <a:schemeClr val="tx1"/>
            </a:fontRef>
          </p:style>
        </p:cxnSp>
      </p:grpSp>
      <p:grpSp>
        <p:nvGrpSpPr>
          <p:cNvPr id="22" name="Gruppieren 21"/>
          <p:cNvGrpSpPr/>
          <p:nvPr/>
        </p:nvGrpSpPr>
        <p:grpSpPr>
          <a:xfrm>
            <a:off x="-162560" y="339828"/>
            <a:ext cx="155576" cy="4525397"/>
            <a:chOff x="-80315" y="453102"/>
            <a:chExt cx="78204" cy="6033858"/>
          </a:xfrm>
        </p:grpSpPr>
        <p:cxnSp>
          <p:nvCxnSpPr>
            <p:cNvPr id="19" name="Gerade Verbindung 18"/>
            <p:cNvCxnSpPr/>
            <p:nvPr userDrawn="1"/>
          </p:nvCxnSpPr>
          <p:spPr>
            <a:xfrm rot="5400000" flipV="1">
              <a:off x="-45203" y="1765923"/>
              <a:ext cx="0" cy="57456"/>
            </a:xfrm>
            <a:prstGeom prst="line">
              <a:avLst/>
            </a:prstGeom>
            <a:ln w="3175">
              <a:solidFill>
                <a:srgbClr val="D5D6D2"/>
              </a:solidFill>
            </a:ln>
          </p:spPr>
          <p:style>
            <a:lnRef idx="2">
              <a:schemeClr val="accent1"/>
            </a:lnRef>
            <a:fillRef idx="0">
              <a:schemeClr val="accent1"/>
            </a:fillRef>
            <a:effectRef idx="1">
              <a:schemeClr val="accent1"/>
            </a:effectRef>
            <a:fontRef idx="minor">
              <a:schemeClr val="tx1"/>
            </a:fontRef>
          </p:style>
        </p:cxnSp>
        <p:cxnSp>
          <p:nvCxnSpPr>
            <p:cNvPr id="20" name="Gerade Verbindung 19"/>
            <p:cNvCxnSpPr/>
            <p:nvPr userDrawn="1"/>
          </p:nvCxnSpPr>
          <p:spPr>
            <a:xfrm rot="5400000" flipV="1">
              <a:off x="-51587" y="6458232"/>
              <a:ext cx="0" cy="57456"/>
            </a:xfrm>
            <a:prstGeom prst="line">
              <a:avLst/>
            </a:prstGeom>
            <a:ln w="3175">
              <a:solidFill>
                <a:srgbClr val="D5D6D2"/>
              </a:solidFill>
            </a:ln>
          </p:spPr>
          <p:style>
            <a:lnRef idx="2">
              <a:schemeClr val="accent1"/>
            </a:lnRef>
            <a:fillRef idx="0">
              <a:schemeClr val="accent1"/>
            </a:fillRef>
            <a:effectRef idx="1">
              <a:schemeClr val="accent1"/>
            </a:effectRef>
            <a:fontRef idx="minor">
              <a:schemeClr val="tx1"/>
            </a:fontRef>
          </p:style>
        </p:cxnSp>
        <p:cxnSp>
          <p:nvCxnSpPr>
            <p:cNvPr id="37" name="Gerade Verbindung 36"/>
            <p:cNvCxnSpPr/>
            <p:nvPr userDrawn="1"/>
          </p:nvCxnSpPr>
          <p:spPr>
            <a:xfrm rot="5400000" flipV="1">
              <a:off x="-30839" y="424374"/>
              <a:ext cx="0" cy="57456"/>
            </a:xfrm>
            <a:prstGeom prst="line">
              <a:avLst/>
            </a:prstGeom>
            <a:ln w="3175">
              <a:solidFill>
                <a:srgbClr val="D5D6D2"/>
              </a:solidFill>
            </a:ln>
          </p:spPr>
          <p:style>
            <a:lnRef idx="2">
              <a:schemeClr val="accent1"/>
            </a:lnRef>
            <a:fillRef idx="0">
              <a:schemeClr val="accent1"/>
            </a:fillRef>
            <a:effectRef idx="1">
              <a:schemeClr val="accent1"/>
            </a:effectRef>
            <a:fontRef idx="minor">
              <a:schemeClr val="tx1"/>
            </a:fontRef>
          </p:style>
        </p:cxnSp>
      </p:grpSp>
      <p:grpSp>
        <p:nvGrpSpPr>
          <p:cNvPr id="24" name="Gruppieren 23"/>
          <p:cNvGrpSpPr/>
          <p:nvPr/>
        </p:nvGrpSpPr>
        <p:grpSpPr>
          <a:xfrm>
            <a:off x="9150988" y="1218982"/>
            <a:ext cx="114301" cy="3646238"/>
            <a:chOff x="-80315" y="1625310"/>
            <a:chExt cx="57456" cy="4861650"/>
          </a:xfrm>
        </p:grpSpPr>
        <p:cxnSp>
          <p:nvCxnSpPr>
            <p:cNvPr id="25" name="Gerade Verbindung 24"/>
            <p:cNvCxnSpPr/>
            <p:nvPr userDrawn="1"/>
          </p:nvCxnSpPr>
          <p:spPr>
            <a:xfrm rot="5400000" flipV="1">
              <a:off x="-51587" y="1596582"/>
              <a:ext cx="0" cy="57456"/>
            </a:xfrm>
            <a:prstGeom prst="line">
              <a:avLst/>
            </a:prstGeom>
            <a:ln w="3175">
              <a:solidFill>
                <a:srgbClr val="D5D6D2"/>
              </a:solidFill>
            </a:ln>
          </p:spPr>
          <p:style>
            <a:lnRef idx="2">
              <a:schemeClr val="accent1"/>
            </a:lnRef>
            <a:fillRef idx="0">
              <a:schemeClr val="accent1"/>
            </a:fillRef>
            <a:effectRef idx="1">
              <a:schemeClr val="accent1"/>
            </a:effectRef>
            <a:fontRef idx="minor">
              <a:schemeClr val="tx1"/>
            </a:fontRef>
          </p:style>
        </p:cxnSp>
        <p:cxnSp>
          <p:nvCxnSpPr>
            <p:cNvPr id="26" name="Gerade Verbindung 25"/>
            <p:cNvCxnSpPr/>
            <p:nvPr userDrawn="1"/>
          </p:nvCxnSpPr>
          <p:spPr>
            <a:xfrm rot="5400000" flipV="1">
              <a:off x="-51587" y="6458232"/>
              <a:ext cx="0" cy="57456"/>
            </a:xfrm>
            <a:prstGeom prst="line">
              <a:avLst/>
            </a:prstGeom>
            <a:ln w="3175">
              <a:solidFill>
                <a:srgbClr val="D5D6D2"/>
              </a:solidFill>
            </a:ln>
          </p:spPr>
          <p:style>
            <a:lnRef idx="2">
              <a:schemeClr val="accent1"/>
            </a:lnRef>
            <a:fillRef idx="0">
              <a:schemeClr val="accent1"/>
            </a:fillRef>
            <a:effectRef idx="1">
              <a:schemeClr val="accent1"/>
            </a:effectRef>
            <a:fontRef idx="minor">
              <a:schemeClr val="tx1"/>
            </a:fontRef>
          </p:style>
        </p:cxnSp>
      </p:grpSp>
      <p:grpSp>
        <p:nvGrpSpPr>
          <p:cNvPr id="27" name="Gruppieren 26"/>
          <p:cNvGrpSpPr/>
          <p:nvPr/>
        </p:nvGrpSpPr>
        <p:grpSpPr>
          <a:xfrm>
            <a:off x="519169" y="5157788"/>
            <a:ext cx="8280920" cy="64295"/>
            <a:chOff x="519169" y="-45909"/>
            <a:chExt cx="8280920" cy="35481"/>
          </a:xfrm>
        </p:grpSpPr>
        <p:cxnSp>
          <p:nvCxnSpPr>
            <p:cNvPr id="28" name="Gerade Verbindung 27"/>
            <p:cNvCxnSpPr/>
            <p:nvPr userDrawn="1"/>
          </p:nvCxnSpPr>
          <p:spPr>
            <a:xfrm flipV="1">
              <a:off x="519169" y="-45909"/>
              <a:ext cx="0" cy="35481"/>
            </a:xfrm>
            <a:prstGeom prst="line">
              <a:avLst/>
            </a:prstGeom>
            <a:ln w="3175">
              <a:solidFill>
                <a:srgbClr val="D5D6D2"/>
              </a:solidFill>
            </a:ln>
          </p:spPr>
          <p:style>
            <a:lnRef idx="2">
              <a:schemeClr val="accent1"/>
            </a:lnRef>
            <a:fillRef idx="0">
              <a:schemeClr val="accent1"/>
            </a:fillRef>
            <a:effectRef idx="1">
              <a:schemeClr val="accent1"/>
            </a:effectRef>
            <a:fontRef idx="minor">
              <a:schemeClr val="tx1"/>
            </a:fontRef>
          </p:style>
        </p:cxnSp>
        <p:cxnSp>
          <p:nvCxnSpPr>
            <p:cNvPr id="29" name="Gerade Verbindung 28"/>
            <p:cNvCxnSpPr/>
            <p:nvPr userDrawn="1"/>
          </p:nvCxnSpPr>
          <p:spPr>
            <a:xfrm flipV="1">
              <a:off x="8800089" y="-45909"/>
              <a:ext cx="0" cy="35481"/>
            </a:xfrm>
            <a:prstGeom prst="line">
              <a:avLst/>
            </a:prstGeom>
            <a:ln w="3175">
              <a:solidFill>
                <a:srgbClr val="D5D6D2"/>
              </a:solidFill>
            </a:ln>
          </p:spPr>
          <p:style>
            <a:lnRef idx="2">
              <a:schemeClr val="accent1"/>
            </a:lnRef>
            <a:fillRef idx="0">
              <a:schemeClr val="accent1"/>
            </a:fillRef>
            <a:effectRef idx="1">
              <a:schemeClr val="accent1"/>
            </a:effectRef>
            <a:fontRef idx="minor">
              <a:schemeClr val="tx1"/>
            </a:fontRef>
          </p:style>
        </p:cxnSp>
      </p:grpSp>
      <p:pic>
        <p:nvPicPr>
          <p:cNvPr id="30" name="Picture 29"/>
          <p:cNvPicPr>
            <a:picLocks noChangeAspect="1"/>
          </p:cNvPicPr>
          <p:nvPr/>
        </p:nvPicPr>
        <p:blipFill>
          <a:blip r:embed="rId20">
            <a:extLst>
              <a:ext uri="{28A0092B-C50C-407E-A947-70E740481C1C}">
                <a14:useLocalDpi xmlns:a14="http://schemas.microsoft.com/office/drawing/2010/main"/>
              </a:ext>
            </a:extLst>
          </a:blip>
          <a:stretch>
            <a:fillRect/>
          </a:stretch>
        </p:blipFill>
        <p:spPr>
          <a:xfrm>
            <a:off x="8558389" y="0"/>
            <a:ext cx="254000" cy="342900"/>
          </a:xfrm>
          <a:prstGeom prst="rect">
            <a:avLst/>
          </a:prstGeom>
        </p:spPr>
      </p:pic>
      <p:cxnSp>
        <p:nvCxnSpPr>
          <p:cNvPr id="36" name="Gerade Verbindung 35"/>
          <p:cNvCxnSpPr/>
          <p:nvPr userDrawn="1"/>
        </p:nvCxnSpPr>
        <p:spPr>
          <a:xfrm rot="5400000" flipV="1">
            <a:off x="-75246" y="423069"/>
            <a:ext cx="0" cy="125226"/>
          </a:xfrm>
          <a:prstGeom prst="line">
            <a:avLst/>
          </a:prstGeom>
          <a:ln w="3175">
            <a:solidFill>
              <a:srgbClr val="D5D6D2"/>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45596445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714" r:id="rId3"/>
    <p:sldLayoutId id="2147483726" r:id="rId4"/>
    <p:sldLayoutId id="2147483715" r:id="rId5"/>
    <p:sldLayoutId id="2147483706" r:id="rId6"/>
    <p:sldLayoutId id="2147483703" r:id="rId7"/>
    <p:sldLayoutId id="2147483716" r:id="rId8"/>
    <p:sldLayoutId id="2147483707" r:id="rId9"/>
    <p:sldLayoutId id="2147483704" r:id="rId10"/>
    <p:sldLayoutId id="2147483717" r:id="rId11"/>
    <p:sldLayoutId id="2147483722" r:id="rId12"/>
    <p:sldLayoutId id="2147483724" r:id="rId13"/>
    <p:sldLayoutId id="2147483721" r:id="rId14"/>
    <p:sldLayoutId id="2147483676" r:id="rId15"/>
    <p:sldLayoutId id="2147483719" r:id="rId16"/>
    <p:sldLayoutId id="2147483709" r:id="rId17"/>
    <p:sldLayoutId id="2147483720" r:id="rId18"/>
  </p:sldLayoutIdLst>
  <p:transition>
    <p:fade/>
  </p:transition>
  <p:timing>
    <p:tnLst>
      <p:par>
        <p:cTn id="1" dur="indefinite" restart="never" nodeType="tmRoot"/>
      </p:par>
    </p:tnLst>
  </p:timing>
  <p:hf sldNum="0" hdr="0" ftr="0" dt="0"/>
  <p:txStyles>
    <p:titleStyle>
      <a:lvl1pPr algn="l" defTabSz="457200" rtl="0" eaLnBrk="1" latinLnBrk="0" hangingPunct="1">
        <a:lnSpc>
          <a:spcPct val="90000"/>
        </a:lnSpc>
        <a:spcBef>
          <a:spcPct val="0"/>
        </a:spcBef>
        <a:buNone/>
        <a:defRPr sz="2400" kern="1200" cap="all" baseline="0">
          <a:solidFill>
            <a:srgbClr val="009DD9"/>
          </a:solidFill>
          <a:latin typeface="+mj-lt"/>
          <a:ea typeface="+mj-ea"/>
          <a:cs typeface="+mj-cs"/>
        </a:defRPr>
      </a:lvl1pPr>
    </p:titleStyle>
    <p:bodyStyle>
      <a:lvl1pPr marL="0" indent="0" algn="l" defTabSz="457200" rtl="0" eaLnBrk="1" latinLnBrk="0" hangingPunct="1">
        <a:lnSpc>
          <a:spcPct val="93000"/>
        </a:lnSpc>
        <a:spcBef>
          <a:spcPts val="400"/>
        </a:spcBef>
        <a:buClr>
          <a:srgbClr val="5F5F5F"/>
        </a:buClr>
        <a:buFont typeface="Arial"/>
        <a:buNone/>
        <a:defRPr sz="1200" kern="1200" baseline="0">
          <a:solidFill>
            <a:schemeClr val="tx1"/>
          </a:solidFill>
          <a:latin typeface="+mn-lt"/>
          <a:ea typeface="+mn-ea"/>
          <a:cs typeface="+mn-cs"/>
        </a:defRPr>
      </a:lvl1pPr>
      <a:lvl2pPr marL="139700" indent="-139700" algn="l" defTabSz="271463" rtl="0" eaLnBrk="1" latinLnBrk="0" hangingPunct="1">
        <a:lnSpc>
          <a:spcPct val="93000"/>
        </a:lnSpc>
        <a:spcBef>
          <a:spcPts val="400"/>
        </a:spcBef>
        <a:buClr>
          <a:schemeClr val="accent1"/>
        </a:buClr>
        <a:buFont typeface="Arial" pitchFamily="34" charset="0"/>
        <a:buChar char="•"/>
        <a:defRPr sz="1200" kern="1200" baseline="0">
          <a:solidFill>
            <a:schemeClr val="tx1"/>
          </a:solidFill>
          <a:latin typeface="+mn-lt"/>
          <a:ea typeface="+mn-ea"/>
          <a:cs typeface="+mn-cs"/>
        </a:defRPr>
      </a:lvl2pPr>
      <a:lvl3pPr marL="273050" indent="-139700" algn="l" defTabSz="457200" rtl="0" eaLnBrk="1" latinLnBrk="0" hangingPunct="1">
        <a:lnSpc>
          <a:spcPct val="93000"/>
        </a:lnSpc>
        <a:spcBef>
          <a:spcPts val="200"/>
        </a:spcBef>
        <a:buClr>
          <a:schemeClr val="accent1"/>
        </a:buClr>
        <a:buFont typeface="Arial"/>
        <a:buChar char="•"/>
        <a:defRPr sz="1100" kern="1200" baseline="0">
          <a:solidFill>
            <a:schemeClr val="tx1"/>
          </a:solidFill>
          <a:latin typeface="+mn-lt"/>
          <a:ea typeface="+mn-ea"/>
          <a:cs typeface="+mn-cs"/>
        </a:defRPr>
      </a:lvl3pPr>
      <a:lvl4pPr marL="0" indent="0" algn="l" defTabSz="457200" rtl="0" eaLnBrk="1" latinLnBrk="0" hangingPunct="1">
        <a:lnSpc>
          <a:spcPct val="93000"/>
        </a:lnSpc>
        <a:spcBef>
          <a:spcPts val="0"/>
        </a:spcBef>
        <a:spcAft>
          <a:spcPts val="200"/>
        </a:spcAft>
        <a:buClr>
          <a:srgbClr val="5F5F5F"/>
        </a:buClr>
        <a:buFont typeface="Arial" pitchFamily="34" charset="0"/>
        <a:buNone/>
        <a:defRPr sz="1400" b="1" kern="1200" cap="all" baseline="0">
          <a:solidFill>
            <a:schemeClr val="accent1"/>
          </a:solidFill>
          <a:latin typeface="+mn-lt"/>
          <a:ea typeface="+mn-ea"/>
          <a:cs typeface="+mn-cs"/>
        </a:defRPr>
      </a:lvl4pPr>
      <a:lvl5pPr marL="1074738" indent="-177800" algn="l" defTabSz="457200" rtl="0" eaLnBrk="1" latinLnBrk="0" hangingPunct="1">
        <a:lnSpc>
          <a:spcPct val="100000"/>
        </a:lnSpc>
        <a:spcBef>
          <a:spcPts val="300"/>
        </a:spcBef>
        <a:buClr>
          <a:srgbClr val="5F5F5F"/>
        </a:buClr>
        <a:buFont typeface="Arial" pitchFamily="34" charset="0"/>
        <a:buChar char="•"/>
        <a:defRPr sz="1200" kern="1200" baseline="0">
          <a:solidFill>
            <a:srgbClr val="5F5F5F"/>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6"/>
            </p:custDataLst>
            <p:extLst>
              <p:ext uri="{D42A27DB-BD31-4B8C-83A1-F6EECF244321}">
                <p14:modId xmlns:p14="http://schemas.microsoft.com/office/powerpoint/2010/main" val="29860458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388" name="think-cell Slide" r:id="rId27" imgW="270" imgH="270" progId="TCLayout.ActiveDocument.1">
                  <p:embed/>
                </p:oleObj>
              </mc:Choice>
              <mc:Fallback>
                <p:oleObj name="think-cell Slide" r:id="rId27" imgW="270" imgH="270" progId="TCLayout.ActiveDocument.1">
                  <p:embed/>
                  <p:pic>
                    <p:nvPicPr>
                      <p:cNvPr id="0" name=""/>
                      <p:cNvPicPr/>
                      <p:nvPr/>
                    </p:nvPicPr>
                    <p:blipFill>
                      <a:blip r:embed="rId28"/>
                      <a:stretch>
                        <a:fillRect/>
                      </a:stretch>
                    </p:blipFill>
                    <p:spPr>
                      <a:xfrm>
                        <a:off x="1588" y="1588"/>
                        <a:ext cx="1587" cy="1587"/>
                      </a:xfrm>
                      <a:prstGeom prst="rect">
                        <a:avLst/>
                      </a:prstGeom>
                    </p:spPr>
                  </p:pic>
                </p:oleObj>
              </mc:Fallback>
            </mc:AlternateContent>
          </a:graphicData>
        </a:graphic>
      </p:graphicFrame>
      <p:sp>
        <p:nvSpPr>
          <p:cNvPr id="4" name="Rectangle 3"/>
          <p:cNvSpPr/>
          <p:nvPr userDrawn="1"/>
        </p:nvSpPr>
        <p:spPr>
          <a:xfrm>
            <a:off x="0" y="0"/>
            <a:ext cx="224014" cy="5143500"/>
          </a:xfrm>
          <a:prstGeom prst="rect">
            <a:avLst/>
          </a:prstGeom>
          <a:solidFill>
            <a:srgbClr val="00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FFFFFF"/>
              </a:solidFill>
            </a:endParaRPr>
          </a:p>
        </p:txBody>
      </p:sp>
      <p:sp>
        <p:nvSpPr>
          <p:cNvPr id="2" name="Title Placeholder 1"/>
          <p:cNvSpPr>
            <a:spLocks noGrp="1"/>
          </p:cNvSpPr>
          <p:nvPr>
            <p:ph type="title"/>
          </p:nvPr>
        </p:nvSpPr>
        <p:spPr>
          <a:xfrm>
            <a:off x="657225" y="589877"/>
            <a:ext cx="8053564" cy="346249"/>
          </a:xfrm>
          <a:prstGeom prst="rect">
            <a:avLst/>
          </a:prstGeom>
        </p:spPr>
        <p:txBody>
          <a:bodyPr vert="horz" wrap="square" lIns="0" tIns="0" rIns="0" bIns="0" rtlCol="0" anchor="b" anchorCtr="0">
            <a:noAutofit/>
          </a:bodyPr>
          <a:lstStyle/>
          <a:p>
            <a:r>
              <a:rPr lang="en-US" noProof="0" dirty="0"/>
              <a:t>Click to edit Master title style</a:t>
            </a:r>
          </a:p>
        </p:txBody>
      </p:sp>
      <p:sp>
        <p:nvSpPr>
          <p:cNvPr id="8" name="Text Box 17"/>
          <p:cNvSpPr txBox="1">
            <a:spLocks noChangeArrowheads="1"/>
          </p:cNvSpPr>
          <p:nvPr userDrawn="1"/>
        </p:nvSpPr>
        <p:spPr bwMode="auto">
          <a:xfrm>
            <a:off x="8880760" y="4933667"/>
            <a:ext cx="134652" cy="138499"/>
          </a:xfrm>
          <a:prstGeom prst="rect">
            <a:avLst/>
          </a:prstGeom>
          <a:noFill/>
          <a:ln w="9525">
            <a:noFill/>
            <a:miter lim="800000"/>
            <a:headEnd/>
            <a:tailEnd/>
          </a:ln>
          <a:effectLst/>
        </p:spPr>
        <p:txBody>
          <a:bodyPr wrap="none" lIns="0" tIns="0" rIns="0" bIns="0" anchor="ctr" anchorCtr="0">
            <a:spAutoFit/>
          </a:bodyPr>
          <a:lstStyle/>
          <a:p>
            <a:pPr algn="ctr"/>
            <a:fld id="{0D7D805D-F6E5-43ED-9D8A-77676030D49C}" type="slidenum">
              <a:rPr lang="en-US" sz="900">
                <a:solidFill>
                  <a:srgbClr val="009DD9"/>
                </a:solidFill>
              </a:rPr>
              <a:pPr algn="ctr"/>
              <a:t>‹#›</a:t>
            </a:fld>
            <a:endParaRPr lang="en-US" sz="900" dirty="0">
              <a:solidFill>
                <a:srgbClr val="009DD9"/>
              </a:solidFill>
            </a:endParaRPr>
          </a:p>
        </p:txBody>
      </p:sp>
      <p:pic>
        <p:nvPicPr>
          <p:cNvPr id="7" name="Picture 6"/>
          <p:cNvPicPr>
            <a:picLocks noChangeAspect="1"/>
          </p:cNvPicPr>
          <p:nvPr userDrawn="1"/>
        </p:nvPicPr>
        <p:blipFill>
          <a:blip r:embed="rId29">
            <a:extLst>
              <a:ext uri="{28A0092B-C50C-407E-A947-70E740481C1C}">
                <a14:useLocalDpi xmlns:a14="http://schemas.microsoft.com/office/drawing/2010/main"/>
              </a:ext>
            </a:extLst>
          </a:blip>
          <a:stretch>
            <a:fillRect/>
          </a:stretch>
        </p:blipFill>
        <p:spPr>
          <a:xfrm>
            <a:off x="8596489" y="2"/>
            <a:ext cx="254000" cy="257175"/>
          </a:xfrm>
          <a:prstGeom prst="rect">
            <a:avLst/>
          </a:prstGeom>
        </p:spPr>
      </p:pic>
      <p:sp>
        <p:nvSpPr>
          <p:cNvPr id="18" name="Rectangle 9"/>
          <p:cNvSpPr/>
          <p:nvPr userDrawn="1"/>
        </p:nvSpPr>
        <p:spPr bwMode="gray">
          <a:xfrm rot="16200000">
            <a:off x="-1086521" y="3860723"/>
            <a:ext cx="2382383" cy="184666"/>
          </a:xfrm>
          <a:prstGeom prst="rect">
            <a:avLst/>
          </a:prstGeom>
        </p:spPr>
        <p:txBody>
          <a:bodyPr wrap="none">
            <a:spAutoFit/>
          </a:bodyPr>
          <a:lstStyle/>
          <a:p>
            <a:pPr>
              <a:spcBef>
                <a:spcPct val="50000"/>
              </a:spcBef>
            </a:pPr>
            <a:r>
              <a:rPr lang="en-US" sz="600" dirty="0">
                <a:solidFill>
                  <a:srgbClr val="5F5F5F"/>
                </a:solidFill>
                <a:cs typeface="Calibri"/>
              </a:rPr>
              <a:t>Copyright ©2017  The Nielsen Company. Confidential and proprietary.</a:t>
            </a:r>
          </a:p>
        </p:txBody>
      </p:sp>
      <p:sp>
        <p:nvSpPr>
          <p:cNvPr id="5" name="Fußzeilenplatzhalter 4"/>
          <p:cNvSpPr>
            <a:spLocks noGrp="1"/>
          </p:cNvSpPr>
          <p:nvPr>
            <p:ph type="ftr" sz="quarter" idx="3"/>
          </p:nvPr>
        </p:nvSpPr>
        <p:spPr>
          <a:xfrm>
            <a:off x="657243" y="4871319"/>
            <a:ext cx="8053563" cy="215444"/>
          </a:xfrm>
          <a:prstGeom prst="rect">
            <a:avLst/>
          </a:prstGeom>
        </p:spPr>
        <p:txBody>
          <a:bodyPr vert="horz" wrap="square" lIns="0" tIns="45720" rIns="0" bIns="45720" rtlCol="0" anchor="b">
            <a:spAutoFit/>
          </a:bodyPr>
          <a:lstStyle>
            <a:lvl1pPr algn="l">
              <a:defRPr sz="800">
                <a:solidFill>
                  <a:schemeClr val="tx1"/>
                </a:solidFill>
              </a:defRPr>
            </a:lvl1pPr>
          </a:lstStyle>
          <a:p>
            <a:r>
              <a:rPr lang="en-US">
                <a:solidFill>
                  <a:srgbClr val="5F5F5F"/>
                </a:solidFill>
              </a:rPr>
              <a:t>Footer</a:t>
            </a:r>
            <a:endParaRPr lang="en-US" dirty="0">
              <a:solidFill>
                <a:srgbClr val="5F5F5F"/>
              </a:solidFill>
            </a:endParaRPr>
          </a:p>
        </p:txBody>
      </p:sp>
      <p:sp>
        <p:nvSpPr>
          <p:cNvPr id="6" name="Textplatzhalter 5"/>
          <p:cNvSpPr>
            <a:spLocks noGrp="1"/>
          </p:cNvSpPr>
          <p:nvPr>
            <p:ph type="body" idx="1"/>
          </p:nvPr>
        </p:nvSpPr>
        <p:spPr>
          <a:xfrm>
            <a:off x="657243" y="1221642"/>
            <a:ext cx="8053563" cy="3577829"/>
          </a:xfrm>
          <a:prstGeom prst="rect">
            <a:avLst/>
          </a:prstGeom>
        </p:spPr>
        <p:txBody>
          <a:bodyPr vert="horz" lIns="0" tIns="0" rIns="0" bIns="0" rtlCol="0">
            <a:normAutofit/>
          </a:bodyPr>
          <a:lstStyle/>
          <a:p>
            <a:pPr lvl="0"/>
            <a:r>
              <a:rPr lang="en-US" noProof="0" dirty="0"/>
              <a:t>Standard body copy</a:t>
            </a:r>
          </a:p>
          <a:p>
            <a:pPr lvl="1"/>
            <a:r>
              <a:rPr lang="en-US" noProof="0" dirty="0"/>
              <a:t>Bullet point first level</a:t>
            </a:r>
          </a:p>
          <a:p>
            <a:pPr lvl="2"/>
            <a:r>
              <a:rPr lang="en-US" noProof="0" dirty="0"/>
              <a:t>Bullet point second level</a:t>
            </a:r>
          </a:p>
          <a:p>
            <a:pPr lvl="3"/>
            <a:r>
              <a:rPr lang="en-US" noProof="0" dirty="0"/>
              <a:t>Headline</a:t>
            </a:r>
          </a:p>
        </p:txBody>
      </p:sp>
      <p:grpSp>
        <p:nvGrpSpPr>
          <p:cNvPr id="16" name="Gruppieren 15"/>
          <p:cNvGrpSpPr/>
          <p:nvPr userDrawn="1"/>
        </p:nvGrpSpPr>
        <p:grpSpPr>
          <a:xfrm>
            <a:off x="654843" y="-142875"/>
            <a:ext cx="8055236" cy="125226"/>
            <a:chOff x="654843" y="-45909"/>
            <a:chExt cx="8055236" cy="35481"/>
          </a:xfrm>
        </p:grpSpPr>
        <p:cxnSp>
          <p:nvCxnSpPr>
            <p:cNvPr id="9" name="Gerade Verbindung 8"/>
            <p:cNvCxnSpPr/>
            <p:nvPr userDrawn="1"/>
          </p:nvCxnSpPr>
          <p:spPr>
            <a:xfrm flipV="1">
              <a:off x="654843" y="-45909"/>
              <a:ext cx="0" cy="35481"/>
            </a:xfrm>
            <a:prstGeom prst="line">
              <a:avLst/>
            </a:prstGeom>
            <a:ln w="3175">
              <a:solidFill>
                <a:srgbClr val="D5D6D2"/>
              </a:solidFill>
            </a:ln>
          </p:spPr>
          <p:style>
            <a:lnRef idx="2">
              <a:schemeClr val="accent1"/>
            </a:lnRef>
            <a:fillRef idx="0">
              <a:schemeClr val="accent1"/>
            </a:fillRef>
            <a:effectRef idx="1">
              <a:schemeClr val="accent1"/>
            </a:effectRef>
            <a:fontRef idx="minor">
              <a:schemeClr val="tx1"/>
            </a:fontRef>
          </p:style>
        </p:cxnSp>
        <p:cxnSp>
          <p:nvCxnSpPr>
            <p:cNvPr id="13" name="Gerade Verbindung 12"/>
            <p:cNvCxnSpPr/>
            <p:nvPr userDrawn="1"/>
          </p:nvCxnSpPr>
          <p:spPr>
            <a:xfrm flipV="1">
              <a:off x="8710079" y="-45909"/>
              <a:ext cx="0" cy="35481"/>
            </a:xfrm>
            <a:prstGeom prst="line">
              <a:avLst/>
            </a:prstGeom>
            <a:ln w="3175">
              <a:solidFill>
                <a:srgbClr val="D5D6D2"/>
              </a:solidFill>
            </a:ln>
          </p:spPr>
          <p:style>
            <a:lnRef idx="2">
              <a:schemeClr val="accent1"/>
            </a:lnRef>
            <a:fillRef idx="0">
              <a:schemeClr val="accent1"/>
            </a:fillRef>
            <a:effectRef idx="1">
              <a:schemeClr val="accent1"/>
            </a:effectRef>
            <a:fontRef idx="minor">
              <a:schemeClr val="tx1"/>
            </a:fontRef>
          </p:style>
        </p:cxnSp>
        <p:cxnSp>
          <p:nvCxnSpPr>
            <p:cNvPr id="34" name="Gerade Verbindung 33"/>
            <p:cNvCxnSpPr/>
            <p:nvPr userDrawn="1"/>
          </p:nvCxnSpPr>
          <p:spPr>
            <a:xfrm flipV="1">
              <a:off x="4704634" y="-45909"/>
              <a:ext cx="0" cy="35481"/>
            </a:xfrm>
            <a:prstGeom prst="line">
              <a:avLst/>
            </a:prstGeom>
            <a:ln w="3175">
              <a:solidFill>
                <a:srgbClr val="D5D6D2"/>
              </a:solidFill>
            </a:ln>
          </p:spPr>
          <p:style>
            <a:lnRef idx="2">
              <a:schemeClr val="accent1"/>
            </a:lnRef>
            <a:fillRef idx="0">
              <a:schemeClr val="accent1"/>
            </a:fillRef>
            <a:effectRef idx="1">
              <a:schemeClr val="accent1"/>
            </a:effectRef>
            <a:fontRef idx="minor">
              <a:schemeClr val="tx1"/>
            </a:fontRef>
          </p:style>
        </p:cxnSp>
      </p:grpSp>
      <p:grpSp>
        <p:nvGrpSpPr>
          <p:cNvPr id="24" name="Gruppieren 23"/>
          <p:cNvGrpSpPr/>
          <p:nvPr userDrawn="1"/>
        </p:nvGrpSpPr>
        <p:grpSpPr>
          <a:xfrm>
            <a:off x="9151034" y="1218985"/>
            <a:ext cx="114301" cy="3578546"/>
            <a:chOff x="-80315" y="1625310"/>
            <a:chExt cx="57456" cy="4771395"/>
          </a:xfrm>
        </p:grpSpPr>
        <p:cxnSp>
          <p:nvCxnSpPr>
            <p:cNvPr id="25" name="Gerade Verbindung 24"/>
            <p:cNvCxnSpPr/>
            <p:nvPr userDrawn="1"/>
          </p:nvCxnSpPr>
          <p:spPr>
            <a:xfrm rot="5400000" flipV="1">
              <a:off x="-51587" y="1596582"/>
              <a:ext cx="0" cy="57456"/>
            </a:xfrm>
            <a:prstGeom prst="line">
              <a:avLst/>
            </a:prstGeom>
            <a:ln w="3175">
              <a:solidFill>
                <a:srgbClr val="D5D6D2"/>
              </a:solidFill>
            </a:ln>
          </p:spPr>
          <p:style>
            <a:lnRef idx="2">
              <a:schemeClr val="accent1"/>
            </a:lnRef>
            <a:fillRef idx="0">
              <a:schemeClr val="accent1"/>
            </a:fillRef>
            <a:effectRef idx="1">
              <a:schemeClr val="accent1"/>
            </a:effectRef>
            <a:fontRef idx="minor">
              <a:schemeClr val="tx1"/>
            </a:fontRef>
          </p:style>
        </p:cxnSp>
        <p:cxnSp>
          <p:nvCxnSpPr>
            <p:cNvPr id="26" name="Gerade Verbindung 25"/>
            <p:cNvCxnSpPr/>
            <p:nvPr userDrawn="1"/>
          </p:nvCxnSpPr>
          <p:spPr>
            <a:xfrm rot="5400000" flipV="1">
              <a:off x="-51587" y="6367977"/>
              <a:ext cx="0" cy="57456"/>
            </a:xfrm>
            <a:prstGeom prst="line">
              <a:avLst/>
            </a:prstGeom>
            <a:ln w="3175">
              <a:solidFill>
                <a:srgbClr val="D5D6D2"/>
              </a:solidFill>
            </a:ln>
          </p:spPr>
          <p:style>
            <a:lnRef idx="2">
              <a:schemeClr val="accent1"/>
            </a:lnRef>
            <a:fillRef idx="0">
              <a:schemeClr val="accent1"/>
            </a:fillRef>
            <a:effectRef idx="1">
              <a:schemeClr val="accent1"/>
            </a:effectRef>
            <a:fontRef idx="minor">
              <a:schemeClr val="tx1"/>
            </a:fontRef>
          </p:style>
        </p:cxnSp>
      </p:grpSp>
      <p:grpSp>
        <p:nvGrpSpPr>
          <p:cNvPr id="27" name="Gruppieren 26"/>
          <p:cNvGrpSpPr/>
          <p:nvPr userDrawn="1"/>
        </p:nvGrpSpPr>
        <p:grpSpPr>
          <a:xfrm>
            <a:off x="654843" y="5157879"/>
            <a:ext cx="8055236" cy="64295"/>
            <a:chOff x="654843" y="-45909"/>
            <a:chExt cx="8055236" cy="35481"/>
          </a:xfrm>
        </p:grpSpPr>
        <p:cxnSp>
          <p:nvCxnSpPr>
            <p:cNvPr id="28" name="Gerade Verbindung 27"/>
            <p:cNvCxnSpPr/>
            <p:nvPr userDrawn="1"/>
          </p:nvCxnSpPr>
          <p:spPr>
            <a:xfrm flipV="1">
              <a:off x="654843" y="-45909"/>
              <a:ext cx="0" cy="35481"/>
            </a:xfrm>
            <a:prstGeom prst="line">
              <a:avLst/>
            </a:prstGeom>
            <a:ln w="3175">
              <a:solidFill>
                <a:srgbClr val="D5D6D2"/>
              </a:solidFill>
            </a:ln>
          </p:spPr>
          <p:style>
            <a:lnRef idx="2">
              <a:schemeClr val="accent1"/>
            </a:lnRef>
            <a:fillRef idx="0">
              <a:schemeClr val="accent1"/>
            </a:fillRef>
            <a:effectRef idx="1">
              <a:schemeClr val="accent1"/>
            </a:effectRef>
            <a:fontRef idx="minor">
              <a:schemeClr val="tx1"/>
            </a:fontRef>
          </p:style>
        </p:cxnSp>
        <p:cxnSp>
          <p:nvCxnSpPr>
            <p:cNvPr id="29" name="Gerade Verbindung 28"/>
            <p:cNvCxnSpPr/>
            <p:nvPr userDrawn="1"/>
          </p:nvCxnSpPr>
          <p:spPr>
            <a:xfrm flipV="1">
              <a:off x="8710079" y="-45909"/>
              <a:ext cx="0" cy="35481"/>
            </a:xfrm>
            <a:prstGeom prst="line">
              <a:avLst/>
            </a:prstGeom>
            <a:ln w="3175">
              <a:solidFill>
                <a:srgbClr val="D5D6D2"/>
              </a:solidFill>
            </a:ln>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4120969603"/>
      </p:ext>
    </p:extLst>
  </p:cSld>
  <p:clrMap bg1="lt1" tx1="dk1" bg2="lt2" tx2="dk2" accent1="accent1" accent2="accent2" accent3="accent3" accent4="accent4" accent5="accent5" accent6="accent6" hlink="hlink" folHlink="folHlink"/>
  <p:sldLayoutIdLst>
    <p:sldLayoutId id="2147483728" r:id="rId1"/>
    <p:sldLayoutId id="2147483729" r:id="rId2"/>
    <p:sldLayoutId id="2147483730" r:id="rId3"/>
    <p:sldLayoutId id="2147483731" r:id="rId4"/>
    <p:sldLayoutId id="2147483732" r:id="rId5"/>
    <p:sldLayoutId id="2147483733" r:id="rId6"/>
    <p:sldLayoutId id="2147483734" r:id="rId7"/>
    <p:sldLayoutId id="2147483735" r:id="rId8"/>
    <p:sldLayoutId id="2147483736" r:id="rId9"/>
    <p:sldLayoutId id="2147483737" r:id="rId10"/>
    <p:sldLayoutId id="2147483738" r:id="rId11"/>
    <p:sldLayoutId id="2147483739" r:id="rId12"/>
    <p:sldLayoutId id="2147483740" r:id="rId13"/>
    <p:sldLayoutId id="2147483741" r:id="rId14"/>
    <p:sldLayoutId id="2147483742" r:id="rId15"/>
    <p:sldLayoutId id="2147483743" r:id="rId16"/>
    <p:sldLayoutId id="2147483744" r:id="rId17"/>
    <p:sldLayoutId id="2147483745" r:id="rId18"/>
    <p:sldLayoutId id="2147483746" r:id="rId19"/>
    <p:sldLayoutId id="2147483747" r:id="rId20"/>
    <p:sldLayoutId id="2147483748" r:id="rId21"/>
    <p:sldLayoutId id="2147483749" r:id="rId22"/>
    <p:sldLayoutId id="2147483750" r:id="rId23"/>
  </p:sldLayoutIdLst>
  <p:transition>
    <p:fade/>
  </p:transition>
  <p:hf sldNum="0" hdr="0" dt="0"/>
  <p:txStyles>
    <p:titleStyle>
      <a:lvl1pPr algn="l" defTabSz="457200" rtl="0" eaLnBrk="1" latinLnBrk="0" hangingPunct="1">
        <a:lnSpc>
          <a:spcPct val="75000"/>
        </a:lnSpc>
        <a:spcBef>
          <a:spcPct val="0"/>
        </a:spcBef>
        <a:buNone/>
        <a:defRPr sz="3000" kern="1200" cap="all" baseline="0">
          <a:solidFill>
            <a:srgbClr val="009DD9"/>
          </a:solidFill>
          <a:latin typeface="+mj-lt"/>
          <a:ea typeface="+mj-ea"/>
          <a:cs typeface="+mj-cs"/>
        </a:defRPr>
      </a:lvl1pPr>
    </p:titleStyle>
    <p:bodyStyle>
      <a:lvl1pPr marL="0" indent="0" algn="l" defTabSz="457200" rtl="0" eaLnBrk="1" latinLnBrk="0" hangingPunct="1">
        <a:lnSpc>
          <a:spcPct val="100000"/>
        </a:lnSpc>
        <a:spcBef>
          <a:spcPts val="400"/>
        </a:spcBef>
        <a:buClr>
          <a:srgbClr val="5F5F5F"/>
        </a:buClr>
        <a:buFont typeface="Arial"/>
        <a:buNone/>
        <a:defRPr sz="1200" kern="1200" baseline="0">
          <a:solidFill>
            <a:schemeClr val="tx1"/>
          </a:solidFill>
          <a:latin typeface="+mn-lt"/>
          <a:ea typeface="+mn-ea"/>
          <a:cs typeface="+mn-cs"/>
        </a:defRPr>
      </a:lvl1pPr>
      <a:lvl2pPr marL="139700" indent="-139700" algn="l" defTabSz="271463" rtl="0" eaLnBrk="1" latinLnBrk="0" hangingPunct="1">
        <a:lnSpc>
          <a:spcPct val="100000"/>
        </a:lnSpc>
        <a:spcBef>
          <a:spcPts val="400"/>
        </a:spcBef>
        <a:buClr>
          <a:schemeClr val="accent1"/>
        </a:buClr>
        <a:buFont typeface="Arial" pitchFamily="34" charset="0"/>
        <a:buChar char="•"/>
        <a:defRPr sz="1200" kern="1200" baseline="0">
          <a:solidFill>
            <a:schemeClr val="tx1"/>
          </a:solidFill>
          <a:latin typeface="+mn-lt"/>
          <a:ea typeface="+mn-ea"/>
          <a:cs typeface="+mn-cs"/>
        </a:defRPr>
      </a:lvl2pPr>
      <a:lvl3pPr marL="273050" indent="-139700" algn="l" defTabSz="457200" rtl="0" eaLnBrk="1" latinLnBrk="0" hangingPunct="1">
        <a:lnSpc>
          <a:spcPct val="100000"/>
        </a:lnSpc>
        <a:spcBef>
          <a:spcPts val="200"/>
        </a:spcBef>
        <a:buClr>
          <a:schemeClr val="accent1"/>
        </a:buClr>
        <a:buFont typeface="Arial"/>
        <a:buChar char="•"/>
        <a:defRPr sz="1100" kern="1200" baseline="0">
          <a:solidFill>
            <a:schemeClr val="tx1"/>
          </a:solidFill>
          <a:latin typeface="+mn-lt"/>
          <a:ea typeface="+mn-ea"/>
          <a:cs typeface="+mn-cs"/>
        </a:defRPr>
      </a:lvl3pPr>
      <a:lvl4pPr marL="0" indent="0" algn="l" defTabSz="457200" rtl="0" eaLnBrk="1" latinLnBrk="0" hangingPunct="1">
        <a:lnSpc>
          <a:spcPct val="100000"/>
        </a:lnSpc>
        <a:spcBef>
          <a:spcPts val="0"/>
        </a:spcBef>
        <a:spcAft>
          <a:spcPts val="200"/>
        </a:spcAft>
        <a:buClr>
          <a:srgbClr val="5F5F5F"/>
        </a:buClr>
        <a:buFont typeface="Arial" pitchFamily="34" charset="0"/>
        <a:buNone/>
        <a:defRPr sz="1400" b="1" kern="1200" cap="all" baseline="0">
          <a:solidFill>
            <a:schemeClr val="accent1"/>
          </a:solidFill>
          <a:latin typeface="+mn-lt"/>
          <a:ea typeface="+mn-ea"/>
          <a:cs typeface="+mn-cs"/>
        </a:defRPr>
      </a:lvl4pPr>
      <a:lvl5pPr marL="1074738" indent="-177800" algn="l" defTabSz="457200" rtl="0" eaLnBrk="1" latinLnBrk="0" hangingPunct="1">
        <a:lnSpc>
          <a:spcPct val="100000"/>
        </a:lnSpc>
        <a:spcBef>
          <a:spcPts val="300"/>
        </a:spcBef>
        <a:buClr>
          <a:srgbClr val="5F5F5F"/>
        </a:buClr>
        <a:buFont typeface="Arial" pitchFamily="34" charset="0"/>
        <a:buChar char="•"/>
        <a:defRPr sz="1200" kern="1200" baseline="0">
          <a:solidFill>
            <a:srgbClr val="5F5F5F"/>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2.png"/><Relationship Id="rId1" Type="http://schemas.openxmlformats.org/officeDocument/2006/relationships/slideLayout" Target="../slideLayouts/slideLayout3.xml"/><Relationship Id="rId4" Type="http://schemas.openxmlformats.org/officeDocument/2006/relationships/image" Target="../media/image6.png"/></Relationships>
</file>

<file path=ppt/slides/_rels/slide10.xml.rels><?xml version="1.0" encoding="UTF-8" standalone="yes"?>
<Relationships xmlns="http://schemas.openxmlformats.org/package/2006/relationships"><Relationship Id="rId3" Type="http://schemas.openxmlformats.org/officeDocument/2006/relationships/image" Target="../media/image38.jpeg"/><Relationship Id="rId2" Type="http://schemas.openxmlformats.org/officeDocument/2006/relationships/image" Target="../media/image35.png"/><Relationship Id="rId1" Type="http://schemas.openxmlformats.org/officeDocument/2006/relationships/slideLayout" Target="../slideLayouts/slideLayout6.xml"/><Relationship Id="rId5" Type="http://schemas.openxmlformats.org/officeDocument/2006/relationships/image" Target="../media/image40.png"/><Relationship Id="rId4" Type="http://schemas.openxmlformats.org/officeDocument/2006/relationships/image" Target="../media/image39.jpeg"/></Relationships>
</file>

<file path=ppt/slides/_rels/slide11.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png"/><Relationship Id="rId1" Type="http://schemas.openxmlformats.org/officeDocument/2006/relationships/slideLayout" Target="../slideLayouts/slideLayout6.xml"/><Relationship Id="rId5" Type="http://schemas.openxmlformats.org/officeDocument/2006/relationships/image" Target="../media/image44.png"/><Relationship Id="rId4" Type="http://schemas.openxmlformats.org/officeDocument/2006/relationships/image" Target="../media/image43.jpe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6.xml"/><Relationship Id="rId1" Type="http://schemas.openxmlformats.org/officeDocument/2006/relationships/slideLayout" Target="../slideLayouts/slideLayout6.xml"/><Relationship Id="rId4" Type="http://schemas.openxmlformats.org/officeDocument/2006/relationships/image" Target="../media/image46.wmf"/></Relationships>
</file>

<file path=ppt/slides/_rels/slide16.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7.xml"/><Relationship Id="rId1" Type="http://schemas.openxmlformats.org/officeDocument/2006/relationships/slideLayout" Target="../slideLayouts/slideLayout6.xml"/><Relationship Id="rId4" Type="http://schemas.openxmlformats.org/officeDocument/2006/relationships/image" Target="../media/image48.png"/></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jpeg"/><Relationship Id="rId1" Type="http://schemas.openxmlformats.org/officeDocument/2006/relationships/slideLayout" Target="../slideLayouts/slideLayout10.xml"/><Relationship Id="rId4" Type="http://schemas.openxmlformats.org/officeDocument/2006/relationships/image" Target="../media/image51.png"/></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0.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0.xml"/></Relationships>
</file>

<file path=ppt/slides/_rels/slide23.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12.xml"/><Relationship Id="rId1" Type="http://schemas.openxmlformats.org/officeDocument/2006/relationships/slideLayout" Target="../slideLayouts/slideLayout10.xml"/><Relationship Id="rId5" Type="http://schemas.openxmlformats.org/officeDocument/2006/relationships/image" Target="../media/image54.png"/><Relationship Id="rId4" Type="http://schemas.openxmlformats.org/officeDocument/2006/relationships/image" Target="../media/image53.png"/></Relationships>
</file>

<file path=ppt/slides/_rels/slide24.xml.rels><?xml version="1.0" encoding="UTF-8" standalone="yes"?>
<Relationships xmlns="http://schemas.openxmlformats.org/package/2006/relationships"><Relationship Id="rId3" Type="http://schemas.openxmlformats.org/officeDocument/2006/relationships/image" Target="../media/image55.jpeg"/><Relationship Id="rId2" Type="http://schemas.openxmlformats.org/officeDocument/2006/relationships/notesSlide" Target="../notesSlides/notesSlide13.xml"/><Relationship Id="rId1" Type="http://schemas.openxmlformats.org/officeDocument/2006/relationships/slideLayout" Target="../slideLayouts/slideLayout6.xml"/><Relationship Id="rId5" Type="http://schemas.openxmlformats.org/officeDocument/2006/relationships/image" Target="../media/image57.png"/><Relationship Id="rId4" Type="http://schemas.openxmlformats.org/officeDocument/2006/relationships/image" Target="../media/image56.jpeg"/></Relationships>
</file>

<file path=ppt/slides/_rels/slide25.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14.xml"/><Relationship Id="rId1" Type="http://schemas.openxmlformats.org/officeDocument/2006/relationships/slideLayout" Target="../slideLayouts/slideLayout6.xml"/><Relationship Id="rId5" Type="http://schemas.openxmlformats.org/officeDocument/2006/relationships/image" Target="../media/image60.png"/><Relationship Id="rId4" Type="http://schemas.openxmlformats.org/officeDocument/2006/relationships/image" Target="../media/image59.jpeg"/></Relationships>
</file>

<file path=ppt/slides/_rels/slide26.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15.xml"/><Relationship Id="rId1" Type="http://schemas.openxmlformats.org/officeDocument/2006/relationships/slideLayout" Target="../slideLayouts/slideLayout6.xml"/><Relationship Id="rId6" Type="http://schemas.openxmlformats.org/officeDocument/2006/relationships/image" Target="../media/image64.png"/><Relationship Id="rId5" Type="http://schemas.openxmlformats.org/officeDocument/2006/relationships/image" Target="../media/image63.png"/><Relationship Id="rId4" Type="http://schemas.openxmlformats.org/officeDocument/2006/relationships/image" Target="../media/image62.png"/></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8" Type="http://schemas.openxmlformats.org/officeDocument/2006/relationships/image" Target="../media/image26.jpeg"/><Relationship Id="rId3" Type="http://schemas.microsoft.com/office/2007/relationships/hdphoto" Target="../media/hdphoto1.wdp"/><Relationship Id="rId7" Type="http://schemas.microsoft.com/office/2007/relationships/hdphoto" Target="../media/hdphoto3.wdp"/><Relationship Id="rId12" Type="http://schemas.openxmlformats.org/officeDocument/2006/relationships/image" Target="../media/image28.png"/><Relationship Id="rId2" Type="http://schemas.openxmlformats.org/officeDocument/2006/relationships/image" Target="../media/image23.png"/><Relationship Id="rId1" Type="http://schemas.openxmlformats.org/officeDocument/2006/relationships/slideLayout" Target="../slideLayouts/slideLayout7.xml"/><Relationship Id="rId6" Type="http://schemas.openxmlformats.org/officeDocument/2006/relationships/image" Target="../media/image25.png"/><Relationship Id="rId11" Type="http://schemas.microsoft.com/office/2007/relationships/hdphoto" Target="../media/hdphoto5.wdp"/><Relationship Id="rId5" Type="http://schemas.microsoft.com/office/2007/relationships/hdphoto" Target="../media/hdphoto2.wdp"/><Relationship Id="rId10" Type="http://schemas.openxmlformats.org/officeDocument/2006/relationships/image" Target="../media/image27.png"/><Relationship Id="rId4" Type="http://schemas.openxmlformats.org/officeDocument/2006/relationships/image" Target="../media/image24.png"/><Relationship Id="rId9" Type="http://schemas.microsoft.com/office/2007/relationships/hdphoto" Target="../media/hdphoto4.wdp"/></Relationships>
</file>

<file path=ppt/slides/_rels/slide4.xml.rels><?xml version="1.0" encoding="UTF-8" standalone="yes"?>
<Relationships xmlns="http://schemas.openxmlformats.org/package/2006/relationships"><Relationship Id="rId13" Type="http://schemas.openxmlformats.org/officeDocument/2006/relationships/tags" Target="../tags/tag18.xml"/><Relationship Id="rId18" Type="http://schemas.openxmlformats.org/officeDocument/2006/relationships/tags" Target="../tags/tag23.xml"/><Relationship Id="rId26" Type="http://schemas.openxmlformats.org/officeDocument/2006/relationships/tags" Target="../tags/tag31.xml"/><Relationship Id="rId39" Type="http://schemas.openxmlformats.org/officeDocument/2006/relationships/tags" Target="../tags/tag44.xml"/><Relationship Id="rId21" Type="http://schemas.openxmlformats.org/officeDocument/2006/relationships/tags" Target="../tags/tag26.xml"/><Relationship Id="rId34" Type="http://schemas.openxmlformats.org/officeDocument/2006/relationships/tags" Target="../tags/tag39.xml"/><Relationship Id="rId42" Type="http://schemas.openxmlformats.org/officeDocument/2006/relationships/tags" Target="../tags/tag47.xml"/><Relationship Id="rId47" Type="http://schemas.openxmlformats.org/officeDocument/2006/relationships/tags" Target="../tags/tag52.xml"/><Relationship Id="rId50" Type="http://schemas.openxmlformats.org/officeDocument/2006/relationships/tags" Target="../tags/tag55.xml"/><Relationship Id="rId55" Type="http://schemas.openxmlformats.org/officeDocument/2006/relationships/tags" Target="../tags/tag60.xml"/><Relationship Id="rId63" Type="http://schemas.openxmlformats.org/officeDocument/2006/relationships/tags" Target="../tags/tag68.xml"/><Relationship Id="rId68" Type="http://schemas.openxmlformats.org/officeDocument/2006/relationships/tags" Target="../tags/tag73.xml"/><Relationship Id="rId76" Type="http://schemas.openxmlformats.org/officeDocument/2006/relationships/slideLayout" Target="../slideLayouts/slideLayout7.xml"/><Relationship Id="rId7" Type="http://schemas.openxmlformats.org/officeDocument/2006/relationships/tags" Target="../tags/tag12.xml"/><Relationship Id="rId71" Type="http://schemas.openxmlformats.org/officeDocument/2006/relationships/tags" Target="../tags/tag76.xml"/><Relationship Id="rId2" Type="http://schemas.openxmlformats.org/officeDocument/2006/relationships/tags" Target="../tags/tag7.xml"/><Relationship Id="rId16" Type="http://schemas.openxmlformats.org/officeDocument/2006/relationships/tags" Target="../tags/tag21.xml"/><Relationship Id="rId29" Type="http://schemas.openxmlformats.org/officeDocument/2006/relationships/tags" Target="../tags/tag34.xml"/><Relationship Id="rId11" Type="http://schemas.openxmlformats.org/officeDocument/2006/relationships/tags" Target="../tags/tag16.xml"/><Relationship Id="rId24" Type="http://schemas.openxmlformats.org/officeDocument/2006/relationships/tags" Target="../tags/tag29.xml"/><Relationship Id="rId32" Type="http://schemas.openxmlformats.org/officeDocument/2006/relationships/tags" Target="../tags/tag37.xml"/><Relationship Id="rId37" Type="http://schemas.openxmlformats.org/officeDocument/2006/relationships/tags" Target="../tags/tag42.xml"/><Relationship Id="rId40" Type="http://schemas.openxmlformats.org/officeDocument/2006/relationships/tags" Target="../tags/tag45.xml"/><Relationship Id="rId45" Type="http://schemas.openxmlformats.org/officeDocument/2006/relationships/tags" Target="../tags/tag50.xml"/><Relationship Id="rId53" Type="http://schemas.openxmlformats.org/officeDocument/2006/relationships/tags" Target="../tags/tag58.xml"/><Relationship Id="rId58" Type="http://schemas.openxmlformats.org/officeDocument/2006/relationships/tags" Target="../tags/tag63.xml"/><Relationship Id="rId66" Type="http://schemas.openxmlformats.org/officeDocument/2006/relationships/tags" Target="../tags/tag71.xml"/><Relationship Id="rId74" Type="http://schemas.openxmlformats.org/officeDocument/2006/relationships/tags" Target="../tags/tag79.xml"/><Relationship Id="rId5" Type="http://schemas.openxmlformats.org/officeDocument/2006/relationships/tags" Target="../tags/tag10.xml"/><Relationship Id="rId15" Type="http://schemas.openxmlformats.org/officeDocument/2006/relationships/tags" Target="../tags/tag20.xml"/><Relationship Id="rId23" Type="http://schemas.openxmlformats.org/officeDocument/2006/relationships/tags" Target="../tags/tag28.xml"/><Relationship Id="rId28" Type="http://schemas.openxmlformats.org/officeDocument/2006/relationships/tags" Target="../tags/tag33.xml"/><Relationship Id="rId36" Type="http://schemas.openxmlformats.org/officeDocument/2006/relationships/tags" Target="../tags/tag41.xml"/><Relationship Id="rId49" Type="http://schemas.openxmlformats.org/officeDocument/2006/relationships/tags" Target="../tags/tag54.xml"/><Relationship Id="rId57" Type="http://schemas.openxmlformats.org/officeDocument/2006/relationships/tags" Target="../tags/tag62.xml"/><Relationship Id="rId61" Type="http://schemas.openxmlformats.org/officeDocument/2006/relationships/tags" Target="../tags/tag66.xml"/><Relationship Id="rId10" Type="http://schemas.openxmlformats.org/officeDocument/2006/relationships/tags" Target="../tags/tag15.xml"/><Relationship Id="rId19" Type="http://schemas.openxmlformats.org/officeDocument/2006/relationships/tags" Target="../tags/tag24.xml"/><Relationship Id="rId31" Type="http://schemas.openxmlformats.org/officeDocument/2006/relationships/tags" Target="../tags/tag36.xml"/><Relationship Id="rId44" Type="http://schemas.openxmlformats.org/officeDocument/2006/relationships/tags" Target="../tags/tag49.xml"/><Relationship Id="rId52" Type="http://schemas.openxmlformats.org/officeDocument/2006/relationships/tags" Target="../tags/tag57.xml"/><Relationship Id="rId60" Type="http://schemas.openxmlformats.org/officeDocument/2006/relationships/tags" Target="../tags/tag65.xml"/><Relationship Id="rId65" Type="http://schemas.openxmlformats.org/officeDocument/2006/relationships/tags" Target="../tags/tag70.xml"/><Relationship Id="rId73" Type="http://schemas.openxmlformats.org/officeDocument/2006/relationships/tags" Target="../tags/tag78.xml"/><Relationship Id="rId4" Type="http://schemas.openxmlformats.org/officeDocument/2006/relationships/tags" Target="../tags/tag9.xml"/><Relationship Id="rId9" Type="http://schemas.openxmlformats.org/officeDocument/2006/relationships/tags" Target="../tags/tag14.xml"/><Relationship Id="rId14" Type="http://schemas.openxmlformats.org/officeDocument/2006/relationships/tags" Target="../tags/tag19.xml"/><Relationship Id="rId22" Type="http://schemas.openxmlformats.org/officeDocument/2006/relationships/tags" Target="../tags/tag27.xml"/><Relationship Id="rId27" Type="http://schemas.openxmlformats.org/officeDocument/2006/relationships/tags" Target="../tags/tag32.xml"/><Relationship Id="rId30" Type="http://schemas.openxmlformats.org/officeDocument/2006/relationships/tags" Target="../tags/tag35.xml"/><Relationship Id="rId35" Type="http://schemas.openxmlformats.org/officeDocument/2006/relationships/tags" Target="../tags/tag40.xml"/><Relationship Id="rId43" Type="http://schemas.openxmlformats.org/officeDocument/2006/relationships/tags" Target="../tags/tag48.xml"/><Relationship Id="rId48" Type="http://schemas.openxmlformats.org/officeDocument/2006/relationships/tags" Target="../tags/tag53.xml"/><Relationship Id="rId56" Type="http://schemas.openxmlformats.org/officeDocument/2006/relationships/tags" Target="../tags/tag61.xml"/><Relationship Id="rId64" Type="http://schemas.openxmlformats.org/officeDocument/2006/relationships/tags" Target="../tags/tag69.xml"/><Relationship Id="rId69" Type="http://schemas.openxmlformats.org/officeDocument/2006/relationships/tags" Target="../tags/tag74.xml"/><Relationship Id="rId77" Type="http://schemas.openxmlformats.org/officeDocument/2006/relationships/notesSlide" Target="../notesSlides/notesSlide1.xml"/><Relationship Id="rId8" Type="http://schemas.openxmlformats.org/officeDocument/2006/relationships/tags" Target="../tags/tag13.xml"/><Relationship Id="rId51" Type="http://schemas.openxmlformats.org/officeDocument/2006/relationships/tags" Target="../tags/tag56.xml"/><Relationship Id="rId72" Type="http://schemas.openxmlformats.org/officeDocument/2006/relationships/tags" Target="../tags/tag77.xml"/><Relationship Id="rId3" Type="http://schemas.openxmlformats.org/officeDocument/2006/relationships/tags" Target="../tags/tag8.xml"/><Relationship Id="rId12" Type="http://schemas.openxmlformats.org/officeDocument/2006/relationships/tags" Target="../tags/tag17.xml"/><Relationship Id="rId17" Type="http://schemas.openxmlformats.org/officeDocument/2006/relationships/tags" Target="../tags/tag22.xml"/><Relationship Id="rId25" Type="http://schemas.openxmlformats.org/officeDocument/2006/relationships/tags" Target="../tags/tag30.xml"/><Relationship Id="rId33" Type="http://schemas.openxmlformats.org/officeDocument/2006/relationships/tags" Target="../tags/tag38.xml"/><Relationship Id="rId38" Type="http://schemas.openxmlformats.org/officeDocument/2006/relationships/tags" Target="../tags/tag43.xml"/><Relationship Id="rId46" Type="http://schemas.openxmlformats.org/officeDocument/2006/relationships/tags" Target="../tags/tag51.xml"/><Relationship Id="rId59" Type="http://schemas.openxmlformats.org/officeDocument/2006/relationships/tags" Target="../tags/tag64.xml"/><Relationship Id="rId67" Type="http://schemas.openxmlformats.org/officeDocument/2006/relationships/tags" Target="../tags/tag72.xml"/><Relationship Id="rId20" Type="http://schemas.openxmlformats.org/officeDocument/2006/relationships/tags" Target="../tags/tag25.xml"/><Relationship Id="rId41" Type="http://schemas.openxmlformats.org/officeDocument/2006/relationships/tags" Target="../tags/tag46.xml"/><Relationship Id="rId54" Type="http://schemas.openxmlformats.org/officeDocument/2006/relationships/tags" Target="../tags/tag59.xml"/><Relationship Id="rId62" Type="http://schemas.openxmlformats.org/officeDocument/2006/relationships/tags" Target="../tags/tag67.xml"/><Relationship Id="rId70" Type="http://schemas.openxmlformats.org/officeDocument/2006/relationships/tags" Target="../tags/tag75.xml"/><Relationship Id="rId75" Type="http://schemas.openxmlformats.org/officeDocument/2006/relationships/tags" Target="../tags/tag80.xml"/><Relationship Id="rId1" Type="http://schemas.openxmlformats.org/officeDocument/2006/relationships/tags" Target="../tags/tag6.xml"/><Relationship Id="rId6" Type="http://schemas.openxmlformats.org/officeDocument/2006/relationships/tags" Target="../tags/tag11.xml"/></Relationships>
</file>

<file path=ppt/slides/_rels/slide5.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notesSlide" Target="../notesSlides/notesSlide3.xml"/><Relationship Id="rId1" Type="http://schemas.openxmlformats.org/officeDocument/2006/relationships/slideLayout" Target="../slideLayouts/slideLayout6.xml"/><Relationship Id="rId6" Type="http://schemas.openxmlformats.org/officeDocument/2006/relationships/image" Target="../media/image33.jpeg"/><Relationship Id="rId5" Type="http://schemas.openxmlformats.org/officeDocument/2006/relationships/image" Target="../media/image32.png"/><Relationship Id="rId4" Type="http://schemas.openxmlformats.org/officeDocument/2006/relationships/image" Target="../media/image31.jpeg"/></Relationships>
</file>

<file path=ppt/slides/_rels/slide9.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4.xml"/><Relationship Id="rId1" Type="http://schemas.openxmlformats.org/officeDocument/2006/relationships/slideLayout" Target="../slideLayouts/slideLayout6.xml"/><Relationship Id="rId6" Type="http://schemas.openxmlformats.org/officeDocument/2006/relationships/image" Target="../media/image37.jpeg"/><Relationship Id="rId5" Type="http://schemas.openxmlformats.org/officeDocument/2006/relationships/image" Target="../media/image36.png"/><Relationship Id="rId4" Type="http://schemas.openxmlformats.org/officeDocument/2006/relationships/image" Target="../media/image3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364" name="Picture 4" descr="Z:\Sales&amp;Marketing\Z-Graphic Team\_Kreation_Ordner\CD\Präsentationen_Global\Trends_2017\links\coverideen\000_CW036_black_ppt.png"/>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t="49081" r="31377" b="18196"/>
          <a:stretch/>
        </p:blipFill>
        <p:spPr bwMode="auto">
          <a:xfrm>
            <a:off x="2789" y="0"/>
            <a:ext cx="9141211" cy="5143500"/>
          </a:xfrm>
          <a:prstGeom prst="rect">
            <a:avLst/>
          </a:prstGeom>
          <a:noFill/>
          <a:extLst>
            <a:ext uri="{909E8E84-426E-40DD-AFC4-6F175D3DCCD1}">
              <a14:hiddenFill xmlns:a14="http://schemas.microsoft.com/office/drawing/2010/main">
                <a:solidFill>
                  <a:srgbClr val="FFFFFF"/>
                </a:solidFill>
              </a14:hiddenFill>
            </a:ext>
          </a:extLst>
        </p:spPr>
      </p:pic>
      <p:sp>
        <p:nvSpPr>
          <p:cNvPr id="14" name="Rechteck 13"/>
          <p:cNvSpPr/>
          <p:nvPr/>
        </p:nvSpPr>
        <p:spPr>
          <a:xfrm>
            <a:off x="521550" y="3066805"/>
            <a:ext cx="2745306" cy="495055"/>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sp>
        <p:nvSpPr>
          <p:cNvPr id="15" name="Rechteck 14"/>
          <p:cNvSpPr/>
          <p:nvPr/>
        </p:nvSpPr>
        <p:spPr>
          <a:xfrm>
            <a:off x="521550" y="3640277"/>
            <a:ext cx="2745306" cy="495055"/>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sp>
        <p:nvSpPr>
          <p:cNvPr id="16" name="Textfeld 15"/>
          <p:cNvSpPr txBox="1"/>
          <p:nvPr/>
        </p:nvSpPr>
        <p:spPr>
          <a:xfrm>
            <a:off x="566555" y="2391730"/>
            <a:ext cx="3375375" cy="1862048"/>
          </a:xfrm>
          <a:prstGeom prst="rect">
            <a:avLst/>
          </a:prstGeom>
          <a:noFill/>
        </p:spPr>
        <p:txBody>
          <a:bodyPr wrap="square" rtlCol="0">
            <a:spAutoFit/>
          </a:bodyPr>
          <a:lstStyle/>
          <a:p>
            <a:pPr>
              <a:lnSpc>
                <a:spcPts val="4600"/>
              </a:lnSpc>
            </a:pPr>
            <a:r>
              <a:rPr lang="de-DE" sz="3500" b="1" dirty="0" smtClean="0"/>
              <a:t/>
            </a:r>
            <a:br>
              <a:rPr lang="de-DE" sz="3500" b="1" dirty="0" smtClean="0"/>
            </a:br>
            <a:r>
              <a:rPr lang="ru-RU" sz="3500" dirty="0" smtClean="0"/>
              <a:t>ТРЕНДЫ </a:t>
            </a:r>
          </a:p>
          <a:p>
            <a:pPr>
              <a:lnSpc>
                <a:spcPts val="4600"/>
              </a:lnSpc>
            </a:pPr>
            <a:r>
              <a:rPr lang="ru-RU" sz="3500" dirty="0" smtClean="0"/>
              <a:t>РЫНКА</a:t>
            </a:r>
            <a:r>
              <a:rPr lang="de-DE" sz="3500" dirty="0" smtClean="0"/>
              <a:t> </a:t>
            </a:r>
            <a:r>
              <a:rPr lang="de-DE" sz="3500" b="1" dirty="0" smtClean="0">
                <a:solidFill>
                  <a:schemeClr val="bg2"/>
                </a:solidFill>
              </a:rPr>
              <a:t>2017</a:t>
            </a:r>
          </a:p>
        </p:txBody>
      </p:sp>
      <p:sp>
        <p:nvSpPr>
          <p:cNvPr id="6" name="Rechteck 5"/>
          <p:cNvSpPr/>
          <p:nvPr/>
        </p:nvSpPr>
        <p:spPr>
          <a:xfrm>
            <a:off x="0" y="0"/>
            <a:ext cx="3221850" cy="1671650"/>
          </a:xfrm>
          <a:prstGeom prst="rect">
            <a:avLst/>
          </a:prstGeom>
          <a:solidFill>
            <a:srgbClr val="000000"/>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pic>
        <p:nvPicPr>
          <p:cNvPr id="9" name="Picture 7" descr="PPT-Black-Cover-Graphic-WS.png"/>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7144" y="1"/>
            <a:ext cx="3127376" cy="1494985"/>
          </a:xfrm>
          <a:prstGeom prst="rect">
            <a:avLst/>
          </a:prstGeom>
        </p:spPr>
      </p:pic>
      <p:sp>
        <p:nvSpPr>
          <p:cNvPr id="10" name="Rechteck 9"/>
          <p:cNvSpPr/>
          <p:nvPr/>
        </p:nvSpPr>
        <p:spPr>
          <a:xfrm>
            <a:off x="8082390" y="0"/>
            <a:ext cx="754166" cy="716281"/>
          </a:xfrm>
          <a:prstGeom prst="rect">
            <a:avLst/>
          </a:prstGeom>
          <a:solidFill>
            <a:srgbClr val="000000"/>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pic>
        <p:nvPicPr>
          <p:cNvPr id="11" name="Picture 8" descr="Nielsen_R.png"/>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bwMode="invGray">
          <a:xfrm>
            <a:off x="7892398" y="382398"/>
            <a:ext cx="944158" cy="333884"/>
          </a:xfrm>
          <a:prstGeom prst="rect">
            <a:avLst/>
          </a:prstGeom>
        </p:spPr>
      </p:pic>
      <p:sp>
        <p:nvSpPr>
          <p:cNvPr id="12" name="Textfeld 11"/>
          <p:cNvSpPr txBox="1"/>
          <p:nvPr/>
        </p:nvSpPr>
        <p:spPr>
          <a:xfrm>
            <a:off x="398647" y="1806665"/>
            <a:ext cx="5535615" cy="446276"/>
          </a:xfrm>
          <a:prstGeom prst="rect">
            <a:avLst/>
          </a:prstGeom>
          <a:noFill/>
        </p:spPr>
        <p:txBody>
          <a:bodyPr wrap="square" rtlCol="0">
            <a:spAutoFit/>
          </a:bodyPr>
          <a:lstStyle/>
          <a:p>
            <a:r>
              <a:rPr lang="de-DE" sz="2300" dirty="0" smtClean="0"/>
              <a:t>NIELSEN SPORTS</a:t>
            </a:r>
          </a:p>
        </p:txBody>
      </p:sp>
    </p:spTree>
    <p:extLst>
      <p:ext uri="{BB962C8B-B14F-4D97-AF65-F5344CB8AC3E}">
        <p14:creationId xmlns:p14="http://schemas.microsoft.com/office/powerpoint/2010/main" val="120463607"/>
      </p:ext>
    </p:extLst>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22287" y="484770"/>
            <a:ext cx="8278269" cy="664797"/>
          </a:xfrm>
        </p:spPr>
        <p:txBody>
          <a:bodyPr/>
          <a:lstStyle/>
          <a:p>
            <a:r>
              <a:rPr lang="ru-RU" dirty="0"/>
              <a:t>Результатом </a:t>
            </a:r>
            <a:r>
              <a:rPr lang="ru-RU" b="1" dirty="0"/>
              <a:t>Синергии</a:t>
            </a:r>
            <a:r>
              <a:rPr lang="ru-RU" dirty="0"/>
              <a:t> правообладателя и бренда становится </a:t>
            </a:r>
            <a:r>
              <a:rPr lang="ru-RU" b="1" dirty="0"/>
              <a:t>совместный контент</a:t>
            </a:r>
            <a:endParaRPr lang="ru-RU" dirty="0"/>
          </a:p>
        </p:txBody>
      </p:sp>
      <p:pic>
        <p:nvPicPr>
          <p:cNvPr id="3" name="Picture 2" descr="Image result for nba"/>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10684" y="3027287"/>
            <a:ext cx="1185866" cy="1185866"/>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p:cNvSpPr txBox="1"/>
          <p:nvPr/>
        </p:nvSpPr>
        <p:spPr>
          <a:xfrm>
            <a:off x="1884289" y="1497128"/>
            <a:ext cx="5072975" cy="338554"/>
          </a:xfrm>
          <a:prstGeom prst="rect">
            <a:avLst/>
          </a:prstGeom>
          <a:noFill/>
        </p:spPr>
        <p:txBody>
          <a:bodyPr wrap="square" rtlCol="0">
            <a:spAutoFit/>
          </a:bodyPr>
          <a:lstStyle/>
          <a:p>
            <a:r>
              <a:rPr lang="ru-RU" sz="1600" b="1" kern="0" dirty="0" smtClean="0">
                <a:solidFill>
                  <a:srgbClr val="8DC63F"/>
                </a:solidFill>
              </a:rPr>
              <a:t>ОГОВОРЕННЫЙ КОНТЕНТ</a:t>
            </a:r>
            <a:r>
              <a:rPr lang="en-US" sz="1600" b="1" kern="0" dirty="0" smtClean="0">
                <a:solidFill>
                  <a:srgbClr val="8DC63F"/>
                </a:solidFill>
              </a:rPr>
              <a:t>/</a:t>
            </a:r>
            <a:r>
              <a:rPr lang="ru-RU" sz="1600" b="1" kern="0" dirty="0" smtClean="0">
                <a:solidFill>
                  <a:srgbClr val="8DC63F"/>
                </a:solidFill>
              </a:rPr>
              <a:t>СОСТАВЛЕНИЕ ПРОГРАММ</a:t>
            </a:r>
            <a:endParaRPr lang="de-DE" sz="1200" b="1" dirty="0" err="1" smtClean="0">
              <a:solidFill>
                <a:srgbClr val="8DC63F"/>
              </a:solidFill>
            </a:endParaRPr>
          </a:p>
        </p:txBody>
      </p:sp>
      <p:cxnSp>
        <p:nvCxnSpPr>
          <p:cNvPr id="5" name="Straight Connector 14"/>
          <p:cNvCxnSpPr/>
          <p:nvPr/>
        </p:nvCxnSpPr>
        <p:spPr>
          <a:xfrm>
            <a:off x="539750" y="2076695"/>
            <a:ext cx="8260806" cy="0"/>
          </a:xfrm>
          <a:prstGeom prst="line">
            <a:avLst/>
          </a:prstGeom>
          <a:ln w="57150">
            <a:solidFill>
              <a:srgbClr val="000000"/>
            </a:solidFill>
            <a:prstDash val="solid"/>
          </a:ln>
        </p:spPr>
        <p:style>
          <a:lnRef idx="2">
            <a:schemeClr val="accent1"/>
          </a:lnRef>
          <a:fillRef idx="0">
            <a:schemeClr val="accent1"/>
          </a:fillRef>
          <a:effectRef idx="1">
            <a:schemeClr val="accent1"/>
          </a:effectRef>
          <a:fontRef idx="minor">
            <a:schemeClr val="tx1"/>
          </a:fontRef>
        </p:style>
      </p:cxnSp>
      <p:sp>
        <p:nvSpPr>
          <p:cNvPr id="6" name="Rechteck 19"/>
          <p:cNvSpPr/>
          <p:nvPr/>
        </p:nvSpPr>
        <p:spPr>
          <a:xfrm>
            <a:off x="521982" y="198152"/>
            <a:ext cx="761427" cy="184666"/>
          </a:xfrm>
          <a:prstGeom prst="rect">
            <a:avLst/>
          </a:prstGeom>
        </p:spPr>
        <p:txBody>
          <a:bodyPr wrap="none" lIns="0" tIns="0" rIns="0" bIns="0">
            <a:spAutoFit/>
          </a:bodyPr>
          <a:lstStyle/>
          <a:p>
            <a:r>
              <a:rPr lang="ru-RU" sz="1200" b="1" dirty="0" smtClean="0"/>
              <a:t>НАПРИМЕР</a:t>
            </a:r>
            <a:endParaRPr lang="de-DE" sz="1200" b="1" dirty="0"/>
          </a:p>
        </p:txBody>
      </p:sp>
      <p:pic>
        <p:nvPicPr>
          <p:cNvPr id="13316" name="Picture 4" descr="Image result for verizon"/>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01861" y="2479272"/>
            <a:ext cx="1465641" cy="329770"/>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6" descr="Image result for verizon slam dunk contest"/>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533877" y="3584528"/>
            <a:ext cx="2133578" cy="1211681"/>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7"/>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533877" y="2213943"/>
            <a:ext cx="2133578" cy="127604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3" name="Rectangle 12"/>
          <p:cNvSpPr/>
          <p:nvPr/>
        </p:nvSpPr>
        <p:spPr>
          <a:xfrm>
            <a:off x="1556665" y="2387714"/>
            <a:ext cx="4725525" cy="2000548"/>
          </a:xfrm>
          <a:prstGeom prst="rect">
            <a:avLst/>
          </a:prstGeom>
        </p:spPr>
        <p:txBody>
          <a:bodyPr wrap="square" lIns="0" tIns="0" rIns="0" bIns="0">
            <a:spAutoFit/>
          </a:bodyPr>
          <a:lstStyle/>
          <a:p>
            <a:pPr marL="639763" lvl="2" indent="-182563" defTabSz="271463">
              <a:lnSpc>
                <a:spcPts val="1800"/>
              </a:lnSpc>
              <a:spcBef>
                <a:spcPts val="600"/>
              </a:spcBef>
              <a:buClr>
                <a:srgbClr val="009DD9"/>
              </a:buClr>
              <a:buFont typeface="Arial" panose="020B0604020202020204" pitchFamily="34" charset="0"/>
              <a:buChar char="•"/>
            </a:pPr>
            <a:r>
              <a:rPr lang="ru-RU" sz="1400" kern="0" dirty="0" smtClean="0">
                <a:solidFill>
                  <a:srgbClr val="5F5F5F"/>
                </a:solidFill>
              </a:rPr>
              <a:t>В 2015 </a:t>
            </a:r>
            <a:r>
              <a:rPr lang="ru-RU" sz="1400" kern="0" dirty="0" err="1" smtClean="0">
                <a:solidFill>
                  <a:srgbClr val="5F5F5F"/>
                </a:solidFill>
              </a:rPr>
              <a:t>Веризон</a:t>
            </a:r>
            <a:r>
              <a:rPr lang="ru-RU" sz="1400" kern="0" dirty="0" smtClean="0">
                <a:solidFill>
                  <a:srgbClr val="5F5F5F"/>
                </a:solidFill>
              </a:rPr>
              <a:t> стал провайдером беспроводных услуг для НБА, соглашение включало сотрудничество в маркетинге и создании контента.</a:t>
            </a:r>
            <a:endParaRPr lang="en-AU" sz="1400" kern="0" dirty="0">
              <a:solidFill>
                <a:srgbClr val="5F5F5F"/>
              </a:solidFill>
            </a:endParaRPr>
          </a:p>
          <a:p>
            <a:pPr marL="625475" lvl="2" indent="-168275" defTabSz="271463">
              <a:lnSpc>
                <a:spcPts val="1800"/>
              </a:lnSpc>
              <a:spcBef>
                <a:spcPts val="600"/>
              </a:spcBef>
              <a:buClr>
                <a:srgbClr val="009DD9"/>
              </a:buClr>
              <a:buFont typeface="Arial" panose="020B0604020202020204" pitchFamily="34" charset="0"/>
              <a:buChar char="•"/>
            </a:pPr>
            <a:r>
              <a:rPr lang="ru-RU" sz="1400" kern="0" dirty="0" smtClean="0">
                <a:solidFill>
                  <a:srgbClr val="5F5F5F"/>
                </a:solidFill>
              </a:rPr>
              <a:t>Платформу </a:t>
            </a:r>
            <a:r>
              <a:rPr lang="ru-RU" sz="1400" kern="0" dirty="0" err="1" smtClean="0">
                <a:solidFill>
                  <a:srgbClr val="5F5F5F"/>
                </a:solidFill>
              </a:rPr>
              <a:t>Веризон</a:t>
            </a:r>
            <a:r>
              <a:rPr lang="ru-RU" sz="1400" kern="0" dirty="0" smtClean="0">
                <a:solidFill>
                  <a:srgbClr val="5F5F5F"/>
                </a:solidFill>
              </a:rPr>
              <a:t> </a:t>
            </a:r>
            <a:r>
              <a:rPr lang="en-US" sz="1400" kern="0" dirty="0" smtClean="0">
                <a:solidFill>
                  <a:srgbClr val="5F5F5F"/>
                </a:solidFill>
              </a:rPr>
              <a:t>go90 </a:t>
            </a:r>
            <a:r>
              <a:rPr lang="ru-RU" sz="1400" kern="0" dirty="0" smtClean="0">
                <a:solidFill>
                  <a:srgbClr val="5F5F5F"/>
                </a:solidFill>
              </a:rPr>
              <a:t>стали использовать для публикации лучших моментов, оригинального контента и трансляции некоторых игр.</a:t>
            </a:r>
            <a:endParaRPr lang="en-US" sz="1400" kern="0" dirty="0" smtClean="0">
              <a:solidFill>
                <a:srgbClr val="5F5F5F"/>
              </a:solidFill>
            </a:endParaRPr>
          </a:p>
          <a:p>
            <a:pPr marL="625475" lvl="2" indent="-168275" defTabSz="271463">
              <a:lnSpc>
                <a:spcPts val="1800"/>
              </a:lnSpc>
              <a:spcBef>
                <a:spcPts val="600"/>
              </a:spcBef>
              <a:buClr>
                <a:srgbClr val="009DD9"/>
              </a:buClr>
              <a:buFont typeface="Arial" panose="020B0604020202020204" pitchFamily="34" charset="0"/>
              <a:buChar char="•"/>
            </a:pPr>
            <a:r>
              <a:rPr lang="ru-RU" sz="1400" kern="0" dirty="0" err="1" smtClean="0">
                <a:solidFill>
                  <a:srgbClr val="5F5F5F"/>
                </a:solidFill>
              </a:rPr>
              <a:t>Веризон</a:t>
            </a:r>
            <a:r>
              <a:rPr lang="ru-RU" sz="1400" kern="0" dirty="0" smtClean="0">
                <a:solidFill>
                  <a:srgbClr val="5F5F5F"/>
                </a:solidFill>
              </a:rPr>
              <a:t> стал титульным партнером конкурса по броскам сверху.</a:t>
            </a:r>
            <a:endParaRPr lang="en-AU" sz="1400" kern="0" dirty="0">
              <a:solidFill>
                <a:srgbClr val="5F5F5F"/>
              </a:solidFill>
            </a:endParaRPr>
          </a:p>
        </p:txBody>
      </p:sp>
      <p:grpSp>
        <p:nvGrpSpPr>
          <p:cNvPr id="11" name="Gruppieren 10"/>
          <p:cNvGrpSpPr>
            <a:grpSpLocks noChangeAspect="1"/>
          </p:cNvGrpSpPr>
          <p:nvPr/>
        </p:nvGrpSpPr>
        <p:grpSpPr>
          <a:xfrm>
            <a:off x="539748" y="4876006"/>
            <a:ext cx="719884" cy="215444"/>
            <a:chOff x="539748" y="4876006"/>
            <a:chExt cx="719884" cy="215444"/>
          </a:xfrm>
        </p:grpSpPr>
        <p:sp>
          <p:nvSpPr>
            <p:cNvPr id="14" name="Textfeld 11"/>
            <p:cNvSpPr txBox="1"/>
            <p:nvPr userDrawn="1"/>
          </p:nvSpPr>
          <p:spPr>
            <a:xfrm>
              <a:off x="539750" y="4876006"/>
              <a:ext cx="719882" cy="215444"/>
            </a:xfrm>
            <a:prstGeom prst="rect">
              <a:avLst/>
            </a:prstGeom>
            <a:noFill/>
          </p:spPr>
          <p:txBody>
            <a:bodyPr wrap="square" rtlCol="0">
              <a:spAutoFit/>
            </a:bodyPr>
            <a:lstStyle/>
            <a:p>
              <a:pPr algn="ctr"/>
              <a:r>
                <a:rPr lang="ru-RU" sz="800" kern="1300" spc="80" dirty="0" smtClean="0"/>
                <a:t>ТРЕНД</a:t>
              </a:r>
              <a:r>
                <a:rPr lang="de-DE" sz="800" kern="1300" spc="80" baseline="0" dirty="0" smtClean="0"/>
                <a:t> </a:t>
              </a:r>
              <a:r>
                <a:rPr lang="de-DE" sz="800" b="1" kern="1300" spc="80" baseline="0" dirty="0" smtClean="0"/>
                <a:t>02</a:t>
              </a:r>
            </a:p>
          </p:txBody>
        </p:sp>
        <p:sp>
          <p:nvSpPr>
            <p:cNvPr id="15" name="Gleichschenkliges Dreieck 13"/>
            <p:cNvSpPr/>
            <p:nvPr userDrawn="1"/>
          </p:nvSpPr>
          <p:spPr>
            <a:xfrm rot="16200000" flipH="1" flipV="1">
              <a:off x="534004" y="4938683"/>
              <a:ext cx="83300" cy="71811"/>
            </a:xfrm>
            <a:prstGeom prst="triangl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sp>
          <p:nvSpPr>
            <p:cNvPr id="16" name="Gleichschenkliges Dreieck 15"/>
            <p:cNvSpPr/>
            <p:nvPr userDrawn="1"/>
          </p:nvSpPr>
          <p:spPr>
            <a:xfrm rot="5400000" flipV="1">
              <a:off x="1182077" y="4938684"/>
              <a:ext cx="83300" cy="71811"/>
            </a:xfrm>
            <a:prstGeom prst="triangl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grpSp>
    </p:spTree>
    <p:extLst>
      <p:ext uri="{BB962C8B-B14F-4D97-AF65-F5344CB8AC3E}">
        <p14:creationId xmlns:p14="http://schemas.microsoft.com/office/powerpoint/2010/main" val="2221991534"/>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22287" y="484770"/>
            <a:ext cx="8278269" cy="664797"/>
          </a:xfrm>
        </p:spPr>
        <p:txBody>
          <a:bodyPr/>
          <a:lstStyle/>
          <a:p>
            <a:r>
              <a:rPr lang="ru-RU" dirty="0"/>
              <a:t>Результатом </a:t>
            </a:r>
            <a:r>
              <a:rPr lang="ru-RU" b="1" dirty="0"/>
              <a:t>Синергии</a:t>
            </a:r>
            <a:r>
              <a:rPr lang="ru-RU" dirty="0"/>
              <a:t> правообладателя и бренда становится </a:t>
            </a:r>
            <a:r>
              <a:rPr lang="ru-RU" b="1" dirty="0"/>
              <a:t>совместный контент</a:t>
            </a:r>
            <a:endParaRPr lang="ru-RU" dirty="0"/>
          </a:p>
        </p:txBody>
      </p:sp>
      <p:pic>
        <p:nvPicPr>
          <p:cNvPr id="3" name="Picture 8"/>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533877" y="3577378"/>
            <a:ext cx="2133577" cy="127154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 name="Picture 3" descr="C:\Users\zhki7001\Desktop\Untitled.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518597" y="2213943"/>
            <a:ext cx="2125417" cy="1174045"/>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p:cNvSpPr txBox="1"/>
          <p:nvPr/>
        </p:nvSpPr>
        <p:spPr>
          <a:xfrm>
            <a:off x="1884289" y="1497128"/>
            <a:ext cx="5072975" cy="338554"/>
          </a:xfrm>
          <a:prstGeom prst="rect">
            <a:avLst/>
          </a:prstGeom>
          <a:noFill/>
        </p:spPr>
        <p:txBody>
          <a:bodyPr wrap="square" rtlCol="0">
            <a:spAutoFit/>
          </a:bodyPr>
          <a:lstStyle/>
          <a:p>
            <a:r>
              <a:rPr lang="ru-RU" sz="1600" b="1" kern="0" dirty="0" smtClean="0">
                <a:solidFill>
                  <a:srgbClr val="8DC63F"/>
                </a:solidFill>
              </a:rPr>
              <a:t>ОГОВОРЕННЫЙ КОНТЕНТ</a:t>
            </a:r>
            <a:r>
              <a:rPr lang="en-US" sz="1600" b="1" kern="0" dirty="0" smtClean="0">
                <a:solidFill>
                  <a:srgbClr val="8DC63F"/>
                </a:solidFill>
              </a:rPr>
              <a:t>/</a:t>
            </a:r>
            <a:r>
              <a:rPr lang="ru-RU" sz="1600" b="1" kern="0" dirty="0" smtClean="0">
                <a:solidFill>
                  <a:srgbClr val="8DC63F"/>
                </a:solidFill>
              </a:rPr>
              <a:t>СОСТАВЛЕНИЕ ПРОГРАММ</a:t>
            </a:r>
            <a:endParaRPr lang="de-DE" sz="1200" b="1" dirty="0" err="1" smtClean="0">
              <a:solidFill>
                <a:srgbClr val="8DC63F"/>
              </a:solidFill>
            </a:endParaRPr>
          </a:p>
        </p:txBody>
      </p:sp>
      <p:cxnSp>
        <p:nvCxnSpPr>
          <p:cNvPr id="8" name="Straight Connector 14"/>
          <p:cNvCxnSpPr/>
          <p:nvPr/>
        </p:nvCxnSpPr>
        <p:spPr>
          <a:xfrm>
            <a:off x="539750" y="2076695"/>
            <a:ext cx="8260806" cy="0"/>
          </a:xfrm>
          <a:prstGeom prst="line">
            <a:avLst/>
          </a:prstGeom>
          <a:ln w="57150">
            <a:solidFill>
              <a:srgbClr val="000000"/>
            </a:solidFill>
            <a:prstDash val="solid"/>
          </a:ln>
        </p:spPr>
        <p:style>
          <a:lnRef idx="2">
            <a:schemeClr val="accent1"/>
          </a:lnRef>
          <a:fillRef idx="0">
            <a:schemeClr val="accent1"/>
          </a:fillRef>
          <a:effectRef idx="1">
            <a:schemeClr val="accent1"/>
          </a:effectRef>
          <a:fontRef idx="minor">
            <a:schemeClr val="tx1"/>
          </a:fontRef>
        </p:style>
      </p:cxnSp>
      <p:sp>
        <p:nvSpPr>
          <p:cNvPr id="9" name="Rectangle 8"/>
          <p:cNvSpPr/>
          <p:nvPr/>
        </p:nvSpPr>
        <p:spPr>
          <a:xfrm>
            <a:off x="1556665" y="2387714"/>
            <a:ext cx="4725525" cy="2000548"/>
          </a:xfrm>
          <a:prstGeom prst="rect">
            <a:avLst/>
          </a:prstGeom>
        </p:spPr>
        <p:txBody>
          <a:bodyPr wrap="square" lIns="0" tIns="0" rIns="0" bIns="0">
            <a:spAutoFit/>
          </a:bodyPr>
          <a:lstStyle/>
          <a:p>
            <a:pPr marL="639763" lvl="2" indent="-182563" defTabSz="271463">
              <a:lnSpc>
                <a:spcPts val="1800"/>
              </a:lnSpc>
              <a:spcBef>
                <a:spcPts val="600"/>
              </a:spcBef>
              <a:buClr>
                <a:srgbClr val="009DD9"/>
              </a:buClr>
              <a:buFont typeface="Arial" panose="020B0604020202020204" pitchFamily="34" charset="0"/>
              <a:buChar char="•"/>
            </a:pPr>
            <a:r>
              <a:rPr lang="ru-RU" sz="1400" kern="0" dirty="0" smtClean="0">
                <a:solidFill>
                  <a:srgbClr val="5F5F5F"/>
                </a:solidFill>
              </a:rPr>
              <a:t>Бренд </a:t>
            </a:r>
            <a:r>
              <a:rPr lang="en-US" sz="1400" kern="0" dirty="0" smtClean="0">
                <a:solidFill>
                  <a:srgbClr val="5F5F5F"/>
                </a:solidFill>
              </a:rPr>
              <a:t>Bud Light </a:t>
            </a:r>
            <a:r>
              <a:rPr lang="ru-RU" sz="1400" kern="0" dirty="0" smtClean="0">
                <a:solidFill>
                  <a:srgbClr val="5F5F5F"/>
                </a:solidFill>
              </a:rPr>
              <a:t>является спо</a:t>
            </a:r>
            <a:r>
              <a:rPr lang="ru-RU" sz="1400" kern="0" dirty="0">
                <a:solidFill>
                  <a:srgbClr val="5F5F5F"/>
                </a:solidFill>
              </a:rPr>
              <a:t>н</a:t>
            </a:r>
            <a:r>
              <a:rPr lang="ru-RU" sz="1400" kern="0" dirty="0" smtClean="0">
                <a:solidFill>
                  <a:srgbClr val="5F5F5F"/>
                </a:solidFill>
              </a:rPr>
              <a:t>сором </a:t>
            </a:r>
            <a:r>
              <a:rPr lang="en-US" sz="1400" kern="0" dirty="0" smtClean="0">
                <a:solidFill>
                  <a:srgbClr val="5F5F5F"/>
                </a:solidFill>
              </a:rPr>
              <a:t>PPV </a:t>
            </a:r>
            <a:r>
              <a:rPr lang="ru-RU" sz="1400" kern="0" dirty="0" smtClean="0">
                <a:solidFill>
                  <a:srgbClr val="5F5F5F"/>
                </a:solidFill>
              </a:rPr>
              <a:t>и ТВ трансляций </a:t>
            </a:r>
            <a:r>
              <a:rPr lang="en-US" sz="1400" kern="0" dirty="0" smtClean="0">
                <a:solidFill>
                  <a:srgbClr val="5F5F5F"/>
                </a:solidFill>
              </a:rPr>
              <a:t>UFC.</a:t>
            </a:r>
            <a:endParaRPr lang="en-AU" sz="1400" kern="0" dirty="0">
              <a:solidFill>
                <a:srgbClr val="5F5F5F"/>
              </a:solidFill>
            </a:endParaRPr>
          </a:p>
          <a:p>
            <a:pPr marL="625475" lvl="2" indent="-168275" defTabSz="271463">
              <a:lnSpc>
                <a:spcPts val="1800"/>
              </a:lnSpc>
              <a:spcBef>
                <a:spcPts val="600"/>
              </a:spcBef>
              <a:buClr>
                <a:srgbClr val="009DD9"/>
              </a:buClr>
              <a:buFont typeface="Arial" panose="020B0604020202020204" pitchFamily="34" charset="0"/>
              <a:buChar char="•"/>
            </a:pPr>
            <a:r>
              <a:rPr lang="ru-RU" sz="1400" kern="0" dirty="0" smtClean="0">
                <a:solidFill>
                  <a:srgbClr val="5F5F5F"/>
                </a:solidFill>
              </a:rPr>
              <a:t>Реклама бренда интегрирована во все мероприятия проводимые организацией, а также в сам </a:t>
            </a:r>
            <a:r>
              <a:rPr lang="ru-RU" sz="1400" kern="0" dirty="0" err="1" smtClean="0">
                <a:solidFill>
                  <a:srgbClr val="5F5F5F"/>
                </a:solidFill>
              </a:rPr>
              <a:t>октагон</a:t>
            </a:r>
            <a:r>
              <a:rPr lang="ru-RU" sz="1400" kern="0" dirty="0" smtClean="0">
                <a:solidFill>
                  <a:srgbClr val="5F5F5F"/>
                </a:solidFill>
              </a:rPr>
              <a:t>. </a:t>
            </a:r>
            <a:r>
              <a:rPr lang="en-US" sz="1400" kern="0" dirty="0" smtClean="0">
                <a:solidFill>
                  <a:srgbClr val="5F5F5F"/>
                </a:solidFill>
              </a:rPr>
              <a:t>Bud Light </a:t>
            </a:r>
            <a:r>
              <a:rPr lang="ru-RU" sz="1400" kern="0" dirty="0">
                <a:solidFill>
                  <a:srgbClr val="5F5F5F"/>
                </a:solidFill>
              </a:rPr>
              <a:t>-</a:t>
            </a:r>
            <a:r>
              <a:rPr lang="ru-RU" sz="1400" kern="0" dirty="0" smtClean="0">
                <a:solidFill>
                  <a:srgbClr val="5F5F5F"/>
                </a:solidFill>
              </a:rPr>
              <a:t> спонсор лучших моментов боя.</a:t>
            </a:r>
          </a:p>
          <a:p>
            <a:pPr marL="625475" lvl="2" indent="-168275" defTabSz="271463">
              <a:lnSpc>
                <a:spcPts val="1800"/>
              </a:lnSpc>
              <a:spcBef>
                <a:spcPts val="600"/>
              </a:spcBef>
              <a:buClr>
                <a:srgbClr val="009DD9"/>
              </a:buClr>
              <a:buFont typeface="Arial" panose="020B0604020202020204" pitchFamily="34" charset="0"/>
              <a:buChar char="•"/>
            </a:pPr>
            <a:r>
              <a:rPr lang="ru-RU" sz="1400" kern="0" dirty="0" smtClean="0">
                <a:solidFill>
                  <a:srgbClr val="5F5F5F"/>
                </a:solidFill>
              </a:rPr>
              <a:t>В 2016 был выпущен </a:t>
            </a:r>
            <a:r>
              <a:rPr lang="en-US" sz="1400" kern="0" dirty="0" smtClean="0">
                <a:solidFill>
                  <a:srgbClr val="5F5F5F"/>
                </a:solidFill>
              </a:rPr>
              <a:t>Bud Light Challenge</a:t>
            </a:r>
            <a:r>
              <a:rPr lang="ru-RU" sz="1400" kern="0" dirty="0" smtClean="0">
                <a:solidFill>
                  <a:srgbClr val="5F5F5F"/>
                </a:solidFill>
              </a:rPr>
              <a:t>, в котором приняли участие главные звезды </a:t>
            </a:r>
            <a:r>
              <a:rPr lang="en-US" sz="1400" kern="0" dirty="0" smtClean="0">
                <a:solidFill>
                  <a:srgbClr val="5F5F5F"/>
                </a:solidFill>
              </a:rPr>
              <a:t>UFC. </a:t>
            </a:r>
            <a:r>
              <a:rPr lang="ru-RU" sz="1400" kern="0" dirty="0" smtClean="0">
                <a:solidFill>
                  <a:srgbClr val="5F5F5F"/>
                </a:solidFill>
              </a:rPr>
              <a:t>Видео набрало более 10 миллионов просмотров на </a:t>
            </a:r>
            <a:r>
              <a:rPr lang="en-US" sz="1400" kern="0" dirty="0" err="1" smtClean="0">
                <a:solidFill>
                  <a:srgbClr val="5F5F5F"/>
                </a:solidFill>
              </a:rPr>
              <a:t>Youtube</a:t>
            </a:r>
            <a:r>
              <a:rPr lang="en-US" sz="1400" kern="0" dirty="0">
                <a:solidFill>
                  <a:srgbClr val="5F5F5F"/>
                </a:solidFill>
              </a:rPr>
              <a:t>.</a:t>
            </a:r>
            <a:endParaRPr lang="ru-RU" sz="1400" kern="0" dirty="0" smtClean="0">
              <a:solidFill>
                <a:srgbClr val="5F5F5F"/>
              </a:solidFill>
            </a:endParaRPr>
          </a:p>
        </p:txBody>
      </p:sp>
      <p:pic>
        <p:nvPicPr>
          <p:cNvPr id="11" name="Picture 5" descr="Image result for bud light"/>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17162" y="2367249"/>
            <a:ext cx="972909" cy="660038"/>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1"/>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27179" y="3041516"/>
            <a:ext cx="1152875" cy="11528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10" name="Gruppieren 10"/>
          <p:cNvGrpSpPr>
            <a:grpSpLocks noChangeAspect="1"/>
          </p:cNvGrpSpPr>
          <p:nvPr/>
        </p:nvGrpSpPr>
        <p:grpSpPr>
          <a:xfrm>
            <a:off x="539748" y="4876006"/>
            <a:ext cx="719884" cy="215444"/>
            <a:chOff x="539748" y="4876006"/>
            <a:chExt cx="719884" cy="215444"/>
          </a:xfrm>
        </p:grpSpPr>
        <p:sp>
          <p:nvSpPr>
            <p:cNvPr id="13" name="Textfeld 11"/>
            <p:cNvSpPr txBox="1"/>
            <p:nvPr userDrawn="1"/>
          </p:nvSpPr>
          <p:spPr>
            <a:xfrm>
              <a:off x="539750" y="4876006"/>
              <a:ext cx="719882" cy="215444"/>
            </a:xfrm>
            <a:prstGeom prst="rect">
              <a:avLst/>
            </a:prstGeom>
            <a:noFill/>
          </p:spPr>
          <p:txBody>
            <a:bodyPr wrap="square" rtlCol="0">
              <a:spAutoFit/>
            </a:bodyPr>
            <a:lstStyle/>
            <a:p>
              <a:pPr algn="ctr"/>
              <a:r>
                <a:rPr lang="ru-RU" sz="800" kern="1300" spc="80" dirty="0" smtClean="0"/>
                <a:t>ТРЕНД</a:t>
              </a:r>
              <a:r>
                <a:rPr lang="de-DE" sz="800" kern="1300" spc="80" baseline="0" dirty="0" smtClean="0"/>
                <a:t> </a:t>
              </a:r>
              <a:r>
                <a:rPr lang="de-DE" sz="800" b="1" kern="1300" spc="80" baseline="0" dirty="0" smtClean="0"/>
                <a:t>02</a:t>
              </a:r>
            </a:p>
          </p:txBody>
        </p:sp>
        <p:sp>
          <p:nvSpPr>
            <p:cNvPr id="14" name="Gleichschenkliges Dreieck 13"/>
            <p:cNvSpPr/>
            <p:nvPr userDrawn="1"/>
          </p:nvSpPr>
          <p:spPr>
            <a:xfrm rot="16200000" flipH="1" flipV="1">
              <a:off x="534004" y="4938683"/>
              <a:ext cx="83300" cy="71811"/>
            </a:xfrm>
            <a:prstGeom prst="triangl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sp>
          <p:nvSpPr>
            <p:cNvPr id="15" name="Gleichschenkliges Dreieck 15"/>
            <p:cNvSpPr/>
            <p:nvPr userDrawn="1"/>
          </p:nvSpPr>
          <p:spPr>
            <a:xfrm rot="5400000" flipV="1">
              <a:off x="1182077" y="4938684"/>
              <a:ext cx="83300" cy="71811"/>
            </a:xfrm>
            <a:prstGeom prst="triangl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grpSp>
    </p:spTree>
    <p:extLst>
      <p:ext uri="{BB962C8B-B14F-4D97-AF65-F5344CB8AC3E}">
        <p14:creationId xmlns:p14="http://schemas.microsoft.com/office/powerpoint/2010/main" val="2782303947"/>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itel 1"/>
          <p:cNvSpPr>
            <a:spLocks noGrp="1"/>
          </p:cNvSpPr>
          <p:nvPr>
            <p:ph type="title"/>
          </p:nvPr>
        </p:nvSpPr>
        <p:spPr>
          <a:xfrm>
            <a:off x="0" y="483069"/>
            <a:ext cx="9144000" cy="332399"/>
          </a:xfrm>
        </p:spPr>
        <p:txBody>
          <a:bodyPr/>
          <a:lstStyle/>
          <a:p>
            <a:pPr algn="ctr"/>
            <a:r>
              <a:rPr lang="ru-RU" dirty="0" smtClean="0">
                <a:solidFill>
                  <a:srgbClr val="FFFFFF"/>
                </a:solidFill>
              </a:rPr>
              <a:t>Какие </a:t>
            </a:r>
            <a:r>
              <a:rPr lang="ru-RU" b="1" dirty="0" smtClean="0">
                <a:solidFill>
                  <a:srgbClr val="8DC63F"/>
                </a:solidFill>
              </a:rPr>
              <a:t>перспективы</a:t>
            </a:r>
            <a:r>
              <a:rPr lang="en-US" b="1" dirty="0" smtClean="0">
                <a:solidFill>
                  <a:srgbClr val="8DC63F"/>
                </a:solidFill>
              </a:rPr>
              <a:t>?</a:t>
            </a:r>
            <a:endParaRPr lang="de-DE" b="1" dirty="0">
              <a:solidFill>
                <a:srgbClr val="8DC63F"/>
              </a:solidFill>
            </a:endParaRPr>
          </a:p>
        </p:txBody>
      </p:sp>
      <p:grpSp>
        <p:nvGrpSpPr>
          <p:cNvPr id="59" name="Gruppieren 58"/>
          <p:cNvGrpSpPr>
            <a:grpSpLocks noChangeAspect="1"/>
          </p:cNvGrpSpPr>
          <p:nvPr/>
        </p:nvGrpSpPr>
        <p:grpSpPr>
          <a:xfrm>
            <a:off x="539748" y="4876006"/>
            <a:ext cx="719884" cy="215444"/>
            <a:chOff x="539748" y="4876006"/>
            <a:chExt cx="719884" cy="215444"/>
          </a:xfrm>
        </p:grpSpPr>
        <p:sp>
          <p:nvSpPr>
            <p:cNvPr id="60" name="Textfeld 59"/>
            <p:cNvSpPr txBox="1"/>
            <p:nvPr userDrawn="1"/>
          </p:nvSpPr>
          <p:spPr>
            <a:xfrm>
              <a:off x="539750" y="4876006"/>
              <a:ext cx="719882" cy="215444"/>
            </a:xfrm>
            <a:prstGeom prst="rect">
              <a:avLst/>
            </a:prstGeom>
            <a:noFill/>
          </p:spPr>
          <p:txBody>
            <a:bodyPr wrap="square" rtlCol="0">
              <a:spAutoFit/>
            </a:bodyPr>
            <a:lstStyle/>
            <a:p>
              <a:pPr algn="ctr"/>
              <a:r>
                <a:rPr lang="ru-RU" sz="800" kern="1300" spc="80" dirty="0" smtClean="0"/>
                <a:t>ТРЕНД</a:t>
              </a:r>
              <a:r>
                <a:rPr lang="de-DE" sz="800" kern="1300" spc="80" baseline="0" dirty="0" smtClean="0"/>
                <a:t> </a:t>
              </a:r>
              <a:r>
                <a:rPr lang="de-DE" sz="800" b="1" kern="1300" spc="80" baseline="0" dirty="0" smtClean="0"/>
                <a:t>02</a:t>
              </a:r>
            </a:p>
          </p:txBody>
        </p:sp>
        <p:sp>
          <p:nvSpPr>
            <p:cNvPr id="61" name="Gleichschenkliges Dreieck 60"/>
            <p:cNvSpPr/>
            <p:nvPr userDrawn="1"/>
          </p:nvSpPr>
          <p:spPr>
            <a:xfrm rot="16200000" flipH="1" flipV="1">
              <a:off x="534004" y="4938683"/>
              <a:ext cx="83300" cy="71811"/>
            </a:xfrm>
            <a:prstGeom prst="triangl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sp>
          <p:nvSpPr>
            <p:cNvPr id="62" name="Gleichschenkliges Dreieck 61"/>
            <p:cNvSpPr/>
            <p:nvPr userDrawn="1"/>
          </p:nvSpPr>
          <p:spPr>
            <a:xfrm rot="5400000" flipV="1">
              <a:off x="1182077" y="4938684"/>
              <a:ext cx="83300" cy="71811"/>
            </a:xfrm>
            <a:prstGeom prst="triangl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grpSp>
      <p:sp>
        <p:nvSpPr>
          <p:cNvPr id="39" name="Textfeld 38"/>
          <p:cNvSpPr txBox="1"/>
          <p:nvPr/>
        </p:nvSpPr>
        <p:spPr>
          <a:xfrm>
            <a:off x="2411760" y="1549647"/>
            <a:ext cx="5535614" cy="646331"/>
          </a:xfrm>
          <a:prstGeom prst="rect">
            <a:avLst/>
          </a:prstGeom>
          <a:noFill/>
        </p:spPr>
        <p:txBody>
          <a:bodyPr wrap="square" rtlCol="0">
            <a:spAutoFit/>
          </a:bodyPr>
          <a:lstStyle/>
          <a:p>
            <a:r>
              <a:rPr lang="ru-RU" dirty="0" smtClean="0">
                <a:solidFill>
                  <a:srgbClr val="FFFFFF"/>
                </a:solidFill>
              </a:rPr>
              <a:t>Правообладатели будут уделять больше времени поиску спонсоров и созданию подходящего контента</a:t>
            </a:r>
          </a:p>
        </p:txBody>
      </p:sp>
      <p:grpSp>
        <p:nvGrpSpPr>
          <p:cNvPr id="40" name="Gruppieren 39"/>
          <p:cNvGrpSpPr/>
          <p:nvPr/>
        </p:nvGrpSpPr>
        <p:grpSpPr>
          <a:xfrm rot="16200000">
            <a:off x="1595611" y="1652644"/>
            <a:ext cx="456109" cy="456109"/>
            <a:chOff x="1357632" y="1654339"/>
            <a:chExt cx="579118" cy="579118"/>
          </a:xfrm>
        </p:grpSpPr>
        <p:sp>
          <p:nvSpPr>
            <p:cNvPr id="41" name="Ellipse 40"/>
            <p:cNvSpPr/>
            <p:nvPr/>
          </p:nvSpPr>
          <p:spPr>
            <a:xfrm>
              <a:off x="1357632" y="1654339"/>
              <a:ext cx="579118" cy="579118"/>
            </a:xfrm>
            <a:prstGeom prst="ellipse">
              <a:avLst/>
            </a:prstGeom>
            <a:solidFill>
              <a:srgbClr val="92D050"/>
            </a:solidFill>
            <a:ln w="28575">
              <a:solidFill>
                <a:srgbClr val="FFFFFF"/>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sp>
          <p:nvSpPr>
            <p:cNvPr id="42" name="Gleichschenkliges Dreieck 41"/>
            <p:cNvSpPr/>
            <p:nvPr/>
          </p:nvSpPr>
          <p:spPr>
            <a:xfrm flipV="1">
              <a:off x="1507419" y="1869460"/>
              <a:ext cx="279546" cy="240988"/>
            </a:xfrm>
            <a:prstGeom prst="triangle">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grpSp>
      <p:cxnSp>
        <p:nvCxnSpPr>
          <p:cNvPr id="43" name="Gerade Verbindung 42"/>
          <p:cNvCxnSpPr/>
          <p:nvPr/>
        </p:nvCxnSpPr>
        <p:spPr>
          <a:xfrm flipV="1">
            <a:off x="2513008" y="1458833"/>
            <a:ext cx="818166" cy="1"/>
          </a:xfrm>
          <a:prstGeom prst="line">
            <a:avLst/>
          </a:prstGeom>
          <a:ln w="57150">
            <a:solidFill>
              <a:srgbClr val="8DC63F"/>
            </a:solidFill>
          </a:ln>
        </p:spPr>
        <p:style>
          <a:lnRef idx="2">
            <a:schemeClr val="accent1"/>
          </a:lnRef>
          <a:fillRef idx="0">
            <a:schemeClr val="accent1"/>
          </a:fillRef>
          <a:effectRef idx="1">
            <a:schemeClr val="accent1"/>
          </a:effectRef>
          <a:fontRef idx="minor">
            <a:schemeClr val="tx1"/>
          </a:fontRef>
        </p:style>
      </p:cxnSp>
      <p:sp>
        <p:nvSpPr>
          <p:cNvPr id="44" name="Textfeld 43"/>
          <p:cNvSpPr txBox="1"/>
          <p:nvPr/>
        </p:nvSpPr>
        <p:spPr>
          <a:xfrm>
            <a:off x="2411759" y="3881207"/>
            <a:ext cx="5535615" cy="1431161"/>
          </a:xfrm>
          <a:prstGeom prst="rect">
            <a:avLst/>
          </a:prstGeom>
          <a:noFill/>
        </p:spPr>
        <p:txBody>
          <a:bodyPr wrap="square" rtlCol="0">
            <a:spAutoFit/>
          </a:bodyPr>
          <a:lstStyle/>
          <a:p>
            <a:pPr marL="0" lvl="1">
              <a:spcBef>
                <a:spcPts val="1800"/>
              </a:spcBef>
              <a:buClr>
                <a:srgbClr val="009DD9"/>
              </a:buClr>
            </a:pPr>
            <a:r>
              <a:rPr lang="ru-RU" dirty="0" smtClean="0">
                <a:solidFill>
                  <a:srgbClr val="FFFFFF"/>
                </a:solidFill>
              </a:rPr>
              <a:t>Развитие взаимоотношений между заинтересованными сторонами и дальнейшие изменения прав/структуры дистрибуции </a:t>
            </a:r>
          </a:p>
          <a:p>
            <a:pPr marL="0" lvl="1">
              <a:spcBef>
                <a:spcPts val="1800"/>
              </a:spcBef>
              <a:buClr>
                <a:srgbClr val="009DD9"/>
              </a:buClr>
            </a:pPr>
            <a:endParaRPr lang="en-US" dirty="0">
              <a:solidFill>
                <a:srgbClr val="FFFFFF"/>
              </a:solidFill>
            </a:endParaRPr>
          </a:p>
        </p:txBody>
      </p:sp>
      <p:sp>
        <p:nvSpPr>
          <p:cNvPr id="46" name="Rechteck 45"/>
          <p:cNvSpPr/>
          <p:nvPr/>
        </p:nvSpPr>
        <p:spPr>
          <a:xfrm>
            <a:off x="3850424" y="1561855"/>
            <a:ext cx="2258325" cy="276519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sp>
        <p:nvSpPr>
          <p:cNvPr id="47" name="Textfeld 46"/>
          <p:cNvSpPr txBox="1"/>
          <p:nvPr/>
        </p:nvSpPr>
        <p:spPr>
          <a:xfrm>
            <a:off x="2411759" y="2715723"/>
            <a:ext cx="5400601" cy="923330"/>
          </a:xfrm>
          <a:prstGeom prst="rect">
            <a:avLst/>
          </a:prstGeom>
          <a:noFill/>
        </p:spPr>
        <p:txBody>
          <a:bodyPr wrap="square" rtlCol="0">
            <a:spAutoFit/>
          </a:bodyPr>
          <a:lstStyle/>
          <a:p>
            <a:r>
              <a:rPr lang="ru-RU" dirty="0" smtClean="0">
                <a:solidFill>
                  <a:srgbClr val="FFFFFF"/>
                </a:solidFill>
              </a:rPr>
              <a:t>Создание эксклюзивного контента позволяет получить больший эффект и ведет к глубокому вовлечению болельщиков</a:t>
            </a:r>
            <a:endParaRPr lang="de-DE" dirty="0" err="1">
              <a:solidFill>
                <a:srgbClr val="FFFFFF"/>
              </a:solidFill>
            </a:endParaRPr>
          </a:p>
        </p:txBody>
      </p:sp>
      <p:cxnSp>
        <p:nvCxnSpPr>
          <p:cNvPr id="54" name="Gerade Verbindung 53"/>
          <p:cNvCxnSpPr/>
          <p:nvPr/>
        </p:nvCxnSpPr>
        <p:spPr>
          <a:xfrm flipV="1">
            <a:off x="2513008" y="2597520"/>
            <a:ext cx="818166" cy="1"/>
          </a:xfrm>
          <a:prstGeom prst="line">
            <a:avLst/>
          </a:prstGeom>
          <a:ln w="57150">
            <a:solidFill>
              <a:srgbClr val="8DC63F"/>
            </a:solidFill>
          </a:ln>
        </p:spPr>
        <p:style>
          <a:lnRef idx="2">
            <a:schemeClr val="accent1"/>
          </a:lnRef>
          <a:fillRef idx="0">
            <a:schemeClr val="accent1"/>
          </a:fillRef>
          <a:effectRef idx="1">
            <a:schemeClr val="accent1"/>
          </a:effectRef>
          <a:fontRef idx="minor">
            <a:schemeClr val="tx1"/>
          </a:fontRef>
        </p:style>
      </p:cxnSp>
      <p:cxnSp>
        <p:nvCxnSpPr>
          <p:cNvPr id="55" name="Gerade Verbindung 54"/>
          <p:cNvCxnSpPr/>
          <p:nvPr/>
        </p:nvCxnSpPr>
        <p:spPr>
          <a:xfrm flipV="1">
            <a:off x="2513008" y="3757205"/>
            <a:ext cx="818166" cy="1"/>
          </a:xfrm>
          <a:prstGeom prst="line">
            <a:avLst/>
          </a:prstGeom>
          <a:ln w="57150">
            <a:solidFill>
              <a:srgbClr val="8DC63F"/>
            </a:solidFill>
          </a:ln>
        </p:spPr>
        <p:style>
          <a:lnRef idx="2">
            <a:schemeClr val="accent1"/>
          </a:lnRef>
          <a:fillRef idx="0">
            <a:schemeClr val="accent1"/>
          </a:fillRef>
          <a:effectRef idx="1">
            <a:schemeClr val="accent1"/>
          </a:effectRef>
          <a:fontRef idx="minor">
            <a:schemeClr val="tx1"/>
          </a:fontRef>
        </p:style>
      </p:cxnSp>
      <p:grpSp>
        <p:nvGrpSpPr>
          <p:cNvPr id="57" name="Gruppieren 56"/>
          <p:cNvGrpSpPr/>
          <p:nvPr/>
        </p:nvGrpSpPr>
        <p:grpSpPr>
          <a:xfrm rot="16200000">
            <a:off x="1595611" y="2765164"/>
            <a:ext cx="456109" cy="456109"/>
            <a:chOff x="1357632" y="1654339"/>
            <a:chExt cx="579118" cy="579118"/>
          </a:xfrm>
        </p:grpSpPr>
        <p:sp>
          <p:nvSpPr>
            <p:cNvPr id="58" name="Ellipse 57"/>
            <p:cNvSpPr/>
            <p:nvPr/>
          </p:nvSpPr>
          <p:spPr>
            <a:xfrm>
              <a:off x="1357632" y="1654339"/>
              <a:ext cx="579118" cy="579118"/>
            </a:xfrm>
            <a:prstGeom prst="ellipse">
              <a:avLst/>
            </a:prstGeom>
            <a:solidFill>
              <a:srgbClr val="92D050"/>
            </a:solidFill>
            <a:ln w="28575">
              <a:solidFill>
                <a:srgbClr val="FFFFFF"/>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sp>
          <p:nvSpPr>
            <p:cNvPr id="63" name="Gleichschenkliges Dreieck 62"/>
            <p:cNvSpPr/>
            <p:nvPr/>
          </p:nvSpPr>
          <p:spPr>
            <a:xfrm flipV="1">
              <a:off x="1507419" y="1869460"/>
              <a:ext cx="279546" cy="240988"/>
            </a:xfrm>
            <a:prstGeom prst="triangle">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grpSp>
      <p:grpSp>
        <p:nvGrpSpPr>
          <p:cNvPr id="64" name="Gruppieren 63"/>
          <p:cNvGrpSpPr/>
          <p:nvPr/>
        </p:nvGrpSpPr>
        <p:grpSpPr>
          <a:xfrm rot="16200000">
            <a:off x="1595611" y="3969124"/>
            <a:ext cx="456109" cy="456109"/>
            <a:chOff x="1357632" y="1654339"/>
            <a:chExt cx="579118" cy="579118"/>
          </a:xfrm>
        </p:grpSpPr>
        <p:sp>
          <p:nvSpPr>
            <p:cNvPr id="65" name="Ellipse 64"/>
            <p:cNvSpPr/>
            <p:nvPr/>
          </p:nvSpPr>
          <p:spPr>
            <a:xfrm>
              <a:off x="1357632" y="1654339"/>
              <a:ext cx="579118" cy="579118"/>
            </a:xfrm>
            <a:prstGeom prst="ellipse">
              <a:avLst/>
            </a:prstGeom>
            <a:solidFill>
              <a:srgbClr val="92D050"/>
            </a:solidFill>
            <a:ln w="28575">
              <a:solidFill>
                <a:srgbClr val="FFFFFF"/>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sp>
          <p:nvSpPr>
            <p:cNvPr id="66" name="Gleichschenkliges Dreieck 65"/>
            <p:cNvSpPr/>
            <p:nvPr/>
          </p:nvSpPr>
          <p:spPr>
            <a:xfrm flipV="1">
              <a:off x="1507419" y="1869460"/>
              <a:ext cx="279546" cy="240988"/>
            </a:xfrm>
            <a:prstGeom prst="triangle">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grpSp>
    </p:spTree>
    <p:extLst>
      <p:ext uri="{BB962C8B-B14F-4D97-AF65-F5344CB8AC3E}">
        <p14:creationId xmlns:p14="http://schemas.microsoft.com/office/powerpoint/2010/main" val="4273782998"/>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hteck 7"/>
          <p:cNvSpPr/>
          <p:nvPr/>
        </p:nvSpPr>
        <p:spPr>
          <a:xfrm>
            <a:off x="3775973" y="1995686"/>
            <a:ext cx="3046278" cy="449487"/>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sp>
        <p:nvSpPr>
          <p:cNvPr id="9" name="Rechteck 8"/>
          <p:cNvSpPr/>
          <p:nvPr/>
        </p:nvSpPr>
        <p:spPr>
          <a:xfrm>
            <a:off x="3775974" y="2509744"/>
            <a:ext cx="2371202" cy="449487"/>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sp>
        <p:nvSpPr>
          <p:cNvPr id="10" name="Rechteck 9"/>
          <p:cNvSpPr/>
          <p:nvPr/>
        </p:nvSpPr>
        <p:spPr>
          <a:xfrm>
            <a:off x="3775971" y="3016820"/>
            <a:ext cx="2911264" cy="449487"/>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cxnSp>
        <p:nvCxnSpPr>
          <p:cNvPr id="12" name="Gerade Verbindung 11"/>
          <p:cNvCxnSpPr/>
          <p:nvPr/>
        </p:nvCxnSpPr>
        <p:spPr>
          <a:xfrm>
            <a:off x="2227293" y="1509628"/>
            <a:ext cx="1152128" cy="0"/>
          </a:xfrm>
          <a:prstGeom prst="line">
            <a:avLst/>
          </a:prstGeom>
          <a:ln w="57150">
            <a:solidFill>
              <a:schemeClr val="accent2"/>
            </a:solidFill>
          </a:ln>
        </p:spPr>
        <p:style>
          <a:lnRef idx="2">
            <a:schemeClr val="accent1"/>
          </a:lnRef>
          <a:fillRef idx="0">
            <a:schemeClr val="accent1"/>
          </a:fillRef>
          <a:effectRef idx="1">
            <a:schemeClr val="accent1"/>
          </a:effectRef>
          <a:fontRef idx="minor">
            <a:schemeClr val="tx1"/>
          </a:fontRef>
        </p:style>
      </p:cxnSp>
      <p:cxnSp>
        <p:nvCxnSpPr>
          <p:cNvPr id="13" name="Gerade Verbindung 12"/>
          <p:cNvCxnSpPr/>
          <p:nvPr/>
        </p:nvCxnSpPr>
        <p:spPr>
          <a:xfrm>
            <a:off x="2227293" y="3435846"/>
            <a:ext cx="1152128" cy="0"/>
          </a:xfrm>
          <a:prstGeom prst="line">
            <a:avLst/>
          </a:prstGeom>
          <a:ln w="57150">
            <a:solidFill>
              <a:schemeClr val="accent2"/>
            </a:solidFill>
          </a:ln>
        </p:spPr>
        <p:style>
          <a:lnRef idx="2">
            <a:schemeClr val="accent1"/>
          </a:lnRef>
          <a:fillRef idx="0">
            <a:schemeClr val="accent1"/>
          </a:fillRef>
          <a:effectRef idx="1">
            <a:schemeClr val="accent1"/>
          </a:effectRef>
          <a:fontRef idx="minor">
            <a:schemeClr val="tx1"/>
          </a:fontRef>
        </p:style>
      </p:cxnSp>
      <p:sp>
        <p:nvSpPr>
          <p:cNvPr id="14" name="Textfeld 13"/>
          <p:cNvSpPr txBox="1"/>
          <p:nvPr/>
        </p:nvSpPr>
        <p:spPr>
          <a:xfrm>
            <a:off x="2108779" y="1005572"/>
            <a:ext cx="1389155" cy="2862322"/>
          </a:xfrm>
          <a:prstGeom prst="rect">
            <a:avLst/>
          </a:prstGeom>
          <a:noFill/>
        </p:spPr>
        <p:txBody>
          <a:bodyPr wrap="square" rtlCol="0">
            <a:spAutoFit/>
          </a:bodyPr>
          <a:lstStyle/>
          <a:p>
            <a:r>
              <a:rPr lang="de-DE" sz="18000" dirty="0" smtClean="0"/>
              <a:t>3</a:t>
            </a:r>
          </a:p>
        </p:txBody>
      </p:sp>
      <p:sp>
        <p:nvSpPr>
          <p:cNvPr id="11" name="Rechteck 10"/>
          <p:cNvSpPr/>
          <p:nvPr/>
        </p:nvSpPr>
        <p:spPr>
          <a:xfrm>
            <a:off x="3806916" y="1882091"/>
            <a:ext cx="3600400" cy="1631216"/>
          </a:xfrm>
          <a:prstGeom prst="rect">
            <a:avLst/>
          </a:prstGeom>
        </p:spPr>
        <p:txBody>
          <a:bodyPr wrap="square">
            <a:spAutoFit/>
          </a:bodyPr>
          <a:lstStyle/>
          <a:p>
            <a:pPr>
              <a:lnSpc>
                <a:spcPts val="4000"/>
              </a:lnSpc>
              <a:buClr>
                <a:srgbClr val="7DBA00"/>
              </a:buClr>
            </a:pPr>
            <a:r>
              <a:rPr lang="ru-RU" sz="2400" dirty="0" smtClean="0">
                <a:solidFill>
                  <a:srgbClr val="FFFFFF"/>
                </a:solidFill>
              </a:rPr>
              <a:t>«ПОДКЛЮЧЕНИЕ»</a:t>
            </a:r>
          </a:p>
          <a:p>
            <a:pPr>
              <a:lnSpc>
                <a:spcPts val="4000"/>
              </a:lnSpc>
              <a:buClr>
                <a:srgbClr val="7DBA00"/>
              </a:buClr>
            </a:pPr>
            <a:r>
              <a:rPr lang="ru-RU" sz="2400" dirty="0" smtClean="0">
                <a:solidFill>
                  <a:srgbClr val="FFFFFF"/>
                </a:solidFill>
              </a:rPr>
              <a:t>БОЛЕЛЬЩИКОВ ПРИНОСИТ ДОХОД</a:t>
            </a:r>
            <a:endParaRPr lang="en-US" sz="2400" dirty="0"/>
          </a:p>
        </p:txBody>
      </p:sp>
    </p:spTree>
    <p:extLst>
      <p:ext uri="{BB962C8B-B14F-4D97-AF65-F5344CB8AC3E}">
        <p14:creationId xmlns:p14="http://schemas.microsoft.com/office/powerpoint/2010/main" val="733795202"/>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522290" y="484770"/>
            <a:ext cx="7290070" cy="997196"/>
          </a:xfrm>
        </p:spPr>
        <p:txBody>
          <a:bodyPr/>
          <a:lstStyle/>
          <a:p>
            <a:r>
              <a:rPr lang="ru-RU" b="1" dirty="0" smtClean="0"/>
              <a:t>Правообладатели используют технологии</a:t>
            </a:r>
            <a:r>
              <a:rPr lang="ru-RU" dirty="0" smtClean="0"/>
              <a:t> для связи с БОЛЕЛЬЩИКАМИ где бы они ни </a:t>
            </a:r>
            <a:r>
              <a:rPr lang="ru-RU" dirty="0" err="1" smtClean="0"/>
              <a:t>былИ</a:t>
            </a:r>
            <a:r>
              <a:rPr lang="ru-RU" dirty="0" smtClean="0"/>
              <a:t>…</a:t>
            </a:r>
            <a:endParaRPr lang="de-DE" dirty="0"/>
          </a:p>
        </p:txBody>
      </p:sp>
      <p:sp>
        <p:nvSpPr>
          <p:cNvPr id="26" name="TextBox 47"/>
          <p:cNvSpPr txBox="1"/>
          <p:nvPr/>
        </p:nvSpPr>
        <p:spPr>
          <a:xfrm>
            <a:off x="3049462" y="3519032"/>
            <a:ext cx="2241881" cy="1023357"/>
          </a:xfrm>
          <a:prstGeom prst="rect">
            <a:avLst/>
          </a:prstGeom>
          <a:noFill/>
        </p:spPr>
        <p:txBody>
          <a:bodyPr wrap="square" rtlCol="0">
            <a:spAutoFit/>
          </a:bodyPr>
          <a:lstStyle/>
          <a:p>
            <a:pPr defTabSz="914400">
              <a:spcAft>
                <a:spcPts val="300"/>
              </a:spcAft>
              <a:buClr>
                <a:srgbClr val="009DD9"/>
              </a:buClr>
              <a:defRPr/>
            </a:pPr>
            <a:r>
              <a:rPr lang="ru-RU" sz="1600" b="1" dirty="0" smtClean="0">
                <a:solidFill>
                  <a:schemeClr val="accent2"/>
                </a:solidFill>
              </a:rPr>
              <a:t>НА ХОДУ</a:t>
            </a:r>
            <a:endParaRPr lang="en-US" sz="1600" b="1" dirty="0">
              <a:solidFill>
                <a:schemeClr val="accent2"/>
              </a:solidFill>
            </a:endParaRPr>
          </a:p>
          <a:p>
            <a:pPr defTabSz="914400">
              <a:spcAft>
                <a:spcPts val="300"/>
              </a:spcAft>
              <a:buClr>
                <a:srgbClr val="009DD9"/>
              </a:buClr>
              <a:defRPr/>
            </a:pPr>
            <a:r>
              <a:rPr lang="ru-RU" sz="1400" dirty="0" smtClean="0">
                <a:solidFill>
                  <a:srgbClr val="5F5F5F"/>
                </a:solidFill>
              </a:rPr>
              <a:t>Счет и</a:t>
            </a:r>
            <a:r>
              <a:rPr lang="en-US" sz="1400" dirty="0" smtClean="0">
                <a:solidFill>
                  <a:srgbClr val="5F5F5F"/>
                </a:solidFill>
              </a:rPr>
              <a:t> </a:t>
            </a:r>
            <a:r>
              <a:rPr lang="ru-RU" sz="1400" dirty="0" smtClean="0">
                <a:solidFill>
                  <a:srgbClr val="5F5F5F"/>
                </a:solidFill>
              </a:rPr>
              <a:t>клипы в прямом эфире</a:t>
            </a:r>
            <a:r>
              <a:rPr lang="en-US" sz="1400" dirty="0" smtClean="0">
                <a:solidFill>
                  <a:srgbClr val="5F5F5F"/>
                </a:solidFill>
              </a:rPr>
              <a:t>, </a:t>
            </a:r>
            <a:r>
              <a:rPr lang="ru-RU" sz="1400" dirty="0" smtClean="0">
                <a:solidFill>
                  <a:srgbClr val="5F5F5F"/>
                </a:solidFill>
              </a:rPr>
              <a:t>социальные сети</a:t>
            </a:r>
            <a:r>
              <a:rPr lang="en-US" sz="1400" dirty="0" smtClean="0">
                <a:solidFill>
                  <a:srgbClr val="5F5F5F"/>
                </a:solidFill>
              </a:rPr>
              <a:t>, </a:t>
            </a:r>
            <a:r>
              <a:rPr lang="ru-RU" sz="1400" dirty="0" smtClean="0">
                <a:solidFill>
                  <a:srgbClr val="5F5F5F"/>
                </a:solidFill>
              </a:rPr>
              <a:t>подкасты</a:t>
            </a:r>
            <a:endParaRPr lang="en-US" sz="1400" dirty="0">
              <a:solidFill>
                <a:srgbClr val="5F5F5F"/>
              </a:solidFill>
            </a:endParaRPr>
          </a:p>
        </p:txBody>
      </p:sp>
      <p:sp>
        <p:nvSpPr>
          <p:cNvPr id="28" name="TextBox 47"/>
          <p:cNvSpPr txBox="1"/>
          <p:nvPr/>
        </p:nvSpPr>
        <p:spPr>
          <a:xfrm>
            <a:off x="161510" y="2660462"/>
            <a:ext cx="1642161" cy="2385268"/>
          </a:xfrm>
          <a:prstGeom prst="rect">
            <a:avLst/>
          </a:prstGeom>
          <a:noFill/>
        </p:spPr>
        <p:txBody>
          <a:bodyPr wrap="square" rtlCol="0">
            <a:spAutoFit/>
          </a:bodyPr>
          <a:lstStyle/>
          <a:p>
            <a:pPr algn="r" defTabSz="914400">
              <a:spcAft>
                <a:spcPts val="300"/>
              </a:spcAft>
              <a:buClr>
                <a:srgbClr val="009DD9"/>
              </a:buClr>
              <a:defRPr/>
            </a:pPr>
            <a:r>
              <a:rPr lang="ru-RU" sz="1600" b="1" dirty="0" smtClean="0">
                <a:solidFill>
                  <a:srgbClr val="FF8300"/>
                </a:solidFill>
              </a:rPr>
              <a:t>В МЕСТЕ ПРОВЕДЕНИЯ</a:t>
            </a:r>
            <a:endParaRPr lang="en-US" sz="1600" b="1" dirty="0">
              <a:solidFill>
                <a:srgbClr val="FF8300"/>
              </a:solidFill>
            </a:endParaRPr>
          </a:p>
          <a:p>
            <a:pPr algn="r" defTabSz="914400">
              <a:spcAft>
                <a:spcPts val="300"/>
              </a:spcAft>
              <a:buClr>
                <a:srgbClr val="009DD9"/>
              </a:buClr>
              <a:defRPr/>
            </a:pPr>
            <a:r>
              <a:rPr lang="ru-RU" sz="1400" dirty="0" smtClean="0">
                <a:solidFill>
                  <a:srgbClr val="5F5F5F"/>
                </a:solidFill>
              </a:rPr>
              <a:t>Промо акции</a:t>
            </a:r>
            <a:r>
              <a:rPr lang="en-US" sz="1400" dirty="0" smtClean="0">
                <a:solidFill>
                  <a:srgbClr val="5F5F5F"/>
                </a:solidFill>
              </a:rPr>
              <a:t>, </a:t>
            </a:r>
            <a:r>
              <a:rPr lang="ru-RU" sz="1400" dirty="0" smtClean="0">
                <a:solidFill>
                  <a:srgbClr val="5F5F5F"/>
                </a:solidFill>
              </a:rPr>
              <a:t>релевантная информация</a:t>
            </a:r>
            <a:r>
              <a:rPr lang="en-US" sz="1400" dirty="0" smtClean="0">
                <a:solidFill>
                  <a:srgbClr val="5F5F5F"/>
                </a:solidFill>
              </a:rPr>
              <a:t>, </a:t>
            </a:r>
            <a:r>
              <a:rPr lang="ru-RU" sz="1400" dirty="0" smtClean="0">
                <a:solidFill>
                  <a:srgbClr val="5F5F5F"/>
                </a:solidFill>
              </a:rPr>
              <a:t>еда</a:t>
            </a:r>
            <a:r>
              <a:rPr lang="en-US" sz="1400" dirty="0" smtClean="0">
                <a:solidFill>
                  <a:srgbClr val="5F5F5F"/>
                </a:solidFill>
              </a:rPr>
              <a:t>/</a:t>
            </a:r>
            <a:r>
              <a:rPr lang="ru-RU" sz="1400" dirty="0" smtClean="0">
                <a:solidFill>
                  <a:srgbClr val="5F5F5F"/>
                </a:solidFill>
              </a:rPr>
              <a:t>напитки</a:t>
            </a:r>
            <a:r>
              <a:rPr lang="en-US" sz="1400" dirty="0" smtClean="0">
                <a:solidFill>
                  <a:srgbClr val="5F5F5F"/>
                </a:solidFill>
              </a:rPr>
              <a:t>, </a:t>
            </a:r>
            <a:r>
              <a:rPr lang="ru-RU" sz="1400" dirty="0" smtClean="0">
                <a:solidFill>
                  <a:srgbClr val="5F5F5F"/>
                </a:solidFill>
              </a:rPr>
              <a:t>повторы</a:t>
            </a:r>
            <a:r>
              <a:rPr lang="en-US" sz="1400" dirty="0" smtClean="0">
                <a:solidFill>
                  <a:srgbClr val="5F5F5F"/>
                </a:solidFill>
              </a:rPr>
              <a:t>,</a:t>
            </a:r>
            <a:r>
              <a:rPr lang="ru-RU" sz="1400" dirty="0" smtClean="0">
                <a:solidFill>
                  <a:srgbClr val="5F5F5F"/>
                </a:solidFill>
              </a:rPr>
              <a:t> статистика в прямом эфире</a:t>
            </a:r>
            <a:endParaRPr lang="en-US" sz="1400" dirty="0" smtClean="0">
              <a:solidFill>
                <a:srgbClr val="5F5F5F"/>
              </a:solidFill>
            </a:endParaRPr>
          </a:p>
          <a:p>
            <a:pPr algn="r" defTabSz="914400">
              <a:spcAft>
                <a:spcPts val="300"/>
              </a:spcAft>
              <a:buClr>
                <a:srgbClr val="009DD9"/>
              </a:buClr>
              <a:defRPr/>
            </a:pPr>
            <a:endParaRPr lang="en-US" sz="1400" dirty="0">
              <a:solidFill>
                <a:srgbClr val="5F5F5F"/>
              </a:solidFill>
            </a:endParaRPr>
          </a:p>
        </p:txBody>
      </p:sp>
      <p:sp>
        <p:nvSpPr>
          <p:cNvPr id="38" name="TextBox 47"/>
          <p:cNvSpPr txBox="1"/>
          <p:nvPr/>
        </p:nvSpPr>
        <p:spPr>
          <a:xfrm>
            <a:off x="3972355" y="1823584"/>
            <a:ext cx="1679765" cy="1677382"/>
          </a:xfrm>
          <a:prstGeom prst="rect">
            <a:avLst/>
          </a:prstGeom>
          <a:noFill/>
        </p:spPr>
        <p:txBody>
          <a:bodyPr wrap="square" rtlCol="0">
            <a:spAutoFit/>
          </a:bodyPr>
          <a:lstStyle/>
          <a:p>
            <a:pPr defTabSz="914400">
              <a:spcAft>
                <a:spcPts val="300"/>
              </a:spcAft>
              <a:buClr>
                <a:srgbClr val="009DD9"/>
              </a:buClr>
              <a:defRPr/>
            </a:pPr>
            <a:r>
              <a:rPr lang="ru-RU" sz="1600" b="1" dirty="0" smtClean="0">
                <a:solidFill>
                  <a:schemeClr val="accent2"/>
                </a:solidFill>
              </a:rPr>
              <a:t>ДОМА</a:t>
            </a:r>
            <a:endParaRPr lang="en-US" sz="1600" b="1" dirty="0">
              <a:solidFill>
                <a:schemeClr val="accent2"/>
              </a:solidFill>
            </a:endParaRPr>
          </a:p>
          <a:p>
            <a:pPr defTabSz="914400">
              <a:spcAft>
                <a:spcPts val="300"/>
              </a:spcAft>
              <a:buClr>
                <a:srgbClr val="009DD9"/>
              </a:buClr>
              <a:defRPr/>
            </a:pPr>
            <a:r>
              <a:rPr lang="ru-RU" sz="1400" dirty="0" smtClean="0">
                <a:solidFill>
                  <a:srgbClr val="5F5F5F"/>
                </a:solidFill>
              </a:rPr>
              <a:t>В дополнении к ТВ покрытию, новые углы обзора/ статистика, сообщества</a:t>
            </a:r>
            <a:endParaRPr lang="en-US" sz="1400" dirty="0" smtClean="0">
              <a:solidFill>
                <a:srgbClr val="5F5F5F"/>
              </a:solidFill>
            </a:endParaRPr>
          </a:p>
          <a:p>
            <a:pPr algn="ctr" defTabSz="914400">
              <a:spcAft>
                <a:spcPts val="300"/>
              </a:spcAft>
              <a:buClr>
                <a:srgbClr val="009DD9"/>
              </a:buClr>
              <a:defRPr/>
            </a:pPr>
            <a:r>
              <a:rPr lang="en-US" sz="1200" dirty="0" smtClean="0">
                <a:solidFill>
                  <a:srgbClr val="5F5F5F"/>
                </a:solidFill>
              </a:rPr>
              <a:t> </a:t>
            </a:r>
            <a:endParaRPr lang="en-US" sz="1200" dirty="0">
              <a:solidFill>
                <a:srgbClr val="5F5F5F"/>
              </a:solidFill>
            </a:endParaRPr>
          </a:p>
        </p:txBody>
      </p:sp>
      <p:grpSp>
        <p:nvGrpSpPr>
          <p:cNvPr id="75" name="Group 449"/>
          <p:cNvGrpSpPr>
            <a:grpSpLocks noChangeAspect="1"/>
          </p:cNvGrpSpPr>
          <p:nvPr/>
        </p:nvGrpSpPr>
        <p:grpSpPr>
          <a:xfrm>
            <a:off x="2202736" y="2067263"/>
            <a:ext cx="885288" cy="865666"/>
            <a:chOff x="2347913" y="4873626"/>
            <a:chExt cx="896938" cy="925514"/>
          </a:xfrm>
          <a:solidFill>
            <a:schemeClr val="tx1">
              <a:lumMod val="40000"/>
              <a:lumOff val="60000"/>
            </a:schemeClr>
          </a:solidFill>
        </p:grpSpPr>
        <p:sp>
          <p:nvSpPr>
            <p:cNvPr id="76" name="Freeform 26"/>
            <p:cNvSpPr>
              <a:spLocks noEditPoints="1"/>
            </p:cNvSpPr>
            <p:nvPr/>
          </p:nvSpPr>
          <p:spPr bwMode="auto">
            <a:xfrm>
              <a:off x="2347913" y="4873626"/>
              <a:ext cx="896938" cy="925514"/>
            </a:xfrm>
            <a:custGeom>
              <a:avLst/>
              <a:gdLst>
                <a:gd name="T0" fmla="*/ 0 w 770"/>
                <a:gd name="T1" fmla="*/ 513 h 795"/>
                <a:gd name="T2" fmla="*/ 0 w 770"/>
                <a:gd name="T3" fmla="*/ 447 h 795"/>
                <a:gd name="T4" fmla="*/ 7 w 770"/>
                <a:gd name="T5" fmla="*/ 413 h 795"/>
                <a:gd name="T6" fmla="*/ 86 w 770"/>
                <a:gd name="T7" fmla="*/ 290 h 795"/>
                <a:gd name="T8" fmla="*/ 231 w 770"/>
                <a:gd name="T9" fmla="*/ 209 h 795"/>
                <a:gd name="T10" fmla="*/ 244 w 770"/>
                <a:gd name="T11" fmla="*/ 187 h 795"/>
                <a:gd name="T12" fmla="*/ 243 w 770"/>
                <a:gd name="T13" fmla="*/ 70 h 795"/>
                <a:gd name="T14" fmla="*/ 285 w 770"/>
                <a:gd name="T15" fmla="*/ 0 h 795"/>
                <a:gd name="T16" fmla="*/ 666 w 770"/>
                <a:gd name="T17" fmla="*/ 0 h 795"/>
                <a:gd name="T18" fmla="*/ 708 w 770"/>
                <a:gd name="T19" fmla="*/ 70 h 795"/>
                <a:gd name="T20" fmla="*/ 707 w 770"/>
                <a:gd name="T21" fmla="*/ 242 h 795"/>
                <a:gd name="T22" fmla="*/ 707 w 770"/>
                <a:gd name="T23" fmla="*/ 259 h 795"/>
                <a:gd name="T24" fmla="*/ 722 w 770"/>
                <a:gd name="T25" fmla="*/ 259 h 795"/>
                <a:gd name="T26" fmla="*/ 768 w 770"/>
                <a:gd name="T27" fmla="*/ 305 h 795"/>
                <a:gd name="T28" fmla="*/ 722 w 770"/>
                <a:gd name="T29" fmla="*/ 349 h 795"/>
                <a:gd name="T30" fmla="*/ 638 w 770"/>
                <a:gd name="T31" fmla="*/ 349 h 795"/>
                <a:gd name="T32" fmla="*/ 593 w 770"/>
                <a:gd name="T33" fmla="*/ 304 h 795"/>
                <a:gd name="T34" fmla="*/ 639 w 770"/>
                <a:gd name="T35" fmla="*/ 259 h 795"/>
                <a:gd name="T36" fmla="*/ 668 w 770"/>
                <a:gd name="T37" fmla="*/ 259 h 795"/>
                <a:gd name="T38" fmla="*/ 668 w 770"/>
                <a:gd name="T39" fmla="*/ 86 h 795"/>
                <a:gd name="T40" fmla="*/ 283 w 770"/>
                <a:gd name="T41" fmla="*/ 86 h 795"/>
                <a:gd name="T42" fmla="*/ 283 w 770"/>
                <a:gd name="T43" fmla="*/ 177 h 795"/>
                <a:gd name="T44" fmla="*/ 287 w 770"/>
                <a:gd name="T45" fmla="*/ 177 h 795"/>
                <a:gd name="T46" fmla="*/ 358 w 770"/>
                <a:gd name="T47" fmla="*/ 138 h 795"/>
                <a:gd name="T48" fmla="*/ 390 w 770"/>
                <a:gd name="T49" fmla="*/ 125 h 795"/>
                <a:gd name="T50" fmla="*/ 439 w 770"/>
                <a:gd name="T51" fmla="*/ 169 h 795"/>
                <a:gd name="T52" fmla="*/ 400 w 770"/>
                <a:gd name="T53" fmla="*/ 224 h 795"/>
                <a:gd name="T54" fmla="*/ 293 w 770"/>
                <a:gd name="T55" fmla="*/ 303 h 795"/>
                <a:gd name="T56" fmla="*/ 282 w 770"/>
                <a:gd name="T57" fmla="*/ 323 h 795"/>
                <a:gd name="T58" fmla="*/ 282 w 770"/>
                <a:gd name="T59" fmla="*/ 680 h 795"/>
                <a:gd name="T60" fmla="*/ 283 w 770"/>
                <a:gd name="T61" fmla="*/ 694 h 795"/>
                <a:gd name="T62" fmla="*/ 668 w 770"/>
                <a:gd name="T63" fmla="*/ 694 h 795"/>
                <a:gd name="T64" fmla="*/ 668 w 770"/>
                <a:gd name="T65" fmla="*/ 667 h 795"/>
                <a:gd name="T66" fmla="*/ 639 w 770"/>
                <a:gd name="T67" fmla="*/ 667 h 795"/>
                <a:gd name="T68" fmla="*/ 593 w 770"/>
                <a:gd name="T69" fmla="*/ 623 h 795"/>
                <a:gd name="T70" fmla="*/ 639 w 770"/>
                <a:gd name="T71" fmla="*/ 577 h 795"/>
                <a:gd name="T72" fmla="*/ 722 w 770"/>
                <a:gd name="T73" fmla="*/ 577 h 795"/>
                <a:gd name="T74" fmla="*/ 736 w 770"/>
                <a:gd name="T75" fmla="*/ 579 h 795"/>
                <a:gd name="T76" fmla="*/ 768 w 770"/>
                <a:gd name="T77" fmla="*/ 628 h 795"/>
                <a:gd name="T78" fmla="*/ 730 w 770"/>
                <a:gd name="T79" fmla="*/ 666 h 795"/>
                <a:gd name="T80" fmla="*/ 707 w 770"/>
                <a:gd name="T81" fmla="*/ 668 h 795"/>
                <a:gd name="T82" fmla="*/ 708 w 770"/>
                <a:gd name="T83" fmla="*/ 725 h 795"/>
                <a:gd name="T84" fmla="*/ 666 w 770"/>
                <a:gd name="T85" fmla="*/ 795 h 795"/>
                <a:gd name="T86" fmla="*/ 285 w 770"/>
                <a:gd name="T87" fmla="*/ 795 h 795"/>
                <a:gd name="T88" fmla="*/ 244 w 770"/>
                <a:gd name="T89" fmla="*/ 725 h 795"/>
                <a:gd name="T90" fmla="*/ 244 w 770"/>
                <a:gd name="T91" fmla="*/ 681 h 795"/>
                <a:gd name="T92" fmla="*/ 183 w 770"/>
                <a:gd name="T93" fmla="*/ 681 h 795"/>
                <a:gd name="T94" fmla="*/ 9 w 770"/>
                <a:gd name="T95" fmla="*/ 547 h 795"/>
                <a:gd name="T96" fmla="*/ 0 w 770"/>
                <a:gd name="T97" fmla="*/ 513 h 795"/>
                <a:gd name="T98" fmla="*/ 476 w 770"/>
                <a:gd name="T99" fmla="*/ 715 h 795"/>
                <a:gd name="T100" fmla="*/ 450 w 770"/>
                <a:gd name="T101" fmla="*/ 741 h 795"/>
                <a:gd name="T102" fmla="*/ 476 w 770"/>
                <a:gd name="T103" fmla="*/ 768 h 795"/>
                <a:gd name="T104" fmla="*/ 502 w 770"/>
                <a:gd name="T105" fmla="*/ 742 h 795"/>
                <a:gd name="T106" fmla="*/ 476 w 770"/>
                <a:gd name="T107" fmla="*/ 715 h 795"/>
                <a:gd name="T108" fmla="*/ 474 w 770"/>
                <a:gd name="T109" fmla="*/ 51 h 795"/>
                <a:gd name="T110" fmla="*/ 527 w 770"/>
                <a:gd name="T111" fmla="*/ 51 h 795"/>
                <a:gd name="T112" fmla="*/ 537 w 770"/>
                <a:gd name="T113" fmla="*/ 46 h 795"/>
                <a:gd name="T114" fmla="*/ 528 w 770"/>
                <a:gd name="T115" fmla="*/ 39 h 795"/>
                <a:gd name="T116" fmla="*/ 423 w 770"/>
                <a:gd name="T117" fmla="*/ 39 h 795"/>
                <a:gd name="T118" fmla="*/ 414 w 770"/>
                <a:gd name="T119" fmla="*/ 45 h 795"/>
                <a:gd name="T120" fmla="*/ 424 w 770"/>
                <a:gd name="T121" fmla="*/ 51 h 795"/>
                <a:gd name="T122" fmla="*/ 474 w 770"/>
                <a:gd name="T123" fmla="*/ 51 h 7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70" h="795">
                  <a:moveTo>
                    <a:pt x="0" y="513"/>
                  </a:moveTo>
                  <a:cubicBezTo>
                    <a:pt x="0" y="491"/>
                    <a:pt x="0" y="469"/>
                    <a:pt x="0" y="447"/>
                  </a:cubicBezTo>
                  <a:cubicBezTo>
                    <a:pt x="2" y="436"/>
                    <a:pt x="4" y="424"/>
                    <a:pt x="7" y="413"/>
                  </a:cubicBezTo>
                  <a:cubicBezTo>
                    <a:pt x="18" y="362"/>
                    <a:pt x="39" y="318"/>
                    <a:pt x="86" y="290"/>
                  </a:cubicBezTo>
                  <a:cubicBezTo>
                    <a:pt x="134" y="263"/>
                    <a:pt x="182" y="236"/>
                    <a:pt x="231" y="209"/>
                  </a:cubicBezTo>
                  <a:cubicBezTo>
                    <a:pt x="240" y="204"/>
                    <a:pt x="244" y="198"/>
                    <a:pt x="244" y="187"/>
                  </a:cubicBezTo>
                  <a:cubicBezTo>
                    <a:pt x="243" y="148"/>
                    <a:pt x="245" y="109"/>
                    <a:pt x="243" y="70"/>
                  </a:cubicBezTo>
                  <a:cubicBezTo>
                    <a:pt x="242" y="37"/>
                    <a:pt x="254" y="13"/>
                    <a:pt x="285" y="0"/>
                  </a:cubicBezTo>
                  <a:cubicBezTo>
                    <a:pt x="412" y="0"/>
                    <a:pt x="539" y="0"/>
                    <a:pt x="666" y="0"/>
                  </a:cubicBezTo>
                  <a:cubicBezTo>
                    <a:pt x="698" y="13"/>
                    <a:pt x="709" y="37"/>
                    <a:pt x="708" y="70"/>
                  </a:cubicBezTo>
                  <a:cubicBezTo>
                    <a:pt x="707" y="127"/>
                    <a:pt x="707" y="185"/>
                    <a:pt x="707" y="242"/>
                  </a:cubicBezTo>
                  <a:cubicBezTo>
                    <a:pt x="707" y="248"/>
                    <a:pt x="707" y="253"/>
                    <a:pt x="707" y="259"/>
                  </a:cubicBezTo>
                  <a:cubicBezTo>
                    <a:pt x="714" y="259"/>
                    <a:pt x="718" y="259"/>
                    <a:pt x="722" y="259"/>
                  </a:cubicBezTo>
                  <a:cubicBezTo>
                    <a:pt x="751" y="260"/>
                    <a:pt x="768" y="277"/>
                    <a:pt x="768" y="305"/>
                  </a:cubicBezTo>
                  <a:cubicBezTo>
                    <a:pt x="768" y="331"/>
                    <a:pt x="751" y="348"/>
                    <a:pt x="722" y="349"/>
                  </a:cubicBezTo>
                  <a:cubicBezTo>
                    <a:pt x="694" y="349"/>
                    <a:pt x="666" y="349"/>
                    <a:pt x="638" y="349"/>
                  </a:cubicBezTo>
                  <a:cubicBezTo>
                    <a:pt x="610" y="348"/>
                    <a:pt x="593" y="331"/>
                    <a:pt x="593" y="304"/>
                  </a:cubicBezTo>
                  <a:cubicBezTo>
                    <a:pt x="593" y="277"/>
                    <a:pt x="611" y="260"/>
                    <a:pt x="639" y="259"/>
                  </a:cubicBezTo>
                  <a:cubicBezTo>
                    <a:pt x="648" y="258"/>
                    <a:pt x="658" y="259"/>
                    <a:pt x="668" y="259"/>
                  </a:cubicBezTo>
                  <a:cubicBezTo>
                    <a:pt x="668" y="200"/>
                    <a:pt x="668" y="143"/>
                    <a:pt x="668" y="86"/>
                  </a:cubicBezTo>
                  <a:cubicBezTo>
                    <a:pt x="539" y="86"/>
                    <a:pt x="411" y="86"/>
                    <a:pt x="283" y="86"/>
                  </a:cubicBezTo>
                  <a:cubicBezTo>
                    <a:pt x="283" y="117"/>
                    <a:pt x="283" y="147"/>
                    <a:pt x="283" y="177"/>
                  </a:cubicBezTo>
                  <a:cubicBezTo>
                    <a:pt x="285" y="177"/>
                    <a:pt x="286" y="177"/>
                    <a:pt x="287" y="177"/>
                  </a:cubicBezTo>
                  <a:cubicBezTo>
                    <a:pt x="311" y="164"/>
                    <a:pt x="334" y="151"/>
                    <a:pt x="358" y="138"/>
                  </a:cubicBezTo>
                  <a:cubicBezTo>
                    <a:pt x="368" y="133"/>
                    <a:pt x="379" y="128"/>
                    <a:pt x="390" y="125"/>
                  </a:cubicBezTo>
                  <a:cubicBezTo>
                    <a:pt x="420" y="118"/>
                    <a:pt x="442" y="138"/>
                    <a:pt x="439" y="169"/>
                  </a:cubicBezTo>
                  <a:cubicBezTo>
                    <a:pt x="436" y="195"/>
                    <a:pt x="418" y="210"/>
                    <a:pt x="400" y="224"/>
                  </a:cubicBezTo>
                  <a:cubicBezTo>
                    <a:pt x="365" y="251"/>
                    <a:pt x="329" y="277"/>
                    <a:pt x="293" y="303"/>
                  </a:cubicBezTo>
                  <a:cubicBezTo>
                    <a:pt x="285" y="308"/>
                    <a:pt x="282" y="314"/>
                    <a:pt x="282" y="323"/>
                  </a:cubicBezTo>
                  <a:cubicBezTo>
                    <a:pt x="282" y="442"/>
                    <a:pt x="282" y="561"/>
                    <a:pt x="282" y="680"/>
                  </a:cubicBezTo>
                  <a:cubicBezTo>
                    <a:pt x="282" y="685"/>
                    <a:pt x="283" y="690"/>
                    <a:pt x="283" y="694"/>
                  </a:cubicBezTo>
                  <a:cubicBezTo>
                    <a:pt x="412" y="694"/>
                    <a:pt x="540" y="694"/>
                    <a:pt x="668" y="694"/>
                  </a:cubicBezTo>
                  <a:cubicBezTo>
                    <a:pt x="668" y="685"/>
                    <a:pt x="668" y="677"/>
                    <a:pt x="668" y="667"/>
                  </a:cubicBezTo>
                  <a:cubicBezTo>
                    <a:pt x="658" y="667"/>
                    <a:pt x="648" y="667"/>
                    <a:pt x="639" y="667"/>
                  </a:cubicBezTo>
                  <a:cubicBezTo>
                    <a:pt x="610" y="666"/>
                    <a:pt x="593" y="650"/>
                    <a:pt x="593" y="623"/>
                  </a:cubicBezTo>
                  <a:cubicBezTo>
                    <a:pt x="593" y="595"/>
                    <a:pt x="610" y="577"/>
                    <a:pt x="639" y="577"/>
                  </a:cubicBezTo>
                  <a:cubicBezTo>
                    <a:pt x="667" y="576"/>
                    <a:pt x="694" y="577"/>
                    <a:pt x="722" y="577"/>
                  </a:cubicBezTo>
                  <a:cubicBezTo>
                    <a:pt x="727" y="577"/>
                    <a:pt x="732" y="578"/>
                    <a:pt x="736" y="579"/>
                  </a:cubicBezTo>
                  <a:cubicBezTo>
                    <a:pt x="758" y="585"/>
                    <a:pt x="770" y="603"/>
                    <a:pt x="768" y="628"/>
                  </a:cubicBezTo>
                  <a:cubicBezTo>
                    <a:pt x="766" y="649"/>
                    <a:pt x="751" y="664"/>
                    <a:pt x="730" y="666"/>
                  </a:cubicBezTo>
                  <a:cubicBezTo>
                    <a:pt x="723" y="667"/>
                    <a:pt x="716" y="667"/>
                    <a:pt x="707" y="668"/>
                  </a:cubicBezTo>
                  <a:cubicBezTo>
                    <a:pt x="707" y="687"/>
                    <a:pt x="707" y="706"/>
                    <a:pt x="708" y="725"/>
                  </a:cubicBezTo>
                  <a:cubicBezTo>
                    <a:pt x="710" y="758"/>
                    <a:pt x="698" y="782"/>
                    <a:pt x="666" y="795"/>
                  </a:cubicBezTo>
                  <a:cubicBezTo>
                    <a:pt x="539" y="795"/>
                    <a:pt x="412" y="795"/>
                    <a:pt x="285" y="795"/>
                  </a:cubicBezTo>
                  <a:cubicBezTo>
                    <a:pt x="254" y="782"/>
                    <a:pt x="242" y="758"/>
                    <a:pt x="244" y="725"/>
                  </a:cubicBezTo>
                  <a:cubicBezTo>
                    <a:pt x="245" y="711"/>
                    <a:pt x="244" y="697"/>
                    <a:pt x="244" y="681"/>
                  </a:cubicBezTo>
                  <a:cubicBezTo>
                    <a:pt x="222" y="681"/>
                    <a:pt x="203" y="681"/>
                    <a:pt x="183" y="681"/>
                  </a:cubicBezTo>
                  <a:cubicBezTo>
                    <a:pt x="100" y="680"/>
                    <a:pt x="31" y="627"/>
                    <a:pt x="9" y="547"/>
                  </a:cubicBezTo>
                  <a:cubicBezTo>
                    <a:pt x="5" y="536"/>
                    <a:pt x="3" y="524"/>
                    <a:pt x="0" y="513"/>
                  </a:cubicBezTo>
                  <a:close/>
                  <a:moveTo>
                    <a:pt x="476" y="715"/>
                  </a:moveTo>
                  <a:cubicBezTo>
                    <a:pt x="462" y="715"/>
                    <a:pt x="450" y="726"/>
                    <a:pt x="450" y="741"/>
                  </a:cubicBezTo>
                  <a:cubicBezTo>
                    <a:pt x="449" y="755"/>
                    <a:pt x="461" y="768"/>
                    <a:pt x="476" y="768"/>
                  </a:cubicBezTo>
                  <a:cubicBezTo>
                    <a:pt x="489" y="768"/>
                    <a:pt x="501" y="756"/>
                    <a:pt x="502" y="742"/>
                  </a:cubicBezTo>
                  <a:cubicBezTo>
                    <a:pt x="502" y="727"/>
                    <a:pt x="490" y="715"/>
                    <a:pt x="476" y="715"/>
                  </a:cubicBezTo>
                  <a:close/>
                  <a:moveTo>
                    <a:pt x="474" y="51"/>
                  </a:moveTo>
                  <a:cubicBezTo>
                    <a:pt x="492" y="51"/>
                    <a:pt x="509" y="52"/>
                    <a:pt x="527" y="51"/>
                  </a:cubicBezTo>
                  <a:cubicBezTo>
                    <a:pt x="530" y="51"/>
                    <a:pt x="534" y="48"/>
                    <a:pt x="537" y="46"/>
                  </a:cubicBezTo>
                  <a:cubicBezTo>
                    <a:pt x="534" y="43"/>
                    <a:pt x="531" y="39"/>
                    <a:pt x="528" y="39"/>
                  </a:cubicBezTo>
                  <a:cubicBezTo>
                    <a:pt x="493" y="39"/>
                    <a:pt x="458" y="39"/>
                    <a:pt x="423" y="39"/>
                  </a:cubicBezTo>
                  <a:cubicBezTo>
                    <a:pt x="420" y="39"/>
                    <a:pt x="417" y="43"/>
                    <a:pt x="414" y="45"/>
                  </a:cubicBezTo>
                  <a:cubicBezTo>
                    <a:pt x="417" y="47"/>
                    <a:pt x="420" y="51"/>
                    <a:pt x="424" y="51"/>
                  </a:cubicBezTo>
                  <a:cubicBezTo>
                    <a:pt x="440" y="52"/>
                    <a:pt x="457" y="51"/>
                    <a:pt x="474" y="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a:solidFill>
                  <a:srgbClr val="5F5F5F"/>
                </a:solidFill>
              </a:endParaRPr>
            </a:p>
          </p:txBody>
        </p:sp>
        <p:sp>
          <p:nvSpPr>
            <p:cNvPr id="77" name="Freeform 32"/>
            <p:cNvSpPr>
              <a:spLocks/>
            </p:cNvSpPr>
            <p:nvPr/>
          </p:nvSpPr>
          <p:spPr bwMode="auto">
            <a:xfrm>
              <a:off x="3038472" y="5299075"/>
              <a:ext cx="206375" cy="104774"/>
            </a:xfrm>
            <a:custGeom>
              <a:avLst/>
              <a:gdLst>
                <a:gd name="T0" fmla="*/ 88 w 177"/>
                <a:gd name="T1" fmla="*/ 1 h 91"/>
                <a:gd name="T2" fmla="*/ 136 w 177"/>
                <a:gd name="T3" fmla="*/ 1 h 91"/>
                <a:gd name="T4" fmla="*/ 175 w 177"/>
                <a:gd name="T5" fmla="*/ 39 h 91"/>
                <a:gd name="T6" fmla="*/ 143 w 177"/>
                <a:gd name="T7" fmla="*/ 88 h 91"/>
                <a:gd name="T8" fmla="*/ 130 w 177"/>
                <a:gd name="T9" fmla="*/ 90 h 91"/>
                <a:gd name="T10" fmla="*/ 45 w 177"/>
                <a:gd name="T11" fmla="*/ 90 h 91"/>
                <a:gd name="T12" fmla="*/ 0 w 177"/>
                <a:gd name="T13" fmla="*/ 44 h 91"/>
                <a:gd name="T14" fmla="*/ 44 w 177"/>
                <a:gd name="T15" fmla="*/ 0 h 91"/>
                <a:gd name="T16" fmla="*/ 88 w 177"/>
                <a:gd name="T17" fmla="*/ 0 h 91"/>
                <a:gd name="T18" fmla="*/ 88 w 177"/>
                <a:gd name="T19" fmla="*/ 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7" h="91">
                  <a:moveTo>
                    <a:pt x="88" y="1"/>
                  </a:moveTo>
                  <a:cubicBezTo>
                    <a:pt x="104" y="1"/>
                    <a:pt x="120" y="0"/>
                    <a:pt x="136" y="1"/>
                  </a:cubicBezTo>
                  <a:cubicBezTo>
                    <a:pt x="157" y="2"/>
                    <a:pt x="173" y="18"/>
                    <a:pt x="175" y="39"/>
                  </a:cubicBezTo>
                  <a:cubicBezTo>
                    <a:pt x="177" y="64"/>
                    <a:pt x="165" y="82"/>
                    <a:pt x="143" y="88"/>
                  </a:cubicBezTo>
                  <a:cubicBezTo>
                    <a:pt x="139" y="89"/>
                    <a:pt x="134" y="90"/>
                    <a:pt x="130" y="90"/>
                  </a:cubicBezTo>
                  <a:cubicBezTo>
                    <a:pt x="102" y="91"/>
                    <a:pt x="73" y="91"/>
                    <a:pt x="45" y="90"/>
                  </a:cubicBezTo>
                  <a:cubicBezTo>
                    <a:pt x="17" y="90"/>
                    <a:pt x="0" y="71"/>
                    <a:pt x="0" y="44"/>
                  </a:cubicBezTo>
                  <a:cubicBezTo>
                    <a:pt x="0" y="18"/>
                    <a:pt x="17" y="1"/>
                    <a:pt x="44" y="0"/>
                  </a:cubicBezTo>
                  <a:cubicBezTo>
                    <a:pt x="59" y="0"/>
                    <a:pt x="73" y="0"/>
                    <a:pt x="88" y="0"/>
                  </a:cubicBezTo>
                  <a:cubicBezTo>
                    <a:pt x="88" y="0"/>
                    <a:pt x="88" y="1"/>
                    <a:pt x="88"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a:solidFill>
                  <a:srgbClr val="5F5F5F"/>
                </a:solidFill>
              </a:endParaRPr>
            </a:p>
          </p:txBody>
        </p:sp>
        <p:sp>
          <p:nvSpPr>
            <p:cNvPr id="78" name="Freeform 33"/>
            <p:cNvSpPr>
              <a:spLocks/>
            </p:cNvSpPr>
            <p:nvPr/>
          </p:nvSpPr>
          <p:spPr bwMode="auto">
            <a:xfrm>
              <a:off x="3038476" y="5421314"/>
              <a:ext cx="204788" cy="104774"/>
            </a:xfrm>
            <a:custGeom>
              <a:avLst/>
              <a:gdLst>
                <a:gd name="T0" fmla="*/ 87 w 175"/>
                <a:gd name="T1" fmla="*/ 90 h 90"/>
                <a:gd name="T2" fmla="*/ 42 w 175"/>
                <a:gd name="T3" fmla="*/ 90 h 90"/>
                <a:gd name="T4" fmla="*/ 0 w 175"/>
                <a:gd name="T5" fmla="*/ 45 h 90"/>
                <a:gd name="T6" fmla="*/ 41 w 175"/>
                <a:gd name="T7" fmla="*/ 0 h 90"/>
                <a:gd name="T8" fmla="*/ 134 w 175"/>
                <a:gd name="T9" fmla="*/ 0 h 90"/>
                <a:gd name="T10" fmla="*/ 175 w 175"/>
                <a:gd name="T11" fmla="*/ 46 h 90"/>
                <a:gd name="T12" fmla="*/ 133 w 175"/>
                <a:gd name="T13" fmla="*/ 90 h 90"/>
                <a:gd name="T14" fmla="*/ 87 w 175"/>
                <a:gd name="T15" fmla="*/ 90 h 9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5" h="90">
                  <a:moveTo>
                    <a:pt x="87" y="90"/>
                  </a:moveTo>
                  <a:cubicBezTo>
                    <a:pt x="72" y="90"/>
                    <a:pt x="57" y="90"/>
                    <a:pt x="42" y="90"/>
                  </a:cubicBezTo>
                  <a:cubicBezTo>
                    <a:pt x="17" y="89"/>
                    <a:pt x="0" y="70"/>
                    <a:pt x="0" y="45"/>
                  </a:cubicBezTo>
                  <a:cubicBezTo>
                    <a:pt x="0" y="20"/>
                    <a:pt x="17" y="1"/>
                    <a:pt x="41" y="0"/>
                  </a:cubicBezTo>
                  <a:cubicBezTo>
                    <a:pt x="72" y="0"/>
                    <a:pt x="103" y="0"/>
                    <a:pt x="134" y="0"/>
                  </a:cubicBezTo>
                  <a:cubicBezTo>
                    <a:pt x="159" y="1"/>
                    <a:pt x="175" y="20"/>
                    <a:pt x="175" y="46"/>
                  </a:cubicBezTo>
                  <a:cubicBezTo>
                    <a:pt x="175" y="71"/>
                    <a:pt x="158" y="89"/>
                    <a:pt x="133" y="90"/>
                  </a:cubicBezTo>
                  <a:cubicBezTo>
                    <a:pt x="118" y="90"/>
                    <a:pt x="102" y="90"/>
                    <a:pt x="87" y="9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a:solidFill>
                  <a:srgbClr val="5F5F5F"/>
                </a:solidFill>
              </a:endParaRPr>
            </a:p>
          </p:txBody>
        </p:sp>
      </p:grpSp>
      <p:grpSp>
        <p:nvGrpSpPr>
          <p:cNvPr id="43" name="Gruppieren 42"/>
          <p:cNvGrpSpPr>
            <a:grpSpLocks noChangeAspect="1"/>
          </p:cNvGrpSpPr>
          <p:nvPr/>
        </p:nvGrpSpPr>
        <p:grpSpPr>
          <a:xfrm>
            <a:off x="539748" y="4876006"/>
            <a:ext cx="719884" cy="215444"/>
            <a:chOff x="539748" y="4876006"/>
            <a:chExt cx="719884" cy="215444"/>
          </a:xfrm>
        </p:grpSpPr>
        <p:sp>
          <p:nvSpPr>
            <p:cNvPr id="44" name="Textfeld 43"/>
            <p:cNvSpPr txBox="1"/>
            <p:nvPr userDrawn="1"/>
          </p:nvSpPr>
          <p:spPr>
            <a:xfrm>
              <a:off x="539750" y="4876006"/>
              <a:ext cx="719882" cy="215444"/>
            </a:xfrm>
            <a:prstGeom prst="rect">
              <a:avLst/>
            </a:prstGeom>
            <a:noFill/>
          </p:spPr>
          <p:txBody>
            <a:bodyPr wrap="square" rtlCol="0">
              <a:spAutoFit/>
            </a:bodyPr>
            <a:lstStyle/>
            <a:p>
              <a:pPr algn="ctr"/>
              <a:r>
                <a:rPr lang="ru-RU" sz="800" kern="1300" spc="80" dirty="0" smtClean="0"/>
                <a:t>ТРЕНД</a:t>
              </a:r>
              <a:r>
                <a:rPr lang="de-DE" sz="800" kern="1300" spc="80" baseline="0" dirty="0" smtClean="0"/>
                <a:t> </a:t>
              </a:r>
              <a:r>
                <a:rPr lang="de-DE" sz="800" b="1" kern="1300" spc="80" baseline="0" dirty="0" smtClean="0"/>
                <a:t>0</a:t>
              </a:r>
              <a:r>
                <a:rPr lang="ru-RU" sz="800" b="1" kern="1300" spc="80" baseline="0" dirty="0" smtClean="0"/>
                <a:t>3</a:t>
              </a:r>
              <a:endParaRPr lang="de-DE" sz="800" b="1" kern="1300" spc="80" baseline="0" dirty="0" smtClean="0"/>
            </a:p>
          </p:txBody>
        </p:sp>
        <p:sp>
          <p:nvSpPr>
            <p:cNvPr id="45" name="Gleichschenkliges Dreieck 44"/>
            <p:cNvSpPr/>
            <p:nvPr userDrawn="1"/>
          </p:nvSpPr>
          <p:spPr>
            <a:xfrm rot="16200000" flipH="1" flipV="1">
              <a:off x="534004" y="4938683"/>
              <a:ext cx="83300" cy="71811"/>
            </a:xfrm>
            <a:prstGeom prst="triangl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sp>
          <p:nvSpPr>
            <p:cNvPr id="46" name="Gleichschenkliges Dreieck 45"/>
            <p:cNvSpPr/>
            <p:nvPr userDrawn="1"/>
          </p:nvSpPr>
          <p:spPr>
            <a:xfrm rot="5400000" flipV="1">
              <a:off x="1182077" y="4938684"/>
              <a:ext cx="83300" cy="71811"/>
            </a:xfrm>
            <a:prstGeom prst="triangl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grpSp>
      <p:sp>
        <p:nvSpPr>
          <p:cNvPr id="49" name="Oval 53"/>
          <p:cNvSpPr>
            <a:spLocks noChangeAspect="1"/>
          </p:cNvSpPr>
          <p:nvPr/>
        </p:nvSpPr>
        <p:spPr>
          <a:xfrm>
            <a:off x="1852138" y="1707540"/>
            <a:ext cx="1694028" cy="1694028"/>
          </a:xfrm>
          <a:prstGeom prst="ellipse">
            <a:avLst/>
          </a:prstGeom>
          <a:noFill/>
          <a:ln w="19050">
            <a:solidFill>
              <a:srgbClr val="FF8300"/>
            </a:solidFill>
            <a:prstDash val="sys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80" name="TextBox 13"/>
          <p:cNvSpPr txBox="1"/>
          <p:nvPr/>
        </p:nvSpPr>
        <p:spPr>
          <a:xfrm>
            <a:off x="5697125" y="4939028"/>
            <a:ext cx="3401870" cy="215444"/>
          </a:xfrm>
          <a:prstGeom prst="rect">
            <a:avLst/>
          </a:prstGeom>
          <a:noFill/>
        </p:spPr>
        <p:txBody>
          <a:bodyPr wrap="square" rtlCol="0" anchor="b">
            <a:spAutoFit/>
          </a:bodyPr>
          <a:lstStyle/>
          <a:p>
            <a:r>
              <a:rPr lang="ru-RU" sz="800" dirty="0" smtClean="0">
                <a:solidFill>
                  <a:srgbClr val="5F5F5F"/>
                </a:solidFill>
              </a:rPr>
              <a:t>Примечание</a:t>
            </a:r>
            <a:r>
              <a:rPr lang="en-GB" sz="800" dirty="0" smtClean="0">
                <a:solidFill>
                  <a:srgbClr val="5F5F5F"/>
                </a:solidFill>
              </a:rPr>
              <a:t>:</a:t>
            </a:r>
            <a:r>
              <a:rPr lang="ru-RU" sz="800" dirty="0" smtClean="0">
                <a:solidFill>
                  <a:srgbClr val="5F5F5F"/>
                </a:solidFill>
              </a:rPr>
              <a:t> по данным </a:t>
            </a:r>
            <a:r>
              <a:rPr lang="en-US" sz="800" dirty="0" smtClean="0">
                <a:solidFill>
                  <a:srgbClr val="5F5F5F"/>
                </a:solidFill>
              </a:rPr>
              <a:t>WEB-Index </a:t>
            </a:r>
            <a:r>
              <a:rPr lang="ru-RU" sz="800" dirty="0" smtClean="0">
                <a:solidFill>
                  <a:srgbClr val="5F5F5F"/>
                </a:solidFill>
              </a:rPr>
              <a:t>за Июнь 2017</a:t>
            </a:r>
            <a:endParaRPr lang="en-GB" sz="1100" dirty="0" err="1">
              <a:solidFill>
                <a:srgbClr val="5F5F5F"/>
              </a:solidFill>
            </a:endParaRPr>
          </a:p>
        </p:txBody>
      </p:sp>
      <p:grpSp>
        <p:nvGrpSpPr>
          <p:cNvPr id="7" name="Gruppieren 6"/>
          <p:cNvGrpSpPr/>
          <p:nvPr/>
        </p:nvGrpSpPr>
        <p:grpSpPr>
          <a:xfrm>
            <a:off x="1308659" y="1891979"/>
            <a:ext cx="714508" cy="714508"/>
            <a:chOff x="1648302" y="1664390"/>
            <a:chExt cx="714508" cy="714508"/>
          </a:xfrm>
        </p:grpSpPr>
        <p:sp>
          <p:nvSpPr>
            <p:cNvPr id="81" name="Ellipse 80"/>
            <p:cNvSpPr/>
            <p:nvPr/>
          </p:nvSpPr>
          <p:spPr>
            <a:xfrm>
              <a:off x="1648302" y="1664390"/>
              <a:ext cx="714508" cy="714508"/>
            </a:xfrm>
            <a:prstGeom prst="ellipse">
              <a:avLst/>
            </a:prstGeom>
            <a:solidFill>
              <a:schemeClr val="accent2"/>
            </a:solidFill>
            <a:ln w="28575">
              <a:solidFill>
                <a:srgbClr val="FFFFFF"/>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grpSp>
          <p:nvGrpSpPr>
            <p:cNvPr id="55" name="Gruppieren 39"/>
            <p:cNvGrpSpPr>
              <a:grpSpLocks noChangeAspect="1"/>
            </p:cNvGrpSpPr>
            <p:nvPr/>
          </p:nvGrpSpPr>
          <p:grpSpPr>
            <a:xfrm>
              <a:off x="1748768" y="1812892"/>
              <a:ext cx="555520" cy="290644"/>
              <a:chOff x="-1819275" y="3159125"/>
              <a:chExt cx="898525" cy="457201"/>
            </a:xfrm>
            <a:solidFill>
              <a:srgbClr val="FFFFFF"/>
            </a:solidFill>
          </p:grpSpPr>
          <p:sp>
            <p:nvSpPr>
              <p:cNvPr id="56" name="Freeform 24"/>
              <p:cNvSpPr>
                <a:spLocks/>
              </p:cNvSpPr>
              <p:nvPr/>
            </p:nvSpPr>
            <p:spPr bwMode="auto">
              <a:xfrm>
                <a:off x="-1647825" y="3421063"/>
                <a:ext cx="69850" cy="69850"/>
              </a:xfrm>
              <a:custGeom>
                <a:avLst/>
                <a:gdLst>
                  <a:gd name="T0" fmla="*/ 66 w 132"/>
                  <a:gd name="T1" fmla="*/ 130 h 130"/>
                  <a:gd name="T2" fmla="*/ 66 w 132"/>
                  <a:gd name="T3" fmla="*/ 130 h 130"/>
                  <a:gd name="T4" fmla="*/ 80 w 132"/>
                  <a:gd name="T5" fmla="*/ 129 h 130"/>
                  <a:gd name="T6" fmla="*/ 92 w 132"/>
                  <a:gd name="T7" fmla="*/ 125 h 130"/>
                  <a:gd name="T8" fmla="*/ 102 w 132"/>
                  <a:gd name="T9" fmla="*/ 119 h 130"/>
                  <a:gd name="T10" fmla="*/ 113 w 132"/>
                  <a:gd name="T11" fmla="*/ 111 h 130"/>
                  <a:gd name="T12" fmla="*/ 120 w 132"/>
                  <a:gd name="T13" fmla="*/ 102 h 130"/>
                  <a:gd name="T14" fmla="*/ 126 w 132"/>
                  <a:gd name="T15" fmla="*/ 90 h 130"/>
                  <a:gd name="T16" fmla="*/ 131 w 132"/>
                  <a:gd name="T17" fmla="*/ 78 h 130"/>
                  <a:gd name="T18" fmla="*/ 132 w 132"/>
                  <a:gd name="T19" fmla="*/ 65 h 130"/>
                  <a:gd name="T20" fmla="*/ 132 w 132"/>
                  <a:gd name="T21" fmla="*/ 65 h 130"/>
                  <a:gd name="T22" fmla="*/ 131 w 132"/>
                  <a:gd name="T23" fmla="*/ 52 h 130"/>
                  <a:gd name="T24" fmla="*/ 126 w 132"/>
                  <a:gd name="T25" fmla="*/ 39 h 130"/>
                  <a:gd name="T26" fmla="*/ 120 w 132"/>
                  <a:gd name="T27" fmla="*/ 28 h 130"/>
                  <a:gd name="T28" fmla="*/ 113 w 132"/>
                  <a:gd name="T29" fmla="*/ 19 h 130"/>
                  <a:gd name="T30" fmla="*/ 102 w 132"/>
                  <a:gd name="T31" fmla="*/ 11 h 130"/>
                  <a:gd name="T32" fmla="*/ 92 w 132"/>
                  <a:gd name="T33" fmla="*/ 5 h 130"/>
                  <a:gd name="T34" fmla="*/ 80 w 132"/>
                  <a:gd name="T35" fmla="*/ 1 h 130"/>
                  <a:gd name="T36" fmla="*/ 66 w 132"/>
                  <a:gd name="T37" fmla="*/ 0 h 130"/>
                  <a:gd name="T38" fmla="*/ 66 w 132"/>
                  <a:gd name="T39" fmla="*/ 0 h 130"/>
                  <a:gd name="T40" fmla="*/ 53 w 132"/>
                  <a:gd name="T41" fmla="*/ 1 h 130"/>
                  <a:gd name="T42" fmla="*/ 41 w 132"/>
                  <a:gd name="T43" fmla="*/ 5 h 130"/>
                  <a:gd name="T44" fmla="*/ 30 w 132"/>
                  <a:gd name="T45" fmla="*/ 11 h 130"/>
                  <a:gd name="T46" fmla="*/ 19 w 132"/>
                  <a:gd name="T47" fmla="*/ 19 h 130"/>
                  <a:gd name="T48" fmla="*/ 12 w 132"/>
                  <a:gd name="T49" fmla="*/ 28 h 130"/>
                  <a:gd name="T50" fmla="*/ 6 w 132"/>
                  <a:gd name="T51" fmla="*/ 39 h 130"/>
                  <a:gd name="T52" fmla="*/ 2 w 132"/>
                  <a:gd name="T53" fmla="*/ 52 h 130"/>
                  <a:gd name="T54" fmla="*/ 0 w 132"/>
                  <a:gd name="T55" fmla="*/ 65 h 130"/>
                  <a:gd name="T56" fmla="*/ 0 w 132"/>
                  <a:gd name="T57" fmla="*/ 65 h 130"/>
                  <a:gd name="T58" fmla="*/ 2 w 132"/>
                  <a:gd name="T59" fmla="*/ 78 h 130"/>
                  <a:gd name="T60" fmla="*/ 6 w 132"/>
                  <a:gd name="T61" fmla="*/ 90 h 130"/>
                  <a:gd name="T62" fmla="*/ 12 w 132"/>
                  <a:gd name="T63" fmla="*/ 102 h 130"/>
                  <a:gd name="T64" fmla="*/ 19 w 132"/>
                  <a:gd name="T65" fmla="*/ 111 h 130"/>
                  <a:gd name="T66" fmla="*/ 30 w 132"/>
                  <a:gd name="T67" fmla="*/ 119 h 130"/>
                  <a:gd name="T68" fmla="*/ 41 w 132"/>
                  <a:gd name="T69" fmla="*/ 125 h 130"/>
                  <a:gd name="T70" fmla="*/ 53 w 132"/>
                  <a:gd name="T71" fmla="*/ 129 h 130"/>
                  <a:gd name="T72" fmla="*/ 66 w 132"/>
                  <a:gd name="T73" fmla="*/ 130 h 130"/>
                  <a:gd name="T74" fmla="*/ 66 w 132"/>
                  <a:gd name="T75" fmla="*/ 13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2" h="130">
                    <a:moveTo>
                      <a:pt x="66" y="130"/>
                    </a:moveTo>
                    <a:lnTo>
                      <a:pt x="66" y="130"/>
                    </a:lnTo>
                    <a:lnTo>
                      <a:pt x="80" y="129"/>
                    </a:lnTo>
                    <a:lnTo>
                      <a:pt x="92" y="125"/>
                    </a:lnTo>
                    <a:lnTo>
                      <a:pt x="102" y="119"/>
                    </a:lnTo>
                    <a:lnTo>
                      <a:pt x="113" y="111"/>
                    </a:lnTo>
                    <a:lnTo>
                      <a:pt x="120" y="102"/>
                    </a:lnTo>
                    <a:lnTo>
                      <a:pt x="126" y="90"/>
                    </a:lnTo>
                    <a:lnTo>
                      <a:pt x="131" y="78"/>
                    </a:lnTo>
                    <a:lnTo>
                      <a:pt x="132" y="65"/>
                    </a:lnTo>
                    <a:lnTo>
                      <a:pt x="132" y="65"/>
                    </a:lnTo>
                    <a:lnTo>
                      <a:pt x="131" y="52"/>
                    </a:lnTo>
                    <a:lnTo>
                      <a:pt x="126" y="39"/>
                    </a:lnTo>
                    <a:lnTo>
                      <a:pt x="120" y="28"/>
                    </a:lnTo>
                    <a:lnTo>
                      <a:pt x="113" y="19"/>
                    </a:lnTo>
                    <a:lnTo>
                      <a:pt x="102" y="11"/>
                    </a:lnTo>
                    <a:lnTo>
                      <a:pt x="92" y="5"/>
                    </a:lnTo>
                    <a:lnTo>
                      <a:pt x="80" y="1"/>
                    </a:lnTo>
                    <a:lnTo>
                      <a:pt x="66" y="0"/>
                    </a:lnTo>
                    <a:lnTo>
                      <a:pt x="66" y="0"/>
                    </a:lnTo>
                    <a:lnTo>
                      <a:pt x="53" y="1"/>
                    </a:lnTo>
                    <a:lnTo>
                      <a:pt x="41" y="5"/>
                    </a:lnTo>
                    <a:lnTo>
                      <a:pt x="30" y="11"/>
                    </a:lnTo>
                    <a:lnTo>
                      <a:pt x="19" y="19"/>
                    </a:lnTo>
                    <a:lnTo>
                      <a:pt x="12" y="28"/>
                    </a:lnTo>
                    <a:lnTo>
                      <a:pt x="6" y="39"/>
                    </a:lnTo>
                    <a:lnTo>
                      <a:pt x="2" y="52"/>
                    </a:lnTo>
                    <a:lnTo>
                      <a:pt x="0" y="65"/>
                    </a:lnTo>
                    <a:lnTo>
                      <a:pt x="0" y="65"/>
                    </a:lnTo>
                    <a:lnTo>
                      <a:pt x="2" y="78"/>
                    </a:lnTo>
                    <a:lnTo>
                      <a:pt x="6" y="90"/>
                    </a:lnTo>
                    <a:lnTo>
                      <a:pt x="12" y="102"/>
                    </a:lnTo>
                    <a:lnTo>
                      <a:pt x="19" y="111"/>
                    </a:lnTo>
                    <a:lnTo>
                      <a:pt x="30" y="119"/>
                    </a:lnTo>
                    <a:lnTo>
                      <a:pt x="41" y="125"/>
                    </a:lnTo>
                    <a:lnTo>
                      <a:pt x="53" y="129"/>
                    </a:lnTo>
                    <a:lnTo>
                      <a:pt x="66" y="130"/>
                    </a:lnTo>
                    <a:lnTo>
                      <a:pt x="66" y="13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914400"/>
                <a:endParaRPr lang="de-DE">
                  <a:solidFill>
                    <a:srgbClr val="5F5F5F"/>
                  </a:solidFill>
                </a:endParaRPr>
              </a:p>
            </p:txBody>
          </p:sp>
          <p:sp>
            <p:nvSpPr>
              <p:cNvPr id="57" name="Freeform 25"/>
              <p:cNvSpPr>
                <a:spLocks/>
              </p:cNvSpPr>
              <p:nvPr/>
            </p:nvSpPr>
            <p:spPr bwMode="auto">
              <a:xfrm>
                <a:off x="-1754188" y="3406775"/>
                <a:ext cx="282575" cy="169863"/>
              </a:xfrm>
              <a:custGeom>
                <a:avLst/>
                <a:gdLst>
                  <a:gd name="T0" fmla="*/ 179 w 536"/>
                  <a:gd name="T1" fmla="*/ 227 h 320"/>
                  <a:gd name="T2" fmla="*/ 179 w 536"/>
                  <a:gd name="T3" fmla="*/ 320 h 320"/>
                  <a:gd name="T4" fmla="*/ 356 w 536"/>
                  <a:gd name="T5" fmla="*/ 320 h 320"/>
                  <a:gd name="T6" fmla="*/ 356 w 536"/>
                  <a:gd name="T7" fmla="*/ 227 h 320"/>
                  <a:gd name="T8" fmla="*/ 526 w 536"/>
                  <a:gd name="T9" fmla="*/ 56 h 320"/>
                  <a:gd name="T10" fmla="*/ 526 w 536"/>
                  <a:gd name="T11" fmla="*/ 56 h 320"/>
                  <a:gd name="T12" fmla="*/ 531 w 536"/>
                  <a:gd name="T13" fmla="*/ 52 h 320"/>
                  <a:gd name="T14" fmla="*/ 533 w 536"/>
                  <a:gd name="T15" fmla="*/ 46 h 320"/>
                  <a:gd name="T16" fmla="*/ 534 w 536"/>
                  <a:gd name="T17" fmla="*/ 39 h 320"/>
                  <a:gd name="T18" fmla="*/ 536 w 536"/>
                  <a:gd name="T19" fmla="*/ 33 h 320"/>
                  <a:gd name="T20" fmla="*/ 534 w 536"/>
                  <a:gd name="T21" fmla="*/ 27 h 320"/>
                  <a:gd name="T22" fmla="*/ 532 w 536"/>
                  <a:gd name="T23" fmla="*/ 20 h 320"/>
                  <a:gd name="T24" fmla="*/ 530 w 536"/>
                  <a:gd name="T25" fmla="*/ 15 h 320"/>
                  <a:gd name="T26" fmla="*/ 525 w 536"/>
                  <a:gd name="T27" fmla="*/ 9 h 320"/>
                  <a:gd name="T28" fmla="*/ 525 w 536"/>
                  <a:gd name="T29" fmla="*/ 9 h 320"/>
                  <a:gd name="T30" fmla="*/ 519 w 536"/>
                  <a:gd name="T31" fmla="*/ 5 h 320"/>
                  <a:gd name="T32" fmla="*/ 513 w 536"/>
                  <a:gd name="T33" fmla="*/ 2 h 320"/>
                  <a:gd name="T34" fmla="*/ 507 w 536"/>
                  <a:gd name="T35" fmla="*/ 1 h 320"/>
                  <a:gd name="T36" fmla="*/ 501 w 536"/>
                  <a:gd name="T37" fmla="*/ 0 h 320"/>
                  <a:gd name="T38" fmla="*/ 494 w 536"/>
                  <a:gd name="T39" fmla="*/ 1 h 320"/>
                  <a:gd name="T40" fmla="*/ 488 w 536"/>
                  <a:gd name="T41" fmla="*/ 3 h 320"/>
                  <a:gd name="T42" fmla="*/ 482 w 536"/>
                  <a:gd name="T43" fmla="*/ 5 h 320"/>
                  <a:gd name="T44" fmla="*/ 478 w 536"/>
                  <a:gd name="T45" fmla="*/ 10 h 320"/>
                  <a:gd name="T46" fmla="*/ 316 w 536"/>
                  <a:gd name="T47" fmla="*/ 173 h 320"/>
                  <a:gd name="T48" fmla="*/ 220 w 536"/>
                  <a:gd name="T49" fmla="*/ 173 h 320"/>
                  <a:gd name="T50" fmla="*/ 58 w 536"/>
                  <a:gd name="T51" fmla="*/ 10 h 320"/>
                  <a:gd name="T52" fmla="*/ 58 w 536"/>
                  <a:gd name="T53" fmla="*/ 10 h 320"/>
                  <a:gd name="T54" fmla="*/ 52 w 536"/>
                  <a:gd name="T55" fmla="*/ 5 h 320"/>
                  <a:gd name="T56" fmla="*/ 46 w 536"/>
                  <a:gd name="T57" fmla="*/ 3 h 320"/>
                  <a:gd name="T58" fmla="*/ 40 w 536"/>
                  <a:gd name="T59" fmla="*/ 1 h 320"/>
                  <a:gd name="T60" fmla="*/ 34 w 536"/>
                  <a:gd name="T61" fmla="*/ 0 h 320"/>
                  <a:gd name="T62" fmla="*/ 27 w 536"/>
                  <a:gd name="T63" fmla="*/ 1 h 320"/>
                  <a:gd name="T64" fmla="*/ 21 w 536"/>
                  <a:gd name="T65" fmla="*/ 2 h 320"/>
                  <a:gd name="T66" fmla="*/ 15 w 536"/>
                  <a:gd name="T67" fmla="*/ 5 h 320"/>
                  <a:gd name="T68" fmla="*/ 11 w 536"/>
                  <a:gd name="T69" fmla="*/ 9 h 320"/>
                  <a:gd name="T70" fmla="*/ 11 w 536"/>
                  <a:gd name="T71" fmla="*/ 9 h 320"/>
                  <a:gd name="T72" fmla="*/ 6 w 536"/>
                  <a:gd name="T73" fmla="*/ 15 h 320"/>
                  <a:gd name="T74" fmla="*/ 2 w 536"/>
                  <a:gd name="T75" fmla="*/ 20 h 320"/>
                  <a:gd name="T76" fmla="*/ 1 w 536"/>
                  <a:gd name="T77" fmla="*/ 27 h 320"/>
                  <a:gd name="T78" fmla="*/ 0 w 536"/>
                  <a:gd name="T79" fmla="*/ 33 h 320"/>
                  <a:gd name="T80" fmla="*/ 0 w 536"/>
                  <a:gd name="T81" fmla="*/ 39 h 320"/>
                  <a:gd name="T82" fmla="*/ 2 w 536"/>
                  <a:gd name="T83" fmla="*/ 46 h 320"/>
                  <a:gd name="T84" fmla="*/ 5 w 536"/>
                  <a:gd name="T85" fmla="*/ 52 h 320"/>
                  <a:gd name="T86" fmla="*/ 10 w 536"/>
                  <a:gd name="T87" fmla="*/ 56 h 320"/>
                  <a:gd name="T88" fmla="*/ 179 w 536"/>
                  <a:gd name="T89" fmla="*/ 227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36" h="320">
                    <a:moveTo>
                      <a:pt x="179" y="227"/>
                    </a:moveTo>
                    <a:lnTo>
                      <a:pt x="179" y="320"/>
                    </a:lnTo>
                    <a:lnTo>
                      <a:pt x="356" y="320"/>
                    </a:lnTo>
                    <a:lnTo>
                      <a:pt x="356" y="227"/>
                    </a:lnTo>
                    <a:lnTo>
                      <a:pt x="526" y="56"/>
                    </a:lnTo>
                    <a:lnTo>
                      <a:pt x="526" y="56"/>
                    </a:lnTo>
                    <a:lnTo>
                      <a:pt x="531" y="52"/>
                    </a:lnTo>
                    <a:lnTo>
                      <a:pt x="533" y="46"/>
                    </a:lnTo>
                    <a:lnTo>
                      <a:pt x="534" y="39"/>
                    </a:lnTo>
                    <a:lnTo>
                      <a:pt x="536" y="33"/>
                    </a:lnTo>
                    <a:lnTo>
                      <a:pt x="534" y="27"/>
                    </a:lnTo>
                    <a:lnTo>
                      <a:pt x="532" y="20"/>
                    </a:lnTo>
                    <a:lnTo>
                      <a:pt x="530" y="15"/>
                    </a:lnTo>
                    <a:lnTo>
                      <a:pt x="525" y="9"/>
                    </a:lnTo>
                    <a:lnTo>
                      <a:pt x="525" y="9"/>
                    </a:lnTo>
                    <a:lnTo>
                      <a:pt x="519" y="5"/>
                    </a:lnTo>
                    <a:lnTo>
                      <a:pt x="513" y="2"/>
                    </a:lnTo>
                    <a:lnTo>
                      <a:pt x="507" y="1"/>
                    </a:lnTo>
                    <a:lnTo>
                      <a:pt x="501" y="0"/>
                    </a:lnTo>
                    <a:lnTo>
                      <a:pt x="494" y="1"/>
                    </a:lnTo>
                    <a:lnTo>
                      <a:pt x="488" y="3"/>
                    </a:lnTo>
                    <a:lnTo>
                      <a:pt x="482" y="5"/>
                    </a:lnTo>
                    <a:lnTo>
                      <a:pt x="478" y="10"/>
                    </a:lnTo>
                    <a:lnTo>
                      <a:pt x="316" y="173"/>
                    </a:lnTo>
                    <a:lnTo>
                      <a:pt x="220" y="173"/>
                    </a:lnTo>
                    <a:lnTo>
                      <a:pt x="58" y="10"/>
                    </a:lnTo>
                    <a:lnTo>
                      <a:pt x="58" y="10"/>
                    </a:lnTo>
                    <a:lnTo>
                      <a:pt x="52" y="5"/>
                    </a:lnTo>
                    <a:lnTo>
                      <a:pt x="46" y="3"/>
                    </a:lnTo>
                    <a:lnTo>
                      <a:pt x="40" y="1"/>
                    </a:lnTo>
                    <a:lnTo>
                      <a:pt x="34" y="0"/>
                    </a:lnTo>
                    <a:lnTo>
                      <a:pt x="27" y="1"/>
                    </a:lnTo>
                    <a:lnTo>
                      <a:pt x="21" y="2"/>
                    </a:lnTo>
                    <a:lnTo>
                      <a:pt x="15" y="5"/>
                    </a:lnTo>
                    <a:lnTo>
                      <a:pt x="11" y="9"/>
                    </a:lnTo>
                    <a:lnTo>
                      <a:pt x="11" y="9"/>
                    </a:lnTo>
                    <a:lnTo>
                      <a:pt x="6" y="15"/>
                    </a:lnTo>
                    <a:lnTo>
                      <a:pt x="2" y="20"/>
                    </a:lnTo>
                    <a:lnTo>
                      <a:pt x="1" y="27"/>
                    </a:lnTo>
                    <a:lnTo>
                      <a:pt x="0" y="33"/>
                    </a:lnTo>
                    <a:lnTo>
                      <a:pt x="0" y="39"/>
                    </a:lnTo>
                    <a:lnTo>
                      <a:pt x="2" y="46"/>
                    </a:lnTo>
                    <a:lnTo>
                      <a:pt x="5" y="52"/>
                    </a:lnTo>
                    <a:lnTo>
                      <a:pt x="10" y="56"/>
                    </a:lnTo>
                    <a:lnTo>
                      <a:pt x="179" y="22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914400"/>
                <a:endParaRPr lang="de-DE">
                  <a:solidFill>
                    <a:srgbClr val="5F5F5F"/>
                  </a:solidFill>
                </a:endParaRPr>
              </a:p>
            </p:txBody>
          </p:sp>
          <p:sp>
            <p:nvSpPr>
              <p:cNvPr id="58" name="Freeform 26"/>
              <p:cNvSpPr>
                <a:spLocks/>
              </p:cNvSpPr>
              <p:nvPr/>
            </p:nvSpPr>
            <p:spPr bwMode="auto">
              <a:xfrm>
                <a:off x="-1409700" y="3295650"/>
                <a:ext cx="69850" cy="69850"/>
              </a:xfrm>
              <a:custGeom>
                <a:avLst/>
                <a:gdLst>
                  <a:gd name="T0" fmla="*/ 65 w 130"/>
                  <a:gd name="T1" fmla="*/ 132 h 132"/>
                  <a:gd name="T2" fmla="*/ 65 w 130"/>
                  <a:gd name="T3" fmla="*/ 132 h 132"/>
                  <a:gd name="T4" fmla="*/ 78 w 130"/>
                  <a:gd name="T5" fmla="*/ 130 h 132"/>
                  <a:gd name="T6" fmla="*/ 91 w 130"/>
                  <a:gd name="T7" fmla="*/ 127 h 132"/>
                  <a:gd name="T8" fmla="*/ 102 w 130"/>
                  <a:gd name="T9" fmla="*/ 120 h 132"/>
                  <a:gd name="T10" fmla="*/ 111 w 130"/>
                  <a:gd name="T11" fmla="*/ 113 h 132"/>
                  <a:gd name="T12" fmla="*/ 120 w 130"/>
                  <a:gd name="T13" fmla="*/ 103 h 132"/>
                  <a:gd name="T14" fmla="*/ 126 w 130"/>
                  <a:gd name="T15" fmla="*/ 91 h 132"/>
                  <a:gd name="T16" fmla="*/ 129 w 130"/>
                  <a:gd name="T17" fmla="*/ 79 h 132"/>
                  <a:gd name="T18" fmla="*/ 130 w 130"/>
                  <a:gd name="T19" fmla="*/ 66 h 132"/>
                  <a:gd name="T20" fmla="*/ 130 w 130"/>
                  <a:gd name="T21" fmla="*/ 66 h 132"/>
                  <a:gd name="T22" fmla="*/ 129 w 130"/>
                  <a:gd name="T23" fmla="*/ 52 h 132"/>
                  <a:gd name="T24" fmla="*/ 126 w 130"/>
                  <a:gd name="T25" fmla="*/ 40 h 132"/>
                  <a:gd name="T26" fmla="*/ 120 w 130"/>
                  <a:gd name="T27" fmla="*/ 30 h 132"/>
                  <a:gd name="T28" fmla="*/ 111 w 130"/>
                  <a:gd name="T29" fmla="*/ 20 h 132"/>
                  <a:gd name="T30" fmla="*/ 102 w 130"/>
                  <a:gd name="T31" fmla="*/ 12 h 132"/>
                  <a:gd name="T32" fmla="*/ 91 w 130"/>
                  <a:gd name="T33" fmla="*/ 6 h 132"/>
                  <a:gd name="T34" fmla="*/ 78 w 130"/>
                  <a:gd name="T35" fmla="*/ 3 h 132"/>
                  <a:gd name="T36" fmla="*/ 65 w 130"/>
                  <a:gd name="T37" fmla="*/ 0 h 132"/>
                  <a:gd name="T38" fmla="*/ 65 w 130"/>
                  <a:gd name="T39" fmla="*/ 0 h 132"/>
                  <a:gd name="T40" fmla="*/ 52 w 130"/>
                  <a:gd name="T41" fmla="*/ 3 h 132"/>
                  <a:gd name="T42" fmla="*/ 40 w 130"/>
                  <a:gd name="T43" fmla="*/ 6 h 132"/>
                  <a:gd name="T44" fmla="*/ 28 w 130"/>
                  <a:gd name="T45" fmla="*/ 12 h 132"/>
                  <a:gd name="T46" fmla="*/ 19 w 130"/>
                  <a:gd name="T47" fmla="*/ 20 h 132"/>
                  <a:gd name="T48" fmla="*/ 11 w 130"/>
                  <a:gd name="T49" fmla="*/ 30 h 132"/>
                  <a:gd name="T50" fmla="*/ 5 w 130"/>
                  <a:gd name="T51" fmla="*/ 40 h 132"/>
                  <a:gd name="T52" fmla="*/ 1 w 130"/>
                  <a:gd name="T53" fmla="*/ 52 h 132"/>
                  <a:gd name="T54" fmla="*/ 0 w 130"/>
                  <a:gd name="T55" fmla="*/ 66 h 132"/>
                  <a:gd name="T56" fmla="*/ 0 w 130"/>
                  <a:gd name="T57" fmla="*/ 66 h 132"/>
                  <a:gd name="T58" fmla="*/ 1 w 130"/>
                  <a:gd name="T59" fmla="*/ 79 h 132"/>
                  <a:gd name="T60" fmla="*/ 5 w 130"/>
                  <a:gd name="T61" fmla="*/ 91 h 132"/>
                  <a:gd name="T62" fmla="*/ 11 w 130"/>
                  <a:gd name="T63" fmla="*/ 103 h 132"/>
                  <a:gd name="T64" fmla="*/ 19 w 130"/>
                  <a:gd name="T65" fmla="*/ 113 h 132"/>
                  <a:gd name="T66" fmla="*/ 28 w 130"/>
                  <a:gd name="T67" fmla="*/ 120 h 132"/>
                  <a:gd name="T68" fmla="*/ 40 w 130"/>
                  <a:gd name="T69" fmla="*/ 127 h 132"/>
                  <a:gd name="T70" fmla="*/ 52 w 130"/>
                  <a:gd name="T71" fmla="*/ 130 h 132"/>
                  <a:gd name="T72" fmla="*/ 65 w 130"/>
                  <a:gd name="T73" fmla="*/ 132 h 132"/>
                  <a:gd name="T74" fmla="*/ 65 w 130"/>
                  <a:gd name="T75" fmla="*/ 13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0" h="132">
                    <a:moveTo>
                      <a:pt x="65" y="132"/>
                    </a:moveTo>
                    <a:lnTo>
                      <a:pt x="65" y="132"/>
                    </a:lnTo>
                    <a:lnTo>
                      <a:pt x="78" y="130"/>
                    </a:lnTo>
                    <a:lnTo>
                      <a:pt x="91" y="127"/>
                    </a:lnTo>
                    <a:lnTo>
                      <a:pt x="102" y="120"/>
                    </a:lnTo>
                    <a:lnTo>
                      <a:pt x="111" y="113"/>
                    </a:lnTo>
                    <a:lnTo>
                      <a:pt x="120" y="103"/>
                    </a:lnTo>
                    <a:lnTo>
                      <a:pt x="126" y="91"/>
                    </a:lnTo>
                    <a:lnTo>
                      <a:pt x="129" y="79"/>
                    </a:lnTo>
                    <a:lnTo>
                      <a:pt x="130" y="66"/>
                    </a:lnTo>
                    <a:lnTo>
                      <a:pt x="130" y="66"/>
                    </a:lnTo>
                    <a:lnTo>
                      <a:pt x="129" y="52"/>
                    </a:lnTo>
                    <a:lnTo>
                      <a:pt x="126" y="40"/>
                    </a:lnTo>
                    <a:lnTo>
                      <a:pt x="120" y="30"/>
                    </a:lnTo>
                    <a:lnTo>
                      <a:pt x="111" y="20"/>
                    </a:lnTo>
                    <a:lnTo>
                      <a:pt x="102" y="12"/>
                    </a:lnTo>
                    <a:lnTo>
                      <a:pt x="91" y="6"/>
                    </a:lnTo>
                    <a:lnTo>
                      <a:pt x="78" y="3"/>
                    </a:lnTo>
                    <a:lnTo>
                      <a:pt x="65" y="0"/>
                    </a:lnTo>
                    <a:lnTo>
                      <a:pt x="65" y="0"/>
                    </a:lnTo>
                    <a:lnTo>
                      <a:pt x="52" y="3"/>
                    </a:lnTo>
                    <a:lnTo>
                      <a:pt x="40" y="6"/>
                    </a:lnTo>
                    <a:lnTo>
                      <a:pt x="28" y="12"/>
                    </a:lnTo>
                    <a:lnTo>
                      <a:pt x="19" y="20"/>
                    </a:lnTo>
                    <a:lnTo>
                      <a:pt x="11" y="30"/>
                    </a:lnTo>
                    <a:lnTo>
                      <a:pt x="5" y="40"/>
                    </a:lnTo>
                    <a:lnTo>
                      <a:pt x="1" y="52"/>
                    </a:lnTo>
                    <a:lnTo>
                      <a:pt x="0" y="66"/>
                    </a:lnTo>
                    <a:lnTo>
                      <a:pt x="0" y="66"/>
                    </a:lnTo>
                    <a:lnTo>
                      <a:pt x="1" y="79"/>
                    </a:lnTo>
                    <a:lnTo>
                      <a:pt x="5" y="91"/>
                    </a:lnTo>
                    <a:lnTo>
                      <a:pt x="11" y="103"/>
                    </a:lnTo>
                    <a:lnTo>
                      <a:pt x="19" y="113"/>
                    </a:lnTo>
                    <a:lnTo>
                      <a:pt x="28" y="120"/>
                    </a:lnTo>
                    <a:lnTo>
                      <a:pt x="40" y="127"/>
                    </a:lnTo>
                    <a:lnTo>
                      <a:pt x="52" y="130"/>
                    </a:lnTo>
                    <a:lnTo>
                      <a:pt x="65" y="132"/>
                    </a:lnTo>
                    <a:lnTo>
                      <a:pt x="65" y="13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914400"/>
                <a:endParaRPr lang="de-DE">
                  <a:solidFill>
                    <a:srgbClr val="5F5F5F"/>
                  </a:solidFill>
                </a:endParaRPr>
              </a:p>
            </p:txBody>
          </p:sp>
          <p:sp>
            <p:nvSpPr>
              <p:cNvPr id="59" name="Freeform 27"/>
              <p:cNvSpPr>
                <a:spLocks/>
              </p:cNvSpPr>
              <p:nvPr/>
            </p:nvSpPr>
            <p:spPr bwMode="auto">
              <a:xfrm>
                <a:off x="-1516063" y="3281363"/>
                <a:ext cx="282575" cy="169863"/>
              </a:xfrm>
              <a:custGeom>
                <a:avLst/>
                <a:gdLst>
                  <a:gd name="T0" fmla="*/ 180 w 536"/>
                  <a:gd name="T1" fmla="*/ 227 h 320"/>
                  <a:gd name="T2" fmla="*/ 180 w 536"/>
                  <a:gd name="T3" fmla="*/ 320 h 320"/>
                  <a:gd name="T4" fmla="*/ 357 w 536"/>
                  <a:gd name="T5" fmla="*/ 320 h 320"/>
                  <a:gd name="T6" fmla="*/ 357 w 536"/>
                  <a:gd name="T7" fmla="*/ 227 h 320"/>
                  <a:gd name="T8" fmla="*/ 528 w 536"/>
                  <a:gd name="T9" fmla="*/ 57 h 320"/>
                  <a:gd name="T10" fmla="*/ 528 w 536"/>
                  <a:gd name="T11" fmla="*/ 57 h 320"/>
                  <a:gd name="T12" fmla="*/ 531 w 536"/>
                  <a:gd name="T13" fmla="*/ 51 h 320"/>
                  <a:gd name="T14" fmla="*/ 535 w 536"/>
                  <a:gd name="T15" fmla="*/ 45 h 320"/>
                  <a:gd name="T16" fmla="*/ 536 w 536"/>
                  <a:gd name="T17" fmla="*/ 39 h 320"/>
                  <a:gd name="T18" fmla="*/ 536 w 536"/>
                  <a:gd name="T19" fmla="*/ 33 h 320"/>
                  <a:gd name="T20" fmla="*/ 536 w 536"/>
                  <a:gd name="T21" fmla="*/ 26 h 320"/>
                  <a:gd name="T22" fmla="*/ 534 w 536"/>
                  <a:gd name="T23" fmla="*/ 20 h 320"/>
                  <a:gd name="T24" fmla="*/ 530 w 536"/>
                  <a:gd name="T25" fmla="*/ 14 h 320"/>
                  <a:gd name="T26" fmla="*/ 526 w 536"/>
                  <a:gd name="T27" fmla="*/ 9 h 320"/>
                  <a:gd name="T28" fmla="*/ 526 w 536"/>
                  <a:gd name="T29" fmla="*/ 9 h 320"/>
                  <a:gd name="T30" fmla="*/ 521 w 536"/>
                  <a:gd name="T31" fmla="*/ 5 h 320"/>
                  <a:gd name="T32" fmla="*/ 515 w 536"/>
                  <a:gd name="T33" fmla="*/ 2 h 320"/>
                  <a:gd name="T34" fmla="*/ 509 w 536"/>
                  <a:gd name="T35" fmla="*/ 0 h 320"/>
                  <a:gd name="T36" fmla="*/ 502 w 536"/>
                  <a:gd name="T37" fmla="*/ 0 h 320"/>
                  <a:gd name="T38" fmla="*/ 496 w 536"/>
                  <a:gd name="T39" fmla="*/ 1 h 320"/>
                  <a:gd name="T40" fmla="*/ 490 w 536"/>
                  <a:gd name="T41" fmla="*/ 2 h 320"/>
                  <a:gd name="T42" fmla="*/ 484 w 536"/>
                  <a:gd name="T43" fmla="*/ 6 h 320"/>
                  <a:gd name="T44" fmla="*/ 479 w 536"/>
                  <a:gd name="T45" fmla="*/ 11 h 320"/>
                  <a:gd name="T46" fmla="*/ 317 w 536"/>
                  <a:gd name="T47" fmla="*/ 173 h 320"/>
                  <a:gd name="T48" fmla="*/ 222 w 536"/>
                  <a:gd name="T49" fmla="*/ 173 h 320"/>
                  <a:gd name="T50" fmla="*/ 58 w 536"/>
                  <a:gd name="T51" fmla="*/ 11 h 320"/>
                  <a:gd name="T52" fmla="*/ 58 w 536"/>
                  <a:gd name="T53" fmla="*/ 11 h 320"/>
                  <a:gd name="T54" fmla="*/ 54 w 536"/>
                  <a:gd name="T55" fmla="*/ 6 h 320"/>
                  <a:gd name="T56" fmla="*/ 48 w 536"/>
                  <a:gd name="T57" fmla="*/ 2 h 320"/>
                  <a:gd name="T58" fmla="*/ 42 w 536"/>
                  <a:gd name="T59" fmla="*/ 1 h 320"/>
                  <a:gd name="T60" fmla="*/ 35 w 536"/>
                  <a:gd name="T61" fmla="*/ 0 h 320"/>
                  <a:gd name="T62" fmla="*/ 29 w 536"/>
                  <a:gd name="T63" fmla="*/ 0 h 320"/>
                  <a:gd name="T64" fmla="*/ 23 w 536"/>
                  <a:gd name="T65" fmla="*/ 2 h 320"/>
                  <a:gd name="T66" fmla="*/ 17 w 536"/>
                  <a:gd name="T67" fmla="*/ 5 h 320"/>
                  <a:gd name="T68" fmla="*/ 11 w 536"/>
                  <a:gd name="T69" fmla="*/ 9 h 320"/>
                  <a:gd name="T70" fmla="*/ 11 w 536"/>
                  <a:gd name="T71" fmla="*/ 9 h 320"/>
                  <a:gd name="T72" fmla="*/ 7 w 536"/>
                  <a:gd name="T73" fmla="*/ 14 h 320"/>
                  <a:gd name="T74" fmla="*/ 4 w 536"/>
                  <a:gd name="T75" fmla="*/ 20 h 320"/>
                  <a:gd name="T76" fmla="*/ 2 w 536"/>
                  <a:gd name="T77" fmla="*/ 26 h 320"/>
                  <a:gd name="T78" fmla="*/ 0 w 536"/>
                  <a:gd name="T79" fmla="*/ 33 h 320"/>
                  <a:gd name="T80" fmla="*/ 2 w 536"/>
                  <a:gd name="T81" fmla="*/ 39 h 320"/>
                  <a:gd name="T82" fmla="*/ 3 w 536"/>
                  <a:gd name="T83" fmla="*/ 45 h 320"/>
                  <a:gd name="T84" fmla="*/ 6 w 536"/>
                  <a:gd name="T85" fmla="*/ 51 h 320"/>
                  <a:gd name="T86" fmla="*/ 10 w 536"/>
                  <a:gd name="T87" fmla="*/ 57 h 320"/>
                  <a:gd name="T88" fmla="*/ 180 w 536"/>
                  <a:gd name="T89" fmla="*/ 227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36" h="320">
                    <a:moveTo>
                      <a:pt x="180" y="227"/>
                    </a:moveTo>
                    <a:lnTo>
                      <a:pt x="180" y="320"/>
                    </a:lnTo>
                    <a:lnTo>
                      <a:pt x="357" y="320"/>
                    </a:lnTo>
                    <a:lnTo>
                      <a:pt x="357" y="227"/>
                    </a:lnTo>
                    <a:lnTo>
                      <a:pt x="528" y="57"/>
                    </a:lnTo>
                    <a:lnTo>
                      <a:pt x="528" y="57"/>
                    </a:lnTo>
                    <a:lnTo>
                      <a:pt x="531" y="51"/>
                    </a:lnTo>
                    <a:lnTo>
                      <a:pt x="535" y="45"/>
                    </a:lnTo>
                    <a:lnTo>
                      <a:pt x="536" y="39"/>
                    </a:lnTo>
                    <a:lnTo>
                      <a:pt x="536" y="33"/>
                    </a:lnTo>
                    <a:lnTo>
                      <a:pt x="536" y="26"/>
                    </a:lnTo>
                    <a:lnTo>
                      <a:pt x="534" y="20"/>
                    </a:lnTo>
                    <a:lnTo>
                      <a:pt x="530" y="14"/>
                    </a:lnTo>
                    <a:lnTo>
                      <a:pt x="526" y="9"/>
                    </a:lnTo>
                    <a:lnTo>
                      <a:pt x="526" y="9"/>
                    </a:lnTo>
                    <a:lnTo>
                      <a:pt x="521" y="5"/>
                    </a:lnTo>
                    <a:lnTo>
                      <a:pt x="515" y="2"/>
                    </a:lnTo>
                    <a:lnTo>
                      <a:pt x="509" y="0"/>
                    </a:lnTo>
                    <a:lnTo>
                      <a:pt x="502" y="0"/>
                    </a:lnTo>
                    <a:lnTo>
                      <a:pt x="496" y="1"/>
                    </a:lnTo>
                    <a:lnTo>
                      <a:pt x="490" y="2"/>
                    </a:lnTo>
                    <a:lnTo>
                      <a:pt x="484" y="6"/>
                    </a:lnTo>
                    <a:lnTo>
                      <a:pt x="479" y="11"/>
                    </a:lnTo>
                    <a:lnTo>
                      <a:pt x="317" y="173"/>
                    </a:lnTo>
                    <a:lnTo>
                      <a:pt x="222" y="173"/>
                    </a:lnTo>
                    <a:lnTo>
                      <a:pt x="58" y="11"/>
                    </a:lnTo>
                    <a:lnTo>
                      <a:pt x="58" y="11"/>
                    </a:lnTo>
                    <a:lnTo>
                      <a:pt x="54" y="6"/>
                    </a:lnTo>
                    <a:lnTo>
                      <a:pt x="48" y="2"/>
                    </a:lnTo>
                    <a:lnTo>
                      <a:pt x="42" y="1"/>
                    </a:lnTo>
                    <a:lnTo>
                      <a:pt x="35" y="0"/>
                    </a:lnTo>
                    <a:lnTo>
                      <a:pt x="29" y="0"/>
                    </a:lnTo>
                    <a:lnTo>
                      <a:pt x="23" y="2"/>
                    </a:lnTo>
                    <a:lnTo>
                      <a:pt x="17" y="5"/>
                    </a:lnTo>
                    <a:lnTo>
                      <a:pt x="11" y="9"/>
                    </a:lnTo>
                    <a:lnTo>
                      <a:pt x="11" y="9"/>
                    </a:lnTo>
                    <a:lnTo>
                      <a:pt x="7" y="14"/>
                    </a:lnTo>
                    <a:lnTo>
                      <a:pt x="4" y="20"/>
                    </a:lnTo>
                    <a:lnTo>
                      <a:pt x="2" y="26"/>
                    </a:lnTo>
                    <a:lnTo>
                      <a:pt x="0" y="33"/>
                    </a:lnTo>
                    <a:lnTo>
                      <a:pt x="2" y="39"/>
                    </a:lnTo>
                    <a:lnTo>
                      <a:pt x="3" y="45"/>
                    </a:lnTo>
                    <a:lnTo>
                      <a:pt x="6" y="51"/>
                    </a:lnTo>
                    <a:lnTo>
                      <a:pt x="10" y="57"/>
                    </a:lnTo>
                    <a:lnTo>
                      <a:pt x="180" y="22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914400"/>
                <a:endParaRPr lang="de-DE">
                  <a:solidFill>
                    <a:srgbClr val="5F5F5F"/>
                  </a:solidFill>
                </a:endParaRPr>
              </a:p>
            </p:txBody>
          </p:sp>
          <p:sp>
            <p:nvSpPr>
              <p:cNvPr id="60" name="Freeform 28"/>
              <p:cNvSpPr>
                <a:spLocks/>
              </p:cNvSpPr>
              <p:nvPr/>
            </p:nvSpPr>
            <p:spPr bwMode="auto">
              <a:xfrm>
                <a:off x="-1169988" y="3421063"/>
                <a:ext cx="68263" cy="69850"/>
              </a:xfrm>
              <a:custGeom>
                <a:avLst/>
                <a:gdLst>
                  <a:gd name="T0" fmla="*/ 66 w 131"/>
                  <a:gd name="T1" fmla="*/ 130 h 130"/>
                  <a:gd name="T2" fmla="*/ 66 w 131"/>
                  <a:gd name="T3" fmla="*/ 130 h 130"/>
                  <a:gd name="T4" fmla="*/ 79 w 131"/>
                  <a:gd name="T5" fmla="*/ 129 h 130"/>
                  <a:gd name="T6" fmla="*/ 90 w 131"/>
                  <a:gd name="T7" fmla="*/ 125 h 130"/>
                  <a:gd name="T8" fmla="*/ 102 w 131"/>
                  <a:gd name="T9" fmla="*/ 119 h 130"/>
                  <a:gd name="T10" fmla="*/ 112 w 131"/>
                  <a:gd name="T11" fmla="*/ 111 h 130"/>
                  <a:gd name="T12" fmla="*/ 120 w 131"/>
                  <a:gd name="T13" fmla="*/ 102 h 130"/>
                  <a:gd name="T14" fmla="*/ 126 w 131"/>
                  <a:gd name="T15" fmla="*/ 90 h 130"/>
                  <a:gd name="T16" fmla="*/ 130 w 131"/>
                  <a:gd name="T17" fmla="*/ 78 h 130"/>
                  <a:gd name="T18" fmla="*/ 131 w 131"/>
                  <a:gd name="T19" fmla="*/ 65 h 130"/>
                  <a:gd name="T20" fmla="*/ 131 w 131"/>
                  <a:gd name="T21" fmla="*/ 65 h 130"/>
                  <a:gd name="T22" fmla="*/ 130 w 131"/>
                  <a:gd name="T23" fmla="*/ 52 h 130"/>
                  <a:gd name="T24" fmla="*/ 126 w 131"/>
                  <a:gd name="T25" fmla="*/ 39 h 130"/>
                  <a:gd name="T26" fmla="*/ 120 w 131"/>
                  <a:gd name="T27" fmla="*/ 28 h 130"/>
                  <a:gd name="T28" fmla="*/ 112 w 131"/>
                  <a:gd name="T29" fmla="*/ 19 h 130"/>
                  <a:gd name="T30" fmla="*/ 102 w 131"/>
                  <a:gd name="T31" fmla="*/ 11 h 130"/>
                  <a:gd name="T32" fmla="*/ 90 w 131"/>
                  <a:gd name="T33" fmla="*/ 5 h 130"/>
                  <a:gd name="T34" fmla="*/ 79 w 131"/>
                  <a:gd name="T35" fmla="*/ 1 h 130"/>
                  <a:gd name="T36" fmla="*/ 66 w 131"/>
                  <a:gd name="T37" fmla="*/ 0 h 130"/>
                  <a:gd name="T38" fmla="*/ 66 w 131"/>
                  <a:gd name="T39" fmla="*/ 0 h 130"/>
                  <a:gd name="T40" fmla="*/ 53 w 131"/>
                  <a:gd name="T41" fmla="*/ 1 h 130"/>
                  <a:gd name="T42" fmla="*/ 40 w 131"/>
                  <a:gd name="T43" fmla="*/ 5 h 130"/>
                  <a:gd name="T44" fmla="*/ 29 w 131"/>
                  <a:gd name="T45" fmla="*/ 11 h 130"/>
                  <a:gd name="T46" fmla="*/ 19 w 131"/>
                  <a:gd name="T47" fmla="*/ 19 h 130"/>
                  <a:gd name="T48" fmla="*/ 11 w 131"/>
                  <a:gd name="T49" fmla="*/ 28 h 130"/>
                  <a:gd name="T50" fmla="*/ 5 w 131"/>
                  <a:gd name="T51" fmla="*/ 39 h 130"/>
                  <a:gd name="T52" fmla="*/ 2 w 131"/>
                  <a:gd name="T53" fmla="*/ 52 h 130"/>
                  <a:gd name="T54" fmla="*/ 0 w 131"/>
                  <a:gd name="T55" fmla="*/ 65 h 130"/>
                  <a:gd name="T56" fmla="*/ 0 w 131"/>
                  <a:gd name="T57" fmla="*/ 65 h 130"/>
                  <a:gd name="T58" fmla="*/ 2 w 131"/>
                  <a:gd name="T59" fmla="*/ 78 h 130"/>
                  <a:gd name="T60" fmla="*/ 5 w 131"/>
                  <a:gd name="T61" fmla="*/ 90 h 130"/>
                  <a:gd name="T62" fmla="*/ 11 w 131"/>
                  <a:gd name="T63" fmla="*/ 102 h 130"/>
                  <a:gd name="T64" fmla="*/ 19 w 131"/>
                  <a:gd name="T65" fmla="*/ 111 h 130"/>
                  <a:gd name="T66" fmla="*/ 29 w 131"/>
                  <a:gd name="T67" fmla="*/ 119 h 130"/>
                  <a:gd name="T68" fmla="*/ 40 w 131"/>
                  <a:gd name="T69" fmla="*/ 125 h 130"/>
                  <a:gd name="T70" fmla="*/ 53 w 131"/>
                  <a:gd name="T71" fmla="*/ 129 h 130"/>
                  <a:gd name="T72" fmla="*/ 66 w 131"/>
                  <a:gd name="T73" fmla="*/ 130 h 130"/>
                  <a:gd name="T74" fmla="*/ 66 w 131"/>
                  <a:gd name="T75" fmla="*/ 13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1" h="130">
                    <a:moveTo>
                      <a:pt x="66" y="130"/>
                    </a:moveTo>
                    <a:lnTo>
                      <a:pt x="66" y="130"/>
                    </a:lnTo>
                    <a:lnTo>
                      <a:pt x="79" y="129"/>
                    </a:lnTo>
                    <a:lnTo>
                      <a:pt x="90" y="125"/>
                    </a:lnTo>
                    <a:lnTo>
                      <a:pt x="102" y="119"/>
                    </a:lnTo>
                    <a:lnTo>
                      <a:pt x="112" y="111"/>
                    </a:lnTo>
                    <a:lnTo>
                      <a:pt x="120" y="102"/>
                    </a:lnTo>
                    <a:lnTo>
                      <a:pt x="126" y="90"/>
                    </a:lnTo>
                    <a:lnTo>
                      <a:pt x="130" y="78"/>
                    </a:lnTo>
                    <a:lnTo>
                      <a:pt x="131" y="65"/>
                    </a:lnTo>
                    <a:lnTo>
                      <a:pt x="131" y="65"/>
                    </a:lnTo>
                    <a:lnTo>
                      <a:pt x="130" y="52"/>
                    </a:lnTo>
                    <a:lnTo>
                      <a:pt x="126" y="39"/>
                    </a:lnTo>
                    <a:lnTo>
                      <a:pt x="120" y="28"/>
                    </a:lnTo>
                    <a:lnTo>
                      <a:pt x="112" y="19"/>
                    </a:lnTo>
                    <a:lnTo>
                      <a:pt x="102" y="11"/>
                    </a:lnTo>
                    <a:lnTo>
                      <a:pt x="90" y="5"/>
                    </a:lnTo>
                    <a:lnTo>
                      <a:pt x="79" y="1"/>
                    </a:lnTo>
                    <a:lnTo>
                      <a:pt x="66" y="0"/>
                    </a:lnTo>
                    <a:lnTo>
                      <a:pt x="66" y="0"/>
                    </a:lnTo>
                    <a:lnTo>
                      <a:pt x="53" y="1"/>
                    </a:lnTo>
                    <a:lnTo>
                      <a:pt x="40" y="5"/>
                    </a:lnTo>
                    <a:lnTo>
                      <a:pt x="29" y="11"/>
                    </a:lnTo>
                    <a:lnTo>
                      <a:pt x="19" y="19"/>
                    </a:lnTo>
                    <a:lnTo>
                      <a:pt x="11" y="28"/>
                    </a:lnTo>
                    <a:lnTo>
                      <a:pt x="5" y="39"/>
                    </a:lnTo>
                    <a:lnTo>
                      <a:pt x="2" y="52"/>
                    </a:lnTo>
                    <a:lnTo>
                      <a:pt x="0" y="65"/>
                    </a:lnTo>
                    <a:lnTo>
                      <a:pt x="0" y="65"/>
                    </a:lnTo>
                    <a:lnTo>
                      <a:pt x="2" y="78"/>
                    </a:lnTo>
                    <a:lnTo>
                      <a:pt x="5" y="90"/>
                    </a:lnTo>
                    <a:lnTo>
                      <a:pt x="11" y="102"/>
                    </a:lnTo>
                    <a:lnTo>
                      <a:pt x="19" y="111"/>
                    </a:lnTo>
                    <a:lnTo>
                      <a:pt x="29" y="119"/>
                    </a:lnTo>
                    <a:lnTo>
                      <a:pt x="40" y="125"/>
                    </a:lnTo>
                    <a:lnTo>
                      <a:pt x="53" y="129"/>
                    </a:lnTo>
                    <a:lnTo>
                      <a:pt x="66" y="130"/>
                    </a:lnTo>
                    <a:lnTo>
                      <a:pt x="66" y="13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914400"/>
                <a:endParaRPr lang="de-DE">
                  <a:solidFill>
                    <a:srgbClr val="5F5F5F"/>
                  </a:solidFill>
                </a:endParaRPr>
              </a:p>
            </p:txBody>
          </p:sp>
          <p:sp>
            <p:nvSpPr>
              <p:cNvPr id="61" name="Freeform 29"/>
              <p:cNvSpPr>
                <a:spLocks/>
              </p:cNvSpPr>
              <p:nvPr/>
            </p:nvSpPr>
            <p:spPr bwMode="auto">
              <a:xfrm>
                <a:off x="-1277938" y="3406775"/>
                <a:ext cx="284163" cy="169863"/>
              </a:xfrm>
              <a:custGeom>
                <a:avLst/>
                <a:gdLst>
                  <a:gd name="T0" fmla="*/ 179 w 535"/>
                  <a:gd name="T1" fmla="*/ 227 h 320"/>
                  <a:gd name="T2" fmla="*/ 179 w 535"/>
                  <a:gd name="T3" fmla="*/ 320 h 320"/>
                  <a:gd name="T4" fmla="*/ 356 w 535"/>
                  <a:gd name="T5" fmla="*/ 320 h 320"/>
                  <a:gd name="T6" fmla="*/ 356 w 535"/>
                  <a:gd name="T7" fmla="*/ 227 h 320"/>
                  <a:gd name="T8" fmla="*/ 526 w 535"/>
                  <a:gd name="T9" fmla="*/ 56 h 320"/>
                  <a:gd name="T10" fmla="*/ 526 w 535"/>
                  <a:gd name="T11" fmla="*/ 56 h 320"/>
                  <a:gd name="T12" fmla="*/ 531 w 535"/>
                  <a:gd name="T13" fmla="*/ 52 h 320"/>
                  <a:gd name="T14" fmla="*/ 533 w 535"/>
                  <a:gd name="T15" fmla="*/ 46 h 320"/>
                  <a:gd name="T16" fmla="*/ 535 w 535"/>
                  <a:gd name="T17" fmla="*/ 39 h 320"/>
                  <a:gd name="T18" fmla="*/ 535 w 535"/>
                  <a:gd name="T19" fmla="*/ 33 h 320"/>
                  <a:gd name="T20" fmla="*/ 534 w 535"/>
                  <a:gd name="T21" fmla="*/ 27 h 320"/>
                  <a:gd name="T22" fmla="*/ 533 w 535"/>
                  <a:gd name="T23" fmla="*/ 20 h 320"/>
                  <a:gd name="T24" fmla="*/ 529 w 535"/>
                  <a:gd name="T25" fmla="*/ 15 h 320"/>
                  <a:gd name="T26" fmla="*/ 525 w 535"/>
                  <a:gd name="T27" fmla="*/ 9 h 320"/>
                  <a:gd name="T28" fmla="*/ 525 w 535"/>
                  <a:gd name="T29" fmla="*/ 9 h 320"/>
                  <a:gd name="T30" fmla="*/ 520 w 535"/>
                  <a:gd name="T31" fmla="*/ 5 h 320"/>
                  <a:gd name="T32" fmla="*/ 514 w 535"/>
                  <a:gd name="T33" fmla="*/ 2 h 320"/>
                  <a:gd name="T34" fmla="*/ 507 w 535"/>
                  <a:gd name="T35" fmla="*/ 1 h 320"/>
                  <a:gd name="T36" fmla="*/ 501 w 535"/>
                  <a:gd name="T37" fmla="*/ 0 h 320"/>
                  <a:gd name="T38" fmla="*/ 495 w 535"/>
                  <a:gd name="T39" fmla="*/ 1 h 320"/>
                  <a:gd name="T40" fmla="*/ 489 w 535"/>
                  <a:gd name="T41" fmla="*/ 3 h 320"/>
                  <a:gd name="T42" fmla="*/ 483 w 535"/>
                  <a:gd name="T43" fmla="*/ 5 h 320"/>
                  <a:gd name="T44" fmla="*/ 477 w 535"/>
                  <a:gd name="T45" fmla="*/ 10 h 320"/>
                  <a:gd name="T46" fmla="*/ 316 w 535"/>
                  <a:gd name="T47" fmla="*/ 173 h 320"/>
                  <a:gd name="T48" fmla="*/ 220 w 535"/>
                  <a:gd name="T49" fmla="*/ 173 h 320"/>
                  <a:gd name="T50" fmla="*/ 58 w 535"/>
                  <a:gd name="T51" fmla="*/ 10 h 320"/>
                  <a:gd name="T52" fmla="*/ 58 w 535"/>
                  <a:gd name="T53" fmla="*/ 10 h 320"/>
                  <a:gd name="T54" fmla="*/ 52 w 535"/>
                  <a:gd name="T55" fmla="*/ 5 h 320"/>
                  <a:gd name="T56" fmla="*/ 47 w 535"/>
                  <a:gd name="T57" fmla="*/ 3 h 320"/>
                  <a:gd name="T58" fmla="*/ 40 w 535"/>
                  <a:gd name="T59" fmla="*/ 1 h 320"/>
                  <a:gd name="T60" fmla="*/ 34 w 535"/>
                  <a:gd name="T61" fmla="*/ 0 h 320"/>
                  <a:gd name="T62" fmla="*/ 28 w 535"/>
                  <a:gd name="T63" fmla="*/ 1 h 320"/>
                  <a:gd name="T64" fmla="*/ 21 w 535"/>
                  <a:gd name="T65" fmla="*/ 2 h 320"/>
                  <a:gd name="T66" fmla="*/ 15 w 535"/>
                  <a:gd name="T67" fmla="*/ 5 h 320"/>
                  <a:gd name="T68" fmla="*/ 10 w 535"/>
                  <a:gd name="T69" fmla="*/ 9 h 320"/>
                  <a:gd name="T70" fmla="*/ 10 w 535"/>
                  <a:gd name="T71" fmla="*/ 9 h 320"/>
                  <a:gd name="T72" fmla="*/ 6 w 535"/>
                  <a:gd name="T73" fmla="*/ 15 h 320"/>
                  <a:gd name="T74" fmla="*/ 2 w 535"/>
                  <a:gd name="T75" fmla="*/ 20 h 320"/>
                  <a:gd name="T76" fmla="*/ 1 w 535"/>
                  <a:gd name="T77" fmla="*/ 27 h 320"/>
                  <a:gd name="T78" fmla="*/ 0 w 535"/>
                  <a:gd name="T79" fmla="*/ 33 h 320"/>
                  <a:gd name="T80" fmla="*/ 0 w 535"/>
                  <a:gd name="T81" fmla="*/ 39 h 320"/>
                  <a:gd name="T82" fmla="*/ 2 w 535"/>
                  <a:gd name="T83" fmla="*/ 46 h 320"/>
                  <a:gd name="T84" fmla="*/ 5 w 535"/>
                  <a:gd name="T85" fmla="*/ 52 h 320"/>
                  <a:gd name="T86" fmla="*/ 9 w 535"/>
                  <a:gd name="T87" fmla="*/ 56 h 320"/>
                  <a:gd name="T88" fmla="*/ 179 w 535"/>
                  <a:gd name="T89" fmla="*/ 227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35" h="320">
                    <a:moveTo>
                      <a:pt x="179" y="227"/>
                    </a:moveTo>
                    <a:lnTo>
                      <a:pt x="179" y="320"/>
                    </a:lnTo>
                    <a:lnTo>
                      <a:pt x="356" y="320"/>
                    </a:lnTo>
                    <a:lnTo>
                      <a:pt x="356" y="227"/>
                    </a:lnTo>
                    <a:lnTo>
                      <a:pt x="526" y="56"/>
                    </a:lnTo>
                    <a:lnTo>
                      <a:pt x="526" y="56"/>
                    </a:lnTo>
                    <a:lnTo>
                      <a:pt x="531" y="52"/>
                    </a:lnTo>
                    <a:lnTo>
                      <a:pt x="533" y="46"/>
                    </a:lnTo>
                    <a:lnTo>
                      <a:pt x="535" y="39"/>
                    </a:lnTo>
                    <a:lnTo>
                      <a:pt x="535" y="33"/>
                    </a:lnTo>
                    <a:lnTo>
                      <a:pt x="534" y="27"/>
                    </a:lnTo>
                    <a:lnTo>
                      <a:pt x="533" y="20"/>
                    </a:lnTo>
                    <a:lnTo>
                      <a:pt x="529" y="15"/>
                    </a:lnTo>
                    <a:lnTo>
                      <a:pt x="525" y="9"/>
                    </a:lnTo>
                    <a:lnTo>
                      <a:pt x="525" y="9"/>
                    </a:lnTo>
                    <a:lnTo>
                      <a:pt x="520" y="5"/>
                    </a:lnTo>
                    <a:lnTo>
                      <a:pt x="514" y="2"/>
                    </a:lnTo>
                    <a:lnTo>
                      <a:pt x="507" y="1"/>
                    </a:lnTo>
                    <a:lnTo>
                      <a:pt x="501" y="0"/>
                    </a:lnTo>
                    <a:lnTo>
                      <a:pt x="495" y="1"/>
                    </a:lnTo>
                    <a:lnTo>
                      <a:pt x="489" y="3"/>
                    </a:lnTo>
                    <a:lnTo>
                      <a:pt x="483" y="5"/>
                    </a:lnTo>
                    <a:lnTo>
                      <a:pt x="477" y="10"/>
                    </a:lnTo>
                    <a:lnTo>
                      <a:pt x="316" y="173"/>
                    </a:lnTo>
                    <a:lnTo>
                      <a:pt x="220" y="173"/>
                    </a:lnTo>
                    <a:lnTo>
                      <a:pt x="58" y="10"/>
                    </a:lnTo>
                    <a:lnTo>
                      <a:pt x="58" y="10"/>
                    </a:lnTo>
                    <a:lnTo>
                      <a:pt x="52" y="5"/>
                    </a:lnTo>
                    <a:lnTo>
                      <a:pt x="47" y="3"/>
                    </a:lnTo>
                    <a:lnTo>
                      <a:pt x="40" y="1"/>
                    </a:lnTo>
                    <a:lnTo>
                      <a:pt x="34" y="0"/>
                    </a:lnTo>
                    <a:lnTo>
                      <a:pt x="28" y="1"/>
                    </a:lnTo>
                    <a:lnTo>
                      <a:pt x="21" y="2"/>
                    </a:lnTo>
                    <a:lnTo>
                      <a:pt x="15" y="5"/>
                    </a:lnTo>
                    <a:lnTo>
                      <a:pt x="10" y="9"/>
                    </a:lnTo>
                    <a:lnTo>
                      <a:pt x="10" y="9"/>
                    </a:lnTo>
                    <a:lnTo>
                      <a:pt x="6" y="15"/>
                    </a:lnTo>
                    <a:lnTo>
                      <a:pt x="2" y="20"/>
                    </a:lnTo>
                    <a:lnTo>
                      <a:pt x="1" y="27"/>
                    </a:lnTo>
                    <a:lnTo>
                      <a:pt x="0" y="33"/>
                    </a:lnTo>
                    <a:lnTo>
                      <a:pt x="0" y="39"/>
                    </a:lnTo>
                    <a:lnTo>
                      <a:pt x="2" y="46"/>
                    </a:lnTo>
                    <a:lnTo>
                      <a:pt x="5" y="52"/>
                    </a:lnTo>
                    <a:lnTo>
                      <a:pt x="9" y="56"/>
                    </a:lnTo>
                    <a:lnTo>
                      <a:pt x="179" y="22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914400"/>
                <a:endParaRPr lang="de-DE">
                  <a:solidFill>
                    <a:srgbClr val="5F5F5F"/>
                  </a:solidFill>
                </a:endParaRPr>
              </a:p>
            </p:txBody>
          </p:sp>
          <p:sp>
            <p:nvSpPr>
              <p:cNvPr id="62" name="Freeform 30"/>
              <p:cNvSpPr>
                <a:spLocks/>
              </p:cNvSpPr>
              <p:nvPr/>
            </p:nvSpPr>
            <p:spPr bwMode="auto">
              <a:xfrm>
                <a:off x="-1819275" y="3589338"/>
                <a:ext cx="898525" cy="26988"/>
              </a:xfrm>
              <a:custGeom>
                <a:avLst/>
                <a:gdLst>
                  <a:gd name="T0" fmla="*/ 1672 w 1698"/>
                  <a:gd name="T1" fmla="*/ 51 h 51"/>
                  <a:gd name="T2" fmla="*/ 26 w 1698"/>
                  <a:gd name="T3" fmla="*/ 51 h 51"/>
                  <a:gd name="T4" fmla="*/ 26 w 1698"/>
                  <a:gd name="T5" fmla="*/ 51 h 51"/>
                  <a:gd name="T6" fmla="*/ 20 w 1698"/>
                  <a:gd name="T7" fmla="*/ 50 h 51"/>
                  <a:gd name="T8" fmla="*/ 15 w 1698"/>
                  <a:gd name="T9" fmla="*/ 49 h 51"/>
                  <a:gd name="T10" fmla="*/ 12 w 1698"/>
                  <a:gd name="T11" fmla="*/ 46 h 51"/>
                  <a:gd name="T12" fmla="*/ 7 w 1698"/>
                  <a:gd name="T13" fmla="*/ 44 h 51"/>
                  <a:gd name="T14" fmla="*/ 5 w 1698"/>
                  <a:gd name="T15" fmla="*/ 39 h 51"/>
                  <a:gd name="T16" fmla="*/ 2 w 1698"/>
                  <a:gd name="T17" fmla="*/ 36 h 51"/>
                  <a:gd name="T18" fmla="*/ 0 w 1698"/>
                  <a:gd name="T19" fmla="*/ 31 h 51"/>
                  <a:gd name="T20" fmla="*/ 0 w 1698"/>
                  <a:gd name="T21" fmla="*/ 25 h 51"/>
                  <a:gd name="T22" fmla="*/ 0 w 1698"/>
                  <a:gd name="T23" fmla="*/ 25 h 51"/>
                  <a:gd name="T24" fmla="*/ 0 w 1698"/>
                  <a:gd name="T25" fmla="*/ 20 h 51"/>
                  <a:gd name="T26" fmla="*/ 2 w 1698"/>
                  <a:gd name="T27" fmla="*/ 15 h 51"/>
                  <a:gd name="T28" fmla="*/ 5 w 1698"/>
                  <a:gd name="T29" fmla="*/ 11 h 51"/>
                  <a:gd name="T30" fmla="*/ 7 w 1698"/>
                  <a:gd name="T31" fmla="*/ 7 h 51"/>
                  <a:gd name="T32" fmla="*/ 12 w 1698"/>
                  <a:gd name="T33" fmla="*/ 4 h 51"/>
                  <a:gd name="T34" fmla="*/ 15 w 1698"/>
                  <a:gd name="T35" fmla="*/ 1 h 51"/>
                  <a:gd name="T36" fmla="*/ 20 w 1698"/>
                  <a:gd name="T37" fmla="*/ 0 h 51"/>
                  <a:gd name="T38" fmla="*/ 26 w 1698"/>
                  <a:gd name="T39" fmla="*/ 0 h 51"/>
                  <a:gd name="T40" fmla="*/ 1672 w 1698"/>
                  <a:gd name="T41" fmla="*/ 0 h 51"/>
                  <a:gd name="T42" fmla="*/ 1672 w 1698"/>
                  <a:gd name="T43" fmla="*/ 0 h 51"/>
                  <a:gd name="T44" fmla="*/ 1677 w 1698"/>
                  <a:gd name="T45" fmla="*/ 0 h 51"/>
                  <a:gd name="T46" fmla="*/ 1681 w 1698"/>
                  <a:gd name="T47" fmla="*/ 1 h 51"/>
                  <a:gd name="T48" fmla="*/ 1686 w 1698"/>
                  <a:gd name="T49" fmla="*/ 4 h 51"/>
                  <a:gd name="T50" fmla="*/ 1690 w 1698"/>
                  <a:gd name="T51" fmla="*/ 7 h 51"/>
                  <a:gd name="T52" fmla="*/ 1693 w 1698"/>
                  <a:gd name="T53" fmla="*/ 11 h 51"/>
                  <a:gd name="T54" fmla="*/ 1696 w 1698"/>
                  <a:gd name="T55" fmla="*/ 15 h 51"/>
                  <a:gd name="T56" fmla="*/ 1697 w 1698"/>
                  <a:gd name="T57" fmla="*/ 20 h 51"/>
                  <a:gd name="T58" fmla="*/ 1698 w 1698"/>
                  <a:gd name="T59" fmla="*/ 25 h 51"/>
                  <a:gd name="T60" fmla="*/ 1698 w 1698"/>
                  <a:gd name="T61" fmla="*/ 25 h 51"/>
                  <a:gd name="T62" fmla="*/ 1697 w 1698"/>
                  <a:gd name="T63" fmla="*/ 31 h 51"/>
                  <a:gd name="T64" fmla="*/ 1696 w 1698"/>
                  <a:gd name="T65" fmla="*/ 36 h 51"/>
                  <a:gd name="T66" fmla="*/ 1693 w 1698"/>
                  <a:gd name="T67" fmla="*/ 39 h 51"/>
                  <a:gd name="T68" fmla="*/ 1690 w 1698"/>
                  <a:gd name="T69" fmla="*/ 44 h 51"/>
                  <a:gd name="T70" fmla="*/ 1686 w 1698"/>
                  <a:gd name="T71" fmla="*/ 46 h 51"/>
                  <a:gd name="T72" fmla="*/ 1681 w 1698"/>
                  <a:gd name="T73" fmla="*/ 49 h 51"/>
                  <a:gd name="T74" fmla="*/ 1677 w 1698"/>
                  <a:gd name="T75" fmla="*/ 50 h 51"/>
                  <a:gd name="T76" fmla="*/ 1672 w 1698"/>
                  <a:gd name="T77" fmla="*/ 51 h 51"/>
                  <a:gd name="T78" fmla="*/ 1672 w 1698"/>
                  <a:gd name="T79"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698" h="51">
                    <a:moveTo>
                      <a:pt x="1672" y="51"/>
                    </a:moveTo>
                    <a:lnTo>
                      <a:pt x="26" y="51"/>
                    </a:lnTo>
                    <a:lnTo>
                      <a:pt x="26" y="51"/>
                    </a:lnTo>
                    <a:lnTo>
                      <a:pt x="20" y="50"/>
                    </a:lnTo>
                    <a:lnTo>
                      <a:pt x="15" y="49"/>
                    </a:lnTo>
                    <a:lnTo>
                      <a:pt x="12" y="46"/>
                    </a:lnTo>
                    <a:lnTo>
                      <a:pt x="7" y="44"/>
                    </a:lnTo>
                    <a:lnTo>
                      <a:pt x="5" y="39"/>
                    </a:lnTo>
                    <a:lnTo>
                      <a:pt x="2" y="36"/>
                    </a:lnTo>
                    <a:lnTo>
                      <a:pt x="0" y="31"/>
                    </a:lnTo>
                    <a:lnTo>
                      <a:pt x="0" y="25"/>
                    </a:lnTo>
                    <a:lnTo>
                      <a:pt x="0" y="25"/>
                    </a:lnTo>
                    <a:lnTo>
                      <a:pt x="0" y="20"/>
                    </a:lnTo>
                    <a:lnTo>
                      <a:pt x="2" y="15"/>
                    </a:lnTo>
                    <a:lnTo>
                      <a:pt x="5" y="11"/>
                    </a:lnTo>
                    <a:lnTo>
                      <a:pt x="7" y="7"/>
                    </a:lnTo>
                    <a:lnTo>
                      <a:pt x="12" y="4"/>
                    </a:lnTo>
                    <a:lnTo>
                      <a:pt x="15" y="1"/>
                    </a:lnTo>
                    <a:lnTo>
                      <a:pt x="20" y="0"/>
                    </a:lnTo>
                    <a:lnTo>
                      <a:pt x="26" y="0"/>
                    </a:lnTo>
                    <a:lnTo>
                      <a:pt x="1672" y="0"/>
                    </a:lnTo>
                    <a:lnTo>
                      <a:pt x="1672" y="0"/>
                    </a:lnTo>
                    <a:lnTo>
                      <a:pt x="1677" y="0"/>
                    </a:lnTo>
                    <a:lnTo>
                      <a:pt x="1681" y="1"/>
                    </a:lnTo>
                    <a:lnTo>
                      <a:pt x="1686" y="4"/>
                    </a:lnTo>
                    <a:lnTo>
                      <a:pt x="1690" y="7"/>
                    </a:lnTo>
                    <a:lnTo>
                      <a:pt x="1693" y="11"/>
                    </a:lnTo>
                    <a:lnTo>
                      <a:pt x="1696" y="15"/>
                    </a:lnTo>
                    <a:lnTo>
                      <a:pt x="1697" y="20"/>
                    </a:lnTo>
                    <a:lnTo>
                      <a:pt x="1698" y="25"/>
                    </a:lnTo>
                    <a:lnTo>
                      <a:pt x="1698" y="25"/>
                    </a:lnTo>
                    <a:lnTo>
                      <a:pt x="1697" y="31"/>
                    </a:lnTo>
                    <a:lnTo>
                      <a:pt x="1696" y="36"/>
                    </a:lnTo>
                    <a:lnTo>
                      <a:pt x="1693" y="39"/>
                    </a:lnTo>
                    <a:lnTo>
                      <a:pt x="1690" y="44"/>
                    </a:lnTo>
                    <a:lnTo>
                      <a:pt x="1686" y="46"/>
                    </a:lnTo>
                    <a:lnTo>
                      <a:pt x="1681" y="49"/>
                    </a:lnTo>
                    <a:lnTo>
                      <a:pt x="1677" y="50"/>
                    </a:lnTo>
                    <a:lnTo>
                      <a:pt x="1672" y="51"/>
                    </a:lnTo>
                    <a:lnTo>
                      <a:pt x="1672" y="5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914400"/>
                <a:endParaRPr lang="de-DE">
                  <a:solidFill>
                    <a:srgbClr val="5F5F5F"/>
                  </a:solidFill>
                </a:endParaRPr>
              </a:p>
            </p:txBody>
          </p:sp>
          <p:sp>
            <p:nvSpPr>
              <p:cNvPr id="63" name="Freeform 31"/>
              <p:cNvSpPr>
                <a:spLocks/>
              </p:cNvSpPr>
              <p:nvPr/>
            </p:nvSpPr>
            <p:spPr bwMode="auto">
              <a:xfrm>
                <a:off x="-1031875" y="3465513"/>
                <a:ext cx="111125" cy="26988"/>
              </a:xfrm>
              <a:custGeom>
                <a:avLst/>
                <a:gdLst>
                  <a:gd name="T0" fmla="*/ 185 w 211"/>
                  <a:gd name="T1" fmla="*/ 0 h 51"/>
                  <a:gd name="T2" fmla="*/ 52 w 211"/>
                  <a:gd name="T3" fmla="*/ 0 h 51"/>
                  <a:gd name="T4" fmla="*/ 0 w 211"/>
                  <a:gd name="T5" fmla="*/ 51 h 51"/>
                  <a:gd name="T6" fmla="*/ 185 w 211"/>
                  <a:gd name="T7" fmla="*/ 51 h 51"/>
                  <a:gd name="T8" fmla="*/ 185 w 211"/>
                  <a:gd name="T9" fmla="*/ 51 h 51"/>
                  <a:gd name="T10" fmla="*/ 190 w 211"/>
                  <a:gd name="T11" fmla="*/ 51 h 51"/>
                  <a:gd name="T12" fmla="*/ 194 w 211"/>
                  <a:gd name="T13" fmla="*/ 49 h 51"/>
                  <a:gd name="T14" fmla="*/ 199 w 211"/>
                  <a:gd name="T15" fmla="*/ 47 h 51"/>
                  <a:gd name="T16" fmla="*/ 203 w 211"/>
                  <a:gd name="T17" fmla="*/ 44 h 51"/>
                  <a:gd name="T18" fmla="*/ 206 w 211"/>
                  <a:gd name="T19" fmla="*/ 40 h 51"/>
                  <a:gd name="T20" fmla="*/ 209 w 211"/>
                  <a:gd name="T21" fmla="*/ 35 h 51"/>
                  <a:gd name="T22" fmla="*/ 210 w 211"/>
                  <a:gd name="T23" fmla="*/ 31 h 51"/>
                  <a:gd name="T24" fmla="*/ 211 w 211"/>
                  <a:gd name="T25" fmla="*/ 26 h 51"/>
                  <a:gd name="T26" fmla="*/ 211 w 211"/>
                  <a:gd name="T27" fmla="*/ 26 h 51"/>
                  <a:gd name="T28" fmla="*/ 210 w 211"/>
                  <a:gd name="T29" fmla="*/ 20 h 51"/>
                  <a:gd name="T30" fmla="*/ 209 w 211"/>
                  <a:gd name="T31" fmla="*/ 15 h 51"/>
                  <a:gd name="T32" fmla="*/ 206 w 211"/>
                  <a:gd name="T33" fmla="*/ 12 h 51"/>
                  <a:gd name="T34" fmla="*/ 203 w 211"/>
                  <a:gd name="T35" fmla="*/ 8 h 51"/>
                  <a:gd name="T36" fmla="*/ 199 w 211"/>
                  <a:gd name="T37" fmla="*/ 4 h 51"/>
                  <a:gd name="T38" fmla="*/ 194 w 211"/>
                  <a:gd name="T39" fmla="*/ 2 h 51"/>
                  <a:gd name="T40" fmla="*/ 190 w 211"/>
                  <a:gd name="T41" fmla="*/ 1 h 51"/>
                  <a:gd name="T42" fmla="*/ 185 w 211"/>
                  <a:gd name="T43" fmla="*/ 0 h 51"/>
                  <a:gd name="T44" fmla="*/ 185 w 211"/>
                  <a:gd name="T45"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1" h="51">
                    <a:moveTo>
                      <a:pt x="185" y="0"/>
                    </a:moveTo>
                    <a:lnTo>
                      <a:pt x="52" y="0"/>
                    </a:lnTo>
                    <a:lnTo>
                      <a:pt x="0" y="51"/>
                    </a:lnTo>
                    <a:lnTo>
                      <a:pt x="185" y="51"/>
                    </a:lnTo>
                    <a:lnTo>
                      <a:pt x="185" y="51"/>
                    </a:lnTo>
                    <a:lnTo>
                      <a:pt x="190" y="51"/>
                    </a:lnTo>
                    <a:lnTo>
                      <a:pt x="194" y="49"/>
                    </a:lnTo>
                    <a:lnTo>
                      <a:pt x="199" y="47"/>
                    </a:lnTo>
                    <a:lnTo>
                      <a:pt x="203" y="44"/>
                    </a:lnTo>
                    <a:lnTo>
                      <a:pt x="206" y="40"/>
                    </a:lnTo>
                    <a:lnTo>
                      <a:pt x="209" y="35"/>
                    </a:lnTo>
                    <a:lnTo>
                      <a:pt x="210" y="31"/>
                    </a:lnTo>
                    <a:lnTo>
                      <a:pt x="211" y="26"/>
                    </a:lnTo>
                    <a:lnTo>
                      <a:pt x="211" y="26"/>
                    </a:lnTo>
                    <a:lnTo>
                      <a:pt x="210" y="20"/>
                    </a:lnTo>
                    <a:lnTo>
                      <a:pt x="209" y="15"/>
                    </a:lnTo>
                    <a:lnTo>
                      <a:pt x="206" y="12"/>
                    </a:lnTo>
                    <a:lnTo>
                      <a:pt x="203" y="8"/>
                    </a:lnTo>
                    <a:lnTo>
                      <a:pt x="199" y="4"/>
                    </a:lnTo>
                    <a:lnTo>
                      <a:pt x="194" y="2"/>
                    </a:lnTo>
                    <a:lnTo>
                      <a:pt x="190" y="1"/>
                    </a:lnTo>
                    <a:lnTo>
                      <a:pt x="185" y="0"/>
                    </a:lnTo>
                    <a:lnTo>
                      <a:pt x="185"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914400"/>
                <a:endParaRPr lang="de-DE">
                  <a:solidFill>
                    <a:srgbClr val="5F5F5F"/>
                  </a:solidFill>
                </a:endParaRPr>
              </a:p>
            </p:txBody>
          </p:sp>
          <p:sp>
            <p:nvSpPr>
              <p:cNvPr id="64" name="Freeform 32"/>
              <p:cNvSpPr>
                <a:spLocks/>
              </p:cNvSpPr>
              <p:nvPr/>
            </p:nvSpPr>
            <p:spPr bwMode="auto">
              <a:xfrm>
                <a:off x="-1511300" y="3465513"/>
                <a:ext cx="271463" cy="26988"/>
              </a:xfrm>
              <a:custGeom>
                <a:avLst/>
                <a:gdLst>
                  <a:gd name="T0" fmla="*/ 0 w 514"/>
                  <a:gd name="T1" fmla="*/ 51 h 51"/>
                  <a:gd name="T2" fmla="*/ 514 w 514"/>
                  <a:gd name="T3" fmla="*/ 51 h 51"/>
                  <a:gd name="T4" fmla="*/ 462 w 514"/>
                  <a:gd name="T5" fmla="*/ 0 h 51"/>
                  <a:gd name="T6" fmla="*/ 52 w 514"/>
                  <a:gd name="T7" fmla="*/ 0 h 51"/>
                  <a:gd name="T8" fmla="*/ 0 w 514"/>
                  <a:gd name="T9" fmla="*/ 51 h 51"/>
                </a:gdLst>
                <a:ahLst/>
                <a:cxnLst>
                  <a:cxn ang="0">
                    <a:pos x="T0" y="T1"/>
                  </a:cxn>
                  <a:cxn ang="0">
                    <a:pos x="T2" y="T3"/>
                  </a:cxn>
                  <a:cxn ang="0">
                    <a:pos x="T4" y="T5"/>
                  </a:cxn>
                  <a:cxn ang="0">
                    <a:pos x="T6" y="T7"/>
                  </a:cxn>
                  <a:cxn ang="0">
                    <a:pos x="T8" y="T9"/>
                  </a:cxn>
                </a:cxnLst>
                <a:rect l="0" t="0" r="r" b="b"/>
                <a:pathLst>
                  <a:path w="514" h="51">
                    <a:moveTo>
                      <a:pt x="0" y="51"/>
                    </a:moveTo>
                    <a:lnTo>
                      <a:pt x="514" y="51"/>
                    </a:lnTo>
                    <a:lnTo>
                      <a:pt x="462" y="0"/>
                    </a:lnTo>
                    <a:lnTo>
                      <a:pt x="52" y="0"/>
                    </a:lnTo>
                    <a:lnTo>
                      <a:pt x="0" y="5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914400"/>
                <a:endParaRPr lang="de-DE">
                  <a:solidFill>
                    <a:srgbClr val="5F5F5F"/>
                  </a:solidFill>
                </a:endParaRPr>
              </a:p>
            </p:txBody>
          </p:sp>
          <p:sp>
            <p:nvSpPr>
              <p:cNvPr id="65" name="Freeform 33"/>
              <p:cNvSpPr>
                <a:spLocks/>
              </p:cNvSpPr>
              <p:nvPr/>
            </p:nvSpPr>
            <p:spPr bwMode="auto">
              <a:xfrm>
                <a:off x="-1819275" y="3465513"/>
                <a:ext cx="107950" cy="26988"/>
              </a:xfrm>
              <a:custGeom>
                <a:avLst/>
                <a:gdLst>
                  <a:gd name="T0" fmla="*/ 150 w 203"/>
                  <a:gd name="T1" fmla="*/ 0 h 51"/>
                  <a:gd name="T2" fmla="*/ 26 w 203"/>
                  <a:gd name="T3" fmla="*/ 0 h 51"/>
                  <a:gd name="T4" fmla="*/ 26 w 203"/>
                  <a:gd name="T5" fmla="*/ 0 h 51"/>
                  <a:gd name="T6" fmla="*/ 20 w 203"/>
                  <a:gd name="T7" fmla="*/ 1 h 51"/>
                  <a:gd name="T8" fmla="*/ 15 w 203"/>
                  <a:gd name="T9" fmla="*/ 2 h 51"/>
                  <a:gd name="T10" fmla="*/ 12 w 203"/>
                  <a:gd name="T11" fmla="*/ 4 h 51"/>
                  <a:gd name="T12" fmla="*/ 7 w 203"/>
                  <a:gd name="T13" fmla="*/ 8 h 51"/>
                  <a:gd name="T14" fmla="*/ 5 w 203"/>
                  <a:gd name="T15" fmla="*/ 12 h 51"/>
                  <a:gd name="T16" fmla="*/ 2 w 203"/>
                  <a:gd name="T17" fmla="*/ 15 h 51"/>
                  <a:gd name="T18" fmla="*/ 0 w 203"/>
                  <a:gd name="T19" fmla="*/ 20 h 51"/>
                  <a:gd name="T20" fmla="*/ 0 w 203"/>
                  <a:gd name="T21" fmla="*/ 26 h 51"/>
                  <a:gd name="T22" fmla="*/ 0 w 203"/>
                  <a:gd name="T23" fmla="*/ 26 h 51"/>
                  <a:gd name="T24" fmla="*/ 0 w 203"/>
                  <a:gd name="T25" fmla="*/ 31 h 51"/>
                  <a:gd name="T26" fmla="*/ 2 w 203"/>
                  <a:gd name="T27" fmla="*/ 35 h 51"/>
                  <a:gd name="T28" fmla="*/ 5 w 203"/>
                  <a:gd name="T29" fmla="*/ 40 h 51"/>
                  <a:gd name="T30" fmla="*/ 7 w 203"/>
                  <a:gd name="T31" fmla="*/ 44 h 51"/>
                  <a:gd name="T32" fmla="*/ 12 w 203"/>
                  <a:gd name="T33" fmla="*/ 47 h 51"/>
                  <a:gd name="T34" fmla="*/ 15 w 203"/>
                  <a:gd name="T35" fmla="*/ 49 h 51"/>
                  <a:gd name="T36" fmla="*/ 20 w 203"/>
                  <a:gd name="T37" fmla="*/ 51 h 51"/>
                  <a:gd name="T38" fmla="*/ 26 w 203"/>
                  <a:gd name="T39" fmla="*/ 51 h 51"/>
                  <a:gd name="T40" fmla="*/ 203 w 203"/>
                  <a:gd name="T41" fmla="*/ 51 h 51"/>
                  <a:gd name="T42" fmla="*/ 150 w 203"/>
                  <a:gd name="T43"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03" h="51">
                    <a:moveTo>
                      <a:pt x="150" y="0"/>
                    </a:moveTo>
                    <a:lnTo>
                      <a:pt x="26" y="0"/>
                    </a:lnTo>
                    <a:lnTo>
                      <a:pt x="26" y="0"/>
                    </a:lnTo>
                    <a:lnTo>
                      <a:pt x="20" y="1"/>
                    </a:lnTo>
                    <a:lnTo>
                      <a:pt x="15" y="2"/>
                    </a:lnTo>
                    <a:lnTo>
                      <a:pt x="12" y="4"/>
                    </a:lnTo>
                    <a:lnTo>
                      <a:pt x="7" y="8"/>
                    </a:lnTo>
                    <a:lnTo>
                      <a:pt x="5" y="12"/>
                    </a:lnTo>
                    <a:lnTo>
                      <a:pt x="2" y="15"/>
                    </a:lnTo>
                    <a:lnTo>
                      <a:pt x="0" y="20"/>
                    </a:lnTo>
                    <a:lnTo>
                      <a:pt x="0" y="26"/>
                    </a:lnTo>
                    <a:lnTo>
                      <a:pt x="0" y="26"/>
                    </a:lnTo>
                    <a:lnTo>
                      <a:pt x="0" y="31"/>
                    </a:lnTo>
                    <a:lnTo>
                      <a:pt x="2" y="35"/>
                    </a:lnTo>
                    <a:lnTo>
                      <a:pt x="5" y="40"/>
                    </a:lnTo>
                    <a:lnTo>
                      <a:pt x="7" y="44"/>
                    </a:lnTo>
                    <a:lnTo>
                      <a:pt x="12" y="47"/>
                    </a:lnTo>
                    <a:lnTo>
                      <a:pt x="15" y="49"/>
                    </a:lnTo>
                    <a:lnTo>
                      <a:pt x="20" y="51"/>
                    </a:lnTo>
                    <a:lnTo>
                      <a:pt x="26" y="51"/>
                    </a:lnTo>
                    <a:lnTo>
                      <a:pt x="203" y="51"/>
                    </a:lnTo>
                    <a:lnTo>
                      <a:pt x="15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914400"/>
                <a:endParaRPr lang="de-DE">
                  <a:solidFill>
                    <a:srgbClr val="5F5F5F"/>
                  </a:solidFill>
                </a:endParaRPr>
              </a:p>
            </p:txBody>
          </p:sp>
          <p:sp>
            <p:nvSpPr>
              <p:cNvPr id="66" name="Freeform 34"/>
              <p:cNvSpPr>
                <a:spLocks/>
              </p:cNvSpPr>
              <p:nvPr/>
            </p:nvSpPr>
            <p:spPr bwMode="auto">
              <a:xfrm>
                <a:off x="-1273175" y="3341688"/>
                <a:ext cx="352425" cy="26988"/>
              </a:xfrm>
              <a:custGeom>
                <a:avLst/>
                <a:gdLst>
                  <a:gd name="T0" fmla="*/ 641 w 667"/>
                  <a:gd name="T1" fmla="*/ 0 h 50"/>
                  <a:gd name="T2" fmla="*/ 52 w 667"/>
                  <a:gd name="T3" fmla="*/ 0 h 50"/>
                  <a:gd name="T4" fmla="*/ 0 w 667"/>
                  <a:gd name="T5" fmla="*/ 50 h 50"/>
                  <a:gd name="T6" fmla="*/ 641 w 667"/>
                  <a:gd name="T7" fmla="*/ 50 h 50"/>
                  <a:gd name="T8" fmla="*/ 641 w 667"/>
                  <a:gd name="T9" fmla="*/ 50 h 50"/>
                  <a:gd name="T10" fmla="*/ 646 w 667"/>
                  <a:gd name="T11" fmla="*/ 49 h 50"/>
                  <a:gd name="T12" fmla="*/ 650 w 667"/>
                  <a:gd name="T13" fmla="*/ 48 h 50"/>
                  <a:gd name="T14" fmla="*/ 655 w 667"/>
                  <a:gd name="T15" fmla="*/ 46 h 50"/>
                  <a:gd name="T16" fmla="*/ 659 w 667"/>
                  <a:gd name="T17" fmla="*/ 43 h 50"/>
                  <a:gd name="T18" fmla="*/ 662 w 667"/>
                  <a:gd name="T19" fmla="*/ 39 h 50"/>
                  <a:gd name="T20" fmla="*/ 665 w 667"/>
                  <a:gd name="T21" fmla="*/ 35 h 50"/>
                  <a:gd name="T22" fmla="*/ 666 w 667"/>
                  <a:gd name="T23" fmla="*/ 30 h 50"/>
                  <a:gd name="T24" fmla="*/ 667 w 667"/>
                  <a:gd name="T25" fmla="*/ 24 h 50"/>
                  <a:gd name="T26" fmla="*/ 667 w 667"/>
                  <a:gd name="T27" fmla="*/ 24 h 50"/>
                  <a:gd name="T28" fmla="*/ 666 w 667"/>
                  <a:gd name="T29" fmla="*/ 20 h 50"/>
                  <a:gd name="T30" fmla="*/ 665 w 667"/>
                  <a:gd name="T31" fmla="*/ 15 h 50"/>
                  <a:gd name="T32" fmla="*/ 662 w 667"/>
                  <a:gd name="T33" fmla="*/ 10 h 50"/>
                  <a:gd name="T34" fmla="*/ 659 w 667"/>
                  <a:gd name="T35" fmla="*/ 7 h 50"/>
                  <a:gd name="T36" fmla="*/ 655 w 667"/>
                  <a:gd name="T37" fmla="*/ 3 h 50"/>
                  <a:gd name="T38" fmla="*/ 650 w 667"/>
                  <a:gd name="T39" fmla="*/ 1 h 50"/>
                  <a:gd name="T40" fmla="*/ 646 w 667"/>
                  <a:gd name="T41" fmla="*/ 0 h 50"/>
                  <a:gd name="T42" fmla="*/ 641 w 667"/>
                  <a:gd name="T43" fmla="*/ 0 h 50"/>
                  <a:gd name="T44" fmla="*/ 641 w 667"/>
                  <a:gd name="T4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67" h="50">
                    <a:moveTo>
                      <a:pt x="641" y="0"/>
                    </a:moveTo>
                    <a:lnTo>
                      <a:pt x="52" y="0"/>
                    </a:lnTo>
                    <a:lnTo>
                      <a:pt x="0" y="50"/>
                    </a:lnTo>
                    <a:lnTo>
                      <a:pt x="641" y="50"/>
                    </a:lnTo>
                    <a:lnTo>
                      <a:pt x="641" y="50"/>
                    </a:lnTo>
                    <a:lnTo>
                      <a:pt x="646" y="49"/>
                    </a:lnTo>
                    <a:lnTo>
                      <a:pt x="650" y="48"/>
                    </a:lnTo>
                    <a:lnTo>
                      <a:pt x="655" y="46"/>
                    </a:lnTo>
                    <a:lnTo>
                      <a:pt x="659" y="43"/>
                    </a:lnTo>
                    <a:lnTo>
                      <a:pt x="662" y="39"/>
                    </a:lnTo>
                    <a:lnTo>
                      <a:pt x="665" y="35"/>
                    </a:lnTo>
                    <a:lnTo>
                      <a:pt x="666" y="30"/>
                    </a:lnTo>
                    <a:lnTo>
                      <a:pt x="667" y="24"/>
                    </a:lnTo>
                    <a:lnTo>
                      <a:pt x="667" y="24"/>
                    </a:lnTo>
                    <a:lnTo>
                      <a:pt x="666" y="20"/>
                    </a:lnTo>
                    <a:lnTo>
                      <a:pt x="665" y="15"/>
                    </a:lnTo>
                    <a:lnTo>
                      <a:pt x="662" y="10"/>
                    </a:lnTo>
                    <a:lnTo>
                      <a:pt x="659" y="7"/>
                    </a:lnTo>
                    <a:lnTo>
                      <a:pt x="655" y="3"/>
                    </a:lnTo>
                    <a:lnTo>
                      <a:pt x="650" y="1"/>
                    </a:lnTo>
                    <a:lnTo>
                      <a:pt x="646" y="0"/>
                    </a:lnTo>
                    <a:lnTo>
                      <a:pt x="641" y="0"/>
                    </a:lnTo>
                    <a:lnTo>
                      <a:pt x="641"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914400"/>
                <a:endParaRPr lang="de-DE">
                  <a:solidFill>
                    <a:srgbClr val="5F5F5F"/>
                  </a:solidFill>
                </a:endParaRPr>
              </a:p>
            </p:txBody>
          </p:sp>
          <p:sp>
            <p:nvSpPr>
              <p:cNvPr id="67" name="Freeform 66"/>
              <p:cNvSpPr>
                <a:spLocks/>
              </p:cNvSpPr>
              <p:nvPr/>
            </p:nvSpPr>
            <p:spPr bwMode="auto">
              <a:xfrm>
                <a:off x="-1819275" y="3341688"/>
                <a:ext cx="347663" cy="26988"/>
              </a:xfrm>
              <a:custGeom>
                <a:avLst/>
                <a:gdLst>
                  <a:gd name="T0" fmla="*/ 604 w 656"/>
                  <a:gd name="T1" fmla="*/ 0 h 50"/>
                  <a:gd name="T2" fmla="*/ 26 w 656"/>
                  <a:gd name="T3" fmla="*/ 0 h 50"/>
                  <a:gd name="T4" fmla="*/ 26 w 656"/>
                  <a:gd name="T5" fmla="*/ 0 h 50"/>
                  <a:gd name="T6" fmla="*/ 20 w 656"/>
                  <a:gd name="T7" fmla="*/ 0 h 50"/>
                  <a:gd name="T8" fmla="*/ 15 w 656"/>
                  <a:gd name="T9" fmla="*/ 1 h 50"/>
                  <a:gd name="T10" fmla="*/ 12 w 656"/>
                  <a:gd name="T11" fmla="*/ 3 h 50"/>
                  <a:gd name="T12" fmla="*/ 7 w 656"/>
                  <a:gd name="T13" fmla="*/ 7 h 50"/>
                  <a:gd name="T14" fmla="*/ 5 w 656"/>
                  <a:gd name="T15" fmla="*/ 10 h 50"/>
                  <a:gd name="T16" fmla="*/ 2 w 656"/>
                  <a:gd name="T17" fmla="*/ 15 h 50"/>
                  <a:gd name="T18" fmla="*/ 0 w 656"/>
                  <a:gd name="T19" fmla="*/ 20 h 50"/>
                  <a:gd name="T20" fmla="*/ 0 w 656"/>
                  <a:gd name="T21" fmla="*/ 24 h 50"/>
                  <a:gd name="T22" fmla="*/ 0 w 656"/>
                  <a:gd name="T23" fmla="*/ 24 h 50"/>
                  <a:gd name="T24" fmla="*/ 0 w 656"/>
                  <a:gd name="T25" fmla="*/ 30 h 50"/>
                  <a:gd name="T26" fmla="*/ 2 w 656"/>
                  <a:gd name="T27" fmla="*/ 35 h 50"/>
                  <a:gd name="T28" fmla="*/ 5 w 656"/>
                  <a:gd name="T29" fmla="*/ 39 h 50"/>
                  <a:gd name="T30" fmla="*/ 7 w 656"/>
                  <a:gd name="T31" fmla="*/ 43 h 50"/>
                  <a:gd name="T32" fmla="*/ 12 w 656"/>
                  <a:gd name="T33" fmla="*/ 46 h 50"/>
                  <a:gd name="T34" fmla="*/ 15 w 656"/>
                  <a:gd name="T35" fmla="*/ 48 h 50"/>
                  <a:gd name="T36" fmla="*/ 20 w 656"/>
                  <a:gd name="T37" fmla="*/ 49 h 50"/>
                  <a:gd name="T38" fmla="*/ 26 w 656"/>
                  <a:gd name="T39" fmla="*/ 50 h 50"/>
                  <a:gd name="T40" fmla="*/ 656 w 656"/>
                  <a:gd name="T41" fmla="*/ 50 h 50"/>
                  <a:gd name="T42" fmla="*/ 604 w 656"/>
                  <a:gd name="T43"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56" h="50">
                    <a:moveTo>
                      <a:pt x="604" y="0"/>
                    </a:moveTo>
                    <a:lnTo>
                      <a:pt x="26" y="0"/>
                    </a:lnTo>
                    <a:lnTo>
                      <a:pt x="26" y="0"/>
                    </a:lnTo>
                    <a:lnTo>
                      <a:pt x="20" y="0"/>
                    </a:lnTo>
                    <a:lnTo>
                      <a:pt x="15" y="1"/>
                    </a:lnTo>
                    <a:lnTo>
                      <a:pt x="12" y="3"/>
                    </a:lnTo>
                    <a:lnTo>
                      <a:pt x="7" y="7"/>
                    </a:lnTo>
                    <a:lnTo>
                      <a:pt x="5" y="10"/>
                    </a:lnTo>
                    <a:lnTo>
                      <a:pt x="2" y="15"/>
                    </a:lnTo>
                    <a:lnTo>
                      <a:pt x="0" y="20"/>
                    </a:lnTo>
                    <a:lnTo>
                      <a:pt x="0" y="24"/>
                    </a:lnTo>
                    <a:lnTo>
                      <a:pt x="0" y="24"/>
                    </a:lnTo>
                    <a:lnTo>
                      <a:pt x="0" y="30"/>
                    </a:lnTo>
                    <a:lnTo>
                      <a:pt x="2" y="35"/>
                    </a:lnTo>
                    <a:lnTo>
                      <a:pt x="5" y="39"/>
                    </a:lnTo>
                    <a:lnTo>
                      <a:pt x="7" y="43"/>
                    </a:lnTo>
                    <a:lnTo>
                      <a:pt x="12" y="46"/>
                    </a:lnTo>
                    <a:lnTo>
                      <a:pt x="15" y="48"/>
                    </a:lnTo>
                    <a:lnTo>
                      <a:pt x="20" y="49"/>
                    </a:lnTo>
                    <a:lnTo>
                      <a:pt x="26" y="50"/>
                    </a:lnTo>
                    <a:lnTo>
                      <a:pt x="656" y="50"/>
                    </a:lnTo>
                    <a:lnTo>
                      <a:pt x="604"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914400"/>
                <a:endParaRPr lang="de-DE">
                  <a:solidFill>
                    <a:srgbClr val="5F5F5F"/>
                  </a:solidFill>
                </a:endParaRPr>
              </a:p>
            </p:txBody>
          </p:sp>
          <p:sp>
            <p:nvSpPr>
              <p:cNvPr id="68" name="Freeform 36"/>
              <p:cNvSpPr>
                <a:spLocks/>
              </p:cNvSpPr>
              <p:nvPr/>
            </p:nvSpPr>
            <p:spPr bwMode="auto">
              <a:xfrm>
                <a:off x="-1644650" y="3168650"/>
                <a:ext cx="112713" cy="84138"/>
              </a:xfrm>
              <a:custGeom>
                <a:avLst/>
                <a:gdLst>
                  <a:gd name="T0" fmla="*/ 81 w 215"/>
                  <a:gd name="T1" fmla="*/ 34 h 157"/>
                  <a:gd name="T2" fmla="*/ 81 w 215"/>
                  <a:gd name="T3" fmla="*/ 34 h 157"/>
                  <a:gd name="T4" fmla="*/ 72 w 215"/>
                  <a:gd name="T5" fmla="*/ 34 h 157"/>
                  <a:gd name="T6" fmla="*/ 60 w 215"/>
                  <a:gd name="T7" fmla="*/ 33 h 157"/>
                  <a:gd name="T8" fmla="*/ 32 w 215"/>
                  <a:gd name="T9" fmla="*/ 35 h 157"/>
                  <a:gd name="T10" fmla="*/ 0 w 215"/>
                  <a:gd name="T11" fmla="*/ 40 h 157"/>
                  <a:gd name="T12" fmla="*/ 34 w 215"/>
                  <a:gd name="T13" fmla="*/ 157 h 157"/>
                  <a:gd name="T14" fmla="*/ 34 w 215"/>
                  <a:gd name="T15" fmla="*/ 157 h 157"/>
                  <a:gd name="T16" fmla="*/ 41 w 215"/>
                  <a:gd name="T17" fmla="*/ 155 h 157"/>
                  <a:gd name="T18" fmla="*/ 51 w 215"/>
                  <a:gd name="T19" fmla="*/ 154 h 157"/>
                  <a:gd name="T20" fmla="*/ 80 w 215"/>
                  <a:gd name="T21" fmla="*/ 153 h 157"/>
                  <a:gd name="T22" fmla="*/ 118 w 215"/>
                  <a:gd name="T23" fmla="*/ 153 h 157"/>
                  <a:gd name="T24" fmla="*/ 118 w 215"/>
                  <a:gd name="T25" fmla="*/ 153 h 157"/>
                  <a:gd name="T26" fmla="*/ 114 w 215"/>
                  <a:gd name="T27" fmla="*/ 143 h 157"/>
                  <a:gd name="T28" fmla="*/ 113 w 215"/>
                  <a:gd name="T29" fmla="*/ 138 h 157"/>
                  <a:gd name="T30" fmla="*/ 113 w 215"/>
                  <a:gd name="T31" fmla="*/ 135 h 157"/>
                  <a:gd name="T32" fmla="*/ 114 w 215"/>
                  <a:gd name="T33" fmla="*/ 131 h 157"/>
                  <a:gd name="T34" fmla="*/ 115 w 215"/>
                  <a:gd name="T35" fmla="*/ 129 h 157"/>
                  <a:gd name="T36" fmla="*/ 120 w 215"/>
                  <a:gd name="T37" fmla="*/ 124 h 157"/>
                  <a:gd name="T38" fmla="*/ 127 w 215"/>
                  <a:gd name="T39" fmla="*/ 121 h 157"/>
                  <a:gd name="T40" fmla="*/ 135 w 215"/>
                  <a:gd name="T41" fmla="*/ 118 h 157"/>
                  <a:gd name="T42" fmla="*/ 145 w 215"/>
                  <a:gd name="T43" fmla="*/ 116 h 157"/>
                  <a:gd name="T44" fmla="*/ 156 w 215"/>
                  <a:gd name="T45" fmla="*/ 116 h 157"/>
                  <a:gd name="T46" fmla="*/ 177 w 215"/>
                  <a:gd name="T47" fmla="*/ 116 h 157"/>
                  <a:gd name="T48" fmla="*/ 196 w 215"/>
                  <a:gd name="T49" fmla="*/ 118 h 157"/>
                  <a:gd name="T50" fmla="*/ 215 w 215"/>
                  <a:gd name="T51" fmla="*/ 122 h 157"/>
                  <a:gd name="T52" fmla="*/ 182 w 215"/>
                  <a:gd name="T53" fmla="*/ 2 h 157"/>
                  <a:gd name="T54" fmla="*/ 182 w 215"/>
                  <a:gd name="T55" fmla="*/ 2 h 157"/>
                  <a:gd name="T56" fmla="*/ 160 w 215"/>
                  <a:gd name="T57" fmla="*/ 1 h 157"/>
                  <a:gd name="T58" fmla="*/ 141 w 215"/>
                  <a:gd name="T59" fmla="*/ 0 h 157"/>
                  <a:gd name="T60" fmla="*/ 126 w 215"/>
                  <a:gd name="T61" fmla="*/ 0 h 157"/>
                  <a:gd name="T62" fmla="*/ 113 w 215"/>
                  <a:gd name="T63" fmla="*/ 1 h 157"/>
                  <a:gd name="T64" fmla="*/ 102 w 215"/>
                  <a:gd name="T65" fmla="*/ 3 h 157"/>
                  <a:gd name="T66" fmla="*/ 95 w 215"/>
                  <a:gd name="T67" fmla="*/ 7 h 157"/>
                  <a:gd name="T68" fmla="*/ 88 w 215"/>
                  <a:gd name="T69" fmla="*/ 9 h 157"/>
                  <a:gd name="T70" fmla="*/ 85 w 215"/>
                  <a:gd name="T71" fmla="*/ 13 h 157"/>
                  <a:gd name="T72" fmla="*/ 81 w 215"/>
                  <a:gd name="T73" fmla="*/ 18 h 157"/>
                  <a:gd name="T74" fmla="*/ 80 w 215"/>
                  <a:gd name="T75" fmla="*/ 21 h 157"/>
                  <a:gd name="T76" fmla="*/ 79 w 215"/>
                  <a:gd name="T77" fmla="*/ 25 h 157"/>
                  <a:gd name="T78" fmla="*/ 79 w 215"/>
                  <a:gd name="T79" fmla="*/ 27 h 157"/>
                  <a:gd name="T80" fmla="*/ 80 w 215"/>
                  <a:gd name="T81" fmla="*/ 33 h 157"/>
                  <a:gd name="T82" fmla="*/ 81 w 215"/>
                  <a:gd name="T83" fmla="*/ 34 h 157"/>
                  <a:gd name="T84" fmla="*/ 81 w 215"/>
                  <a:gd name="T85" fmla="*/ 34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15" h="157">
                    <a:moveTo>
                      <a:pt x="81" y="34"/>
                    </a:moveTo>
                    <a:lnTo>
                      <a:pt x="81" y="34"/>
                    </a:lnTo>
                    <a:lnTo>
                      <a:pt x="72" y="34"/>
                    </a:lnTo>
                    <a:lnTo>
                      <a:pt x="60" y="33"/>
                    </a:lnTo>
                    <a:lnTo>
                      <a:pt x="32" y="35"/>
                    </a:lnTo>
                    <a:lnTo>
                      <a:pt x="0" y="40"/>
                    </a:lnTo>
                    <a:lnTo>
                      <a:pt x="34" y="157"/>
                    </a:lnTo>
                    <a:lnTo>
                      <a:pt x="34" y="157"/>
                    </a:lnTo>
                    <a:lnTo>
                      <a:pt x="41" y="155"/>
                    </a:lnTo>
                    <a:lnTo>
                      <a:pt x="51" y="154"/>
                    </a:lnTo>
                    <a:lnTo>
                      <a:pt x="80" y="153"/>
                    </a:lnTo>
                    <a:lnTo>
                      <a:pt x="118" y="153"/>
                    </a:lnTo>
                    <a:lnTo>
                      <a:pt x="118" y="153"/>
                    </a:lnTo>
                    <a:lnTo>
                      <a:pt x="114" y="143"/>
                    </a:lnTo>
                    <a:lnTo>
                      <a:pt x="113" y="138"/>
                    </a:lnTo>
                    <a:lnTo>
                      <a:pt x="113" y="135"/>
                    </a:lnTo>
                    <a:lnTo>
                      <a:pt x="114" y="131"/>
                    </a:lnTo>
                    <a:lnTo>
                      <a:pt x="115" y="129"/>
                    </a:lnTo>
                    <a:lnTo>
                      <a:pt x="120" y="124"/>
                    </a:lnTo>
                    <a:lnTo>
                      <a:pt x="127" y="121"/>
                    </a:lnTo>
                    <a:lnTo>
                      <a:pt x="135" y="118"/>
                    </a:lnTo>
                    <a:lnTo>
                      <a:pt x="145" y="116"/>
                    </a:lnTo>
                    <a:lnTo>
                      <a:pt x="156" y="116"/>
                    </a:lnTo>
                    <a:lnTo>
                      <a:pt x="177" y="116"/>
                    </a:lnTo>
                    <a:lnTo>
                      <a:pt x="196" y="118"/>
                    </a:lnTo>
                    <a:lnTo>
                      <a:pt x="215" y="122"/>
                    </a:lnTo>
                    <a:lnTo>
                      <a:pt x="182" y="2"/>
                    </a:lnTo>
                    <a:lnTo>
                      <a:pt x="182" y="2"/>
                    </a:lnTo>
                    <a:lnTo>
                      <a:pt x="160" y="1"/>
                    </a:lnTo>
                    <a:lnTo>
                      <a:pt x="141" y="0"/>
                    </a:lnTo>
                    <a:lnTo>
                      <a:pt x="126" y="0"/>
                    </a:lnTo>
                    <a:lnTo>
                      <a:pt x="113" y="1"/>
                    </a:lnTo>
                    <a:lnTo>
                      <a:pt x="102" y="3"/>
                    </a:lnTo>
                    <a:lnTo>
                      <a:pt x="95" y="7"/>
                    </a:lnTo>
                    <a:lnTo>
                      <a:pt x="88" y="9"/>
                    </a:lnTo>
                    <a:lnTo>
                      <a:pt x="85" y="13"/>
                    </a:lnTo>
                    <a:lnTo>
                      <a:pt x="81" y="18"/>
                    </a:lnTo>
                    <a:lnTo>
                      <a:pt x="80" y="21"/>
                    </a:lnTo>
                    <a:lnTo>
                      <a:pt x="79" y="25"/>
                    </a:lnTo>
                    <a:lnTo>
                      <a:pt x="79" y="27"/>
                    </a:lnTo>
                    <a:lnTo>
                      <a:pt x="80" y="33"/>
                    </a:lnTo>
                    <a:lnTo>
                      <a:pt x="81" y="34"/>
                    </a:lnTo>
                    <a:lnTo>
                      <a:pt x="81" y="3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914400"/>
                <a:endParaRPr lang="de-DE">
                  <a:solidFill>
                    <a:srgbClr val="5F5F5F"/>
                  </a:solidFill>
                </a:endParaRPr>
              </a:p>
            </p:txBody>
          </p:sp>
          <p:sp>
            <p:nvSpPr>
              <p:cNvPr id="69" name="Freeform 37"/>
              <p:cNvSpPr>
                <a:spLocks/>
              </p:cNvSpPr>
              <p:nvPr/>
            </p:nvSpPr>
            <p:spPr bwMode="auto">
              <a:xfrm>
                <a:off x="-1544638" y="3159125"/>
                <a:ext cx="50800" cy="150813"/>
              </a:xfrm>
              <a:custGeom>
                <a:avLst/>
                <a:gdLst>
                  <a:gd name="T0" fmla="*/ 23 w 94"/>
                  <a:gd name="T1" fmla="*/ 14 h 284"/>
                  <a:gd name="T2" fmla="*/ 93 w 94"/>
                  <a:gd name="T3" fmla="*/ 264 h 284"/>
                  <a:gd name="T4" fmla="*/ 93 w 94"/>
                  <a:gd name="T5" fmla="*/ 264 h 284"/>
                  <a:gd name="T6" fmla="*/ 94 w 94"/>
                  <a:gd name="T7" fmla="*/ 271 h 284"/>
                  <a:gd name="T8" fmla="*/ 93 w 94"/>
                  <a:gd name="T9" fmla="*/ 277 h 284"/>
                  <a:gd name="T10" fmla="*/ 90 w 94"/>
                  <a:gd name="T11" fmla="*/ 282 h 284"/>
                  <a:gd name="T12" fmla="*/ 87 w 94"/>
                  <a:gd name="T13" fmla="*/ 284 h 284"/>
                  <a:gd name="T14" fmla="*/ 87 w 94"/>
                  <a:gd name="T15" fmla="*/ 284 h 284"/>
                  <a:gd name="T16" fmla="*/ 82 w 94"/>
                  <a:gd name="T17" fmla="*/ 284 h 284"/>
                  <a:gd name="T18" fmla="*/ 78 w 94"/>
                  <a:gd name="T19" fmla="*/ 282 h 284"/>
                  <a:gd name="T20" fmla="*/ 74 w 94"/>
                  <a:gd name="T21" fmla="*/ 277 h 284"/>
                  <a:gd name="T22" fmla="*/ 71 w 94"/>
                  <a:gd name="T23" fmla="*/ 271 h 284"/>
                  <a:gd name="T24" fmla="*/ 1 w 94"/>
                  <a:gd name="T25" fmla="*/ 20 h 284"/>
                  <a:gd name="T26" fmla="*/ 1 w 94"/>
                  <a:gd name="T27" fmla="*/ 20 h 284"/>
                  <a:gd name="T28" fmla="*/ 0 w 94"/>
                  <a:gd name="T29" fmla="*/ 13 h 284"/>
                  <a:gd name="T30" fmla="*/ 1 w 94"/>
                  <a:gd name="T31" fmla="*/ 7 h 284"/>
                  <a:gd name="T32" fmla="*/ 4 w 94"/>
                  <a:gd name="T33" fmla="*/ 2 h 284"/>
                  <a:gd name="T34" fmla="*/ 7 w 94"/>
                  <a:gd name="T35" fmla="*/ 0 h 284"/>
                  <a:gd name="T36" fmla="*/ 7 w 94"/>
                  <a:gd name="T37" fmla="*/ 0 h 284"/>
                  <a:gd name="T38" fmla="*/ 12 w 94"/>
                  <a:gd name="T39" fmla="*/ 0 h 284"/>
                  <a:gd name="T40" fmla="*/ 16 w 94"/>
                  <a:gd name="T41" fmla="*/ 2 h 284"/>
                  <a:gd name="T42" fmla="*/ 20 w 94"/>
                  <a:gd name="T43" fmla="*/ 7 h 284"/>
                  <a:gd name="T44" fmla="*/ 23 w 94"/>
                  <a:gd name="T45" fmla="*/ 14 h 284"/>
                  <a:gd name="T46" fmla="*/ 23 w 94"/>
                  <a:gd name="T47" fmla="*/ 14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4" h="284">
                    <a:moveTo>
                      <a:pt x="23" y="14"/>
                    </a:moveTo>
                    <a:lnTo>
                      <a:pt x="93" y="264"/>
                    </a:lnTo>
                    <a:lnTo>
                      <a:pt x="93" y="264"/>
                    </a:lnTo>
                    <a:lnTo>
                      <a:pt x="94" y="271"/>
                    </a:lnTo>
                    <a:lnTo>
                      <a:pt x="93" y="277"/>
                    </a:lnTo>
                    <a:lnTo>
                      <a:pt x="90" y="282"/>
                    </a:lnTo>
                    <a:lnTo>
                      <a:pt x="87" y="284"/>
                    </a:lnTo>
                    <a:lnTo>
                      <a:pt x="87" y="284"/>
                    </a:lnTo>
                    <a:lnTo>
                      <a:pt x="82" y="284"/>
                    </a:lnTo>
                    <a:lnTo>
                      <a:pt x="78" y="282"/>
                    </a:lnTo>
                    <a:lnTo>
                      <a:pt x="74" y="277"/>
                    </a:lnTo>
                    <a:lnTo>
                      <a:pt x="71" y="271"/>
                    </a:lnTo>
                    <a:lnTo>
                      <a:pt x="1" y="20"/>
                    </a:lnTo>
                    <a:lnTo>
                      <a:pt x="1" y="20"/>
                    </a:lnTo>
                    <a:lnTo>
                      <a:pt x="0" y="13"/>
                    </a:lnTo>
                    <a:lnTo>
                      <a:pt x="1" y="7"/>
                    </a:lnTo>
                    <a:lnTo>
                      <a:pt x="4" y="2"/>
                    </a:lnTo>
                    <a:lnTo>
                      <a:pt x="7" y="0"/>
                    </a:lnTo>
                    <a:lnTo>
                      <a:pt x="7" y="0"/>
                    </a:lnTo>
                    <a:lnTo>
                      <a:pt x="12" y="0"/>
                    </a:lnTo>
                    <a:lnTo>
                      <a:pt x="16" y="2"/>
                    </a:lnTo>
                    <a:lnTo>
                      <a:pt x="20" y="7"/>
                    </a:lnTo>
                    <a:lnTo>
                      <a:pt x="23" y="14"/>
                    </a:lnTo>
                    <a:lnTo>
                      <a:pt x="23" y="1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914400"/>
                <a:endParaRPr lang="de-DE">
                  <a:solidFill>
                    <a:srgbClr val="5F5F5F"/>
                  </a:solidFill>
                </a:endParaRPr>
              </a:p>
            </p:txBody>
          </p:sp>
        </p:grpSp>
      </p:grpSp>
      <p:grpSp>
        <p:nvGrpSpPr>
          <p:cNvPr id="8" name="Gruppieren 7"/>
          <p:cNvGrpSpPr/>
          <p:nvPr/>
        </p:nvGrpSpPr>
        <p:grpSpPr>
          <a:xfrm>
            <a:off x="3257847" y="1722227"/>
            <a:ext cx="714508" cy="714508"/>
            <a:chOff x="3386128" y="1601374"/>
            <a:chExt cx="714508" cy="714508"/>
          </a:xfrm>
        </p:grpSpPr>
        <p:sp>
          <p:nvSpPr>
            <p:cNvPr id="82" name="Ellipse 81"/>
            <p:cNvSpPr/>
            <p:nvPr/>
          </p:nvSpPr>
          <p:spPr>
            <a:xfrm>
              <a:off x="3386128" y="1601374"/>
              <a:ext cx="714508" cy="714508"/>
            </a:xfrm>
            <a:prstGeom prst="ellipse">
              <a:avLst/>
            </a:prstGeom>
            <a:solidFill>
              <a:schemeClr val="accent2"/>
            </a:solidFill>
            <a:ln w="28575">
              <a:solidFill>
                <a:srgbClr val="FFFFFF"/>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sp>
          <p:nvSpPr>
            <p:cNvPr id="72" name="Freeform 5"/>
            <p:cNvSpPr>
              <a:spLocks noChangeAspect="1" noEditPoints="1"/>
            </p:cNvSpPr>
            <p:nvPr/>
          </p:nvSpPr>
          <p:spPr bwMode="auto">
            <a:xfrm>
              <a:off x="3536556" y="1759814"/>
              <a:ext cx="413652" cy="361886"/>
            </a:xfrm>
            <a:custGeom>
              <a:avLst/>
              <a:gdLst>
                <a:gd name="T0" fmla="*/ 222 w 279"/>
                <a:gd name="T1" fmla="*/ 119 h 225"/>
                <a:gd name="T2" fmla="*/ 147 w 279"/>
                <a:gd name="T3" fmla="*/ 55 h 225"/>
                <a:gd name="T4" fmla="*/ 133 w 279"/>
                <a:gd name="T5" fmla="*/ 55 h 225"/>
                <a:gd name="T6" fmla="*/ 57 w 279"/>
                <a:gd name="T7" fmla="*/ 119 h 225"/>
                <a:gd name="T8" fmla="*/ 53 w 279"/>
                <a:gd name="T9" fmla="*/ 129 h 225"/>
                <a:gd name="T10" fmla="*/ 53 w 279"/>
                <a:gd name="T11" fmla="*/ 131 h 225"/>
                <a:gd name="T12" fmla="*/ 53 w 279"/>
                <a:gd name="T13" fmla="*/ 215 h 225"/>
                <a:gd name="T14" fmla="*/ 56 w 279"/>
                <a:gd name="T15" fmla="*/ 222 h 225"/>
                <a:gd name="T16" fmla="*/ 64 w 279"/>
                <a:gd name="T17" fmla="*/ 225 h 225"/>
                <a:gd name="T18" fmla="*/ 115 w 279"/>
                <a:gd name="T19" fmla="*/ 225 h 225"/>
                <a:gd name="T20" fmla="*/ 115 w 279"/>
                <a:gd name="T21" fmla="*/ 159 h 225"/>
                <a:gd name="T22" fmla="*/ 126 w 279"/>
                <a:gd name="T23" fmla="*/ 147 h 225"/>
                <a:gd name="T24" fmla="*/ 153 w 279"/>
                <a:gd name="T25" fmla="*/ 147 h 225"/>
                <a:gd name="T26" fmla="*/ 164 w 279"/>
                <a:gd name="T27" fmla="*/ 159 h 225"/>
                <a:gd name="T28" fmla="*/ 164 w 279"/>
                <a:gd name="T29" fmla="*/ 225 h 225"/>
                <a:gd name="T30" fmla="*/ 216 w 279"/>
                <a:gd name="T31" fmla="*/ 225 h 225"/>
                <a:gd name="T32" fmla="*/ 223 w 279"/>
                <a:gd name="T33" fmla="*/ 222 h 225"/>
                <a:gd name="T34" fmla="*/ 226 w 279"/>
                <a:gd name="T35" fmla="*/ 215 h 225"/>
                <a:gd name="T36" fmla="*/ 226 w 279"/>
                <a:gd name="T37" fmla="*/ 131 h 225"/>
                <a:gd name="T38" fmla="*/ 226 w 279"/>
                <a:gd name="T39" fmla="*/ 129 h 225"/>
                <a:gd name="T40" fmla="*/ 222 w 279"/>
                <a:gd name="T41" fmla="*/ 119 h 225"/>
                <a:gd name="T42" fmla="*/ 266 w 279"/>
                <a:gd name="T43" fmla="*/ 100 h 225"/>
                <a:gd name="T44" fmla="*/ 219 w 279"/>
                <a:gd name="T45" fmla="*/ 60 h 225"/>
                <a:gd name="T46" fmla="*/ 219 w 279"/>
                <a:gd name="T47" fmla="*/ 19 h 225"/>
                <a:gd name="T48" fmla="*/ 212 w 279"/>
                <a:gd name="T49" fmla="*/ 12 h 225"/>
                <a:gd name="T50" fmla="*/ 198 w 279"/>
                <a:gd name="T51" fmla="*/ 12 h 225"/>
                <a:gd name="T52" fmla="*/ 191 w 279"/>
                <a:gd name="T53" fmla="*/ 19 h 225"/>
                <a:gd name="T54" fmla="*/ 191 w 279"/>
                <a:gd name="T55" fmla="*/ 37 h 225"/>
                <a:gd name="T56" fmla="*/ 156 w 279"/>
                <a:gd name="T57" fmla="*/ 7 h 225"/>
                <a:gd name="T58" fmla="*/ 123 w 279"/>
                <a:gd name="T59" fmla="*/ 7 h 225"/>
                <a:gd name="T60" fmla="*/ 13 w 279"/>
                <a:gd name="T61" fmla="*/ 100 h 225"/>
                <a:gd name="T62" fmla="*/ 12 w 279"/>
                <a:gd name="T63" fmla="*/ 119 h 225"/>
                <a:gd name="T64" fmla="*/ 34 w 279"/>
                <a:gd name="T65" fmla="*/ 119 h 225"/>
                <a:gd name="T66" fmla="*/ 131 w 279"/>
                <a:gd name="T67" fmla="*/ 37 h 225"/>
                <a:gd name="T68" fmla="*/ 148 w 279"/>
                <a:gd name="T69" fmla="*/ 37 h 225"/>
                <a:gd name="T70" fmla="*/ 245 w 279"/>
                <a:gd name="T71" fmla="*/ 119 h 225"/>
                <a:gd name="T72" fmla="*/ 267 w 279"/>
                <a:gd name="T73" fmla="*/ 119 h 225"/>
                <a:gd name="T74" fmla="*/ 266 w 279"/>
                <a:gd name="T75" fmla="*/ 100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79" h="225">
                  <a:moveTo>
                    <a:pt x="222" y="119"/>
                  </a:moveTo>
                  <a:cubicBezTo>
                    <a:pt x="147" y="55"/>
                    <a:pt x="147" y="55"/>
                    <a:pt x="147" y="55"/>
                  </a:cubicBezTo>
                  <a:cubicBezTo>
                    <a:pt x="143" y="52"/>
                    <a:pt x="137" y="52"/>
                    <a:pt x="133" y="55"/>
                  </a:cubicBezTo>
                  <a:cubicBezTo>
                    <a:pt x="57" y="119"/>
                    <a:pt x="57" y="119"/>
                    <a:pt x="57" y="119"/>
                  </a:cubicBezTo>
                  <a:cubicBezTo>
                    <a:pt x="54" y="122"/>
                    <a:pt x="52" y="125"/>
                    <a:pt x="53" y="129"/>
                  </a:cubicBezTo>
                  <a:cubicBezTo>
                    <a:pt x="53" y="130"/>
                    <a:pt x="53" y="130"/>
                    <a:pt x="53" y="131"/>
                  </a:cubicBezTo>
                  <a:cubicBezTo>
                    <a:pt x="53" y="215"/>
                    <a:pt x="53" y="215"/>
                    <a:pt x="53" y="215"/>
                  </a:cubicBezTo>
                  <a:cubicBezTo>
                    <a:pt x="53" y="217"/>
                    <a:pt x="54" y="220"/>
                    <a:pt x="56" y="222"/>
                  </a:cubicBezTo>
                  <a:cubicBezTo>
                    <a:pt x="58" y="224"/>
                    <a:pt x="61" y="225"/>
                    <a:pt x="64" y="225"/>
                  </a:cubicBezTo>
                  <a:cubicBezTo>
                    <a:pt x="115" y="225"/>
                    <a:pt x="115" y="225"/>
                    <a:pt x="115" y="225"/>
                  </a:cubicBezTo>
                  <a:cubicBezTo>
                    <a:pt x="115" y="159"/>
                    <a:pt x="115" y="159"/>
                    <a:pt x="115" y="159"/>
                  </a:cubicBezTo>
                  <a:cubicBezTo>
                    <a:pt x="115" y="153"/>
                    <a:pt x="120" y="147"/>
                    <a:pt x="126" y="147"/>
                  </a:cubicBezTo>
                  <a:cubicBezTo>
                    <a:pt x="153" y="147"/>
                    <a:pt x="153" y="147"/>
                    <a:pt x="153" y="147"/>
                  </a:cubicBezTo>
                  <a:cubicBezTo>
                    <a:pt x="159" y="147"/>
                    <a:pt x="164" y="153"/>
                    <a:pt x="164" y="159"/>
                  </a:cubicBezTo>
                  <a:cubicBezTo>
                    <a:pt x="164" y="225"/>
                    <a:pt x="164" y="225"/>
                    <a:pt x="164" y="225"/>
                  </a:cubicBezTo>
                  <a:cubicBezTo>
                    <a:pt x="216" y="225"/>
                    <a:pt x="216" y="225"/>
                    <a:pt x="216" y="225"/>
                  </a:cubicBezTo>
                  <a:cubicBezTo>
                    <a:pt x="218" y="225"/>
                    <a:pt x="221" y="224"/>
                    <a:pt x="223" y="222"/>
                  </a:cubicBezTo>
                  <a:cubicBezTo>
                    <a:pt x="225" y="220"/>
                    <a:pt x="226" y="217"/>
                    <a:pt x="226" y="215"/>
                  </a:cubicBezTo>
                  <a:cubicBezTo>
                    <a:pt x="226" y="131"/>
                    <a:pt x="226" y="131"/>
                    <a:pt x="226" y="131"/>
                  </a:cubicBezTo>
                  <a:cubicBezTo>
                    <a:pt x="226" y="130"/>
                    <a:pt x="226" y="130"/>
                    <a:pt x="226" y="129"/>
                  </a:cubicBezTo>
                  <a:cubicBezTo>
                    <a:pt x="227" y="125"/>
                    <a:pt x="225" y="122"/>
                    <a:pt x="222" y="119"/>
                  </a:cubicBezTo>
                  <a:close/>
                  <a:moveTo>
                    <a:pt x="266" y="100"/>
                  </a:moveTo>
                  <a:cubicBezTo>
                    <a:pt x="219" y="60"/>
                    <a:pt x="219" y="60"/>
                    <a:pt x="219" y="60"/>
                  </a:cubicBezTo>
                  <a:cubicBezTo>
                    <a:pt x="219" y="19"/>
                    <a:pt x="219" y="19"/>
                    <a:pt x="219" y="19"/>
                  </a:cubicBezTo>
                  <a:cubicBezTo>
                    <a:pt x="219" y="15"/>
                    <a:pt x="216" y="12"/>
                    <a:pt x="212" y="12"/>
                  </a:cubicBezTo>
                  <a:cubicBezTo>
                    <a:pt x="198" y="12"/>
                    <a:pt x="198" y="12"/>
                    <a:pt x="198" y="12"/>
                  </a:cubicBezTo>
                  <a:cubicBezTo>
                    <a:pt x="194" y="12"/>
                    <a:pt x="191" y="15"/>
                    <a:pt x="191" y="19"/>
                  </a:cubicBezTo>
                  <a:cubicBezTo>
                    <a:pt x="191" y="37"/>
                    <a:pt x="191" y="37"/>
                    <a:pt x="191" y="37"/>
                  </a:cubicBezTo>
                  <a:cubicBezTo>
                    <a:pt x="156" y="7"/>
                    <a:pt x="156" y="7"/>
                    <a:pt x="156" y="7"/>
                  </a:cubicBezTo>
                  <a:cubicBezTo>
                    <a:pt x="147" y="0"/>
                    <a:pt x="132" y="0"/>
                    <a:pt x="123" y="7"/>
                  </a:cubicBezTo>
                  <a:cubicBezTo>
                    <a:pt x="13" y="100"/>
                    <a:pt x="13" y="100"/>
                    <a:pt x="13" y="100"/>
                  </a:cubicBezTo>
                  <a:cubicBezTo>
                    <a:pt x="0" y="111"/>
                    <a:pt x="0" y="119"/>
                    <a:pt x="12" y="119"/>
                  </a:cubicBezTo>
                  <a:cubicBezTo>
                    <a:pt x="34" y="119"/>
                    <a:pt x="34" y="119"/>
                    <a:pt x="34" y="119"/>
                  </a:cubicBezTo>
                  <a:cubicBezTo>
                    <a:pt x="131" y="37"/>
                    <a:pt x="131" y="37"/>
                    <a:pt x="131" y="37"/>
                  </a:cubicBezTo>
                  <a:cubicBezTo>
                    <a:pt x="136" y="34"/>
                    <a:pt x="143" y="34"/>
                    <a:pt x="148" y="37"/>
                  </a:cubicBezTo>
                  <a:cubicBezTo>
                    <a:pt x="245" y="119"/>
                    <a:pt x="245" y="119"/>
                    <a:pt x="245" y="119"/>
                  </a:cubicBezTo>
                  <a:cubicBezTo>
                    <a:pt x="245" y="119"/>
                    <a:pt x="255" y="119"/>
                    <a:pt x="267" y="119"/>
                  </a:cubicBezTo>
                  <a:cubicBezTo>
                    <a:pt x="279" y="119"/>
                    <a:pt x="279" y="111"/>
                    <a:pt x="266" y="100"/>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de-DE">
                <a:solidFill>
                  <a:srgbClr val="5F5F5F"/>
                </a:solidFill>
              </a:endParaRPr>
            </a:p>
          </p:txBody>
        </p:sp>
      </p:grpSp>
      <p:grpSp>
        <p:nvGrpSpPr>
          <p:cNvPr id="9" name="Gruppieren 8"/>
          <p:cNvGrpSpPr/>
          <p:nvPr/>
        </p:nvGrpSpPr>
        <p:grpSpPr>
          <a:xfrm>
            <a:off x="2326585" y="3126792"/>
            <a:ext cx="714508" cy="714508"/>
            <a:chOff x="2567660" y="3133541"/>
            <a:chExt cx="714508" cy="714508"/>
          </a:xfrm>
        </p:grpSpPr>
        <p:sp>
          <p:nvSpPr>
            <p:cNvPr id="83" name="Ellipse 82"/>
            <p:cNvSpPr/>
            <p:nvPr/>
          </p:nvSpPr>
          <p:spPr>
            <a:xfrm>
              <a:off x="2567660" y="3133541"/>
              <a:ext cx="714508" cy="714508"/>
            </a:xfrm>
            <a:prstGeom prst="ellipse">
              <a:avLst/>
            </a:prstGeom>
            <a:solidFill>
              <a:schemeClr val="accent2"/>
            </a:solidFill>
            <a:ln w="28575">
              <a:solidFill>
                <a:srgbClr val="FFFFFF"/>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sp>
          <p:nvSpPr>
            <p:cNvPr id="36" name="Freeform 5"/>
            <p:cNvSpPr>
              <a:spLocks noChangeAspect="1" noEditPoints="1"/>
            </p:cNvSpPr>
            <p:nvPr/>
          </p:nvSpPr>
          <p:spPr bwMode="auto">
            <a:xfrm>
              <a:off x="2692420" y="3246825"/>
              <a:ext cx="464988" cy="475782"/>
            </a:xfrm>
            <a:custGeom>
              <a:avLst/>
              <a:gdLst>
                <a:gd name="T0" fmla="*/ 281 w 562"/>
                <a:gd name="T1" fmla="*/ 0 h 562"/>
                <a:gd name="T2" fmla="*/ 0 w 562"/>
                <a:gd name="T3" fmla="*/ 281 h 562"/>
                <a:gd name="T4" fmla="*/ 281 w 562"/>
                <a:gd name="T5" fmla="*/ 562 h 562"/>
                <a:gd name="T6" fmla="*/ 562 w 562"/>
                <a:gd name="T7" fmla="*/ 281 h 562"/>
                <a:gd name="T8" fmla="*/ 281 w 562"/>
                <a:gd name="T9" fmla="*/ 0 h 562"/>
                <a:gd name="T10" fmla="*/ 23 w 562"/>
                <a:gd name="T11" fmla="*/ 294 h 562"/>
                <a:gd name="T12" fmla="*/ 179 w 562"/>
                <a:gd name="T13" fmla="*/ 294 h 562"/>
                <a:gd name="T14" fmla="*/ 189 w 562"/>
                <a:gd name="T15" fmla="*/ 402 h 562"/>
                <a:gd name="T16" fmla="*/ 53 w 562"/>
                <a:gd name="T17" fmla="*/ 402 h 562"/>
                <a:gd name="T18" fmla="*/ 23 w 562"/>
                <a:gd name="T19" fmla="*/ 294 h 562"/>
                <a:gd name="T20" fmla="*/ 179 w 562"/>
                <a:gd name="T21" fmla="*/ 271 h 562"/>
                <a:gd name="T22" fmla="*/ 23 w 562"/>
                <a:gd name="T23" fmla="*/ 271 h 562"/>
                <a:gd name="T24" fmla="*/ 50 w 562"/>
                <a:gd name="T25" fmla="*/ 166 h 562"/>
                <a:gd name="T26" fmla="*/ 188 w 562"/>
                <a:gd name="T27" fmla="*/ 166 h 562"/>
                <a:gd name="T28" fmla="*/ 179 w 562"/>
                <a:gd name="T29" fmla="*/ 271 h 562"/>
                <a:gd name="T30" fmla="*/ 211 w 562"/>
                <a:gd name="T31" fmla="*/ 166 h 562"/>
                <a:gd name="T32" fmla="*/ 348 w 562"/>
                <a:gd name="T33" fmla="*/ 166 h 562"/>
                <a:gd name="T34" fmla="*/ 358 w 562"/>
                <a:gd name="T35" fmla="*/ 271 h 562"/>
                <a:gd name="T36" fmla="*/ 202 w 562"/>
                <a:gd name="T37" fmla="*/ 271 h 562"/>
                <a:gd name="T38" fmla="*/ 211 w 562"/>
                <a:gd name="T39" fmla="*/ 166 h 562"/>
                <a:gd name="T40" fmla="*/ 202 w 562"/>
                <a:gd name="T41" fmla="*/ 294 h 562"/>
                <a:gd name="T42" fmla="*/ 358 w 562"/>
                <a:gd name="T43" fmla="*/ 294 h 562"/>
                <a:gd name="T44" fmla="*/ 348 w 562"/>
                <a:gd name="T45" fmla="*/ 402 h 562"/>
                <a:gd name="T46" fmla="*/ 212 w 562"/>
                <a:gd name="T47" fmla="*/ 402 h 562"/>
                <a:gd name="T48" fmla="*/ 202 w 562"/>
                <a:gd name="T49" fmla="*/ 294 h 562"/>
                <a:gd name="T50" fmla="*/ 380 w 562"/>
                <a:gd name="T51" fmla="*/ 294 h 562"/>
                <a:gd name="T52" fmla="*/ 539 w 562"/>
                <a:gd name="T53" fmla="*/ 294 h 562"/>
                <a:gd name="T54" fmla="*/ 509 w 562"/>
                <a:gd name="T55" fmla="*/ 402 h 562"/>
                <a:gd name="T56" fmla="*/ 371 w 562"/>
                <a:gd name="T57" fmla="*/ 402 h 562"/>
                <a:gd name="T58" fmla="*/ 380 w 562"/>
                <a:gd name="T59" fmla="*/ 294 h 562"/>
                <a:gd name="T60" fmla="*/ 380 w 562"/>
                <a:gd name="T61" fmla="*/ 271 h 562"/>
                <a:gd name="T62" fmla="*/ 372 w 562"/>
                <a:gd name="T63" fmla="*/ 166 h 562"/>
                <a:gd name="T64" fmla="*/ 512 w 562"/>
                <a:gd name="T65" fmla="*/ 166 h 562"/>
                <a:gd name="T66" fmla="*/ 539 w 562"/>
                <a:gd name="T67" fmla="*/ 271 h 562"/>
                <a:gd name="T68" fmla="*/ 380 w 562"/>
                <a:gd name="T69" fmla="*/ 271 h 562"/>
                <a:gd name="T70" fmla="*/ 500 w 562"/>
                <a:gd name="T71" fmla="*/ 144 h 562"/>
                <a:gd name="T72" fmla="*/ 367 w 562"/>
                <a:gd name="T73" fmla="*/ 144 h 562"/>
                <a:gd name="T74" fmla="*/ 354 w 562"/>
                <a:gd name="T75" fmla="*/ 93 h 562"/>
                <a:gd name="T76" fmla="*/ 317 w 562"/>
                <a:gd name="T77" fmla="*/ 25 h 562"/>
                <a:gd name="T78" fmla="*/ 500 w 562"/>
                <a:gd name="T79" fmla="*/ 144 h 562"/>
                <a:gd name="T80" fmla="*/ 280 w 562"/>
                <a:gd name="T81" fmla="*/ 31 h 562"/>
                <a:gd name="T82" fmla="*/ 344 w 562"/>
                <a:gd name="T83" fmla="*/ 144 h 562"/>
                <a:gd name="T84" fmla="*/ 215 w 562"/>
                <a:gd name="T85" fmla="*/ 144 h 562"/>
                <a:gd name="T86" fmla="*/ 280 w 562"/>
                <a:gd name="T87" fmla="*/ 31 h 562"/>
                <a:gd name="T88" fmla="*/ 242 w 562"/>
                <a:gd name="T89" fmla="*/ 26 h 562"/>
                <a:gd name="T90" fmla="*/ 206 w 562"/>
                <a:gd name="T91" fmla="*/ 93 h 562"/>
                <a:gd name="T92" fmla="*/ 192 w 562"/>
                <a:gd name="T93" fmla="*/ 144 h 562"/>
                <a:gd name="T94" fmla="*/ 63 w 562"/>
                <a:gd name="T95" fmla="*/ 144 h 562"/>
                <a:gd name="T96" fmla="*/ 242 w 562"/>
                <a:gd name="T97" fmla="*/ 26 h 562"/>
                <a:gd name="T98" fmla="*/ 67 w 562"/>
                <a:gd name="T99" fmla="*/ 425 h 562"/>
                <a:gd name="T100" fmla="*/ 193 w 562"/>
                <a:gd name="T101" fmla="*/ 425 h 562"/>
                <a:gd name="T102" fmla="*/ 206 w 562"/>
                <a:gd name="T103" fmla="*/ 471 h 562"/>
                <a:gd name="T104" fmla="*/ 241 w 562"/>
                <a:gd name="T105" fmla="*/ 536 h 562"/>
                <a:gd name="T106" fmla="*/ 67 w 562"/>
                <a:gd name="T107" fmla="*/ 425 h 562"/>
                <a:gd name="T108" fmla="*/ 280 w 562"/>
                <a:gd name="T109" fmla="*/ 532 h 562"/>
                <a:gd name="T110" fmla="*/ 216 w 562"/>
                <a:gd name="T111" fmla="*/ 425 h 562"/>
                <a:gd name="T112" fmla="*/ 343 w 562"/>
                <a:gd name="T113" fmla="*/ 425 h 562"/>
                <a:gd name="T114" fmla="*/ 280 w 562"/>
                <a:gd name="T115" fmla="*/ 532 h 562"/>
                <a:gd name="T116" fmla="*/ 318 w 562"/>
                <a:gd name="T117" fmla="*/ 537 h 562"/>
                <a:gd name="T118" fmla="*/ 354 w 562"/>
                <a:gd name="T119" fmla="*/ 471 h 562"/>
                <a:gd name="T120" fmla="*/ 366 w 562"/>
                <a:gd name="T121" fmla="*/ 425 h 562"/>
                <a:gd name="T122" fmla="*/ 496 w 562"/>
                <a:gd name="T123" fmla="*/ 425 h 562"/>
                <a:gd name="T124" fmla="*/ 318 w 562"/>
                <a:gd name="T125" fmla="*/ 537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2" h="562">
                  <a:moveTo>
                    <a:pt x="281" y="0"/>
                  </a:moveTo>
                  <a:cubicBezTo>
                    <a:pt x="126" y="0"/>
                    <a:pt x="0" y="126"/>
                    <a:pt x="0" y="281"/>
                  </a:cubicBezTo>
                  <a:cubicBezTo>
                    <a:pt x="0" y="436"/>
                    <a:pt x="126" y="562"/>
                    <a:pt x="281" y="562"/>
                  </a:cubicBezTo>
                  <a:cubicBezTo>
                    <a:pt x="436" y="562"/>
                    <a:pt x="562" y="436"/>
                    <a:pt x="562" y="281"/>
                  </a:cubicBezTo>
                  <a:cubicBezTo>
                    <a:pt x="562" y="126"/>
                    <a:pt x="436" y="0"/>
                    <a:pt x="281" y="0"/>
                  </a:cubicBezTo>
                  <a:close/>
                  <a:moveTo>
                    <a:pt x="23" y="294"/>
                  </a:moveTo>
                  <a:cubicBezTo>
                    <a:pt x="179" y="294"/>
                    <a:pt x="179" y="294"/>
                    <a:pt x="179" y="294"/>
                  </a:cubicBezTo>
                  <a:cubicBezTo>
                    <a:pt x="180" y="332"/>
                    <a:pt x="183" y="369"/>
                    <a:pt x="189" y="402"/>
                  </a:cubicBezTo>
                  <a:cubicBezTo>
                    <a:pt x="53" y="402"/>
                    <a:pt x="53" y="402"/>
                    <a:pt x="53" y="402"/>
                  </a:cubicBezTo>
                  <a:cubicBezTo>
                    <a:pt x="36" y="369"/>
                    <a:pt x="25" y="333"/>
                    <a:pt x="23" y="294"/>
                  </a:cubicBezTo>
                  <a:close/>
                  <a:moveTo>
                    <a:pt x="179" y="271"/>
                  </a:moveTo>
                  <a:cubicBezTo>
                    <a:pt x="23" y="271"/>
                    <a:pt x="23" y="271"/>
                    <a:pt x="23" y="271"/>
                  </a:cubicBezTo>
                  <a:cubicBezTo>
                    <a:pt x="25" y="234"/>
                    <a:pt x="34" y="198"/>
                    <a:pt x="50" y="166"/>
                  </a:cubicBezTo>
                  <a:cubicBezTo>
                    <a:pt x="188" y="166"/>
                    <a:pt x="188" y="166"/>
                    <a:pt x="188" y="166"/>
                  </a:cubicBezTo>
                  <a:cubicBezTo>
                    <a:pt x="182" y="199"/>
                    <a:pt x="179" y="235"/>
                    <a:pt x="179" y="271"/>
                  </a:cubicBezTo>
                  <a:close/>
                  <a:moveTo>
                    <a:pt x="211" y="166"/>
                  </a:moveTo>
                  <a:cubicBezTo>
                    <a:pt x="348" y="166"/>
                    <a:pt x="348" y="166"/>
                    <a:pt x="348" y="166"/>
                  </a:cubicBezTo>
                  <a:cubicBezTo>
                    <a:pt x="354" y="197"/>
                    <a:pt x="357" y="233"/>
                    <a:pt x="358" y="271"/>
                  </a:cubicBezTo>
                  <a:cubicBezTo>
                    <a:pt x="202" y="271"/>
                    <a:pt x="202" y="271"/>
                    <a:pt x="202" y="271"/>
                  </a:cubicBezTo>
                  <a:cubicBezTo>
                    <a:pt x="202" y="233"/>
                    <a:pt x="206" y="197"/>
                    <a:pt x="211" y="166"/>
                  </a:cubicBezTo>
                  <a:close/>
                  <a:moveTo>
                    <a:pt x="202" y="294"/>
                  </a:moveTo>
                  <a:cubicBezTo>
                    <a:pt x="358" y="294"/>
                    <a:pt x="358" y="294"/>
                    <a:pt x="358" y="294"/>
                  </a:cubicBezTo>
                  <a:cubicBezTo>
                    <a:pt x="357" y="334"/>
                    <a:pt x="353" y="370"/>
                    <a:pt x="348" y="402"/>
                  </a:cubicBezTo>
                  <a:cubicBezTo>
                    <a:pt x="212" y="402"/>
                    <a:pt x="212" y="402"/>
                    <a:pt x="212" y="402"/>
                  </a:cubicBezTo>
                  <a:cubicBezTo>
                    <a:pt x="206" y="370"/>
                    <a:pt x="202" y="334"/>
                    <a:pt x="202" y="294"/>
                  </a:cubicBezTo>
                  <a:close/>
                  <a:moveTo>
                    <a:pt x="380" y="294"/>
                  </a:moveTo>
                  <a:cubicBezTo>
                    <a:pt x="539" y="294"/>
                    <a:pt x="539" y="294"/>
                    <a:pt x="539" y="294"/>
                  </a:cubicBezTo>
                  <a:cubicBezTo>
                    <a:pt x="537" y="333"/>
                    <a:pt x="526" y="369"/>
                    <a:pt x="509" y="402"/>
                  </a:cubicBezTo>
                  <a:cubicBezTo>
                    <a:pt x="371" y="402"/>
                    <a:pt x="371" y="402"/>
                    <a:pt x="371" y="402"/>
                  </a:cubicBezTo>
                  <a:cubicBezTo>
                    <a:pt x="376" y="369"/>
                    <a:pt x="380" y="332"/>
                    <a:pt x="380" y="294"/>
                  </a:cubicBezTo>
                  <a:close/>
                  <a:moveTo>
                    <a:pt x="380" y="271"/>
                  </a:moveTo>
                  <a:cubicBezTo>
                    <a:pt x="380" y="235"/>
                    <a:pt x="377" y="199"/>
                    <a:pt x="372" y="166"/>
                  </a:cubicBezTo>
                  <a:cubicBezTo>
                    <a:pt x="512" y="166"/>
                    <a:pt x="512" y="166"/>
                    <a:pt x="512" y="166"/>
                  </a:cubicBezTo>
                  <a:cubicBezTo>
                    <a:pt x="528" y="198"/>
                    <a:pt x="538" y="234"/>
                    <a:pt x="539" y="271"/>
                  </a:cubicBezTo>
                  <a:lnTo>
                    <a:pt x="380" y="271"/>
                  </a:lnTo>
                  <a:close/>
                  <a:moveTo>
                    <a:pt x="500" y="144"/>
                  </a:moveTo>
                  <a:cubicBezTo>
                    <a:pt x="367" y="144"/>
                    <a:pt x="367" y="144"/>
                    <a:pt x="367" y="144"/>
                  </a:cubicBezTo>
                  <a:cubicBezTo>
                    <a:pt x="364" y="125"/>
                    <a:pt x="359" y="108"/>
                    <a:pt x="354" y="93"/>
                  </a:cubicBezTo>
                  <a:cubicBezTo>
                    <a:pt x="342" y="59"/>
                    <a:pt x="329" y="38"/>
                    <a:pt x="317" y="25"/>
                  </a:cubicBezTo>
                  <a:cubicBezTo>
                    <a:pt x="394" y="36"/>
                    <a:pt x="460" y="81"/>
                    <a:pt x="500" y="144"/>
                  </a:cubicBezTo>
                  <a:close/>
                  <a:moveTo>
                    <a:pt x="280" y="31"/>
                  </a:moveTo>
                  <a:cubicBezTo>
                    <a:pt x="303" y="31"/>
                    <a:pt x="329" y="74"/>
                    <a:pt x="344" y="144"/>
                  </a:cubicBezTo>
                  <a:cubicBezTo>
                    <a:pt x="215" y="144"/>
                    <a:pt x="215" y="144"/>
                    <a:pt x="215" y="144"/>
                  </a:cubicBezTo>
                  <a:cubicBezTo>
                    <a:pt x="230" y="74"/>
                    <a:pt x="256" y="31"/>
                    <a:pt x="280" y="31"/>
                  </a:cubicBezTo>
                  <a:close/>
                  <a:moveTo>
                    <a:pt x="242" y="26"/>
                  </a:moveTo>
                  <a:cubicBezTo>
                    <a:pt x="230" y="38"/>
                    <a:pt x="217" y="59"/>
                    <a:pt x="206" y="93"/>
                  </a:cubicBezTo>
                  <a:cubicBezTo>
                    <a:pt x="200" y="108"/>
                    <a:pt x="196" y="125"/>
                    <a:pt x="192" y="144"/>
                  </a:cubicBezTo>
                  <a:cubicBezTo>
                    <a:pt x="63" y="144"/>
                    <a:pt x="63" y="144"/>
                    <a:pt x="63" y="144"/>
                  </a:cubicBezTo>
                  <a:cubicBezTo>
                    <a:pt x="102" y="82"/>
                    <a:pt x="167" y="37"/>
                    <a:pt x="242" y="26"/>
                  </a:cubicBezTo>
                  <a:close/>
                  <a:moveTo>
                    <a:pt x="67" y="425"/>
                  </a:moveTo>
                  <a:cubicBezTo>
                    <a:pt x="193" y="425"/>
                    <a:pt x="193" y="425"/>
                    <a:pt x="193" y="425"/>
                  </a:cubicBezTo>
                  <a:cubicBezTo>
                    <a:pt x="197" y="441"/>
                    <a:pt x="201" y="457"/>
                    <a:pt x="206" y="471"/>
                  </a:cubicBezTo>
                  <a:cubicBezTo>
                    <a:pt x="217" y="503"/>
                    <a:pt x="229" y="523"/>
                    <a:pt x="241" y="536"/>
                  </a:cubicBezTo>
                  <a:cubicBezTo>
                    <a:pt x="169" y="525"/>
                    <a:pt x="106" y="483"/>
                    <a:pt x="67" y="425"/>
                  </a:cubicBezTo>
                  <a:close/>
                  <a:moveTo>
                    <a:pt x="280" y="532"/>
                  </a:moveTo>
                  <a:cubicBezTo>
                    <a:pt x="256" y="532"/>
                    <a:pt x="232" y="492"/>
                    <a:pt x="216" y="425"/>
                  </a:cubicBezTo>
                  <a:cubicBezTo>
                    <a:pt x="343" y="425"/>
                    <a:pt x="343" y="425"/>
                    <a:pt x="343" y="425"/>
                  </a:cubicBezTo>
                  <a:cubicBezTo>
                    <a:pt x="328" y="492"/>
                    <a:pt x="303" y="532"/>
                    <a:pt x="280" y="532"/>
                  </a:cubicBezTo>
                  <a:close/>
                  <a:moveTo>
                    <a:pt x="318" y="537"/>
                  </a:moveTo>
                  <a:cubicBezTo>
                    <a:pt x="330" y="524"/>
                    <a:pt x="342" y="503"/>
                    <a:pt x="354" y="471"/>
                  </a:cubicBezTo>
                  <a:cubicBezTo>
                    <a:pt x="358" y="457"/>
                    <a:pt x="363" y="441"/>
                    <a:pt x="366" y="425"/>
                  </a:cubicBezTo>
                  <a:cubicBezTo>
                    <a:pt x="496" y="425"/>
                    <a:pt x="496" y="425"/>
                    <a:pt x="496" y="425"/>
                  </a:cubicBezTo>
                  <a:cubicBezTo>
                    <a:pt x="456" y="484"/>
                    <a:pt x="392" y="526"/>
                    <a:pt x="318" y="537"/>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defTabSz="914400"/>
              <a:endParaRPr lang="de-DE">
                <a:solidFill>
                  <a:srgbClr val="5F5F5F"/>
                </a:solidFill>
              </a:endParaRPr>
            </a:p>
          </p:txBody>
        </p:sp>
      </p:grpSp>
      <p:cxnSp>
        <p:nvCxnSpPr>
          <p:cNvPr id="84" name="Straight Connector 3"/>
          <p:cNvCxnSpPr/>
          <p:nvPr/>
        </p:nvCxnSpPr>
        <p:spPr>
          <a:xfrm>
            <a:off x="5562110" y="1492250"/>
            <a:ext cx="0" cy="3023716"/>
          </a:xfrm>
          <a:prstGeom prst="line">
            <a:avLst/>
          </a:prstGeom>
          <a:ln w="12700">
            <a:solidFill>
              <a:srgbClr val="000000"/>
            </a:solidFill>
            <a:prstDash val="sysDot"/>
          </a:ln>
        </p:spPr>
        <p:style>
          <a:lnRef idx="2">
            <a:schemeClr val="accent1"/>
          </a:lnRef>
          <a:fillRef idx="0">
            <a:schemeClr val="accent1"/>
          </a:fillRef>
          <a:effectRef idx="1">
            <a:schemeClr val="accent1"/>
          </a:effectRef>
          <a:fontRef idx="minor">
            <a:schemeClr val="tx1"/>
          </a:fontRef>
        </p:style>
      </p:cxnSp>
      <p:sp>
        <p:nvSpPr>
          <p:cNvPr id="48" name="TextBox 47"/>
          <p:cNvSpPr txBox="1"/>
          <p:nvPr/>
        </p:nvSpPr>
        <p:spPr>
          <a:xfrm>
            <a:off x="5652120" y="1195742"/>
            <a:ext cx="3491880" cy="523220"/>
          </a:xfrm>
          <a:prstGeom prst="rect">
            <a:avLst/>
          </a:prstGeom>
          <a:noFill/>
        </p:spPr>
        <p:txBody>
          <a:bodyPr wrap="square" rtlCol="0">
            <a:spAutoFit/>
          </a:bodyPr>
          <a:lstStyle/>
          <a:p>
            <a:pPr algn="ctr"/>
            <a:r>
              <a:rPr lang="ru-RU" sz="1400" dirty="0" smtClean="0"/>
              <a:t>ТОП СОЦИАЛЬНЫХ  СЕТЕЙ И ПЛАТФОРМ В РОССИИ</a:t>
            </a:r>
            <a:endParaRPr lang="en-GB" sz="1400" dirty="0" smtClean="0"/>
          </a:p>
        </p:txBody>
      </p:sp>
      <p:sp>
        <p:nvSpPr>
          <p:cNvPr id="53" name="TextBox 14"/>
          <p:cNvSpPr txBox="1"/>
          <p:nvPr/>
        </p:nvSpPr>
        <p:spPr>
          <a:xfrm>
            <a:off x="5935397" y="1920648"/>
            <a:ext cx="3317123" cy="2015936"/>
          </a:xfrm>
          <a:prstGeom prst="rect">
            <a:avLst/>
          </a:prstGeom>
          <a:noFill/>
        </p:spPr>
        <p:txBody>
          <a:bodyPr wrap="square" lIns="0" rtlCol="0">
            <a:spAutoFit/>
          </a:bodyPr>
          <a:lstStyle/>
          <a:p>
            <a:pPr marL="457200" indent="-457200">
              <a:lnSpc>
                <a:spcPts val="3000"/>
              </a:lnSpc>
              <a:buFontTx/>
              <a:buAutoNum type="arabicPeriod"/>
            </a:pPr>
            <a:r>
              <a:rPr lang="en-US" b="1" dirty="0" smtClean="0">
                <a:solidFill>
                  <a:schemeClr val="accent2"/>
                </a:solidFill>
              </a:rPr>
              <a:t>Vk.com</a:t>
            </a:r>
            <a:r>
              <a:rPr lang="ru-RU" b="1" dirty="0" smtClean="0">
                <a:solidFill>
                  <a:schemeClr val="accent2"/>
                </a:solidFill>
              </a:rPr>
              <a:t> – </a:t>
            </a:r>
            <a:r>
              <a:rPr lang="en-US" b="1" dirty="0" smtClean="0">
                <a:solidFill>
                  <a:schemeClr val="accent2"/>
                </a:solidFill>
              </a:rPr>
              <a:t>43</a:t>
            </a:r>
            <a:r>
              <a:rPr lang="ru-RU" b="1" dirty="0" smtClean="0">
                <a:solidFill>
                  <a:schemeClr val="accent2"/>
                </a:solidFill>
              </a:rPr>
              <a:t>.</a:t>
            </a:r>
            <a:r>
              <a:rPr lang="en-US" b="1" dirty="0" smtClean="0">
                <a:solidFill>
                  <a:schemeClr val="accent2"/>
                </a:solidFill>
              </a:rPr>
              <a:t>1</a:t>
            </a:r>
            <a:r>
              <a:rPr lang="ru-RU" b="1" dirty="0" smtClean="0">
                <a:solidFill>
                  <a:schemeClr val="accent2"/>
                </a:solidFill>
              </a:rPr>
              <a:t> млн.   </a:t>
            </a:r>
            <a:endParaRPr lang="en-US" b="1" dirty="0" smtClean="0">
              <a:solidFill>
                <a:schemeClr val="accent2"/>
              </a:solidFill>
            </a:endParaRPr>
          </a:p>
          <a:p>
            <a:pPr marL="457200" indent="-457200">
              <a:lnSpc>
                <a:spcPts val="3000"/>
              </a:lnSpc>
              <a:buFontTx/>
              <a:buAutoNum type="arabicPeriod"/>
            </a:pPr>
            <a:r>
              <a:rPr lang="en-US" dirty="0" smtClean="0">
                <a:solidFill>
                  <a:srgbClr val="5F5F5F"/>
                </a:solidFill>
              </a:rPr>
              <a:t>Youtube.com – </a:t>
            </a:r>
            <a:r>
              <a:rPr lang="en-US" b="1" dirty="0" smtClean="0">
                <a:solidFill>
                  <a:srgbClr val="5F5F5F"/>
                </a:solidFill>
              </a:rPr>
              <a:t>42.3 </a:t>
            </a:r>
            <a:r>
              <a:rPr lang="ru-RU" b="1" dirty="0" smtClean="0">
                <a:solidFill>
                  <a:srgbClr val="5F5F5F"/>
                </a:solidFill>
              </a:rPr>
              <a:t>млн.</a:t>
            </a:r>
            <a:endParaRPr lang="en-US" b="1" dirty="0" smtClean="0">
              <a:solidFill>
                <a:srgbClr val="5F5F5F"/>
              </a:solidFill>
            </a:endParaRPr>
          </a:p>
          <a:p>
            <a:pPr marL="457200" indent="-457200">
              <a:lnSpc>
                <a:spcPts val="3000"/>
              </a:lnSpc>
              <a:buFontTx/>
              <a:buAutoNum type="arabicPeriod"/>
            </a:pPr>
            <a:r>
              <a:rPr lang="en-US" dirty="0" smtClean="0">
                <a:solidFill>
                  <a:srgbClr val="5F5F5F"/>
                </a:solidFill>
              </a:rPr>
              <a:t>Odnoklassniki.ru </a:t>
            </a:r>
            <a:r>
              <a:rPr lang="ru-RU" dirty="0" smtClean="0">
                <a:solidFill>
                  <a:srgbClr val="5F5F5F"/>
                </a:solidFill>
              </a:rPr>
              <a:t>– </a:t>
            </a:r>
            <a:r>
              <a:rPr lang="en-US" b="1" dirty="0" smtClean="0">
                <a:solidFill>
                  <a:srgbClr val="5F5F5F"/>
                </a:solidFill>
              </a:rPr>
              <a:t>28</a:t>
            </a:r>
            <a:r>
              <a:rPr lang="ru-RU" b="1" dirty="0">
                <a:solidFill>
                  <a:srgbClr val="5F5F5F"/>
                </a:solidFill>
              </a:rPr>
              <a:t>.</a:t>
            </a:r>
            <a:r>
              <a:rPr lang="en-US" b="1" dirty="0" smtClean="0">
                <a:solidFill>
                  <a:srgbClr val="5F5F5F"/>
                </a:solidFill>
              </a:rPr>
              <a:t>9</a:t>
            </a:r>
            <a:r>
              <a:rPr lang="ru-RU" b="1" dirty="0" smtClean="0">
                <a:solidFill>
                  <a:srgbClr val="5F5F5F"/>
                </a:solidFill>
              </a:rPr>
              <a:t> млн. </a:t>
            </a:r>
            <a:endParaRPr lang="en-GB" b="1" dirty="0">
              <a:solidFill>
                <a:srgbClr val="5F5F5F"/>
              </a:solidFill>
            </a:endParaRPr>
          </a:p>
          <a:p>
            <a:pPr marL="457200" indent="-457200">
              <a:lnSpc>
                <a:spcPts val="3000"/>
              </a:lnSpc>
              <a:buFontTx/>
              <a:buAutoNum type="arabicPeriod"/>
            </a:pPr>
            <a:r>
              <a:rPr lang="en-US" dirty="0" smtClean="0">
                <a:solidFill>
                  <a:srgbClr val="5F5F5F"/>
                </a:solidFill>
              </a:rPr>
              <a:t>Facebook</a:t>
            </a:r>
            <a:r>
              <a:rPr lang="ru-RU" dirty="0" smtClean="0">
                <a:solidFill>
                  <a:srgbClr val="5F5F5F"/>
                </a:solidFill>
              </a:rPr>
              <a:t>.</a:t>
            </a:r>
            <a:r>
              <a:rPr lang="en-US" dirty="0" smtClean="0">
                <a:solidFill>
                  <a:srgbClr val="5F5F5F"/>
                </a:solidFill>
              </a:rPr>
              <a:t>com – </a:t>
            </a:r>
            <a:r>
              <a:rPr lang="en-US" b="1" dirty="0" smtClean="0">
                <a:solidFill>
                  <a:srgbClr val="5F5F5F"/>
                </a:solidFill>
              </a:rPr>
              <a:t>19</a:t>
            </a:r>
            <a:r>
              <a:rPr lang="ru-RU" b="1" dirty="0" smtClean="0">
                <a:solidFill>
                  <a:srgbClr val="5F5F5F"/>
                </a:solidFill>
              </a:rPr>
              <a:t>.4 млн</a:t>
            </a:r>
            <a:endParaRPr lang="en-US" b="1" dirty="0" smtClean="0">
              <a:solidFill>
                <a:srgbClr val="5F5F5F"/>
              </a:solidFill>
            </a:endParaRPr>
          </a:p>
          <a:p>
            <a:pPr marL="457200" indent="-457200">
              <a:lnSpc>
                <a:spcPts val="3000"/>
              </a:lnSpc>
              <a:buFontTx/>
              <a:buAutoNum type="arabicPeriod"/>
            </a:pPr>
            <a:r>
              <a:rPr lang="en-US" dirty="0" smtClean="0">
                <a:solidFill>
                  <a:srgbClr val="5F5F5F"/>
                </a:solidFill>
              </a:rPr>
              <a:t>Instagram - </a:t>
            </a:r>
            <a:r>
              <a:rPr lang="en-US" b="1" dirty="0" smtClean="0">
                <a:solidFill>
                  <a:srgbClr val="5F5F5F"/>
                </a:solidFill>
              </a:rPr>
              <a:t>14.9 </a:t>
            </a:r>
            <a:r>
              <a:rPr lang="ru-RU" b="1" dirty="0" smtClean="0">
                <a:solidFill>
                  <a:srgbClr val="5F5F5F"/>
                </a:solidFill>
              </a:rPr>
              <a:t>млн.</a:t>
            </a:r>
            <a:endParaRPr lang="en-GB" b="1" dirty="0" err="1">
              <a:solidFill>
                <a:srgbClr val="5F5F5F"/>
              </a:solidFill>
            </a:endParaRPr>
          </a:p>
        </p:txBody>
      </p:sp>
      <p:sp>
        <p:nvSpPr>
          <p:cNvPr id="54" name="Ellipse 50"/>
          <p:cNvSpPr/>
          <p:nvPr/>
        </p:nvSpPr>
        <p:spPr>
          <a:xfrm>
            <a:off x="5891323" y="2024965"/>
            <a:ext cx="305312" cy="305312"/>
          </a:xfrm>
          <a:prstGeom prst="ellipse">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600" b="1" dirty="0" smtClean="0">
                <a:solidFill>
                  <a:srgbClr val="FFFFFF"/>
                </a:solidFill>
              </a:rPr>
              <a:t>1</a:t>
            </a:r>
            <a:endParaRPr lang="de-DE" sz="1600" b="1" dirty="0">
              <a:solidFill>
                <a:srgbClr val="FFFFFF"/>
              </a:solidFill>
            </a:endParaRPr>
          </a:p>
        </p:txBody>
      </p:sp>
      <p:sp>
        <p:nvSpPr>
          <p:cNvPr id="70" name="Ellipse 51"/>
          <p:cNvSpPr/>
          <p:nvPr/>
        </p:nvSpPr>
        <p:spPr>
          <a:xfrm>
            <a:off x="5891323" y="2416459"/>
            <a:ext cx="305312" cy="305312"/>
          </a:xfrm>
          <a:prstGeom prst="ellips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600" b="1" dirty="0" smtClean="0">
                <a:solidFill>
                  <a:srgbClr val="FFFFFF"/>
                </a:solidFill>
              </a:rPr>
              <a:t>2</a:t>
            </a:r>
            <a:endParaRPr lang="de-DE" sz="1600" b="1" dirty="0">
              <a:solidFill>
                <a:srgbClr val="FFFFFF"/>
              </a:solidFill>
            </a:endParaRPr>
          </a:p>
        </p:txBody>
      </p:sp>
      <p:sp>
        <p:nvSpPr>
          <p:cNvPr id="71" name="Ellipse 78"/>
          <p:cNvSpPr/>
          <p:nvPr/>
        </p:nvSpPr>
        <p:spPr>
          <a:xfrm>
            <a:off x="5891323" y="2796033"/>
            <a:ext cx="305312" cy="305312"/>
          </a:xfrm>
          <a:prstGeom prst="ellips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600" b="1" dirty="0" smtClean="0">
                <a:solidFill>
                  <a:srgbClr val="FFFFFF"/>
                </a:solidFill>
              </a:rPr>
              <a:t>3</a:t>
            </a:r>
            <a:endParaRPr lang="de-DE" sz="1600" b="1" dirty="0">
              <a:solidFill>
                <a:srgbClr val="FFFFFF"/>
              </a:solidFill>
            </a:endParaRPr>
          </a:p>
        </p:txBody>
      </p:sp>
      <p:sp>
        <p:nvSpPr>
          <p:cNvPr id="73" name="Ellipse 78"/>
          <p:cNvSpPr/>
          <p:nvPr/>
        </p:nvSpPr>
        <p:spPr>
          <a:xfrm>
            <a:off x="5891323" y="3172655"/>
            <a:ext cx="305312" cy="305312"/>
          </a:xfrm>
          <a:prstGeom prst="ellips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ru-RU" sz="1600" b="1" dirty="0" smtClean="0">
                <a:solidFill>
                  <a:srgbClr val="FFFFFF"/>
                </a:solidFill>
              </a:rPr>
              <a:t>4</a:t>
            </a:r>
            <a:endParaRPr lang="de-DE" sz="1600" b="1" dirty="0">
              <a:solidFill>
                <a:srgbClr val="FFFFFF"/>
              </a:solidFill>
            </a:endParaRPr>
          </a:p>
        </p:txBody>
      </p:sp>
      <p:sp>
        <p:nvSpPr>
          <p:cNvPr id="74" name="Ellipse 78"/>
          <p:cNvSpPr/>
          <p:nvPr/>
        </p:nvSpPr>
        <p:spPr>
          <a:xfrm>
            <a:off x="5896708" y="3540807"/>
            <a:ext cx="305312" cy="305312"/>
          </a:xfrm>
          <a:prstGeom prst="ellips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ru-RU" sz="1600" b="1" dirty="0" smtClean="0">
                <a:solidFill>
                  <a:srgbClr val="FFFFFF"/>
                </a:solidFill>
              </a:rPr>
              <a:t>5</a:t>
            </a:r>
            <a:endParaRPr lang="de-DE" sz="1600" b="1" dirty="0">
              <a:solidFill>
                <a:srgbClr val="FFFFFF"/>
              </a:solidFill>
            </a:endParaRPr>
          </a:p>
        </p:txBody>
      </p:sp>
    </p:spTree>
    <p:extLst>
      <p:ext uri="{BB962C8B-B14F-4D97-AF65-F5344CB8AC3E}">
        <p14:creationId xmlns:p14="http://schemas.microsoft.com/office/powerpoint/2010/main" val="942139539"/>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26" name="Abgerundetes Rechteck 4125"/>
          <p:cNvSpPr/>
          <p:nvPr/>
        </p:nvSpPr>
        <p:spPr>
          <a:xfrm>
            <a:off x="539750" y="2014786"/>
            <a:ext cx="4572310" cy="832072"/>
          </a:xfrm>
          <a:prstGeom prst="roundRect">
            <a:avLst/>
          </a:prstGeom>
          <a:solidFill>
            <a:schemeClr val="tx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sp>
        <p:nvSpPr>
          <p:cNvPr id="3" name="Title 2"/>
          <p:cNvSpPr>
            <a:spLocks noGrp="1"/>
          </p:cNvSpPr>
          <p:nvPr>
            <p:ph type="title"/>
          </p:nvPr>
        </p:nvSpPr>
        <p:spPr>
          <a:xfrm>
            <a:off x="522287" y="484770"/>
            <a:ext cx="8370193" cy="664797"/>
          </a:xfrm>
        </p:spPr>
        <p:txBody>
          <a:bodyPr/>
          <a:lstStyle/>
          <a:p>
            <a:r>
              <a:rPr lang="ru-RU" b="1" dirty="0" smtClean="0"/>
              <a:t>… и фанаты просматривают и делятся контентом </a:t>
            </a:r>
            <a:r>
              <a:rPr lang="ru-RU" dirty="0" smtClean="0"/>
              <a:t>в любое время через гаджеты и социальные сети</a:t>
            </a:r>
            <a:endParaRPr lang="en-GB" dirty="0"/>
          </a:p>
        </p:txBody>
      </p:sp>
      <p:sp>
        <p:nvSpPr>
          <p:cNvPr id="15" name="TextBox 9"/>
          <p:cNvSpPr txBox="1"/>
          <p:nvPr/>
        </p:nvSpPr>
        <p:spPr>
          <a:xfrm>
            <a:off x="7115647" y="2150444"/>
            <a:ext cx="2320661" cy="923330"/>
          </a:xfrm>
          <a:prstGeom prst="rect">
            <a:avLst/>
          </a:prstGeom>
          <a:noFill/>
        </p:spPr>
        <p:txBody>
          <a:bodyPr wrap="square" rtlCol="0">
            <a:spAutoFit/>
          </a:bodyPr>
          <a:lstStyle/>
          <a:p>
            <a:pPr defTabSz="914400"/>
            <a:r>
              <a:rPr lang="en-GB" b="1" dirty="0" smtClean="0"/>
              <a:t>650 </a:t>
            </a:r>
            <a:endParaRPr lang="ru-RU" b="1" dirty="0" smtClean="0"/>
          </a:p>
          <a:p>
            <a:pPr defTabSz="914400"/>
            <a:r>
              <a:rPr lang="ru-RU" b="1" dirty="0" smtClean="0"/>
              <a:t>МИЛЛИОНОВ</a:t>
            </a:r>
            <a:r>
              <a:rPr lang="en-GB" b="1" dirty="0" smtClean="0"/>
              <a:t> </a:t>
            </a:r>
            <a:r>
              <a:rPr lang="en-GB" dirty="0" smtClean="0"/>
              <a:t/>
            </a:r>
            <a:br>
              <a:rPr lang="en-GB" dirty="0" smtClean="0"/>
            </a:br>
            <a:r>
              <a:rPr lang="ru-RU" dirty="0" smtClean="0"/>
              <a:t>любителей спорта</a:t>
            </a:r>
            <a:endParaRPr lang="en-GB" dirty="0" smtClean="0"/>
          </a:p>
        </p:txBody>
      </p:sp>
      <p:sp>
        <p:nvSpPr>
          <p:cNvPr id="19" name="TextBox 9"/>
          <p:cNvSpPr txBox="1"/>
          <p:nvPr/>
        </p:nvSpPr>
        <p:spPr>
          <a:xfrm>
            <a:off x="7135743" y="3673645"/>
            <a:ext cx="2008257" cy="923330"/>
          </a:xfrm>
          <a:prstGeom prst="rect">
            <a:avLst/>
          </a:prstGeom>
          <a:noFill/>
        </p:spPr>
        <p:txBody>
          <a:bodyPr wrap="square" rtlCol="0">
            <a:spAutoFit/>
          </a:bodyPr>
          <a:lstStyle/>
          <a:p>
            <a:r>
              <a:rPr lang="en-US" b="1" dirty="0" smtClean="0"/>
              <a:t>RIO2016 </a:t>
            </a:r>
            <a:r>
              <a:rPr lang="ru-RU" b="1" dirty="0" smtClean="0"/>
              <a:t> </a:t>
            </a:r>
            <a:r>
              <a:rPr lang="ru-RU" dirty="0" smtClean="0"/>
              <a:t>самая обсуждаемая тема в 2016</a:t>
            </a:r>
            <a:endParaRPr lang="en-US" dirty="0"/>
          </a:p>
        </p:txBody>
      </p:sp>
      <p:grpSp>
        <p:nvGrpSpPr>
          <p:cNvPr id="23" name="Gruppieren 22"/>
          <p:cNvGrpSpPr>
            <a:grpSpLocks noChangeAspect="1"/>
          </p:cNvGrpSpPr>
          <p:nvPr/>
        </p:nvGrpSpPr>
        <p:grpSpPr>
          <a:xfrm>
            <a:off x="539748" y="4876006"/>
            <a:ext cx="719884" cy="215444"/>
            <a:chOff x="539748" y="4876006"/>
            <a:chExt cx="719884" cy="215444"/>
          </a:xfrm>
        </p:grpSpPr>
        <p:sp>
          <p:nvSpPr>
            <p:cNvPr id="24" name="Textfeld 23"/>
            <p:cNvSpPr txBox="1"/>
            <p:nvPr userDrawn="1"/>
          </p:nvSpPr>
          <p:spPr>
            <a:xfrm>
              <a:off x="539750" y="4876006"/>
              <a:ext cx="719882" cy="215444"/>
            </a:xfrm>
            <a:prstGeom prst="rect">
              <a:avLst/>
            </a:prstGeom>
            <a:noFill/>
          </p:spPr>
          <p:txBody>
            <a:bodyPr wrap="square" rtlCol="0">
              <a:spAutoFit/>
            </a:bodyPr>
            <a:lstStyle/>
            <a:p>
              <a:pPr algn="ctr"/>
              <a:r>
                <a:rPr lang="ru-RU" sz="800" kern="1300" spc="80" dirty="0" smtClean="0"/>
                <a:t>ТРЕНД</a:t>
              </a:r>
              <a:r>
                <a:rPr lang="de-DE" sz="800" kern="1300" spc="80" baseline="0" dirty="0" smtClean="0"/>
                <a:t> </a:t>
              </a:r>
              <a:r>
                <a:rPr lang="de-DE" sz="800" b="1" kern="1300" spc="80" baseline="0" dirty="0" smtClean="0"/>
                <a:t>0</a:t>
              </a:r>
              <a:r>
                <a:rPr lang="ru-RU" sz="800" b="1" kern="1300" spc="80" dirty="0"/>
                <a:t>3</a:t>
              </a:r>
              <a:endParaRPr lang="de-DE" sz="800" b="1" kern="1300" spc="80" baseline="0" dirty="0" smtClean="0"/>
            </a:p>
          </p:txBody>
        </p:sp>
        <p:sp>
          <p:nvSpPr>
            <p:cNvPr id="25" name="Gleichschenkliges Dreieck 24"/>
            <p:cNvSpPr/>
            <p:nvPr userDrawn="1"/>
          </p:nvSpPr>
          <p:spPr>
            <a:xfrm rot="16200000" flipH="1" flipV="1">
              <a:off x="534004" y="4938683"/>
              <a:ext cx="83300" cy="71811"/>
            </a:xfrm>
            <a:prstGeom prst="triangl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sp>
          <p:nvSpPr>
            <p:cNvPr id="26" name="Gleichschenkliges Dreieck 25"/>
            <p:cNvSpPr/>
            <p:nvPr userDrawn="1"/>
          </p:nvSpPr>
          <p:spPr>
            <a:xfrm rot="5400000" flipV="1">
              <a:off x="1182077" y="4938684"/>
              <a:ext cx="83300" cy="71811"/>
            </a:xfrm>
            <a:prstGeom prst="triangl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grpSp>
      <p:sp>
        <p:nvSpPr>
          <p:cNvPr id="2" name="Textfeld 1"/>
          <p:cNvSpPr txBox="1"/>
          <p:nvPr/>
        </p:nvSpPr>
        <p:spPr>
          <a:xfrm>
            <a:off x="476545" y="1536635"/>
            <a:ext cx="4572312" cy="307777"/>
          </a:xfrm>
          <a:prstGeom prst="rect">
            <a:avLst/>
          </a:prstGeom>
          <a:noFill/>
        </p:spPr>
        <p:txBody>
          <a:bodyPr wrap="square" rtlCol="0">
            <a:spAutoFit/>
          </a:bodyPr>
          <a:lstStyle/>
          <a:p>
            <a:r>
              <a:rPr lang="ru-RU" sz="1400" b="1" dirty="0" smtClean="0"/>
              <a:t>ЧИСЛО </a:t>
            </a:r>
            <a:r>
              <a:rPr lang="ru-RU" sz="1400" b="1" dirty="0" smtClean="0">
                <a:solidFill>
                  <a:schemeClr val="accent2"/>
                </a:solidFill>
              </a:rPr>
              <a:t>ПОДПИСОК С</a:t>
            </a:r>
            <a:r>
              <a:rPr lang="ru-RU" sz="1400" b="1" dirty="0">
                <a:solidFill>
                  <a:schemeClr val="accent2"/>
                </a:solidFill>
              </a:rPr>
              <a:t> </a:t>
            </a:r>
            <a:r>
              <a:rPr lang="ru-RU" sz="1400" b="1" dirty="0" smtClean="0">
                <a:solidFill>
                  <a:schemeClr val="accent2"/>
                </a:solidFill>
              </a:rPr>
              <a:t>МОБИЛЬНЫХ </a:t>
            </a:r>
            <a:r>
              <a:rPr lang="ru-RU" sz="1400" b="1" dirty="0" smtClean="0">
                <a:solidFill>
                  <a:schemeClr val="accent2"/>
                </a:solidFill>
              </a:rPr>
              <a:t>ТЕЛЕФОНОВ</a:t>
            </a:r>
            <a:endParaRPr lang="de-DE" sz="1400" b="1" dirty="0">
              <a:solidFill>
                <a:schemeClr val="accent2"/>
              </a:solidFill>
            </a:endParaRPr>
          </a:p>
        </p:txBody>
      </p:sp>
      <p:sp>
        <p:nvSpPr>
          <p:cNvPr id="30" name="Textfeld 29"/>
          <p:cNvSpPr txBox="1"/>
          <p:nvPr/>
        </p:nvSpPr>
        <p:spPr>
          <a:xfrm>
            <a:off x="431540" y="3201820"/>
            <a:ext cx="4707325" cy="523220"/>
          </a:xfrm>
          <a:prstGeom prst="rect">
            <a:avLst/>
          </a:prstGeom>
          <a:noFill/>
        </p:spPr>
        <p:txBody>
          <a:bodyPr wrap="square" rtlCol="0">
            <a:spAutoFit/>
          </a:bodyPr>
          <a:lstStyle/>
          <a:p>
            <a:r>
              <a:rPr lang="ru-RU" sz="1400" b="1" dirty="0" smtClean="0"/>
              <a:t>ЧИСЛО </a:t>
            </a:r>
            <a:r>
              <a:rPr lang="ru-RU" sz="1400" b="1" dirty="0">
                <a:solidFill>
                  <a:schemeClr val="accent2"/>
                </a:solidFill>
              </a:rPr>
              <a:t>ИНТЕРНЕТ ПОЛЬЗОВАТЕЛЕЙ</a:t>
            </a:r>
          </a:p>
          <a:p>
            <a:endParaRPr lang="de-DE" sz="1400" b="1" dirty="0">
              <a:solidFill>
                <a:schemeClr val="accent2"/>
              </a:solidFill>
            </a:endParaRPr>
          </a:p>
        </p:txBody>
      </p:sp>
      <p:pic>
        <p:nvPicPr>
          <p:cNvPr id="28" name="Picture 10" descr="Image result for TWITTER LOGO"/>
          <p:cNvPicPr>
            <a:picLocks noChangeAspect="1" noChangeArrowheads="1"/>
          </p:cNvPicPr>
          <p:nvPr/>
        </p:nvPicPr>
        <p:blipFill>
          <a:blip r:embed="rId3" cstate="print">
            <a:biLevel thresh="75000"/>
            <a:extLst>
              <a:ext uri="{28A0092B-C50C-407E-A947-70E740481C1C}">
                <a14:useLocalDpi xmlns:a14="http://schemas.microsoft.com/office/drawing/2010/main" val="0"/>
              </a:ext>
            </a:extLst>
          </a:blip>
          <a:srcRect/>
          <a:stretch>
            <a:fillRect/>
          </a:stretch>
        </p:blipFill>
        <p:spPr bwMode="auto">
          <a:xfrm>
            <a:off x="7192049" y="3020602"/>
            <a:ext cx="485296" cy="485296"/>
          </a:xfrm>
          <a:prstGeom prst="rect">
            <a:avLst/>
          </a:prstGeom>
          <a:noFill/>
          <a:extLst>
            <a:ext uri="{909E8E84-426E-40DD-AFC4-6F175D3DCCD1}">
              <a14:hiddenFill xmlns:a14="http://schemas.microsoft.com/office/drawing/2010/main">
                <a:solidFill>
                  <a:srgbClr val="FFFFFF"/>
                </a:solidFill>
              </a14:hiddenFill>
            </a:ext>
          </a:extLst>
        </p:spPr>
      </p:pic>
      <p:pic>
        <p:nvPicPr>
          <p:cNvPr id="4098" name="Picture 2" descr="Z:\Sales&amp;Marketing\Z-Graphic Team\_Kreation_Ordner\CD\Präsentationen_Global\Trends_2017\links\Facebook.wmf"/>
          <p:cNvPicPr>
            <a:picLocks noChangeAspect="1" noChangeArrowheads="1"/>
          </p:cNvPicPr>
          <p:nvPr/>
        </p:nvPicPr>
        <p:blipFill>
          <a:blip r:embed="rId4" cstate="print">
            <a:biLevel thresh="75000"/>
            <a:extLst>
              <a:ext uri="{28A0092B-C50C-407E-A947-70E740481C1C}">
                <a14:useLocalDpi xmlns:a14="http://schemas.microsoft.com/office/drawing/2010/main" val="0"/>
              </a:ext>
            </a:extLst>
          </a:blip>
          <a:srcRect/>
          <a:stretch>
            <a:fillRect/>
          </a:stretch>
        </p:blipFill>
        <p:spPr bwMode="auto">
          <a:xfrm>
            <a:off x="7215114" y="1456032"/>
            <a:ext cx="415624" cy="415624"/>
          </a:xfrm>
          <a:prstGeom prst="rect">
            <a:avLst/>
          </a:prstGeom>
          <a:noFill/>
          <a:extLst>
            <a:ext uri="{909E8E84-426E-40DD-AFC4-6F175D3DCCD1}">
              <a14:hiddenFill xmlns:a14="http://schemas.microsoft.com/office/drawing/2010/main">
                <a:solidFill>
                  <a:srgbClr val="FFFFFF"/>
                </a:solidFill>
              </a14:hiddenFill>
            </a:ext>
          </a:extLst>
        </p:spPr>
      </p:pic>
      <p:sp>
        <p:nvSpPr>
          <p:cNvPr id="33" name="Oval 53"/>
          <p:cNvSpPr>
            <a:spLocks noChangeAspect="1"/>
          </p:cNvSpPr>
          <p:nvPr/>
        </p:nvSpPr>
        <p:spPr>
          <a:xfrm>
            <a:off x="5990233" y="1525053"/>
            <a:ext cx="967032" cy="967032"/>
          </a:xfrm>
          <a:prstGeom prst="ellipse">
            <a:avLst/>
          </a:prstGeom>
          <a:noFill/>
          <a:ln w="19050">
            <a:solidFill>
              <a:srgbClr val="FF8300"/>
            </a:solidFill>
            <a:prstDash val="sys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cxnSp>
        <p:nvCxnSpPr>
          <p:cNvPr id="34" name="Gerade Verbindung 33"/>
          <p:cNvCxnSpPr/>
          <p:nvPr/>
        </p:nvCxnSpPr>
        <p:spPr>
          <a:xfrm>
            <a:off x="7227295" y="3591343"/>
            <a:ext cx="547141" cy="0"/>
          </a:xfrm>
          <a:prstGeom prst="line">
            <a:avLst/>
          </a:prstGeom>
          <a:ln w="57150">
            <a:solidFill>
              <a:schemeClr val="accent2"/>
            </a:solidFill>
            <a:prstDash val="solid"/>
          </a:ln>
        </p:spPr>
        <p:style>
          <a:lnRef idx="2">
            <a:schemeClr val="accent1"/>
          </a:lnRef>
          <a:fillRef idx="0">
            <a:schemeClr val="accent1"/>
          </a:fillRef>
          <a:effectRef idx="1">
            <a:schemeClr val="accent1"/>
          </a:effectRef>
          <a:fontRef idx="minor">
            <a:schemeClr val="tx1"/>
          </a:fontRef>
        </p:style>
      </p:cxnSp>
      <p:cxnSp>
        <p:nvCxnSpPr>
          <p:cNvPr id="35" name="Gerade Verbindung 34"/>
          <p:cNvCxnSpPr/>
          <p:nvPr/>
        </p:nvCxnSpPr>
        <p:spPr>
          <a:xfrm>
            <a:off x="7215114" y="2078915"/>
            <a:ext cx="602725" cy="0"/>
          </a:xfrm>
          <a:prstGeom prst="line">
            <a:avLst/>
          </a:prstGeom>
          <a:ln w="57150">
            <a:solidFill>
              <a:schemeClr val="accent2"/>
            </a:solidFill>
            <a:prstDash val="solid"/>
          </a:ln>
        </p:spPr>
        <p:style>
          <a:lnRef idx="2">
            <a:schemeClr val="accent1"/>
          </a:lnRef>
          <a:fillRef idx="0">
            <a:schemeClr val="accent1"/>
          </a:fillRef>
          <a:effectRef idx="1">
            <a:schemeClr val="accent1"/>
          </a:effectRef>
          <a:fontRef idx="minor">
            <a:schemeClr val="tx1"/>
          </a:fontRef>
        </p:style>
      </p:cxnSp>
      <p:grpSp>
        <p:nvGrpSpPr>
          <p:cNvPr id="4097" name="Gruppieren 4096"/>
          <p:cNvGrpSpPr/>
          <p:nvPr/>
        </p:nvGrpSpPr>
        <p:grpSpPr>
          <a:xfrm>
            <a:off x="6091516" y="1716655"/>
            <a:ext cx="755094" cy="580334"/>
            <a:chOff x="6105525" y="1768475"/>
            <a:chExt cx="727075" cy="558801"/>
          </a:xfrm>
          <a:solidFill>
            <a:schemeClr val="accent2"/>
          </a:solidFill>
        </p:grpSpPr>
        <p:sp>
          <p:nvSpPr>
            <p:cNvPr id="46" name="Freeform 8"/>
            <p:cNvSpPr>
              <a:spLocks/>
            </p:cNvSpPr>
            <p:nvPr/>
          </p:nvSpPr>
          <p:spPr bwMode="auto">
            <a:xfrm>
              <a:off x="6321425" y="2033588"/>
              <a:ext cx="273050" cy="293688"/>
            </a:xfrm>
            <a:custGeom>
              <a:avLst/>
              <a:gdLst>
                <a:gd name="T0" fmla="*/ 324 w 1377"/>
                <a:gd name="T1" fmla="*/ 1472 h 1481"/>
                <a:gd name="T2" fmla="*/ 300 w 1377"/>
                <a:gd name="T3" fmla="*/ 1451 h 1481"/>
                <a:gd name="T4" fmla="*/ 287 w 1377"/>
                <a:gd name="T5" fmla="*/ 1425 h 1481"/>
                <a:gd name="T6" fmla="*/ 285 w 1377"/>
                <a:gd name="T7" fmla="*/ 1374 h 1481"/>
                <a:gd name="T8" fmla="*/ 288 w 1377"/>
                <a:gd name="T9" fmla="*/ 1296 h 1481"/>
                <a:gd name="T10" fmla="*/ 275 w 1377"/>
                <a:gd name="T11" fmla="*/ 1117 h 1481"/>
                <a:gd name="T12" fmla="*/ 235 w 1377"/>
                <a:gd name="T13" fmla="*/ 917 h 1481"/>
                <a:gd name="T14" fmla="*/ 161 w 1377"/>
                <a:gd name="T15" fmla="*/ 673 h 1481"/>
                <a:gd name="T16" fmla="*/ 65 w 1377"/>
                <a:gd name="T17" fmla="*/ 373 h 1481"/>
                <a:gd name="T18" fmla="*/ 5 w 1377"/>
                <a:gd name="T19" fmla="*/ 157 h 1481"/>
                <a:gd name="T20" fmla="*/ 1 w 1377"/>
                <a:gd name="T21" fmla="*/ 105 h 1481"/>
                <a:gd name="T22" fmla="*/ 11 w 1377"/>
                <a:gd name="T23" fmla="*/ 62 h 1481"/>
                <a:gd name="T24" fmla="*/ 37 w 1377"/>
                <a:gd name="T25" fmla="*/ 31 h 1481"/>
                <a:gd name="T26" fmla="*/ 65 w 1377"/>
                <a:gd name="T27" fmla="*/ 15 h 1481"/>
                <a:gd name="T28" fmla="*/ 116 w 1377"/>
                <a:gd name="T29" fmla="*/ 6 h 1481"/>
                <a:gd name="T30" fmla="*/ 160 w 1377"/>
                <a:gd name="T31" fmla="*/ 18 h 1481"/>
                <a:gd name="T32" fmla="*/ 197 w 1377"/>
                <a:gd name="T33" fmla="*/ 50 h 1481"/>
                <a:gd name="T34" fmla="*/ 227 w 1377"/>
                <a:gd name="T35" fmla="*/ 100 h 1481"/>
                <a:gd name="T36" fmla="*/ 318 w 1377"/>
                <a:gd name="T37" fmla="*/ 352 h 1481"/>
                <a:gd name="T38" fmla="*/ 357 w 1377"/>
                <a:gd name="T39" fmla="*/ 451 h 1481"/>
                <a:gd name="T40" fmla="*/ 397 w 1377"/>
                <a:gd name="T41" fmla="*/ 523 h 1481"/>
                <a:gd name="T42" fmla="*/ 434 w 1377"/>
                <a:gd name="T43" fmla="*/ 568 h 1481"/>
                <a:gd name="T44" fmla="*/ 479 w 1377"/>
                <a:gd name="T45" fmla="*/ 610 h 1481"/>
                <a:gd name="T46" fmla="*/ 526 w 1377"/>
                <a:gd name="T47" fmla="*/ 640 h 1481"/>
                <a:gd name="T48" fmla="*/ 576 w 1377"/>
                <a:gd name="T49" fmla="*/ 660 h 1481"/>
                <a:gd name="T50" fmla="*/ 627 w 1377"/>
                <a:gd name="T51" fmla="*/ 669 h 1481"/>
                <a:gd name="T52" fmla="*/ 678 w 1377"/>
                <a:gd name="T53" fmla="*/ 665 h 1481"/>
                <a:gd name="T54" fmla="*/ 729 w 1377"/>
                <a:gd name="T55" fmla="*/ 651 h 1481"/>
                <a:gd name="T56" fmla="*/ 778 w 1377"/>
                <a:gd name="T57" fmla="*/ 625 h 1481"/>
                <a:gd name="T58" fmla="*/ 825 w 1377"/>
                <a:gd name="T59" fmla="*/ 589 h 1481"/>
                <a:gd name="T60" fmla="*/ 874 w 1377"/>
                <a:gd name="T61" fmla="*/ 539 h 1481"/>
                <a:gd name="T62" fmla="*/ 944 w 1377"/>
                <a:gd name="T63" fmla="*/ 448 h 1481"/>
                <a:gd name="T64" fmla="*/ 1031 w 1377"/>
                <a:gd name="T65" fmla="*/ 291 h 1481"/>
                <a:gd name="T66" fmla="*/ 1137 w 1377"/>
                <a:gd name="T67" fmla="*/ 71 h 1481"/>
                <a:gd name="T68" fmla="*/ 1155 w 1377"/>
                <a:gd name="T69" fmla="*/ 43 h 1481"/>
                <a:gd name="T70" fmla="*/ 1183 w 1377"/>
                <a:gd name="T71" fmla="*/ 17 h 1481"/>
                <a:gd name="T72" fmla="*/ 1218 w 1377"/>
                <a:gd name="T73" fmla="*/ 3 h 1481"/>
                <a:gd name="T74" fmla="*/ 1261 w 1377"/>
                <a:gd name="T75" fmla="*/ 0 h 1481"/>
                <a:gd name="T76" fmla="*/ 1308 w 1377"/>
                <a:gd name="T77" fmla="*/ 10 h 1481"/>
                <a:gd name="T78" fmla="*/ 1338 w 1377"/>
                <a:gd name="T79" fmla="*/ 27 h 1481"/>
                <a:gd name="T80" fmla="*/ 1360 w 1377"/>
                <a:gd name="T81" fmla="*/ 52 h 1481"/>
                <a:gd name="T82" fmla="*/ 1371 w 1377"/>
                <a:gd name="T83" fmla="*/ 86 h 1481"/>
                <a:gd name="T84" fmla="*/ 1377 w 1377"/>
                <a:gd name="T85" fmla="*/ 130 h 1481"/>
                <a:gd name="T86" fmla="*/ 1369 w 1377"/>
                <a:gd name="T87" fmla="*/ 192 h 1481"/>
                <a:gd name="T88" fmla="*/ 1130 w 1377"/>
                <a:gd name="T89" fmla="*/ 674 h 1481"/>
                <a:gd name="T90" fmla="*/ 1053 w 1377"/>
                <a:gd name="T91" fmla="*/ 835 h 1481"/>
                <a:gd name="T92" fmla="*/ 1011 w 1377"/>
                <a:gd name="T93" fmla="*/ 961 h 1481"/>
                <a:gd name="T94" fmla="*/ 1000 w 1377"/>
                <a:gd name="T95" fmla="*/ 1020 h 1481"/>
                <a:gd name="T96" fmla="*/ 990 w 1377"/>
                <a:gd name="T97" fmla="*/ 1106 h 1481"/>
                <a:gd name="T98" fmla="*/ 984 w 1377"/>
                <a:gd name="T99" fmla="*/ 1253 h 1481"/>
                <a:gd name="T100" fmla="*/ 980 w 1377"/>
                <a:gd name="T101" fmla="*/ 1399 h 1481"/>
                <a:gd name="T102" fmla="*/ 971 w 1377"/>
                <a:gd name="T103" fmla="*/ 1442 h 1481"/>
                <a:gd name="T104" fmla="*/ 954 w 1377"/>
                <a:gd name="T105" fmla="*/ 1464 h 1481"/>
                <a:gd name="T106" fmla="*/ 341 w 1377"/>
                <a:gd name="T107" fmla="*/ 1481 h 1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77" h="1481">
                  <a:moveTo>
                    <a:pt x="341" y="1481"/>
                  </a:moveTo>
                  <a:lnTo>
                    <a:pt x="341" y="1481"/>
                  </a:lnTo>
                  <a:lnTo>
                    <a:pt x="332" y="1477"/>
                  </a:lnTo>
                  <a:lnTo>
                    <a:pt x="324" y="1472"/>
                  </a:lnTo>
                  <a:lnTo>
                    <a:pt x="317" y="1468"/>
                  </a:lnTo>
                  <a:lnTo>
                    <a:pt x="311" y="1462"/>
                  </a:lnTo>
                  <a:lnTo>
                    <a:pt x="305" y="1457"/>
                  </a:lnTo>
                  <a:lnTo>
                    <a:pt x="300" y="1451"/>
                  </a:lnTo>
                  <a:lnTo>
                    <a:pt x="295" y="1445"/>
                  </a:lnTo>
                  <a:lnTo>
                    <a:pt x="292" y="1439"/>
                  </a:lnTo>
                  <a:lnTo>
                    <a:pt x="289" y="1432"/>
                  </a:lnTo>
                  <a:lnTo>
                    <a:pt x="287" y="1425"/>
                  </a:lnTo>
                  <a:lnTo>
                    <a:pt x="285" y="1417"/>
                  </a:lnTo>
                  <a:lnTo>
                    <a:pt x="284" y="1410"/>
                  </a:lnTo>
                  <a:lnTo>
                    <a:pt x="283" y="1392"/>
                  </a:lnTo>
                  <a:lnTo>
                    <a:pt x="285" y="1374"/>
                  </a:lnTo>
                  <a:lnTo>
                    <a:pt x="285" y="1374"/>
                  </a:lnTo>
                  <a:lnTo>
                    <a:pt x="286" y="1348"/>
                  </a:lnTo>
                  <a:lnTo>
                    <a:pt x="287" y="1322"/>
                  </a:lnTo>
                  <a:lnTo>
                    <a:pt x="288" y="1296"/>
                  </a:lnTo>
                  <a:lnTo>
                    <a:pt x="288" y="1270"/>
                  </a:lnTo>
                  <a:lnTo>
                    <a:pt x="286" y="1218"/>
                  </a:lnTo>
                  <a:lnTo>
                    <a:pt x="281" y="1167"/>
                  </a:lnTo>
                  <a:lnTo>
                    <a:pt x="275" y="1117"/>
                  </a:lnTo>
                  <a:lnTo>
                    <a:pt x="267" y="1066"/>
                  </a:lnTo>
                  <a:lnTo>
                    <a:pt x="258" y="1016"/>
                  </a:lnTo>
                  <a:lnTo>
                    <a:pt x="247" y="967"/>
                  </a:lnTo>
                  <a:lnTo>
                    <a:pt x="235" y="917"/>
                  </a:lnTo>
                  <a:lnTo>
                    <a:pt x="221" y="868"/>
                  </a:lnTo>
                  <a:lnTo>
                    <a:pt x="207" y="820"/>
                  </a:lnTo>
                  <a:lnTo>
                    <a:pt x="192" y="770"/>
                  </a:lnTo>
                  <a:lnTo>
                    <a:pt x="161" y="673"/>
                  </a:lnTo>
                  <a:lnTo>
                    <a:pt x="129" y="575"/>
                  </a:lnTo>
                  <a:lnTo>
                    <a:pt x="129" y="575"/>
                  </a:lnTo>
                  <a:lnTo>
                    <a:pt x="96" y="473"/>
                  </a:lnTo>
                  <a:lnTo>
                    <a:pt x="65" y="373"/>
                  </a:lnTo>
                  <a:lnTo>
                    <a:pt x="36" y="272"/>
                  </a:lnTo>
                  <a:lnTo>
                    <a:pt x="8" y="171"/>
                  </a:lnTo>
                  <a:lnTo>
                    <a:pt x="8" y="171"/>
                  </a:lnTo>
                  <a:lnTo>
                    <a:pt x="5" y="157"/>
                  </a:lnTo>
                  <a:lnTo>
                    <a:pt x="2" y="143"/>
                  </a:lnTo>
                  <a:lnTo>
                    <a:pt x="1" y="130"/>
                  </a:lnTo>
                  <a:lnTo>
                    <a:pt x="0" y="117"/>
                  </a:lnTo>
                  <a:lnTo>
                    <a:pt x="1" y="105"/>
                  </a:lnTo>
                  <a:lnTo>
                    <a:pt x="2" y="93"/>
                  </a:lnTo>
                  <a:lnTo>
                    <a:pt x="4" y="83"/>
                  </a:lnTo>
                  <a:lnTo>
                    <a:pt x="7" y="71"/>
                  </a:lnTo>
                  <a:lnTo>
                    <a:pt x="11" y="62"/>
                  </a:lnTo>
                  <a:lnTo>
                    <a:pt x="16" y="53"/>
                  </a:lnTo>
                  <a:lnTo>
                    <a:pt x="22" y="45"/>
                  </a:lnTo>
                  <a:lnTo>
                    <a:pt x="29" y="37"/>
                  </a:lnTo>
                  <a:lnTo>
                    <a:pt x="37" y="31"/>
                  </a:lnTo>
                  <a:lnTo>
                    <a:pt x="45" y="25"/>
                  </a:lnTo>
                  <a:lnTo>
                    <a:pt x="54" y="19"/>
                  </a:lnTo>
                  <a:lnTo>
                    <a:pt x="65" y="15"/>
                  </a:lnTo>
                  <a:lnTo>
                    <a:pt x="65" y="15"/>
                  </a:lnTo>
                  <a:lnTo>
                    <a:pt x="78" y="11"/>
                  </a:lnTo>
                  <a:lnTo>
                    <a:pt x="90" y="7"/>
                  </a:lnTo>
                  <a:lnTo>
                    <a:pt x="103" y="6"/>
                  </a:lnTo>
                  <a:lnTo>
                    <a:pt x="116" y="6"/>
                  </a:lnTo>
                  <a:lnTo>
                    <a:pt x="127" y="7"/>
                  </a:lnTo>
                  <a:lnTo>
                    <a:pt x="138" y="9"/>
                  </a:lnTo>
                  <a:lnTo>
                    <a:pt x="149" y="13"/>
                  </a:lnTo>
                  <a:lnTo>
                    <a:pt x="160" y="18"/>
                  </a:lnTo>
                  <a:lnTo>
                    <a:pt x="170" y="24"/>
                  </a:lnTo>
                  <a:lnTo>
                    <a:pt x="179" y="31"/>
                  </a:lnTo>
                  <a:lnTo>
                    <a:pt x="188" y="40"/>
                  </a:lnTo>
                  <a:lnTo>
                    <a:pt x="197" y="50"/>
                  </a:lnTo>
                  <a:lnTo>
                    <a:pt x="205" y="61"/>
                  </a:lnTo>
                  <a:lnTo>
                    <a:pt x="213" y="72"/>
                  </a:lnTo>
                  <a:lnTo>
                    <a:pt x="221" y="86"/>
                  </a:lnTo>
                  <a:lnTo>
                    <a:pt x="227" y="100"/>
                  </a:lnTo>
                  <a:lnTo>
                    <a:pt x="227" y="100"/>
                  </a:lnTo>
                  <a:lnTo>
                    <a:pt x="259" y="185"/>
                  </a:lnTo>
                  <a:lnTo>
                    <a:pt x="288" y="269"/>
                  </a:lnTo>
                  <a:lnTo>
                    <a:pt x="318" y="352"/>
                  </a:lnTo>
                  <a:lnTo>
                    <a:pt x="333" y="393"/>
                  </a:lnTo>
                  <a:lnTo>
                    <a:pt x="349" y="433"/>
                  </a:lnTo>
                  <a:lnTo>
                    <a:pt x="349" y="433"/>
                  </a:lnTo>
                  <a:lnTo>
                    <a:pt x="357" y="451"/>
                  </a:lnTo>
                  <a:lnTo>
                    <a:pt x="366" y="470"/>
                  </a:lnTo>
                  <a:lnTo>
                    <a:pt x="376" y="488"/>
                  </a:lnTo>
                  <a:lnTo>
                    <a:pt x="386" y="505"/>
                  </a:lnTo>
                  <a:lnTo>
                    <a:pt x="397" y="523"/>
                  </a:lnTo>
                  <a:lnTo>
                    <a:pt x="409" y="539"/>
                  </a:lnTo>
                  <a:lnTo>
                    <a:pt x="421" y="554"/>
                  </a:lnTo>
                  <a:lnTo>
                    <a:pt x="434" y="568"/>
                  </a:lnTo>
                  <a:lnTo>
                    <a:pt x="434" y="568"/>
                  </a:lnTo>
                  <a:lnTo>
                    <a:pt x="444" y="579"/>
                  </a:lnTo>
                  <a:lnTo>
                    <a:pt x="455" y="590"/>
                  </a:lnTo>
                  <a:lnTo>
                    <a:pt x="467" y="600"/>
                  </a:lnTo>
                  <a:lnTo>
                    <a:pt x="479" y="610"/>
                  </a:lnTo>
                  <a:lnTo>
                    <a:pt x="490" y="618"/>
                  </a:lnTo>
                  <a:lnTo>
                    <a:pt x="502" y="626"/>
                  </a:lnTo>
                  <a:lnTo>
                    <a:pt x="514" y="634"/>
                  </a:lnTo>
                  <a:lnTo>
                    <a:pt x="526" y="640"/>
                  </a:lnTo>
                  <a:lnTo>
                    <a:pt x="538" y="646"/>
                  </a:lnTo>
                  <a:lnTo>
                    <a:pt x="550" y="651"/>
                  </a:lnTo>
                  <a:lnTo>
                    <a:pt x="563" y="656"/>
                  </a:lnTo>
                  <a:lnTo>
                    <a:pt x="576" y="660"/>
                  </a:lnTo>
                  <a:lnTo>
                    <a:pt x="589" y="663"/>
                  </a:lnTo>
                  <a:lnTo>
                    <a:pt x="601" y="665"/>
                  </a:lnTo>
                  <a:lnTo>
                    <a:pt x="614" y="668"/>
                  </a:lnTo>
                  <a:lnTo>
                    <a:pt x="627" y="669"/>
                  </a:lnTo>
                  <a:lnTo>
                    <a:pt x="639" y="669"/>
                  </a:lnTo>
                  <a:lnTo>
                    <a:pt x="652" y="669"/>
                  </a:lnTo>
                  <a:lnTo>
                    <a:pt x="665" y="668"/>
                  </a:lnTo>
                  <a:lnTo>
                    <a:pt x="678" y="665"/>
                  </a:lnTo>
                  <a:lnTo>
                    <a:pt x="691" y="662"/>
                  </a:lnTo>
                  <a:lnTo>
                    <a:pt x="704" y="659"/>
                  </a:lnTo>
                  <a:lnTo>
                    <a:pt x="716" y="655"/>
                  </a:lnTo>
                  <a:lnTo>
                    <a:pt x="729" y="651"/>
                  </a:lnTo>
                  <a:lnTo>
                    <a:pt x="741" y="645"/>
                  </a:lnTo>
                  <a:lnTo>
                    <a:pt x="753" y="639"/>
                  </a:lnTo>
                  <a:lnTo>
                    <a:pt x="766" y="633"/>
                  </a:lnTo>
                  <a:lnTo>
                    <a:pt x="778" y="625"/>
                  </a:lnTo>
                  <a:lnTo>
                    <a:pt x="789" y="617"/>
                  </a:lnTo>
                  <a:lnTo>
                    <a:pt x="802" y="608"/>
                  </a:lnTo>
                  <a:lnTo>
                    <a:pt x="814" y="599"/>
                  </a:lnTo>
                  <a:lnTo>
                    <a:pt x="825" y="589"/>
                  </a:lnTo>
                  <a:lnTo>
                    <a:pt x="825" y="589"/>
                  </a:lnTo>
                  <a:lnTo>
                    <a:pt x="842" y="573"/>
                  </a:lnTo>
                  <a:lnTo>
                    <a:pt x="858" y="556"/>
                  </a:lnTo>
                  <a:lnTo>
                    <a:pt x="874" y="539"/>
                  </a:lnTo>
                  <a:lnTo>
                    <a:pt x="889" y="522"/>
                  </a:lnTo>
                  <a:lnTo>
                    <a:pt x="903" y="503"/>
                  </a:lnTo>
                  <a:lnTo>
                    <a:pt x="918" y="485"/>
                  </a:lnTo>
                  <a:lnTo>
                    <a:pt x="944" y="448"/>
                  </a:lnTo>
                  <a:lnTo>
                    <a:pt x="968" y="410"/>
                  </a:lnTo>
                  <a:lnTo>
                    <a:pt x="990" y="371"/>
                  </a:lnTo>
                  <a:lnTo>
                    <a:pt x="1011" y="331"/>
                  </a:lnTo>
                  <a:lnTo>
                    <a:pt x="1031" y="291"/>
                  </a:lnTo>
                  <a:lnTo>
                    <a:pt x="1031" y="291"/>
                  </a:lnTo>
                  <a:lnTo>
                    <a:pt x="1058" y="235"/>
                  </a:lnTo>
                  <a:lnTo>
                    <a:pt x="1084" y="179"/>
                  </a:lnTo>
                  <a:lnTo>
                    <a:pt x="1137" y="71"/>
                  </a:lnTo>
                  <a:lnTo>
                    <a:pt x="1137" y="71"/>
                  </a:lnTo>
                  <a:lnTo>
                    <a:pt x="1142" y="61"/>
                  </a:lnTo>
                  <a:lnTo>
                    <a:pt x="1149" y="52"/>
                  </a:lnTo>
                  <a:lnTo>
                    <a:pt x="1155" y="43"/>
                  </a:lnTo>
                  <a:lnTo>
                    <a:pt x="1162" y="36"/>
                  </a:lnTo>
                  <a:lnTo>
                    <a:pt x="1169" y="29"/>
                  </a:lnTo>
                  <a:lnTo>
                    <a:pt x="1176" y="23"/>
                  </a:lnTo>
                  <a:lnTo>
                    <a:pt x="1183" y="17"/>
                  </a:lnTo>
                  <a:lnTo>
                    <a:pt x="1191" y="12"/>
                  </a:lnTo>
                  <a:lnTo>
                    <a:pt x="1200" y="9"/>
                  </a:lnTo>
                  <a:lnTo>
                    <a:pt x="1209" y="5"/>
                  </a:lnTo>
                  <a:lnTo>
                    <a:pt x="1218" y="3"/>
                  </a:lnTo>
                  <a:lnTo>
                    <a:pt x="1228" y="1"/>
                  </a:lnTo>
                  <a:lnTo>
                    <a:pt x="1238" y="0"/>
                  </a:lnTo>
                  <a:lnTo>
                    <a:pt x="1249" y="0"/>
                  </a:lnTo>
                  <a:lnTo>
                    <a:pt x="1261" y="0"/>
                  </a:lnTo>
                  <a:lnTo>
                    <a:pt x="1273" y="1"/>
                  </a:lnTo>
                  <a:lnTo>
                    <a:pt x="1273" y="1"/>
                  </a:lnTo>
                  <a:lnTo>
                    <a:pt x="1291" y="5"/>
                  </a:lnTo>
                  <a:lnTo>
                    <a:pt x="1308" y="10"/>
                  </a:lnTo>
                  <a:lnTo>
                    <a:pt x="1316" y="14"/>
                  </a:lnTo>
                  <a:lnTo>
                    <a:pt x="1324" y="18"/>
                  </a:lnTo>
                  <a:lnTo>
                    <a:pt x="1331" y="22"/>
                  </a:lnTo>
                  <a:lnTo>
                    <a:pt x="1338" y="27"/>
                  </a:lnTo>
                  <a:lnTo>
                    <a:pt x="1344" y="33"/>
                  </a:lnTo>
                  <a:lnTo>
                    <a:pt x="1350" y="39"/>
                  </a:lnTo>
                  <a:lnTo>
                    <a:pt x="1355" y="45"/>
                  </a:lnTo>
                  <a:lnTo>
                    <a:pt x="1360" y="52"/>
                  </a:lnTo>
                  <a:lnTo>
                    <a:pt x="1364" y="60"/>
                  </a:lnTo>
                  <a:lnTo>
                    <a:pt x="1367" y="68"/>
                  </a:lnTo>
                  <a:lnTo>
                    <a:pt x="1369" y="77"/>
                  </a:lnTo>
                  <a:lnTo>
                    <a:pt x="1371" y="86"/>
                  </a:lnTo>
                  <a:lnTo>
                    <a:pt x="1371" y="86"/>
                  </a:lnTo>
                  <a:lnTo>
                    <a:pt x="1374" y="100"/>
                  </a:lnTo>
                  <a:lnTo>
                    <a:pt x="1376" y="115"/>
                  </a:lnTo>
                  <a:lnTo>
                    <a:pt x="1377" y="130"/>
                  </a:lnTo>
                  <a:lnTo>
                    <a:pt x="1377" y="146"/>
                  </a:lnTo>
                  <a:lnTo>
                    <a:pt x="1375" y="162"/>
                  </a:lnTo>
                  <a:lnTo>
                    <a:pt x="1372" y="177"/>
                  </a:lnTo>
                  <a:lnTo>
                    <a:pt x="1369" y="192"/>
                  </a:lnTo>
                  <a:lnTo>
                    <a:pt x="1364" y="206"/>
                  </a:lnTo>
                  <a:lnTo>
                    <a:pt x="1364" y="206"/>
                  </a:lnTo>
                  <a:lnTo>
                    <a:pt x="1130" y="674"/>
                  </a:lnTo>
                  <a:lnTo>
                    <a:pt x="1130" y="674"/>
                  </a:lnTo>
                  <a:lnTo>
                    <a:pt x="1109" y="714"/>
                  </a:lnTo>
                  <a:lnTo>
                    <a:pt x="1089" y="754"/>
                  </a:lnTo>
                  <a:lnTo>
                    <a:pt x="1070" y="794"/>
                  </a:lnTo>
                  <a:lnTo>
                    <a:pt x="1053" y="835"/>
                  </a:lnTo>
                  <a:lnTo>
                    <a:pt x="1038" y="876"/>
                  </a:lnTo>
                  <a:lnTo>
                    <a:pt x="1023" y="918"/>
                  </a:lnTo>
                  <a:lnTo>
                    <a:pt x="1017" y="940"/>
                  </a:lnTo>
                  <a:lnTo>
                    <a:pt x="1011" y="961"/>
                  </a:lnTo>
                  <a:lnTo>
                    <a:pt x="1006" y="984"/>
                  </a:lnTo>
                  <a:lnTo>
                    <a:pt x="1002" y="1007"/>
                  </a:lnTo>
                  <a:lnTo>
                    <a:pt x="1002" y="1007"/>
                  </a:lnTo>
                  <a:lnTo>
                    <a:pt x="1000" y="1020"/>
                  </a:lnTo>
                  <a:lnTo>
                    <a:pt x="998" y="1034"/>
                  </a:lnTo>
                  <a:lnTo>
                    <a:pt x="995" y="1063"/>
                  </a:lnTo>
                  <a:lnTo>
                    <a:pt x="992" y="1092"/>
                  </a:lnTo>
                  <a:lnTo>
                    <a:pt x="990" y="1106"/>
                  </a:lnTo>
                  <a:lnTo>
                    <a:pt x="988" y="1120"/>
                  </a:lnTo>
                  <a:lnTo>
                    <a:pt x="988" y="1120"/>
                  </a:lnTo>
                  <a:lnTo>
                    <a:pt x="987" y="1188"/>
                  </a:lnTo>
                  <a:lnTo>
                    <a:pt x="984" y="1253"/>
                  </a:lnTo>
                  <a:lnTo>
                    <a:pt x="982" y="1318"/>
                  </a:lnTo>
                  <a:lnTo>
                    <a:pt x="981" y="1381"/>
                  </a:lnTo>
                  <a:lnTo>
                    <a:pt x="981" y="1381"/>
                  </a:lnTo>
                  <a:lnTo>
                    <a:pt x="980" y="1399"/>
                  </a:lnTo>
                  <a:lnTo>
                    <a:pt x="979" y="1416"/>
                  </a:lnTo>
                  <a:lnTo>
                    <a:pt x="976" y="1430"/>
                  </a:lnTo>
                  <a:lnTo>
                    <a:pt x="974" y="1436"/>
                  </a:lnTo>
                  <a:lnTo>
                    <a:pt x="971" y="1442"/>
                  </a:lnTo>
                  <a:lnTo>
                    <a:pt x="968" y="1448"/>
                  </a:lnTo>
                  <a:lnTo>
                    <a:pt x="964" y="1453"/>
                  </a:lnTo>
                  <a:lnTo>
                    <a:pt x="959" y="1459"/>
                  </a:lnTo>
                  <a:lnTo>
                    <a:pt x="954" y="1464"/>
                  </a:lnTo>
                  <a:lnTo>
                    <a:pt x="948" y="1468"/>
                  </a:lnTo>
                  <a:lnTo>
                    <a:pt x="941" y="1473"/>
                  </a:lnTo>
                  <a:lnTo>
                    <a:pt x="925" y="1481"/>
                  </a:lnTo>
                  <a:lnTo>
                    <a:pt x="341" y="148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7" name="Freeform 9"/>
            <p:cNvSpPr>
              <a:spLocks/>
            </p:cNvSpPr>
            <p:nvPr/>
          </p:nvSpPr>
          <p:spPr bwMode="auto">
            <a:xfrm>
              <a:off x="6718300" y="1768475"/>
              <a:ext cx="114300" cy="207963"/>
            </a:xfrm>
            <a:custGeom>
              <a:avLst/>
              <a:gdLst>
                <a:gd name="T0" fmla="*/ 490 w 579"/>
                <a:gd name="T1" fmla="*/ 17 h 1048"/>
                <a:gd name="T2" fmla="*/ 513 w 579"/>
                <a:gd name="T3" fmla="*/ 45 h 1048"/>
                <a:gd name="T4" fmla="*/ 518 w 579"/>
                <a:gd name="T5" fmla="*/ 65 h 1048"/>
                <a:gd name="T6" fmla="*/ 515 w 579"/>
                <a:gd name="T7" fmla="*/ 88 h 1048"/>
                <a:gd name="T8" fmla="*/ 500 w 579"/>
                <a:gd name="T9" fmla="*/ 128 h 1048"/>
                <a:gd name="T10" fmla="*/ 418 w 579"/>
                <a:gd name="T11" fmla="*/ 295 h 1048"/>
                <a:gd name="T12" fmla="*/ 383 w 579"/>
                <a:gd name="T13" fmla="*/ 355 h 1048"/>
                <a:gd name="T14" fmla="*/ 381 w 579"/>
                <a:gd name="T15" fmla="*/ 379 h 1048"/>
                <a:gd name="T16" fmla="*/ 394 w 579"/>
                <a:gd name="T17" fmla="*/ 399 h 1048"/>
                <a:gd name="T18" fmla="*/ 418 w 579"/>
                <a:gd name="T19" fmla="*/ 417 h 1048"/>
                <a:gd name="T20" fmla="*/ 465 w 579"/>
                <a:gd name="T21" fmla="*/ 454 h 1048"/>
                <a:gd name="T22" fmla="*/ 484 w 579"/>
                <a:gd name="T23" fmla="*/ 465 h 1048"/>
                <a:gd name="T24" fmla="*/ 517 w 579"/>
                <a:gd name="T25" fmla="*/ 491 h 1048"/>
                <a:gd name="T26" fmla="*/ 555 w 579"/>
                <a:gd name="T27" fmla="*/ 543 h 1048"/>
                <a:gd name="T28" fmla="*/ 576 w 579"/>
                <a:gd name="T29" fmla="*/ 605 h 1048"/>
                <a:gd name="T30" fmla="*/ 578 w 579"/>
                <a:gd name="T31" fmla="*/ 674 h 1048"/>
                <a:gd name="T32" fmla="*/ 560 w 579"/>
                <a:gd name="T33" fmla="*/ 744 h 1048"/>
                <a:gd name="T34" fmla="*/ 539 w 579"/>
                <a:gd name="T35" fmla="*/ 787 h 1048"/>
                <a:gd name="T36" fmla="*/ 500 w 579"/>
                <a:gd name="T37" fmla="*/ 846 h 1048"/>
                <a:gd name="T38" fmla="*/ 455 w 579"/>
                <a:gd name="T39" fmla="*/ 899 h 1048"/>
                <a:gd name="T40" fmla="*/ 369 w 579"/>
                <a:gd name="T41" fmla="*/ 980 h 1048"/>
                <a:gd name="T42" fmla="*/ 292 w 579"/>
                <a:gd name="T43" fmla="*/ 1045 h 1048"/>
                <a:gd name="T44" fmla="*/ 278 w 579"/>
                <a:gd name="T45" fmla="*/ 1048 h 1048"/>
                <a:gd name="T46" fmla="*/ 264 w 579"/>
                <a:gd name="T47" fmla="*/ 1045 h 1048"/>
                <a:gd name="T48" fmla="*/ 199 w 579"/>
                <a:gd name="T49" fmla="*/ 1011 h 1048"/>
                <a:gd name="T50" fmla="*/ 21 w 579"/>
                <a:gd name="T51" fmla="*/ 915 h 1048"/>
                <a:gd name="T52" fmla="*/ 9 w 579"/>
                <a:gd name="T53" fmla="*/ 905 h 1048"/>
                <a:gd name="T54" fmla="*/ 0 w 579"/>
                <a:gd name="T55" fmla="*/ 887 h 1048"/>
                <a:gd name="T56" fmla="*/ 12 w 579"/>
                <a:gd name="T57" fmla="*/ 796 h 1048"/>
                <a:gd name="T58" fmla="*/ 56 w 579"/>
                <a:gd name="T59" fmla="*/ 533 h 1048"/>
                <a:gd name="T60" fmla="*/ 62 w 579"/>
                <a:gd name="T61" fmla="*/ 512 h 1048"/>
                <a:gd name="T62" fmla="*/ 76 w 579"/>
                <a:gd name="T63" fmla="*/ 485 h 1048"/>
                <a:gd name="T64" fmla="*/ 93 w 579"/>
                <a:gd name="T65" fmla="*/ 463 h 1048"/>
                <a:gd name="T66" fmla="*/ 113 w 579"/>
                <a:gd name="T67" fmla="*/ 445 h 1048"/>
                <a:gd name="T68" fmla="*/ 137 w 579"/>
                <a:gd name="T69" fmla="*/ 432 h 1048"/>
                <a:gd name="T70" fmla="*/ 167 w 579"/>
                <a:gd name="T71" fmla="*/ 423 h 1048"/>
                <a:gd name="T72" fmla="*/ 200 w 579"/>
                <a:gd name="T73" fmla="*/ 406 h 1048"/>
                <a:gd name="T74" fmla="*/ 225 w 579"/>
                <a:gd name="T75" fmla="*/ 380 h 1048"/>
                <a:gd name="T76" fmla="*/ 264 w 579"/>
                <a:gd name="T77" fmla="*/ 301 h 1048"/>
                <a:gd name="T78" fmla="*/ 366 w 579"/>
                <a:gd name="T79" fmla="*/ 107 h 1048"/>
                <a:gd name="T80" fmla="*/ 384 w 579"/>
                <a:gd name="T81" fmla="*/ 78 h 1048"/>
                <a:gd name="T82" fmla="*/ 426 w 579"/>
                <a:gd name="T83" fmla="*/ 26 h 1048"/>
                <a:gd name="T84" fmla="*/ 472 w 579"/>
                <a:gd name="T85" fmla="*/ 0 h 10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79" h="1048">
                  <a:moveTo>
                    <a:pt x="472" y="0"/>
                  </a:moveTo>
                  <a:lnTo>
                    <a:pt x="472" y="0"/>
                  </a:lnTo>
                  <a:lnTo>
                    <a:pt x="490" y="17"/>
                  </a:lnTo>
                  <a:lnTo>
                    <a:pt x="504" y="32"/>
                  </a:lnTo>
                  <a:lnTo>
                    <a:pt x="509" y="39"/>
                  </a:lnTo>
                  <a:lnTo>
                    <a:pt x="513" y="45"/>
                  </a:lnTo>
                  <a:lnTo>
                    <a:pt x="516" y="52"/>
                  </a:lnTo>
                  <a:lnTo>
                    <a:pt x="517" y="58"/>
                  </a:lnTo>
                  <a:lnTo>
                    <a:pt x="518" y="65"/>
                  </a:lnTo>
                  <a:lnTo>
                    <a:pt x="518" y="72"/>
                  </a:lnTo>
                  <a:lnTo>
                    <a:pt x="517" y="81"/>
                  </a:lnTo>
                  <a:lnTo>
                    <a:pt x="515" y="88"/>
                  </a:lnTo>
                  <a:lnTo>
                    <a:pt x="509" y="107"/>
                  </a:lnTo>
                  <a:lnTo>
                    <a:pt x="500" y="128"/>
                  </a:lnTo>
                  <a:lnTo>
                    <a:pt x="500" y="128"/>
                  </a:lnTo>
                  <a:lnTo>
                    <a:pt x="474" y="185"/>
                  </a:lnTo>
                  <a:lnTo>
                    <a:pt x="447" y="241"/>
                  </a:lnTo>
                  <a:lnTo>
                    <a:pt x="418" y="295"/>
                  </a:lnTo>
                  <a:lnTo>
                    <a:pt x="387" y="348"/>
                  </a:lnTo>
                  <a:lnTo>
                    <a:pt x="387" y="348"/>
                  </a:lnTo>
                  <a:lnTo>
                    <a:pt x="383" y="355"/>
                  </a:lnTo>
                  <a:lnTo>
                    <a:pt x="381" y="363"/>
                  </a:lnTo>
                  <a:lnTo>
                    <a:pt x="380" y="372"/>
                  </a:lnTo>
                  <a:lnTo>
                    <a:pt x="381" y="379"/>
                  </a:lnTo>
                  <a:lnTo>
                    <a:pt x="384" y="386"/>
                  </a:lnTo>
                  <a:lnTo>
                    <a:pt x="388" y="393"/>
                  </a:lnTo>
                  <a:lnTo>
                    <a:pt x="394" y="399"/>
                  </a:lnTo>
                  <a:lnTo>
                    <a:pt x="401" y="405"/>
                  </a:lnTo>
                  <a:lnTo>
                    <a:pt x="401" y="405"/>
                  </a:lnTo>
                  <a:lnTo>
                    <a:pt x="418" y="417"/>
                  </a:lnTo>
                  <a:lnTo>
                    <a:pt x="434" y="430"/>
                  </a:lnTo>
                  <a:lnTo>
                    <a:pt x="449" y="443"/>
                  </a:lnTo>
                  <a:lnTo>
                    <a:pt x="465" y="454"/>
                  </a:lnTo>
                  <a:lnTo>
                    <a:pt x="465" y="454"/>
                  </a:lnTo>
                  <a:lnTo>
                    <a:pt x="475" y="459"/>
                  </a:lnTo>
                  <a:lnTo>
                    <a:pt x="484" y="465"/>
                  </a:lnTo>
                  <a:lnTo>
                    <a:pt x="493" y="470"/>
                  </a:lnTo>
                  <a:lnTo>
                    <a:pt x="501" y="477"/>
                  </a:lnTo>
                  <a:lnTo>
                    <a:pt x="517" y="491"/>
                  </a:lnTo>
                  <a:lnTo>
                    <a:pt x="532" y="507"/>
                  </a:lnTo>
                  <a:lnTo>
                    <a:pt x="544" y="525"/>
                  </a:lnTo>
                  <a:lnTo>
                    <a:pt x="555" y="543"/>
                  </a:lnTo>
                  <a:lnTo>
                    <a:pt x="564" y="563"/>
                  </a:lnTo>
                  <a:lnTo>
                    <a:pt x="571" y="584"/>
                  </a:lnTo>
                  <a:lnTo>
                    <a:pt x="576" y="605"/>
                  </a:lnTo>
                  <a:lnTo>
                    <a:pt x="578" y="628"/>
                  </a:lnTo>
                  <a:lnTo>
                    <a:pt x="579" y="650"/>
                  </a:lnTo>
                  <a:lnTo>
                    <a:pt x="578" y="674"/>
                  </a:lnTo>
                  <a:lnTo>
                    <a:pt x="574" y="697"/>
                  </a:lnTo>
                  <a:lnTo>
                    <a:pt x="568" y="721"/>
                  </a:lnTo>
                  <a:lnTo>
                    <a:pt x="560" y="744"/>
                  </a:lnTo>
                  <a:lnTo>
                    <a:pt x="550" y="766"/>
                  </a:lnTo>
                  <a:lnTo>
                    <a:pt x="550" y="766"/>
                  </a:lnTo>
                  <a:lnTo>
                    <a:pt x="539" y="787"/>
                  </a:lnTo>
                  <a:lnTo>
                    <a:pt x="527" y="807"/>
                  </a:lnTo>
                  <a:lnTo>
                    <a:pt x="513" y="827"/>
                  </a:lnTo>
                  <a:lnTo>
                    <a:pt x="500" y="846"/>
                  </a:lnTo>
                  <a:lnTo>
                    <a:pt x="485" y="864"/>
                  </a:lnTo>
                  <a:lnTo>
                    <a:pt x="470" y="882"/>
                  </a:lnTo>
                  <a:lnTo>
                    <a:pt x="455" y="899"/>
                  </a:lnTo>
                  <a:lnTo>
                    <a:pt x="439" y="915"/>
                  </a:lnTo>
                  <a:lnTo>
                    <a:pt x="404" y="948"/>
                  </a:lnTo>
                  <a:lnTo>
                    <a:pt x="369" y="980"/>
                  </a:lnTo>
                  <a:lnTo>
                    <a:pt x="296" y="1043"/>
                  </a:lnTo>
                  <a:lnTo>
                    <a:pt x="296" y="1043"/>
                  </a:lnTo>
                  <a:lnTo>
                    <a:pt x="292" y="1045"/>
                  </a:lnTo>
                  <a:lnTo>
                    <a:pt x="288" y="1047"/>
                  </a:lnTo>
                  <a:lnTo>
                    <a:pt x="283" y="1048"/>
                  </a:lnTo>
                  <a:lnTo>
                    <a:pt x="278" y="1048"/>
                  </a:lnTo>
                  <a:lnTo>
                    <a:pt x="273" y="1048"/>
                  </a:lnTo>
                  <a:lnTo>
                    <a:pt x="268" y="1047"/>
                  </a:lnTo>
                  <a:lnTo>
                    <a:pt x="264" y="1045"/>
                  </a:lnTo>
                  <a:lnTo>
                    <a:pt x="261" y="1043"/>
                  </a:lnTo>
                  <a:lnTo>
                    <a:pt x="261" y="1043"/>
                  </a:lnTo>
                  <a:lnTo>
                    <a:pt x="199" y="1011"/>
                  </a:lnTo>
                  <a:lnTo>
                    <a:pt x="138" y="980"/>
                  </a:lnTo>
                  <a:lnTo>
                    <a:pt x="21" y="915"/>
                  </a:lnTo>
                  <a:lnTo>
                    <a:pt x="21" y="915"/>
                  </a:lnTo>
                  <a:lnTo>
                    <a:pt x="16" y="912"/>
                  </a:lnTo>
                  <a:lnTo>
                    <a:pt x="12" y="909"/>
                  </a:lnTo>
                  <a:lnTo>
                    <a:pt x="9" y="905"/>
                  </a:lnTo>
                  <a:lnTo>
                    <a:pt x="6" y="901"/>
                  </a:lnTo>
                  <a:lnTo>
                    <a:pt x="2" y="893"/>
                  </a:lnTo>
                  <a:lnTo>
                    <a:pt x="0" y="887"/>
                  </a:lnTo>
                  <a:lnTo>
                    <a:pt x="0" y="887"/>
                  </a:lnTo>
                  <a:lnTo>
                    <a:pt x="6" y="842"/>
                  </a:lnTo>
                  <a:lnTo>
                    <a:pt x="12" y="796"/>
                  </a:lnTo>
                  <a:lnTo>
                    <a:pt x="26" y="707"/>
                  </a:lnTo>
                  <a:lnTo>
                    <a:pt x="41" y="619"/>
                  </a:lnTo>
                  <a:lnTo>
                    <a:pt x="56" y="533"/>
                  </a:lnTo>
                  <a:lnTo>
                    <a:pt x="56" y="533"/>
                  </a:lnTo>
                  <a:lnTo>
                    <a:pt x="59" y="522"/>
                  </a:lnTo>
                  <a:lnTo>
                    <a:pt x="62" y="512"/>
                  </a:lnTo>
                  <a:lnTo>
                    <a:pt x="67" y="502"/>
                  </a:lnTo>
                  <a:lnTo>
                    <a:pt x="72" y="493"/>
                  </a:lnTo>
                  <a:lnTo>
                    <a:pt x="76" y="485"/>
                  </a:lnTo>
                  <a:lnTo>
                    <a:pt x="81" y="477"/>
                  </a:lnTo>
                  <a:lnTo>
                    <a:pt x="87" y="470"/>
                  </a:lnTo>
                  <a:lnTo>
                    <a:pt x="93" y="463"/>
                  </a:lnTo>
                  <a:lnTo>
                    <a:pt x="99" y="457"/>
                  </a:lnTo>
                  <a:lnTo>
                    <a:pt x="106" y="451"/>
                  </a:lnTo>
                  <a:lnTo>
                    <a:pt x="113" y="445"/>
                  </a:lnTo>
                  <a:lnTo>
                    <a:pt x="121" y="441"/>
                  </a:lnTo>
                  <a:lnTo>
                    <a:pt x="129" y="436"/>
                  </a:lnTo>
                  <a:lnTo>
                    <a:pt x="137" y="432"/>
                  </a:lnTo>
                  <a:lnTo>
                    <a:pt x="155" y="426"/>
                  </a:lnTo>
                  <a:lnTo>
                    <a:pt x="155" y="426"/>
                  </a:lnTo>
                  <a:lnTo>
                    <a:pt x="167" y="423"/>
                  </a:lnTo>
                  <a:lnTo>
                    <a:pt x="180" y="418"/>
                  </a:lnTo>
                  <a:lnTo>
                    <a:pt x="190" y="413"/>
                  </a:lnTo>
                  <a:lnTo>
                    <a:pt x="200" y="406"/>
                  </a:lnTo>
                  <a:lnTo>
                    <a:pt x="208" y="398"/>
                  </a:lnTo>
                  <a:lnTo>
                    <a:pt x="217" y="389"/>
                  </a:lnTo>
                  <a:lnTo>
                    <a:pt x="225" y="380"/>
                  </a:lnTo>
                  <a:lnTo>
                    <a:pt x="233" y="369"/>
                  </a:lnTo>
                  <a:lnTo>
                    <a:pt x="233" y="369"/>
                  </a:lnTo>
                  <a:lnTo>
                    <a:pt x="264" y="301"/>
                  </a:lnTo>
                  <a:lnTo>
                    <a:pt x="297" y="236"/>
                  </a:lnTo>
                  <a:lnTo>
                    <a:pt x="331" y="171"/>
                  </a:lnTo>
                  <a:lnTo>
                    <a:pt x="366" y="107"/>
                  </a:lnTo>
                  <a:lnTo>
                    <a:pt x="366" y="107"/>
                  </a:lnTo>
                  <a:lnTo>
                    <a:pt x="375" y="92"/>
                  </a:lnTo>
                  <a:lnTo>
                    <a:pt x="384" y="78"/>
                  </a:lnTo>
                  <a:lnTo>
                    <a:pt x="394" y="63"/>
                  </a:lnTo>
                  <a:lnTo>
                    <a:pt x="405" y="50"/>
                  </a:lnTo>
                  <a:lnTo>
                    <a:pt x="426" y="26"/>
                  </a:lnTo>
                  <a:lnTo>
                    <a:pt x="436" y="13"/>
                  </a:lnTo>
                  <a:lnTo>
                    <a:pt x="444" y="0"/>
                  </a:lnTo>
                  <a:lnTo>
                    <a:pt x="47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8" name="Freeform 10"/>
            <p:cNvSpPr>
              <a:spLocks/>
            </p:cNvSpPr>
            <p:nvPr/>
          </p:nvSpPr>
          <p:spPr bwMode="auto">
            <a:xfrm>
              <a:off x="6537325" y="1960563"/>
              <a:ext cx="225425" cy="276225"/>
            </a:xfrm>
            <a:custGeom>
              <a:avLst/>
              <a:gdLst>
                <a:gd name="T0" fmla="*/ 902 w 1143"/>
                <a:gd name="T1" fmla="*/ 0 h 1394"/>
                <a:gd name="T2" fmla="*/ 964 w 1143"/>
                <a:gd name="T3" fmla="*/ 35 h 1394"/>
                <a:gd name="T4" fmla="*/ 1084 w 1143"/>
                <a:gd name="T5" fmla="*/ 96 h 1394"/>
                <a:gd name="T6" fmla="*/ 1143 w 1143"/>
                <a:gd name="T7" fmla="*/ 127 h 1394"/>
                <a:gd name="T8" fmla="*/ 1132 w 1143"/>
                <a:gd name="T9" fmla="*/ 155 h 1394"/>
                <a:gd name="T10" fmla="*/ 1122 w 1143"/>
                <a:gd name="T11" fmla="*/ 177 h 1394"/>
                <a:gd name="T12" fmla="*/ 1004 w 1143"/>
                <a:gd name="T13" fmla="*/ 399 h 1394"/>
                <a:gd name="T14" fmla="*/ 881 w 1143"/>
                <a:gd name="T15" fmla="*/ 623 h 1394"/>
                <a:gd name="T16" fmla="*/ 862 w 1143"/>
                <a:gd name="T17" fmla="*/ 661 h 1394"/>
                <a:gd name="T18" fmla="*/ 828 w 1143"/>
                <a:gd name="T19" fmla="*/ 740 h 1394"/>
                <a:gd name="T20" fmla="*/ 800 w 1143"/>
                <a:gd name="T21" fmla="*/ 818 h 1394"/>
                <a:gd name="T22" fmla="*/ 777 w 1143"/>
                <a:gd name="T23" fmla="*/ 898 h 1394"/>
                <a:gd name="T24" fmla="*/ 760 w 1143"/>
                <a:gd name="T25" fmla="*/ 978 h 1394"/>
                <a:gd name="T26" fmla="*/ 748 w 1143"/>
                <a:gd name="T27" fmla="*/ 1061 h 1394"/>
                <a:gd name="T28" fmla="*/ 740 w 1143"/>
                <a:gd name="T29" fmla="*/ 1145 h 1394"/>
                <a:gd name="T30" fmla="*/ 738 w 1143"/>
                <a:gd name="T31" fmla="*/ 1231 h 1394"/>
                <a:gd name="T32" fmla="*/ 739 w 1143"/>
                <a:gd name="T33" fmla="*/ 1274 h 1394"/>
                <a:gd name="T34" fmla="*/ 738 w 1143"/>
                <a:gd name="T35" fmla="*/ 1329 h 1394"/>
                <a:gd name="T36" fmla="*/ 735 w 1143"/>
                <a:gd name="T37" fmla="*/ 1356 h 1394"/>
                <a:gd name="T38" fmla="*/ 729 w 1143"/>
                <a:gd name="T39" fmla="*/ 1373 h 1394"/>
                <a:gd name="T40" fmla="*/ 718 w 1143"/>
                <a:gd name="T41" fmla="*/ 1384 h 1394"/>
                <a:gd name="T42" fmla="*/ 700 w 1143"/>
                <a:gd name="T43" fmla="*/ 1391 h 1394"/>
                <a:gd name="T44" fmla="*/ 675 w 1143"/>
                <a:gd name="T45" fmla="*/ 1394 h 1394"/>
                <a:gd name="T46" fmla="*/ 619 w 1143"/>
                <a:gd name="T47" fmla="*/ 1394 h 1394"/>
                <a:gd name="T48" fmla="*/ 96 w 1143"/>
                <a:gd name="T49" fmla="*/ 1394 h 1394"/>
                <a:gd name="T50" fmla="*/ 81 w 1143"/>
                <a:gd name="T51" fmla="*/ 1391 h 1394"/>
                <a:gd name="T52" fmla="*/ 53 w 1143"/>
                <a:gd name="T53" fmla="*/ 1383 h 1394"/>
                <a:gd name="T54" fmla="*/ 31 w 1143"/>
                <a:gd name="T55" fmla="*/ 1371 h 1394"/>
                <a:gd name="T56" fmla="*/ 15 w 1143"/>
                <a:gd name="T57" fmla="*/ 1356 h 1394"/>
                <a:gd name="T58" fmla="*/ 4 w 1143"/>
                <a:gd name="T59" fmla="*/ 1339 h 1394"/>
                <a:gd name="T60" fmla="*/ 0 w 1143"/>
                <a:gd name="T61" fmla="*/ 1317 h 1394"/>
                <a:gd name="T62" fmla="*/ 2 w 1143"/>
                <a:gd name="T63" fmla="*/ 1293 h 1394"/>
                <a:gd name="T64" fmla="*/ 11 w 1143"/>
                <a:gd name="T65" fmla="*/ 1267 h 1394"/>
                <a:gd name="T66" fmla="*/ 18 w 1143"/>
                <a:gd name="T67" fmla="*/ 1253 h 1394"/>
                <a:gd name="T68" fmla="*/ 357 w 1143"/>
                <a:gd name="T69" fmla="*/ 595 h 1394"/>
                <a:gd name="T70" fmla="*/ 375 w 1143"/>
                <a:gd name="T71" fmla="*/ 571 h 1394"/>
                <a:gd name="T72" fmla="*/ 395 w 1143"/>
                <a:gd name="T73" fmla="*/ 556 h 1394"/>
                <a:gd name="T74" fmla="*/ 420 w 1143"/>
                <a:gd name="T75" fmla="*/ 547 h 1394"/>
                <a:gd name="T76" fmla="*/ 450 w 1143"/>
                <a:gd name="T77" fmla="*/ 545 h 1394"/>
                <a:gd name="T78" fmla="*/ 470 w 1143"/>
                <a:gd name="T79" fmla="*/ 546 h 1394"/>
                <a:gd name="T80" fmla="*/ 508 w 1143"/>
                <a:gd name="T81" fmla="*/ 545 h 1394"/>
                <a:gd name="T82" fmla="*/ 544 w 1143"/>
                <a:gd name="T83" fmla="*/ 538 h 1394"/>
                <a:gd name="T84" fmla="*/ 575 w 1143"/>
                <a:gd name="T85" fmla="*/ 525 h 1394"/>
                <a:gd name="T86" fmla="*/ 604 w 1143"/>
                <a:gd name="T87" fmla="*/ 507 h 1394"/>
                <a:gd name="T88" fmla="*/ 629 w 1143"/>
                <a:gd name="T89" fmla="*/ 483 h 1394"/>
                <a:gd name="T90" fmla="*/ 653 w 1143"/>
                <a:gd name="T91" fmla="*/ 455 h 1394"/>
                <a:gd name="T92" fmla="*/ 674 w 1143"/>
                <a:gd name="T93" fmla="*/ 421 h 1394"/>
                <a:gd name="T94" fmla="*/ 683 w 1143"/>
                <a:gd name="T95" fmla="*/ 403 h 1394"/>
                <a:gd name="T96" fmla="*/ 790 w 1143"/>
                <a:gd name="T97" fmla="*/ 204 h 1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143" h="1394">
                  <a:moveTo>
                    <a:pt x="902" y="0"/>
                  </a:moveTo>
                  <a:lnTo>
                    <a:pt x="902" y="0"/>
                  </a:lnTo>
                  <a:lnTo>
                    <a:pt x="934" y="18"/>
                  </a:lnTo>
                  <a:lnTo>
                    <a:pt x="964" y="35"/>
                  </a:lnTo>
                  <a:lnTo>
                    <a:pt x="1025" y="66"/>
                  </a:lnTo>
                  <a:lnTo>
                    <a:pt x="1084" y="96"/>
                  </a:lnTo>
                  <a:lnTo>
                    <a:pt x="1143" y="127"/>
                  </a:lnTo>
                  <a:lnTo>
                    <a:pt x="1143" y="127"/>
                  </a:lnTo>
                  <a:lnTo>
                    <a:pt x="1137" y="141"/>
                  </a:lnTo>
                  <a:lnTo>
                    <a:pt x="1132" y="155"/>
                  </a:lnTo>
                  <a:lnTo>
                    <a:pt x="1122" y="177"/>
                  </a:lnTo>
                  <a:lnTo>
                    <a:pt x="1122" y="177"/>
                  </a:lnTo>
                  <a:lnTo>
                    <a:pt x="1063" y="288"/>
                  </a:lnTo>
                  <a:lnTo>
                    <a:pt x="1004" y="399"/>
                  </a:lnTo>
                  <a:lnTo>
                    <a:pt x="943" y="511"/>
                  </a:lnTo>
                  <a:lnTo>
                    <a:pt x="881" y="623"/>
                  </a:lnTo>
                  <a:lnTo>
                    <a:pt x="881" y="623"/>
                  </a:lnTo>
                  <a:lnTo>
                    <a:pt x="862" y="661"/>
                  </a:lnTo>
                  <a:lnTo>
                    <a:pt x="844" y="700"/>
                  </a:lnTo>
                  <a:lnTo>
                    <a:pt x="828" y="740"/>
                  </a:lnTo>
                  <a:lnTo>
                    <a:pt x="813" y="778"/>
                  </a:lnTo>
                  <a:lnTo>
                    <a:pt x="800" y="818"/>
                  </a:lnTo>
                  <a:lnTo>
                    <a:pt x="788" y="857"/>
                  </a:lnTo>
                  <a:lnTo>
                    <a:pt x="777" y="898"/>
                  </a:lnTo>
                  <a:lnTo>
                    <a:pt x="768" y="938"/>
                  </a:lnTo>
                  <a:lnTo>
                    <a:pt x="760" y="978"/>
                  </a:lnTo>
                  <a:lnTo>
                    <a:pt x="754" y="1019"/>
                  </a:lnTo>
                  <a:lnTo>
                    <a:pt x="748" y="1061"/>
                  </a:lnTo>
                  <a:lnTo>
                    <a:pt x="743" y="1103"/>
                  </a:lnTo>
                  <a:lnTo>
                    <a:pt x="740" y="1145"/>
                  </a:lnTo>
                  <a:lnTo>
                    <a:pt x="739" y="1188"/>
                  </a:lnTo>
                  <a:lnTo>
                    <a:pt x="738" y="1231"/>
                  </a:lnTo>
                  <a:lnTo>
                    <a:pt x="739" y="1274"/>
                  </a:lnTo>
                  <a:lnTo>
                    <a:pt x="739" y="1274"/>
                  </a:lnTo>
                  <a:lnTo>
                    <a:pt x="739" y="1313"/>
                  </a:lnTo>
                  <a:lnTo>
                    <a:pt x="738" y="1329"/>
                  </a:lnTo>
                  <a:lnTo>
                    <a:pt x="737" y="1344"/>
                  </a:lnTo>
                  <a:lnTo>
                    <a:pt x="735" y="1356"/>
                  </a:lnTo>
                  <a:lnTo>
                    <a:pt x="733" y="1365"/>
                  </a:lnTo>
                  <a:lnTo>
                    <a:pt x="729" y="1373"/>
                  </a:lnTo>
                  <a:lnTo>
                    <a:pt x="724" y="1380"/>
                  </a:lnTo>
                  <a:lnTo>
                    <a:pt x="718" y="1384"/>
                  </a:lnTo>
                  <a:lnTo>
                    <a:pt x="710" y="1388"/>
                  </a:lnTo>
                  <a:lnTo>
                    <a:pt x="700" y="1391"/>
                  </a:lnTo>
                  <a:lnTo>
                    <a:pt x="689" y="1393"/>
                  </a:lnTo>
                  <a:lnTo>
                    <a:pt x="675" y="1394"/>
                  </a:lnTo>
                  <a:lnTo>
                    <a:pt x="659" y="1394"/>
                  </a:lnTo>
                  <a:lnTo>
                    <a:pt x="619" y="1394"/>
                  </a:lnTo>
                  <a:lnTo>
                    <a:pt x="138" y="1394"/>
                  </a:lnTo>
                  <a:lnTo>
                    <a:pt x="96" y="1394"/>
                  </a:lnTo>
                  <a:lnTo>
                    <a:pt x="96" y="1394"/>
                  </a:lnTo>
                  <a:lnTo>
                    <a:pt x="81" y="1391"/>
                  </a:lnTo>
                  <a:lnTo>
                    <a:pt x="67" y="1388"/>
                  </a:lnTo>
                  <a:lnTo>
                    <a:pt x="53" y="1383"/>
                  </a:lnTo>
                  <a:lnTo>
                    <a:pt x="41" y="1377"/>
                  </a:lnTo>
                  <a:lnTo>
                    <a:pt x="31" y="1371"/>
                  </a:lnTo>
                  <a:lnTo>
                    <a:pt x="22" y="1364"/>
                  </a:lnTo>
                  <a:lnTo>
                    <a:pt x="15" y="1356"/>
                  </a:lnTo>
                  <a:lnTo>
                    <a:pt x="9" y="1348"/>
                  </a:lnTo>
                  <a:lnTo>
                    <a:pt x="4" y="1339"/>
                  </a:lnTo>
                  <a:lnTo>
                    <a:pt x="1" y="1328"/>
                  </a:lnTo>
                  <a:lnTo>
                    <a:pt x="0" y="1317"/>
                  </a:lnTo>
                  <a:lnTo>
                    <a:pt x="0" y="1305"/>
                  </a:lnTo>
                  <a:lnTo>
                    <a:pt x="2" y="1293"/>
                  </a:lnTo>
                  <a:lnTo>
                    <a:pt x="6" y="1281"/>
                  </a:lnTo>
                  <a:lnTo>
                    <a:pt x="11" y="1267"/>
                  </a:lnTo>
                  <a:lnTo>
                    <a:pt x="18" y="1253"/>
                  </a:lnTo>
                  <a:lnTo>
                    <a:pt x="18" y="1253"/>
                  </a:lnTo>
                  <a:lnTo>
                    <a:pt x="357" y="595"/>
                  </a:lnTo>
                  <a:lnTo>
                    <a:pt x="357" y="595"/>
                  </a:lnTo>
                  <a:lnTo>
                    <a:pt x="366" y="582"/>
                  </a:lnTo>
                  <a:lnTo>
                    <a:pt x="375" y="571"/>
                  </a:lnTo>
                  <a:lnTo>
                    <a:pt x="384" y="563"/>
                  </a:lnTo>
                  <a:lnTo>
                    <a:pt x="395" y="556"/>
                  </a:lnTo>
                  <a:lnTo>
                    <a:pt x="408" y="551"/>
                  </a:lnTo>
                  <a:lnTo>
                    <a:pt x="420" y="547"/>
                  </a:lnTo>
                  <a:lnTo>
                    <a:pt x="434" y="545"/>
                  </a:lnTo>
                  <a:lnTo>
                    <a:pt x="450" y="545"/>
                  </a:lnTo>
                  <a:lnTo>
                    <a:pt x="450" y="545"/>
                  </a:lnTo>
                  <a:lnTo>
                    <a:pt x="470" y="546"/>
                  </a:lnTo>
                  <a:lnTo>
                    <a:pt x="490" y="547"/>
                  </a:lnTo>
                  <a:lnTo>
                    <a:pt x="508" y="545"/>
                  </a:lnTo>
                  <a:lnTo>
                    <a:pt x="527" y="542"/>
                  </a:lnTo>
                  <a:lnTo>
                    <a:pt x="544" y="538"/>
                  </a:lnTo>
                  <a:lnTo>
                    <a:pt x="560" y="532"/>
                  </a:lnTo>
                  <a:lnTo>
                    <a:pt x="575" y="525"/>
                  </a:lnTo>
                  <a:lnTo>
                    <a:pt x="590" y="516"/>
                  </a:lnTo>
                  <a:lnTo>
                    <a:pt x="604" y="507"/>
                  </a:lnTo>
                  <a:lnTo>
                    <a:pt x="617" y="495"/>
                  </a:lnTo>
                  <a:lnTo>
                    <a:pt x="629" y="483"/>
                  </a:lnTo>
                  <a:lnTo>
                    <a:pt x="642" y="469"/>
                  </a:lnTo>
                  <a:lnTo>
                    <a:pt x="653" y="455"/>
                  </a:lnTo>
                  <a:lnTo>
                    <a:pt x="664" y="438"/>
                  </a:lnTo>
                  <a:lnTo>
                    <a:pt x="674" y="421"/>
                  </a:lnTo>
                  <a:lnTo>
                    <a:pt x="683" y="403"/>
                  </a:lnTo>
                  <a:lnTo>
                    <a:pt x="683" y="403"/>
                  </a:lnTo>
                  <a:lnTo>
                    <a:pt x="736" y="304"/>
                  </a:lnTo>
                  <a:lnTo>
                    <a:pt x="790" y="204"/>
                  </a:lnTo>
                  <a:lnTo>
                    <a:pt x="90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9" name="Freeform 11"/>
            <p:cNvSpPr>
              <a:spLocks/>
            </p:cNvSpPr>
            <p:nvPr/>
          </p:nvSpPr>
          <p:spPr bwMode="auto">
            <a:xfrm>
              <a:off x="6537325" y="1960563"/>
              <a:ext cx="225425" cy="276225"/>
            </a:xfrm>
            <a:custGeom>
              <a:avLst/>
              <a:gdLst>
                <a:gd name="T0" fmla="*/ 902 w 1143"/>
                <a:gd name="T1" fmla="*/ 0 h 1394"/>
                <a:gd name="T2" fmla="*/ 964 w 1143"/>
                <a:gd name="T3" fmla="*/ 35 h 1394"/>
                <a:gd name="T4" fmla="*/ 1084 w 1143"/>
                <a:gd name="T5" fmla="*/ 96 h 1394"/>
                <a:gd name="T6" fmla="*/ 1143 w 1143"/>
                <a:gd name="T7" fmla="*/ 127 h 1394"/>
                <a:gd name="T8" fmla="*/ 1132 w 1143"/>
                <a:gd name="T9" fmla="*/ 155 h 1394"/>
                <a:gd name="T10" fmla="*/ 1122 w 1143"/>
                <a:gd name="T11" fmla="*/ 177 h 1394"/>
                <a:gd name="T12" fmla="*/ 1004 w 1143"/>
                <a:gd name="T13" fmla="*/ 399 h 1394"/>
                <a:gd name="T14" fmla="*/ 881 w 1143"/>
                <a:gd name="T15" fmla="*/ 623 h 1394"/>
                <a:gd name="T16" fmla="*/ 862 w 1143"/>
                <a:gd name="T17" fmla="*/ 661 h 1394"/>
                <a:gd name="T18" fmla="*/ 828 w 1143"/>
                <a:gd name="T19" fmla="*/ 740 h 1394"/>
                <a:gd name="T20" fmla="*/ 800 w 1143"/>
                <a:gd name="T21" fmla="*/ 818 h 1394"/>
                <a:gd name="T22" fmla="*/ 777 w 1143"/>
                <a:gd name="T23" fmla="*/ 898 h 1394"/>
                <a:gd name="T24" fmla="*/ 760 w 1143"/>
                <a:gd name="T25" fmla="*/ 978 h 1394"/>
                <a:gd name="T26" fmla="*/ 748 w 1143"/>
                <a:gd name="T27" fmla="*/ 1061 h 1394"/>
                <a:gd name="T28" fmla="*/ 740 w 1143"/>
                <a:gd name="T29" fmla="*/ 1145 h 1394"/>
                <a:gd name="T30" fmla="*/ 738 w 1143"/>
                <a:gd name="T31" fmla="*/ 1231 h 1394"/>
                <a:gd name="T32" fmla="*/ 739 w 1143"/>
                <a:gd name="T33" fmla="*/ 1274 h 1394"/>
                <a:gd name="T34" fmla="*/ 738 w 1143"/>
                <a:gd name="T35" fmla="*/ 1329 h 1394"/>
                <a:gd name="T36" fmla="*/ 735 w 1143"/>
                <a:gd name="T37" fmla="*/ 1356 h 1394"/>
                <a:gd name="T38" fmla="*/ 729 w 1143"/>
                <a:gd name="T39" fmla="*/ 1373 h 1394"/>
                <a:gd name="T40" fmla="*/ 718 w 1143"/>
                <a:gd name="T41" fmla="*/ 1384 h 1394"/>
                <a:gd name="T42" fmla="*/ 700 w 1143"/>
                <a:gd name="T43" fmla="*/ 1391 h 1394"/>
                <a:gd name="T44" fmla="*/ 675 w 1143"/>
                <a:gd name="T45" fmla="*/ 1394 h 1394"/>
                <a:gd name="T46" fmla="*/ 619 w 1143"/>
                <a:gd name="T47" fmla="*/ 1394 h 1394"/>
                <a:gd name="T48" fmla="*/ 96 w 1143"/>
                <a:gd name="T49" fmla="*/ 1394 h 1394"/>
                <a:gd name="T50" fmla="*/ 81 w 1143"/>
                <a:gd name="T51" fmla="*/ 1391 h 1394"/>
                <a:gd name="T52" fmla="*/ 53 w 1143"/>
                <a:gd name="T53" fmla="*/ 1383 h 1394"/>
                <a:gd name="T54" fmla="*/ 31 w 1143"/>
                <a:gd name="T55" fmla="*/ 1371 h 1394"/>
                <a:gd name="T56" fmla="*/ 15 w 1143"/>
                <a:gd name="T57" fmla="*/ 1356 h 1394"/>
                <a:gd name="T58" fmla="*/ 4 w 1143"/>
                <a:gd name="T59" fmla="*/ 1339 h 1394"/>
                <a:gd name="T60" fmla="*/ 0 w 1143"/>
                <a:gd name="T61" fmla="*/ 1317 h 1394"/>
                <a:gd name="T62" fmla="*/ 2 w 1143"/>
                <a:gd name="T63" fmla="*/ 1293 h 1394"/>
                <a:gd name="T64" fmla="*/ 11 w 1143"/>
                <a:gd name="T65" fmla="*/ 1267 h 1394"/>
                <a:gd name="T66" fmla="*/ 18 w 1143"/>
                <a:gd name="T67" fmla="*/ 1253 h 1394"/>
                <a:gd name="T68" fmla="*/ 357 w 1143"/>
                <a:gd name="T69" fmla="*/ 595 h 1394"/>
                <a:gd name="T70" fmla="*/ 375 w 1143"/>
                <a:gd name="T71" fmla="*/ 571 h 1394"/>
                <a:gd name="T72" fmla="*/ 395 w 1143"/>
                <a:gd name="T73" fmla="*/ 556 h 1394"/>
                <a:gd name="T74" fmla="*/ 420 w 1143"/>
                <a:gd name="T75" fmla="*/ 547 h 1394"/>
                <a:gd name="T76" fmla="*/ 450 w 1143"/>
                <a:gd name="T77" fmla="*/ 545 h 1394"/>
                <a:gd name="T78" fmla="*/ 470 w 1143"/>
                <a:gd name="T79" fmla="*/ 546 h 1394"/>
                <a:gd name="T80" fmla="*/ 508 w 1143"/>
                <a:gd name="T81" fmla="*/ 545 h 1394"/>
                <a:gd name="T82" fmla="*/ 544 w 1143"/>
                <a:gd name="T83" fmla="*/ 538 h 1394"/>
                <a:gd name="T84" fmla="*/ 575 w 1143"/>
                <a:gd name="T85" fmla="*/ 525 h 1394"/>
                <a:gd name="T86" fmla="*/ 604 w 1143"/>
                <a:gd name="T87" fmla="*/ 507 h 1394"/>
                <a:gd name="T88" fmla="*/ 629 w 1143"/>
                <a:gd name="T89" fmla="*/ 483 h 1394"/>
                <a:gd name="T90" fmla="*/ 653 w 1143"/>
                <a:gd name="T91" fmla="*/ 455 h 1394"/>
                <a:gd name="T92" fmla="*/ 674 w 1143"/>
                <a:gd name="T93" fmla="*/ 421 h 1394"/>
                <a:gd name="T94" fmla="*/ 683 w 1143"/>
                <a:gd name="T95" fmla="*/ 403 h 1394"/>
                <a:gd name="T96" fmla="*/ 790 w 1143"/>
                <a:gd name="T97" fmla="*/ 204 h 1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143" h="1394">
                  <a:moveTo>
                    <a:pt x="902" y="0"/>
                  </a:moveTo>
                  <a:lnTo>
                    <a:pt x="902" y="0"/>
                  </a:lnTo>
                  <a:lnTo>
                    <a:pt x="934" y="18"/>
                  </a:lnTo>
                  <a:lnTo>
                    <a:pt x="964" y="35"/>
                  </a:lnTo>
                  <a:lnTo>
                    <a:pt x="1025" y="66"/>
                  </a:lnTo>
                  <a:lnTo>
                    <a:pt x="1084" y="96"/>
                  </a:lnTo>
                  <a:lnTo>
                    <a:pt x="1143" y="127"/>
                  </a:lnTo>
                  <a:lnTo>
                    <a:pt x="1143" y="127"/>
                  </a:lnTo>
                  <a:lnTo>
                    <a:pt x="1137" y="141"/>
                  </a:lnTo>
                  <a:lnTo>
                    <a:pt x="1132" y="155"/>
                  </a:lnTo>
                  <a:lnTo>
                    <a:pt x="1122" y="177"/>
                  </a:lnTo>
                  <a:lnTo>
                    <a:pt x="1122" y="177"/>
                  </a:lnTo>
                  <a:lnTo>
                    <a:pt x="1063" y="288"/>
                  </a:lnTo>
                  <a:lnTo>
                    <a:pt x="1004" y="399"/>
                  </a:lnTo>
                  <a:lnTo>
                    <a:pt x="943" y="511"/>
                  </a:lnTo>
                  <a:lnTo>
                    <a:pt x="881" y="623"/>
                  </a:lnTo>
                  <a:lnTo>
                    <a:pt x="881" y="623"/>
                  </a:lnTo>
                  <a:lnTo>
                    <a:pt x="862" y="661"/>
                  </a:lnTo>
                  <a:lnTo>
                    <a:pt x="844" y="700"/>
                  </a:lnTo>
                  <a:lnTo>
                    <a:pt x="828" y="740"/>
                  </a:lnTo>
                  <a:lnTo>
                    <a:pt x="813" y="778"/>
                  </a:lnTo>
                  <a:lnTo>
                    <a:pt x="800" y="818"/>
                  </a:lnTo>
                  <a:lnTo>
                    <a:pt x="788" y="857"/>
                  </a:lnTo>
                  <a:lnTo>
                    <a:pt x="777" y="898"/>
                  </a:lnTo>
                  <a:lnTo>
                    <a:pt x="768" y="938"/>
                  </a:lnTo>
                  <a:lnTo>
                    <a:pt x="760" y="978"/>
                  </a:lnTo>
                  <a:lnTo>
                    <a:pt x="754" y="1019"/>
                  </a:lnTo>
                  <a:lnTo>
                    <a:pt x="748" y="1061"/>
                  </a:lnTo>
                  <a:lnTo>
                    <a:pt x="743" y="1103"/>
                  </a:lnTo>
                  <a:lnTo>
                    <a:pt x="740" y="1145"/>
                  </a:lnTo>
                  <a:lnTo>
                    <a:pt x="739" y="1188"/>
                  </a:lnTo>
                  <a:lnTo>
                    <a:pt x="738" y="1231"/>
                  </a:lnTo>
                  <a:lnTo>
                    <a:pt x="739" y="1274"/>
                  </a:lnTo>
                  <a:lnTo>
                    <a:pt x="739" y="1274"/>
                  </a:lnTo>
                  <a:lnTo>
                    <a:pt x="739" y="1313"/>
                  </a:lnTo>
                  <a:lnTo>
                    <a:pt x="738" y="1329"/>
                  </a:lnTo>
                  <a:lnTo>
                    <a:pt x="737" y="1344"/>
                  </a:lnTo>
                  <a:lnTo>
                    <a:pt x="735" y="1356"/>
                  </a:lnTo>
                  <a:lnTo>
                    <a:pt x="733" y="1365"/>
                  </a:lnTo>
                  <a:lnTo>
                    <a:pt x="729" y="1373"/>
                  </a:lnTo>
                  <a:lnTo>
                    <a:pt x="724" y="1380"/>
                  </a:lnTo>
                  <a:lnTo>
                    <a:pt x="718" y="1384"/>
                  </a:lnTo>
                  <a:lnTo>
                    <a:pt x="710" y="1388"/>
                  </a:lnTo>
                  <a:lnTo>
                    <a:pt x="700" y="1391"/>
                  </a:lnTo>
                  <a:lnTo>
                    <a:pt x="689" y="1393"/>
                  </a:lnTo>
                  <a:lnTo>
                    <a:pt x="675" y="1394"/>
                  </a:lnTo>
                  <a:lnTo>
                    <a:pt x="659" y="1394"/>
                  </a:lnTo>
                  <a:lnTo>
                    <a:pt x="619" y="1394"/>
                  </a:lnTo>
                  <a:lnTo>
                    <a:pt x="138" y="1394"/>
                  </a:lnTo>
                  <a:lnTo>
                    <a:pt x="96" y="1394"/>
                  </a:lnTo>
                  <a:lnTo>
                    <a:pt x="96" y="1394"/>
                  </a:lnTo>
                  <a:lnTo>
                    <a:pt x="81" y="1391"/>
                  </a:lnTo>
                  <a:lnTo>
                    <a:pt x="67" y="1388"/>
                  </a:lnTo>
                  <a:lnTo>
                    <a:pt x="53" y="1383"/>
                  </a:lnTo>
                  <a:lnTo>
                    <a:pt x="41" y="1377"/>
                  </a:lnTo>
                  <a:lnTo>
                    <a:pt x="31" y="1371"/>
                  </a:lnTo>
                  <a:lnTo>
                    <a:pt x="22" y="1364"/>
                  </a:lnTo>
                  <a:lnTo>
                    <a:pt x="15" y="1356"/>
                  </a:lnTo>
                  <a:lnTo>
                    <a:pt x="9" y="1348"/>
                  </a:lnTo>
                  <a:lnTo>
                    <a:pt x="4" y="1339"/>
                  </a:lnTo>
                  <a:lnTo>
                    <a:pt x="1" y="1328"/>
                  </a:lnTo>
                  <a:lnTo>
                    <a:pt x="0" y="1317"/>
                  </a:lnTo>
                  <a:lnTo>
                    <a:pt x="0" y="1305"/>
                  </a:lnTo>
                  <a:lnTo>
                    <a:pt x="2" y="1293"/>
                  </a:lnTo>
                  <a:lnTo>
                    <a:pt x="6" y="1281"/>
                  </a:lnTo>
                  <a:lnTo>
                    <a:pt x="11" y="1267"/>
                  </a:lnTo>
                  <a:lnTo>
                    <a:pt x="18" y="1253"/>
                  </a:lnTo>
                  <a:lnTo>
                    <a:pt x="18" y="1253"/>
                  </a:lnTo>
                  <a:lnTo>
                    <a:pt x="357" y="595"/>
                  </a:lnTo>
                  <a:lnTo>
                    <a:pt x="357" y="595"/>
                  </a:lnTo>
                  <a:lnTo>
                    <a:pt x="366" y="582"/>
                  </a:lnTo>
                  <a:lnTo>
                    <a:pt x="375" y="571"/>
                  </a:lnTo>
                  <a:lnTo>
                    <a:pt x="384" y="563"/>
                  </a:lnTo>
                  <a:lnTo>
                    <a:pt x="395" y="556"/>
                  </a:lnTo>
                  <a:lnTo>
                    <a:pt x="408" y="551"/>
                  </a:lnTo>
                  <a:lnTo>
                    <a:pt x="420" y="547"/>
                  </a:lnTo>
                  <a:lnTo>
                    <a:pt x="434" y="545"/>
                  </a:lnTo>
                  <a:lnTo>
                    <a:pt x="450" y="545"/>
                  </a:lnTo>
                  <a:lnTo>
                    <a:pt x="450" y="545"/>
                  </a:lnTo>
                  <a:lnTo>
                    <a:pt x="470" y="546"/>
                  </a:lnTo>
                  <a:lnTo>
                    <a:pt x="490" y="547"/>
                  </a:lnTo>
                  <a:lnTo>
                    <a:pt x="508" y="545"/>
                  </a:lnTo>
                  <a:lnTo>
                    <a:pt x="527" y="542"/>
                  </a:lnTo>
                  <a:lnTo>
                    <a:pt x="544" y="538"/>
                  </a:lnTo>
                  <a:lnTo>
                    <a:pt x="560" y="532"/>
                  </a:lnTo>
                  <a:lnTo>
                    <a:pt x="575" y="525"/>
                  </a:lnTo>
                  <a:lnTo>
                    <a:pt x="590" y="516"/>
                  </a:lnTo>
                  <a:lnTo>
                    <a:pt x="604" y="507"/>
                  </a:lnTo>
                  <a:lnTo>
                    <a:pt x="617" y="495"/>
                  </a:lnTo>
                  <a:lnTo>
                    <a:pt x="629" y="483"/>
                  </a:lnTo>
                  <a:lnTo>
                    <a:pt x="642" y="469"/>
                  </a:lnTo>
                  <a:lnTo>
                    <a:pt x="653" y="455"/>
                  </a:lnTo>
                  <a:lnTo>
                    <a:pt x="664" y="438"/>
                  </a:lnTo>
                  <a:lnTo>
                    <a:pt x="674" y="421"/>
                  </a:lnTo>
                  <a:lnTo>
                    <a:pt x="683" y="403"/>
                  </a:lnTo>
                  <a:lnTo>
                    <a:pt x="683" y="403"/>
                  </a:lnTo>
                  <a:lnTo>
                    <a:pt x="736" y="304"/>
                  </a:lnTo>
                  <a:lnTo>
                    <a:pt x="790" y="204"/>
                  </a:lnTo>
                  <a:lnTo>
                    <a:pt x="902"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0" name="Freeform 12"/>
            <p:cNvSpPr>
              <a:spLocks/>
            </p:cNvSpPr>
            <p:nvPr/>
          </p:nvSpPr>
          <p:spPr bwMode="auto">
            <a:xfrm>
              <a:off x="6276975" y="1809750"/>
              <a:ext cx="230188" cy="274638"/>
            </a:xfrm>
            <a:custGeom>
              <a:avLst/>
              <a:gdLst>
                <a:gd name="T0" fmla="*/ 1094 w 1160"/>
                <a:gd name="T1" fmla="*/ 1376 h 1387"/>
                <a:gd name="T2" fmla="*/ 1068 w 1160"/>
                <a:gd name="T3" fmla="*/ 1337 h 1387"/>
                <a:gd name="T4" fmla="*/ 1017 w 1160"/>
                <a:gd name="T5" fmla="*/ 1282 h 1387"/>
                <a:gd name="T6" fmla="*/ 957 w 1160"/>
                <a:gd name="T7" fmla="*/ 1246 h 1387"/>
                <a:gd name="T8" fmla="*/ 890 w 1160"/>
                <a:gd name="T9" fmla="*/ 1229 h 1387"/>
                <a:gd name="T10" fmla="*/ 820 w 1160"/>
                <a:gd name="T11" fmla="*/ 1232 h 1387"/>
                <a:gd name="T12" fmla="*/ 749 w 1160"/>
                <a:gd name="T13" fmla="*/ 1254 h 1387"/>
                <a:gd name="T14" fmla="*/ 705 w 1160"/>
                <a:gd name="T15" fmla="*/ 1278 h 1387"/>
                <a:gd name="T16" fmla="*/ 646 w 1160"/>
                <a:gd name="T17" fmla="*/ 1310 h 1387"/>
                <a:gd name="T18" fmla="*/ 624 w 1160"/>
                <a:gd name="T19" fmla="*/ 1321 h 1387"/>
                <a:gd name="T20" fmla="*/ 601 w 1160"/>
                <a:gd name="T21" fmla="*/ 1333 h 1387"/>
                <a:gd name="T22" fmla="*/ 582 w 1160"/>
                <a:gd name="T23" fmla="*/ 1334 h 1387"/>
                <a:gd name="T24" fmla="*/ 567 w 1160"/>
                <a:gd name="T25" fmla="*/ 1325 h 1387"/>
                <a:gd name="T26" fmla="*/ 553 w 1160"/>
                <a:gd name="T27" fmla="*/ 1307 h 1387"/>
                <a:gd name="T28" fmla="*/ 541 w 1160"/>
                <a:gd name="T29" fmla="*/ 1280 h 1387"/>
                <a:gd name="T30" fmla="*/ 531 w 1160"/>
                <a:gd name="T31" fmla="*/ 1233 h 1387"/>
                <a:gd name="T32" fmla="*/ 518 w 1160"/>
                <a:gd name="T33" fmla="*/ 1195 h 1387"/>
                <a:gd name="T34" fmla="*/ 480 w 1160"/>
                <a:gd name="T35" fmla="*/ 1139 h 1387"/>
                <a:gd name="T36" fmla="*/ 426 w 1160"/>
                <a:gd name="T37" fmla="*/ 1094 h 1387"/>
                <a:gd name="T38" fmla="*/ 397 w 1160"/>
                <a:gd name="T39" fmla="*/ 1076 h 1387"/>
                <a:gd name="T40" fmla="*/ 372 w 1160"/>
                <a:gd name="T41" fmla="*/ 1052 h 1387"/>
                <a:gd name="T42" fmla="*/ 353 w 1160"/>
                <a:gd name="T43" fmla="*/ 1022 h 1387"/>
                <a:gd name="T44" fmla="*/ 188 w 1160"/>
                <a:gd name="T45" fmla="*/ 606 h 1387"/>
                <a:gd name="T46" fmla="*/ 29 w 1160"/>
                <a:gd name="T47" fmla="*/ 197 h 1387"/>
                <a:gd name="T48" fmla="*/ 14 w 1160"/>
                <a:gd name="T49" fmla="*/ 160 h 1387"/>
                <a:gd name="T50" fmla="*/ 3 w 1160"/>
                <a:gd name="T51" fmla="*/ 118 h 1387"/>
                <a:gd name="T52" fmla="*/ 0 w 1160"/>
                <a:gd name="T53" fmla="*/ 91 h 1387"/>
                <a:gd name="T54" fmla="*/ 3 w 1160"/>
                <a:gd name="T55" fmla="*/ 69 h 1387"/>
                <a:gd name="T56" fmla="*/ 12 w 1160"/>
                <a:gd name="T57" fmla="*/ 49 h 1387"/>
                <a:gd name="T58" fmla="*/ 26 w 1160"/>
                <a:gd name="T59" fmla="*/ 33 h 1387"/>
                <a:gd name="T60" fmla="*/ 61 w 1160"/>
                <a:gd name="T61" fmla="*/ 11 h 1387"/>
                <a:gd name="T62" fmla="*/ 96 w 1160"/>
                <a:gd name="T63" fmla="*/ 2 h 1387"/>
                <a:gd name="T64" fmla="*/ 122 w 1160"/>
                <a:gd name="T65" fmla="*/ 0 h 1387"/>
                <a:gd name="T66" fmla="*/ 144 w 1160"/>
                <a:gd name="T67" fmla="*/ 5 h 1387"/>
                <a:gd name="T68" fmla="*/ 186 w 1160"/>
                <a:gd name="T69" fmla="*/ 29 h 1387"/>
                <a:gd name="T70" fmla="*/ 204 w 1160"/>
                <a:gd name="T71" fmla="*/ 48 h 1387"/>
                <a:gd name="T72" fmla="*/ 220 w 1160"/>
                <a:gd name="T73" fmla="*/ 70 h 1387"/>
                <a:gd name="T74" fmla="*/ 276 w 1160"/>
                <a:gd name="T75" fmla="*/ 186 h 1387"/>
                <a:gd name="T76" fmla="*/ 421 w 1160"/>
                <a:gd name="T77" fmla="*/ 472 h 1387"/>
                <a:gd name="T78" fmla="*/ 457 w 1160"/>
                <a:gd name="T79" fmla="*/ 545 h 1387"/>
                <a:gd name="T80" fmla="*/ 486 w 1160"/>
                <a:gd name="T81" fmla="*/ 588 h 1387"/>
                <a:gd name="T82" fmla="*/ 523 w 1160"/>
                <a:gd name="T83" fmla="*/ 625 h 1387"/>
                <a:gd name="T84" fmla="*/ 566 w 1160"/>
                <a:gd name="T85" fmla="*/ 654 h 1387"/>
                <a:gd name="T86" fmla="*/ 613 w 1160"/>
                <a:gd name="T87" fmla="*/ 676 h 1387"/>
                <a:gd name="T88" fmla="*/ 662 w 1160"/>
                <a:gd name="T89" fmla="*/ 690 h 1387"/>
                <a:gd name="T90" fmla="*/ 714 w 1160"/>
                <a:gd name="T91" fmla="*/ 696 h 1387"/>
                <a:gd name="T92" fmla="*/ 763 w 1160"/>
                <a:gd name="T93" fmla="*/ 694 h 1387"/>
                <a:gd name="T94" fmla="*/ 812 w 1160"/>
                <a:gd name="T95" fmla="*/ 684 h 1387"/>
                <a:gd name="T96" fmla="*/ 855 w 1160"/>
                <a:gd name="T97" fmla="*/ 664 h 1387"/>
                <a:gd name="T98" fmla="*/ 892 w 1160"/>
                <a:gd name="T99" fmla="*/ 634 h 1387"/>
                <a:gd name="T100" fmla="*/ 912 w 1160"/>
                <a:gd name="T101" fmla="*/ 615 h 1387"/>
                <a:gd name="T102" fmla="*/ 934 w 1160"/>
                <a:gd name="T103" fmla="*/ 599 h 1387"/>
                <a:gd name="T104" fmla="*/ 952 w 1160"/>
                <a:gd name="T105" fmla="*/ 594 h 1387"/>
                <a:gd name="T106" fmla="*/ 967 w 1160"/>
                <a:gd name="T107" fmla="*/ 600 h 1387"/>
                <a:gd name="T108" fmla="*/ 980 w 1160"/>
                <a:gd name="T109" fmla="*/ 617 h 1387"/>
                <a:gd name="T110" fmla="*/ 989 w 1160"/>
                <a:gd name="T111" fmla="*/ 643 h 1387"/>
                <a:gd name="T112" fmla="*/ 1074 w 1160"/>
                <a:gd name="T113" fmla="*/ 961 h 1387"/>
                <a:gd name="T114" fmla="*/ 1153 w 1160"/>
                <a:gd name="T115" fmla="*/ 1273 h 1387"/>
                <a:gd name="T116" fmla="*/ 1160 w 1160"/>
                <a:gd name="T117" fmla="*/ 1304 h 1387"/>
                <a:gd name="T118" fmla="*/ 1157 w 1160"/>
                <a:gd name="T119" fmla="*/ 1325 h 1387"/>
                <a:gd name="T120" fmla="*/ 1148 w 1160"/>
                <a:gd name="T121" fmla="*/ 1346 h 1387"/>
                <a:gd name="T122" fmla="*/ 1130 w 1160"/>
                <a:gd name="T123" fmla="*/ 1367 h 1387"/>
                <a:gd name="T124" fmla="*/ 1103 w 1160"/>
                <a:gd name="T125" fmla="*/ 1387 h 1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160" h="1387">
                  <a:moveTo>
                    <a:pt x="1103" y="1387"/>
                  </a:moveTo>
                  <a:lnTo>
                    <a:pt x="1103" y="1387"/>
                  </a:lnTo>
                  <a:lnTo>
                    <a:pt x="1094" y="1376"/>
                  </a:lnTo>
                  <a:lnTo>
                    <a:pt x="1085" y="1365"/>
                  </a:lnTo>
                  <a:lnTo>
                    <a:pt x="1068" y="1337"/>
                  </a:lnTo>
                  <a:lnTo>
                    <a:pt x="1068" y="1337"/>
                  </a:lnTo>
                  <a:lnTo>
                    <a:pt x="1052" y="1316"/>
                  </a:lnTo>
                  <a:lnTo>
                    <a:pt x="1036" y="1298"/>
                  </a:lnTo>
                  <a:lnTo>
                    <a:pt x="1017" y="1282"/>
                  </a:lnTo>
                  <a:lnTo>
                    <a:pt x="998" y="1268"/>
                  </a:lnTo>
                  <a:lnTo>
                    <a:pt x="978" y="1256"/>
                  </a:lnTo>
                  <a:lnTo>
                    <a:pt x="957" y="1246"/>
                  </a:lnTo>
                  <a:lnTo>
                    <a:pt x="936" y="1239"/>
                  </a:lnTo>
                  <a:lnTo>
                    <a:pt x="913" y="1233"/>
                  </a:lnTo>
                  <a:lnTo>
                    <a:pt x="890" y="1229"/>
                  </a:lnTo>
                  <a:lnTo>
                    <a:pt x="867" y="1228"/>
                  </a:lnTo>
                  <a:lnTo>
                    <a:pt x="843" y="1229"/>
                  </a:lnTo>
                  <a:lnTo>
                    <a:pt x="820" y="1232"/>
                  </a:lnTo>
                  <a:lnTo>
                    <a:pt x="796" y="1237"/>
                  </a:lnTo>
                  <a:lnTo>
                    <a:pt x="772" y="1244"/>
                  </a:lnTo>
                  <a:lnTo>
                    <a:pt x="749" y="1254"/>
                  </a:lnTo>
                  <a:lnTo>
                    <a:pt x="726" y="1266"/>
                  </a:lnTo>
                  <a:lnTo>
                    <a:pt x="726" y="1266"/>
                  </a:lnTo>
                  <a:lnTo>
                    <a:pt x="705" y="1278"/>
                  </a:lnTo>
                  <a:lnTo>
                    <a:pt x="683" y="1291"/>
                  </a:lnTo>
                  <a:lnTo>
                    <a:pt x="659" y="1304"/>
                  </a:lnTo>
                  <a:lnTo>
                    <a:pt x="646" y="1310"/>
                  </a:lnTo>
                  <a:lnTo>
                    <a:pt x="633" y="1315"/>
                  </a:lnTo>
                  <a:lnTo>
                    <a:pt x="633" y="1315"/>
                  </a:lnTo>
                  <a:lnTo>
                    <a:pt x="624" y="1321"/>
                  </a:lnTo>
                  <a:lnTo>
                    <a:pt x="616" y="1326"/>
                  </a:lnTo>
                  <a:lnTo>
                    <a:pt x="608" y="1330"/>
                  </a:lnTo>
                  <a:lnTo>
                    <a:pt x="601" y="1333"/>
                  </a:lnTo>
                  <a:lnTo>
                    <a:pt x="595" y="1334"/>
                  </a:lnTo>
                  <a:lnTo>
                    <a:pt x="588" y="1335"/>
                  </a:lnTo>
                  <a:lnTo>
                    <a:pt x="582" y="1334"/>
                  </a:lnTo>
                  <a:lnTo>
                    <a:pt x="577" y="1332"/>
                  </a:lnTo>
                  <a:lnTo>
                    <a:pt x="572" y="1329"/>
                  </a:lnTo>
                  <a:lnTo>
                    <a:pt x="567" y="1325"/>
                  </a:lnTo>
                  <a:lnTo>
                    <a:pt x="561" y="1320"/>
                  </a:lnTo>
                  <a:lnTo>
                    <a:pt x="557" y="1314"/>
                  </a:lnTo>
                  <a:lnTo>
                    <a:pt x="553" y="1307"/>
                  </a:lnTo>
                  <a:lnTo>
                    <a:pt x="549" y="1299"/>
                  </a:lnTo>
                  <a:lnTo>
                    <a:pt x="541" y="1280"/>
                  </a:lnTo>
                  <a:lnTo>
                    <a:pt x="541" y="1280"/>
                  </a:lnTo>
                  <a:lnTo>
                    <a:pt x="536" y="1264"/>
                  </a:lnTo>
                  <a:lnTo>
                    <a:pt x="534" y="1249"/>
                  </a:lnTo>
                  <a:lnTo>
                    <a:pt x="531" y="1233"/>
                  </a:lnTo>
                  <a:lnTo>
                    <a:pt x="527" y="1217"/>
                  </a:lnTo>
                  <a:lnTo>
                    <a:pt x="527" y="1217"/>
                  </a:lnTo>
                  <a:lnTo>
                    <a:pt x="518" y="1195"/>
                  </a:lnTo>
                  <a:lnTo>
                    <a:pt x="507" y="1175"/>
                  </a:lnTo>
                  <a:lnTo>
                    <a:pt x="494" y="1156"/>
                  </a:lnTo>
                  <a:lnTo>
                    <a:pt x="480" y="1139"/>
                  </a:lnTo>
                  <a:lnTo>
                    <a:pt x="464" y="1122"/>
                  </a:lnTo>
                  <a:lnTo>
                    <a:pt x="445" y="1107"/>
                  </a:lnTo>
                  <a:lnTo>
                    <a:pt x="426" y="1094"/>
                  </a:lnTo>
                  <a:lnTo>
                    <a:pt x="406" y="1082"/>
                  </a:lnTo>
                  <a:lnTo>
                    <a:pt x="406" y="1082"/>
                  </a:lnTo>
                  <a:lnTo>
                    <a:pt x="397" y="1076"/>
                  </a:lnTo>
                  <a:lnTo>
                    <a:pt x="389" y="1069"/>
                  </a:lnTo>
                  <a:lnTo>
                    <a:pt x="380" y="1061"/>
                  </a:lnTo>
                  <a:lnTo>
                    <a:pt x="372" y="1052"/>
                  </a:lnTo>
                  <a:lnTo>
                    <a:pt x="365" y="1042"/>
                  </a:lnTo>
                  <a:lnTo>
                    <a:pt x="358" y="1032"/>
                  </a:lnTo>
                  <a:lnTo>
                    <a:pt x="353" y="1022"/>
                  </a:lnTo>
                  <a:lnTo>
                    <a:pt x="349" y="1011"/>
                  </a:lnTo>
                  <a:lnTo>
                    <a:pt x="349" y="1011"/>
                  </a:lnTo>
                  <a:lnTo>
                    <a:pt x="188" y="606"/>
                  </a:lnTo>
                  <a:lnTo>
                    <a:pt x="109" y="403"/>
                  </a:lnTo>
                  <a:lnTo>
                    <a:pt x="29" y="197"/>
                  </a:lnTo>
                  <a:lnTo>
                    <a:pt x="29" y="197"/>
                  </a:lnTo>
                  <a:lnTo>
                    <a:pt x="23" y="186"/>
                  </a:lnTo>
                  <a:lnTo>
                    <a:pt x="18" y="174"/>
                  </a:lnTo>
                  <a:lnTo>
                    <a:pt x="14" y="160"/>
                  </a:lnTo>
                  <a:lnTo>
                    <a:pt x="9" y="146"/>
                  </a:lnTo>
                  <a:lnTo>
                    <a:pt x="6" y="132"/>
                  </a:lnTo>
                  <a:lnTo>
                    <a:pt x="3" y="118"/>
                  </a:lnTo>
                  <a:lnTo>
                    <a:pt x="1" y="104"/>
                  </a:lnTo>
                  <a:lnTo>
                    <a:pt x="0" y="91"/>
                  </a:lnTo>
                  <a:lnTo>
                    <a:pt x="0" y="91"/>
                  </a:lnTo>
                  <a:lnTo>
                    <a:pt x="1" y="83"/>
                  </a:lnTo>
                  <a:lnTo>
                    <a:pt x="2" y="76"/>
                  </a:lnTo>
                  <a:lnTo>
                    <a:pt x="3" y="69"/>
                  </a:lnTo>
                  <a:lnTo>
                    <a:pt x="6" y="62"/>
                  </a:lnTo>
                  <a:lnTo>
                    <a:pt x="9" y="55"/>
                  </a:lnTo>
                  <a:lnTo>
                    <a:pt x="12" y="49"/>
                  </a:lnTo>
                  <a:lnTo>
                    <a:pt x="16" y="44"/>
                  </a:lnTo>
                  <a:lnTo>
                    <a:pt x="21" y="38"/>
                  </a:lnTo>
                  <a:lnTo>
                    <a:pt x="26" y="33"/>
                  </a:lnTo>
                  <a:lnTo>
                    <a:pt x="32" y="28"/>
                  </a:lnTo>
                  <a:lnTo>
                    <a:pt x="45" y="20"/>
                  </a:lnTo>
                  <a:lnTo>
                    <a:pt x="61" y="11"/>
                  </a:lnTo>
                  <a:lnTo>
                    <a:pt x="78" y="5"/>
                  </a:lnTo>
                  <a:lnTo>
                    <a:pt x="78" y="5"/>
                  </a:lnTo>
                  <a:lnTo>
                    <a:pt x="96" y="2"/>
                  </a:lnTo>
                  <a:lnTo>
                    <a:pt x="104" y="1"/>
                  </a:lnTo>
                  <a:lnTo>
                    <a:pt x="114" y="0"/>
                  </a:lnTo>
                  <a:lnTo>
                    <a:pt x="122" y="0"/>
                  </a:lnTo>
                  <a:lnTo>
                    <a:pt x="129" y="1"/>
                  </a:lnTo>
                  <a:lnTo>
                    <a:pt x="137" y="3"/>
                  </a:lnTo>
                  <a:lnTo>
                    <a:pt x="144" y="5"/>
                  </a:lnTo>
                  <a:lnTo>
                    <a:pt x="159" y="10"/>
                  </a:lnTo>
                  <a:lnTo>
                    <a:pt x="172" y="19"/>
                  </a:lnTo>
                  <a:lnTo>
                    <a:pt x="186" y="29"/>
                  </a:lnTo>
                  <a:lnTo>
                    <a:pt x="199" y="42"/>
                  </a:lnTo>
                  <a:lnTo>
                    <a:pt x="199" y="42"/>
                  </a:lnTo>
                  <a:lnTo>
                    <a:pt x="204" y="48"/>
                  </a:lnTo>
                  <a:lnTo>
                    <a:pt x="210" y="56"/>
                  </a:lnTo>
                  <a:lnTo>
                    <a:pt x="215" y="63"/>
                  </a:lnTo>
                  <a:lnTo>
                    <a:pt x="220" y="70"/>
                  </a:lnTo>
                  <a:lnTo>
                    <a:pt x="220" y="70"/>
                  </a:lnTo>
                  <a:lnTo>
                    <a:pt x="248" y="128"/>
                  </a:lnTo>
                  <a:lnTo>
                    <a:pt x="276" y="186"/>
                  </a:lnTo>
                  <a:lnTo>
                    <a:pt x="334" y="299"/>
                  </a:lnTo>
                  <a:lnTo>
                    <a:pt x="393" y="414"/>
                  </a:lnTo>
                  <a:lnTo>
                    <a:pt x="421" y="472"/>
                  </a:lnTo>
                  <a:lnTo>
                    <a:pt x="448" y="530"/>
                  </a:lnTo>
                  <a:lnTo>
                    <a:pt x="448" y="530"/>
                  </a:lnTo>
                  <a:lnTo>
                    <a:pt x="457" y="545"/>
                  </a:lnTo>
                  <a:lnTo>
                    <a:pt x="466" y="560"/>
                  </a:lnTo>
                  <a:lnTo>
                    <a:pt x="475" y="574"/>
                  </a:lnTo>
                  <a:lnTo>
                    <a:pt x="486" y="588"/>
                  </a:lnTo>
                  <a:lnTo>
                    <a:pt x="498" y="600"/>
                  </a:lnTo>
                  <a:lnTo>
                    <a:pt x="510" y="613"/>
                  </a:lnTo>
                  <a:lnTo>
                    <a:pt x="523" y="625"/>
                  </a:lnTo>
                  <a:lnTo>
                    <a:pt x="536" y="635"/>
                  </a:lnTo>
                  <a:lnTo>
                    <a:pt x="551" y="645"/>
                  </a:lnTo>
                  <a:lnTo>
                    <a:pt x="566" y="654"/>
                  </a:lnTo>
                  <a:lnTo>
                    <a:pt x="582" y="662"/>
                  </a:lnTo>
                  <a:lnTo>
                    <a:pt x="597" y="669"/>
                  </a:lnTo>
                  <a:lnTo>
                    <a:pt x="613" y="676"/>
                  </a:lnTo>
                  <a:lnTo>
                    <a:pt x="629" y="681"/>
                  </a:lnTo>
                  <a:lnTo>
                    <a:pt x="646" y="686"/>
                  </a:lnTo>
                  <a:lnTo>
                    <a:pt x="662" y="690"/>
                  </a:lnTo>
                  <a:lnTo>
                    <a:pt x="679" y="693"/>
                  </a:lnTo>
                  <a:lnTo>
                    <a:pt x="697" y="695"/>
                  </a:lnTo>
                  <a:lnTo>
                    <a:pt x="714" y="696"/>
                  </a:lnTo>
                  <a:lnTo>
                    <a:pt x="730" y="697"/>
                  </a:lnTo>
                  <a:lnTo>
                    <a:pt x="747" y="696"/>
                  </a:lnTo>
                  <a:lnTo>
                    <a:pt x="763" y="694"/>
                  </a:lnTo>
                  <a:lnTo>
                    <a:pt x="779" y="692"/>
                  </a:lnTo>
                  <a:lnTo>
                    <a:pt x="796" y="688"/>
                  </a:lnTo>
                  <a:lnTo>
                    <a:pt x="812" y="684"/>
                  </a:lnTo>
                  <a:lnTo>
                    <a:pt x="827" y="678"/>
                  </a:lnTo>
                  <a:lnTo>
                    <a:pt x="841" y="671"/>
                  </a:lnTo>
                  <a:lnTo>
                    <a:pt x="855" y="664"/>
                  </a:lnTo>
                  <a:lnTo>
                    <a:pt x="868" y="655"/>
                  </a:lnTo>
                  <a:lnTo>
                    <a:pt x="881" y="645"/>
                  </a:lnTo>
                  <a:lnTo>
                    <a:pt x="892" y="634"/>
                  </a:lnTo>
                  <a:lnTo>
                    <a:pt x="904" y="622"/>
                  </a:lnTo>
                  <a:lnTo>
                    <a:pt x="904" y="622"/>
                  </a:lnTo>
                  <a:lnTo>
                    <a:pt x="912" y="615"/>
                  </a:lnTo>
                  <a:lnTo>
                    <a:pt x="920" y="609"/>
                  </a:lnTo>
                  <a:lnTo>
                    <a:pt x="927" y="603"/>
                  </a:lnTo>
                  <a:lnTo>
                    <a:pt x="934" y="599"/>
                  </a:lnTo>
                  <a:lnTo>
                    <a:pt x="940" y="596"/>
                  </a:lnTo>
                  <a:lnTo>
                    <a:pt x="946" y="595"/>
                  </a:lnTo>
                  <a:lnTo>
                    <a:pt x="952" y="594"/>
                  </a:lnTo>
                  <a:lnTo>
                    <a:pt x="957" y="595"/>
                  </a:lnTo>
                  <a:lnTo>
                    <a:pt x="963" y="597"/>
                  </a:lnTo>
                  <a:lnTo>
                    <a:pt x="967" y="600"/>
                  </a:lnTo>
                  <a:lnTo>
                    <a:pt x="972" y="604"/>
                  </a:lnTo>
                  <a:lnTo>
                    <a:pt x="976" y="610"/>
                  </a:lnTo>
                  <a:lnTo>
                    <a:pt x="980" y="617"/>
                  </a:lnTo>
                  <a:lnTo>
                    <a:pt x="983" y="625"/>
                  </a:lnTo>
                  <a:lnTo>
                    <a:pt x="986" y="633"/>
                  </a:lnTo>
                  <a:lnTo>
                    <a:pt x="989" y="643"/>
                  </a:lnTo>
                  <a:lnTo>
                    <a:pt x="989" y="643"/>
                  </a:lnTo>
                  <a:lnTo>
                    <a:pt x="1032" y="803"/>
                  </a:lnTo>
                  <a:lnTo>
                    <a:pt x="1074" y="961"/>
                  </a:lnTo>
                  <a:lnTo>
                    <a:pt x="1114" y="1118"/>
                  </a:lnTo>
                  <a:lnTo>
                    <a:pt x="1153" y="1273"/>
                  </a:lnTo>
                  <a:lnTo>
                    <a:pt x="1153" y="1273"/>
                  </a:lnTo>
                  <a:lnTo>
                    <a:pt x="1158" y="1289"/>
                  </a:lnTo>
                  <a:lnTo>
                    <a:pt x="1159" y="1296"/>
                  </a:lnTo>
                  <a:lnTo>
                    <a:pt x="1160" y="1304"/>
                  </a:lnTo>
                  <a:lnTo>
                    <a:pt x="1160" y="1311"/>
                  </a:lnTo>
                  <a:lnTo>
                    <a:pt x="1159" y="1318"/>
                  </a:lnTo>
                  <a:lnTo>
                    <a:pt x="1157" y="1325"/>
                  </a:lnTo>
                  <a:lnTo>
                    <a:pt x="1155" y="1332"/>
                  </a:lnTo>
                  <a:lnTo>
                    <a:pt x="1152" y="1339"/>
                  </a:lnTo>
                  <a:lnTo>
                    <a:pt x="1148" y="1346"/>
                  </a:lnTo>
                  <a:lnTo>
                    <a:pt x="1143" y="1354"/>
                  </a:lnTo>
                  <a:lnTo>
                    <a:pt x="1137" y="1360"/>
                  </a:lnTo>
                  <a:lnTo>
                    <a:pt x="1130" y="1367"/>
                  </a:lnTo>
                  <a:lnTo>
                    <a:pt x="1122" y="1374"/>
                  </a:lnTo>
                  <a:lnTo>
                    <a:pt x="1113" y="1380"/>
                  </a:lnTo>
                  <a:lnTo>
                    <a:pt x="1103" y="13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1" name="Freeform 13"/>
            <p:cNvSpPr>
              <a:spLocks/>
            </p:cNvSpPr>
            <p:nvPr/>
          </p:nvSpPr>
          <p:spPr bwMode="auto">
            <a:xfrm>
              <a:off x="6276975" y="1809750"/>
              <a:ext cx="230188" cy="274638"/>
            </a:xfrm>
            <a:custGeom>
              <a:avLst/>
              <a:gdLst>
                <a:gd name="T0" fmla="*/ 1094 w 1160"/>
                <a:gd name="T1" fmla="*/ 1376 h 1387"/>
                <a:gd name="T2" fmla="*/ 1068 w 1160"/>
                <a:gd name="T3" fmla="*/ 1337 h 1387"/>
                <a:gd name="T4" fmla="*/ 1017 w 1160"/>
                <a:gd name="T5" fmla="*/ 1282 h 1387"/>
                <a:gd name="T6" fmla="*/ 957 w 1160"/>
                <a:gd name="T7" fmla="*/ 1246 h 1387"/>
                <a:gd name="T8" fmla="*/ 890 w 1160"/>
                <a:gd name="T9" fmla="*/ 1229 h 1387"/>
                <a:gd name="T10" fmla="*/ 820 w 1160"/>
                <a:gd name="T11" fmla="*/ 1232 h 1387"/>
                <a:gd name="T12" fmla="*/ 749 w 1160"/>
                <a:gd name="T13" fmla="*/ 1254 h 1387"/>
                <a:gd name="T14" fmla="*/ 705 w 1160"/>
                <a:gd name="T15" fmla="*/ 1278 h 1387"/>
                <a:gd name="T16" fmla="*/ 646 w 1160"/>
                <a:gd name="T17" fmla="*/ 1310 h 1387"/>
                <a:gd name="T18" fmla="*/ 624 w 1160"/>
                <a:gd name="T19" fmla="*/ 1321 h 1387"/>
                <a:gd name="T20" fmla="*/ 601 w 1160"/>
                <a:gd name="T21" fmla="*/ 1333 h 1387"/>
                <a:gd name="T22" fmla="*/ 582 w 1160"/>
                <a:gd name="T23" fmla="*/ 1334 h 1387"/>
                <a:gd name="T24" fmla="*/ 567 w 1160"/>
                <a:gd name="T25" fmla="*/ 1325 h 1387"/>
                <a:gd name="T26" fmla="*/ 553 w 1160"/>
                <a:gd name="T27" fmla="*/ 1307 h 1387"/>
                <a:gd name="T28" fmla="*/ 541 w 1160"/>
                <a:gd name="T29" fmla="*/ 1280 h 1387"/>
                <a:gd name="T30" fmla="*/ 531 w 1160"/>
                <a:gd name="T31" fmla="*/ 1233 h 1387"/>
                <a:gd name="T32" fmla="*/ 518 w 1160"/>
                <a:gd name="T33" fmla="*/ 1195 h 1387"/>
                <a:gd name="T34" fmla="*/ 480 w 1160"/>
                <a:gd name="T35" fmla="*/ 1139 h 1387"/>
                <a:gd name="T36" fmla="*/ 426 w 1160"/>
                <a:gd name="T37" fmla="*/ 1094 h 1387"/>
                <a:gd name="T38" fmla="*/ 397 w 1160"/>
                <a:gd name="T39" fmla="*/ 1076 h 1387"/>
                <a:gd name="T40" fmla="*/ 372 w 1160"/>
                <a:gd name="T41" fmla="*/ 1052 h 1387"/>
                <a:gd name="T42" fmla="*/ 353 w 1160"/>
                <a:gd name="T43" fmla="*/ 1022 h 1387"/>
                <a:gd name="T44" fmla="*/ 188 w 1160"/>
                <a:gd name="T45" fmla="*/ 606 h 1387"/>
                <a:gd name="T46" fmla="*/ 29 w 1160"/>
                <a:gd name="T47" fmla="*/ 197 h 1387"/>
                <a:gd name="T48" fmla="*/ 14 w 1160"/>
                <a:gd name="T49" fmla="*/ 160 h 1387"/>
                <a:gd name="T50" fmla="*/ 3 w 1160"/>
                <a:gd name="T51" fmla="*/ 118 h 1387"/>
                <a:gd name="T52" fmla="*/ 0 w 1160"/>
                <a:gd name="T53" fmla="*/ 91 h 1387"/>
                <a:gd name="T54" fmla="*/ 3 w 1160"/>
                <a:gd name="T55" fmla="*/ 69 h 1387"/>
                <a:gd name="T56" fmla="*/ 12 w 1160"/>
                <a:gd name="T57" fmla="*/ 49 h 1387"/>
                <a:gd name="T58" fmla="*/ 26 w 1160"/>
                <a:gd name="T59" fmla="*/ 33 h 1387"/>
                <a:gd name="T60" fmla="*/ 61 w 1160"/>
                <a:gd name="T61" fmla="*/ 11 h 1387"/>
                <a:gd name="T62" fmla="*/ 96 w 1160"/>
                <a:gd name="T63" fmla="*/ 2 h 1387"/>
                <a:gd name="T64" fmla="*/ 122 w 1160"/>
                <a:gd name="T65" fmla="*/ 0 h 1387"/>
                <a:gd name="T66" fmla="*/ 144 w 1160"/>
                <a:gd name="T67" fmla="*/ 5 h 1387"/>
                <a:gd name="T68" fmla="*/ 186 w 1160"/>
                <a:gd name="T69" fmla="*/ 29 h 1387"/>
                <a:gd name="T70" fmla="*/ 204 w 1160"/>
                <a:gd name="T71" fmla="*/ 48 h 1387"/>
                <a:gd name="T72" fmla="*/ 220 w 1160"/>
                <a:gd name="T73" fmla="*/ 70 h 1387"/>
                <a:gd name="T74" fmla="*/ 276 w 1160"/>
                <a:gd name="T75" fmla="*/ 186 h 1387"/>
                <a:gd name="T76" fmla="*/ 421 w 1160"/>
                <a:gd name="T77" fmla="*/ 472 h 1387"/>
                <a:gd name="T78" fmla="*/ 457 w 1160"/>
                <a:gd name="T79" fmla="*/ 545 h 1387"/>
                <a:gd name="T80" fmla="*/ 486 w 1160"/>
                <a:gd name="T81" fmla="*/ 588 h 1387"/>
                <a:gd name="T82" fmla="*/ 523 w 1160"/>
                <a:gd name="T83" fmla="*/ 625 h 1387"/>
                <a:gd name="T84" fmla="*/ 566 w 1160"/>
                <a:gd name="T85" fmla="*/ 654 h 1387"/>
                <a:gd name="T86" fmla="*/ 613 w 1160"/>
                <a:gd name="T87" fmla="*/ 676 h 1387"/>
                <a:gd name="T88" fmla="*/ 662 w 1160"/>
                <a:gd name="T89" fmla="*/ 690 h 1387"/>
                <a:gd name="T90" fmla="*/ 714 w 1160"/>
                <a:gd name="T91" fmla="*/ 696 h 1387"/>
                <a:gd name="T92" fmla="*/ 763 w 1160"/>
                <a:gd name="T93" fmla="*/ 694 h 1387"/>
                <a:gd name="T94" fmla="*/ 812 w 1160"/>
                <a:gd name="T95" fmla="*/ 684 h 1387"/>
                <a:gd name="T96" fmla="*/ 855 w 1160"/>
                <a:gd name="T97" fmla="*/ 664 h 1387"/>
                <a:gd name="T98" fmla="*/ 892 w 1160"/>
                <a:gd name="T99" fmla="*/ 634 h 1387"/>
                <a:gd name="T100" fmla="*/ 912 w 1160"/>
                <a:gd name="T101" fmla="*/ 615 h 1387"/>
                <a:gd name="T102" fmla="*/ 934 w 1160"/>
                <a:gd name="T103" fmla="*/ 599 h 1387"/>
                <a:gd name="T104" fmla="*/ 952 w 1160"/>
                <a:gd name="T105" fmla="*/ 594 h 1387"/>
                <a:gd name="T106" fmla="*/ 967 w 1160"/>
                <a:gd name="T107" fmla="*/ 600 h 1387"/>
                <a:gd name="T108" fmla="*/ 980 w 1160"/>
                <a:gd name="T109" fmla="*/ 617 h 1387"/>
                <a:gd name="T110" fmla="*/ 989 w 1160"/>
                <a:gd name="T111" fmla="*/ 643 h 1387"/>
                <a:gd name="T112" fmla="*/ 1074 w 1160"/>
                <a:gd name="T113" fmla="*/ 961 h 1387"/>
                <a:gd name="T114" fmla="*/ 1153 w 1160"/>
                <a:gd name="T115" fmla="*/ 1273 h 1387"/>
                <a:gd name="T116" fmla="*/ 1160 w 1160"/>
                <a:gd name="T117" fmla="*/ 1304 h 1387"/>
                <a:gd name="T118" fmla="*/ 1157 w 1160"/>
                <a:gd name="T119" fmla="*/ 1325 h 1387"/>
                <a:gd name="T120" fmla="*/ 1148 w 1160"/>
                <a:gd name="T121" fmla="*/ 1346 h 1387"/>
                <a:gd name="T122" fmla="*/ 1130 w 1160"/>
                <a:gd name="T123" fmla="*/ 1367 h 1387"/>
                <a:gd name="T124" fmla="*/ 1103 w 1160"/>
                <a:gd name="T125" fmla="*/ 1387 h 1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160" h="1387">
                  <a:moveTo>
                    <a:pt x="1103" y="1387"/>
                  </a:moveTo>
                  <a:lnTo>
                    <a:pt x="1103" y="1387"/>
                  </a:lnTo>
                  <a:lnTo>
                    <a:pt x="1094" y="1376"/>
                  </a:lnTo>
                  <a:lnTo>
                    <a:pt x="1085" y="1365"/>
                  </a:lnTo>
                  <a:lnTo>
                    <a:pt x="1068" y="1337"/>
                  </a:lnTo>
                  <a:lnTo>
                    <a:pt x="1068" y="1337"/>
                  </a:lnTo>
                  <a:lnTo>
                    <a:pt x="1052" y="1316"/>
                  </a:lnTo>
                  <a:lnTo>
                    <a:pt x="1036" y="1298"/>
                  </a:lnTo>
                  <a:lnTo>
                    <a:pt x="1017" y="1282"/>
                  </a:lnTo>
                  <a:lnTo>
                    <a:pt x="998" y="1268"/>
                  </a:lnTo>
                  <a:lnTo>
                    <a:pt x="978" y="1256"/>
                  </a:lnTo>
                  <a:lnTo>
                    <a:pt x="957" y="1246"/>
                  </a:lnTo>
                  <a:lnTo>
                    <a:pt x="936" y="1239"/>
                  </a:lnTo>
                  <a:lnTo>
                    <a:pt x="913" y="1233"/>
                  </a:lnTo>
                  <a:lnTo>
                    <a:pt x="890" y="1229"/>
                  </a:lnTo>
                  <a:lnTo>
                    <a:pt x="867" y="1228"/>
                  </a:lnTo>
                  <a:lnTo>
                    <a:pt x="843" y="1229"/>
                  </a:lnTo>
                  <a:lnTo>
                    <a:pt x="820" y="1232"/>
                  </a:lnTo>
                  <a:lnTo>
                    <a:pt x="796" y="1237"/>
                  </a:lnTo>
                  <a:lnTo>
                    <a:pt x="772" y="1244"/>
                  </a:lnTo>
                  <a:lnTo>
                    <a:pt x="749" y="1254"/>
                  </a:lnTo>
                  <a:lnTo>
                    <a:pt x="726" y="1266"/>
                  </a:lnTo>
                  <a:lnTo>
                    <a:pt x="726" y="1266"/>
                  </a:lnTo>
                  <a:lnTo>
                    <a:pt x="705" y="1278"/>
                  </a:lnTo>
                  <a:lnTo>
                    <a:pt x="683" y="1291"/>
                  </a:lnTo>
                  <a:lnTo>
                    <a:pt x="659" y="1304"/>
                  </a:lnTo>
                  <a:lnTo>
                    <a:pt x="646" y="1310"/>
                  </a:lnTo>
                  <a:lnTo>
                    <a:pt x="633" y="1315"/>
                  </a:lnTo>
                  <a:lnTo>
                    <a:pt x="633" y="1315"/>
                  </a:lnTo>
                  <a:lnTo>
                    <a:pt x="624" y="1321"/>
                  </a:lnTo>
                  <a:lnTo>
                    <a:pt x="616" y="1326"/>
                  </a:lnTo>
                  <a:lnTo>
                    <a:pt x="608" y="1330"/>
                  </a:lnTo>
                  <a:lnTo>
                    <a:pt x="601" y="1333"/>
                  </a:lnTo>
                  <a:lnTo>
                    <a:pt x="595" y="1334"/>
                  </a:lnTo>
                  <a:lnTo>
                    <a:pt x="588" y="1335"/>
                  </a:lnTo>
                  <a:lnTo>
                    <a:pt x="582" y="1334"/>
                  </a:lnTo>
                  <a:lnTo>
                    <a:pt x="577" y="1332"/>
                  </a:lnTo>
                  <a:lnTo>
                    <a:pt x="572" y="1329"/>
                  </a:lnTo>
                  <a:lnTo>
                    <a:pt x="567" y="1325"/>
                  </a:lnTo>
                  <a:lnTo>
                    <a:pt x="561" y="1320"/>
                  </a:lnTo>
                  <a:lnTo>
                    <a:pt x="557" y="1314"/>
                  </a:lnTo>
                  <a:lnTo>
                    <a:pt x="553" y="1307"/>
                  </a:lnTo>
                  <a:lnTo>
                    <a:pt x="549" y="1299"/>
                  </a:lnTo>
                  <a:lnTo>
                    <a:pt x="541" y="1280"/>
                  </a:lnTo>
                  <a:lnTo>
                    <a:pt x="541" y="1280"/>
                  </a:lnTo>
                  <a:lnTo>
                    <a:pt x="536" y="1264"/>
                  </a:lnTo>
                  <a:lnTo>
                    <a:pt x="534" y="1249"/>
                  </a:lnTo>
                  <a:lnTo>
                    <a:pt x="531" y="1233"/>
                  </a:lnTo>
                  <a:lnTo>
                    <a:pt x="527" y="1217"/>
                  </a:lnTo>
                  <a:lnTo>
                    <a:pt x="527" y="1217"/>
                  </a:lnTo>
                  <a:lnTo>
                    <a:pt x="518" y="1195"/>
                  </a:lnTo>
                  <a:lnTo>
                    <a:pt x="507" y="1175"/>
                  </a:lnTo>
                  <a:lnTo>
                    <a:pt x="494" y="1156"/>
                  </a:lnTo>
                  <a:lnTo>
                    <a:pt x="480" y="1139"/>
                  </a:lnTo>
                  <a:lnTo>
                    <a:pt x="464" y="1122"/>
                  </a:lnTo>
                  <a:lnTo>
                    <a:pt x="445" y="1107"/>
                  </a:lnTo>
                  <a:lnTo>
                    <a:pt x="426" y="1094"/>
                  </a:lnTo>
                  <a:lnTo>
                    <a:pt x="406" y="1082"/>
                  </a:lnTo>
                  <a:lnTo>
                    <a:pt x="406" y="1082"/>
                  </a:lnTo>
                  <a:lnTo>
                    <a:pt x="397" y="1076"/>
                  </a:lnTo>
                  <a:lnTo>
                    <a:pt x="389" y="1069"/>
                  </a:lnTo>
                  <a:lnTo>
                    <a:pt x="380" y="1061"/>
                  </a:lnTo>
                  <a:lnTo>
                    <a:pt x="372" y="1052"/>
                  </a:lnTo>
                  <a:lnTo>
                    <a:pt x="365" y="1042"/>
                  </a:lnTo>
                  <a:lnTo>
                    <a:pt x="358" y="1032"/>
                  </a:lnTo>
                  <a:lnTo>
                    <a:pt x="353" y="1022"/>
                  </a:lnTo>
                  <a:lnTo>
                    <a:pt x="349" y="1011"/>
                  </a:lnTo>
                  <a:lnTo>
                    <a:pt x="349" y="1011"/>
                  </a:lnTo>
                  <a:lnTo>
                    <a:pt x="188" y="606"/>
                  </a:lnTo>
                  <a:lnTo>
                    <a:pt x="109" y="403"/>
                  </a:lnTo>
                  <a:lnTo>
                    <a:pt x="29" y="197"/>
                  </a:lnTo>
                  <a:lnTo>
                    <a:pt x="29" y="197"/>
                  </a:lnTo>
                  <a:lnTo>
                    <a:pt x="23" y="186"/>
                  </a:lnTo>
                  <a:lnTo>
                    <a:pt x="18" y="174"/>
                  </a:lnTo>
                  <a:lnTo>
                    <a:pt x="14" y="160"/>
                  </a:lnTo>
                  <a:lnTo>
                    <a:pt x="9" y="146"/>
                  </a:lnTo>
                  <a:lnTo>
                    <a:pt x="6" y="132"/>
                  </a:lnTo>
                  <a:lnTo>
                    <a:pt x="3" y="118"/>
                  </a:lnTo>
                  <a:lnTo>
                    <a:pt x="1" y="104"/>
                  </a:lnTo>
                  <a:lnTo>
                    <a:pt x="0" y="91"/>
                  </a:lnTo>
                  <a:lnTo>
                    <a:pt x="0" y="91"/>
                  </a:lnTo>
                  <a:lnTo>
                    <a:pt x="1" y="83"/>
                  </a:lnTo>
                  <a:lnTo>
                    <a:pt x="2" y="76"/>
                  </a:lnTo>
                  <a:lnTo>
                    <a:pt x="3" y="69"/>
                  </a:lnTo>
                  <a:lnTo>
                    <a:pt x="6" y="62"/>
                  </a:lnTo>
                  <a:lnTo>
                    <a:pt x="9" y="55"/>
                  </a:lnTo>
                  <a:lnTo>
                    <a:pt x="12" y="49"/>
                  </a:lnTo>
                  <a:lnTo>
                    <a:pt x="16" y="44"/>
                  </a:lnTo>
                  <a:lnTo>
                    <a:pt x="21" y="38"/>
                  </a:lnTo>
                  <a:lnTo>
                    <a:pt x="26" y="33"/>
                  </a:lnTo>
                  <a:lnTo>
                    <a:pt x="32" y="28"/>
                  </a:lnTo>
                  <a:lnTo>
                    <a:pt x="45" y="20"/>
                  </a:lnTo>
                  <a:lnTo>
                    <a:pt x="61" y="11"/>
                  </a:lnTo>
                  <a:lnTo>
                    <a:pt x="78" y="5"/>
                  </a:lnTo>
                  <a:lnTo>
                    <a:pt x="78" y="5"/>
                  </a:lnTo>
                  <a:lnTo>
                    <a:pt x="96" y="2"/>
                  </a:lnTo>
                  <a:lnTo>
                    <a:pt x="104" y="1"/>
                  </a:lnTo>
                  <a:lnTo>
                    <a:pt x="114" y="0"/>
                  </a:lnTo>
                  <a:lnTo>
                    <a:pt x="122" y="0"/>
                  </a:lnTo>
                  <a:lnTo>
                    <a:pt x="129" y="1"/>
                  </a:lnTo>
                  <a:lnTo>
                    <a:pt x="137" y="3"/>
                  </a:lnTo>
                  <a:lnTo>
                    <a:pt x="144" y="5"/>
                  </a:lnTo>
                  <a:lnTo>
                    <a:pt x="159" y="10"/>
                  </a:lnTo>
                  <a:lnTo>
                    <a:pt x="172" y="19"/>
                  </a:lnTo>
                  <a:lnTo>
                    <a:pt x="186" y="29"/>
                  </a:lnTo>
                  <a:lnTo>
                    <a:pt x="199" y="42"/>
                  </a:lnTo>
                  <a:lnTo>
                    <a:pt x="199" y="42"/>
                  </a:lnTo>
                  <a:lnTo>
                    <a:pt x="204" y="48"/>
                  </a:lnTo>
                  <a:lnTo>
                    <a:pt x="210" y="56"/>
                  </a:lnTo>
                  <a:lnTo>
                    <a:pt x="215" y="63"/>
                  </a:lnTo>
                  <a:lnTo>
                    <a:pt x="220" y="70"/>
                  </a:lnTo>
                  <a:lnTo>
                    <a:pt x="220" y="70"/>
                  </a:lnTo>
                  <a:lnTo>
                    <a:pt x="248" y="128"/>
                  </a:lnTo>
                  <a:lnTo>
                    <a:pt x="276" y="186"/>
                  </a:lnTo>
                  <a:lnTo>
                    <a:pt x="334" y="299"/>
                  </a:lnTo>
                  <a:lnTo>
                    <a:pt x="393" y="414"/>
                  </a:lnTo>
                  <a:lnTo>
                    <a:pt x="421" y="472"/>
                  </a:lnTo>
                  <a:lnTo>
                    <a:pt x="448" y="530"/>
                  </a:lnTo>
                  <a:lnTo>
                    <a:pt x="448" y="530"/>
                  </a:lnTo>
                  <a:lnTo>
                    <a:pt x="457" y="545"/>
                  </a:lnTo>
                  <a:lnTo>
                    <a:pt x="466" y="560"/>
                  </a:lnTo>
                  <a:lnTo>
                    <a:pt x="475" y="574"/>
                  </a:lnTo>
                  <a:lnTo>
                    <a:pt x="486" y="588"/>
                  </a:lnTo>
                  <a:lnTo>
                    <a:pt x="498" y="600"/>
                  </a:lnTo>
                  <a:lnTo>
                    <a:pt x="510" y="613"/>
                  </a:lnTo>
                  <a:lnTo>
                    <a:pt x="523" y="625"/>
                  </a:lnTo>
                  <a:lnTo>
                    <a:pt x="536" y="635"/>
                  </a:lnTo>
                  <a:lnTo>
                    <a:pt x="551" y="645"/>
                  </a:lnTo>
                  <a:lnTo>
                    <a:pt x="566" y="654"/>
                  </a:lnTo>
                  <a:lnTo>
                    <a:pt x="582" y="662"/>
                  </a:lnTo>
                  <a:lnTo>
                    <a:pt x="597" y="669"/>
                  </a:lnTo>
                  <a:lnTo>
                    <a:pt x="613" y="676"/>
                  </a:lnTo>
                  <a:lnTo>
                    <a:pt x="629" y="681"/>
                  </a:lnTo>
                  <a:lnTo>
                    <a:pt x="646" y="686"/>
                  </a:lnTo>
                  <a:lnTo>
                    <a:pt x="662" y="690"/>
                  </a:lnTo>
                  <a:lnTo>
                    <a:pt x="679" y="693"/>
                  </a:lnTo>
                  <a:lnTo>
                    <a:pt x="697" y="695"/>
                  </a:lnTo>
                  <a:lnTo>
                    <a:pt x="714" y="696"/>
                  </a:lnTo>
                  <a:lnTo>
                    <a:pt x="730" y="697"/>
                  </a:lnTo>
                  <a:lnTo>
                    <a:pt x="747" y="696"/>
                  </a:lnTo>
                  <a:lnTo>
                    <a:pt x="763" y="694"/>
                  </a:lnTo>
                  <a:lnTo>
                    <a:pt x="779" y="692"/>
                  </a:lnTo>
                  <a:lnTo>
                    <a:pt x="796" y="688"/>
                  </a:lnTo>
                  <a:lnTo>
                    <a:pt x="812" y="684"/>
                  </a:lnTo>
                  <a:lnTo>
                    <a:pt x="827" y="678"/>
                  </a:lnTo>
                  <a:lnTo>
                    <a:pt x="841" y="671"/>
                  </a:lnTo>
                  <a:lnTo>
                    <a:pt x="855" y="664"/>
                  </a:lnTo>
                  <a:lnTo>
                    <a:pt x="868" y="655"/>
                  </a:lnTo>
                  <a:lnTo>
                    <a:pt x="881" y="645"/>
                  </a:lnTo>
                  <a:lnTo>
                    <a:pt x="892" y="634"/>
                  </a:lnTo>
                  <a:lnTo>
                    <a:pt x="904" y="622"/>
                  </a:lnTo>
                  <a:lnTo>
                    <a:pt x="904" y="622"/>
                  </a:lnTo>
                  <a:lnTo>
                    <a:pt x="912" y="615"/>
                  </a:lnTo>
                  <a:lnTo>
                    <a:pt x="920" y="609"/>
                  </a:lnTo>
                  <a:lnTo>
                    <a:pt x="927" y="603"/>
                  </a:lnTo>
                  <a:lnTo>
                    <a:pt x="934" y="599"/>
                  </a:lnTo>
                  <a:lnTo>
                    <a:pt x="940" y="596"/>
                  </a:lnTo>
                  <a:lnTo>
                    <a:pt x="946" y="595"/>
                  </a:lnTo>
                  <a:lnTo>
                    <a:pt x="952" y="594"/>
                  </a:lnTo>
                  <a:lnTo>
                    <a:pt x="957" y="595"/>
                  </a:lnTo>
                  <a:lnTo>
                    <a:pt x="963" y="597"/>
                  </a:lnTo>
                  <a:lnTo>
                    <a:pt x="967" y="600"/>
                  </a:lnTo>
                  <a:lnTo>
                    <a:pt x="972" y="604"/>
                  </a:lnTo>
                  <a:lnTo>
                    <a:pt x="976" y="610"/>
                  </a:lnTo>
                  <a:lnTo>
                    <a:pt x="980" y="617"/>
                  </a:lnTo>
                  <a:lnTo>
                    <a:pt x="983" y="625"/>
                  </a:lnTo>
                  <a:lnTo>
                    <a:pt x="986" y="633"/>
                  </a:lnTo>
                  <a:lnTo>
                    <a:pt x="989" y="643"/>
                  </a:lnTo>
                  <a:lnTo>
                    <a:pt x="989" y="643"/>
                  </a:lnTo>
                  <a:lnTo>
                    <a:pt x="1032" y="803"/>
                  </a:lnTo>
                  <a:lnTo>
                    <a:pt x="1074" y="961"/>
                  </a:lnTo>
                  <a:lnTo>
                    <a:pt x="1114" y="1118"/>
                  </a:lnTo>
                  <a:lnTo>
                    <a:pt x="1153" y="1273"/>
                  </a:lnTo>
                  <a:lnTo>
                    <a:pt x="1153" y="1273"/>
                  </a:lnTo>
                  <a:lnTo>
                    <a:pt x="1158" y="1289"/>
                  </a:lnTo>
                  <a:lnTo>
                    <a:pt x="1159" y="1296"/>
                  </a:lnTo>
                  <a:lnTo>
                    <a:pt x="1160" y="1304"/>
                  </a:lnTo>
                  <a:lnTo>
                    <a:pt x="1160" y="1311"/>
                  </a:lnTo>
                  <a:lnTo>
                    <a:pt x="1159" y="1318"/>
                  </a:lnTo>
                  <a:lnTo>
                    <a:pt x="1157" y="1325"/>
                  </a:lnTo>
                  <a:lnTo>
                    <a:pt x="1155" y="1332"/>
                  </a:lnTo>
                  <a:lnTo>
                    <a:pt x="1152" y="1339"/>
                  </a:lnTo>
                  <a:lnTo>
                    <a:pt x="1148" y="1346"/>
                  </a:lnTo>
                  <a:lnTo>
                    <a:pt x="1143" y="1354"/>
                  </a:lnTo>
                  <a:lnTo>
                    <a:pt x="1137" y="1360"/>
                  </a:lnTo>
                  <a:lnTo>
                    <a:pt x="1130" y="1367"/>
                  </a:lnTo>
                  <a:lnTo>
                    <a:pt x="1122" y="1374"/>
                  </a:lnTo>
                  <a:lnTo>
                    <a:pt x="1113" y="1380"/>
                  </a:lnTo>
                  <a:lnTo>
                    <a:pt x="1103" y="1387"/>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2" name="Freeform 14"/>
            <p:cNvSpPr>
              <a:spLocks/>
            </p:cNvSpPr>
            <p:nvPr/>
          </p:nvSpPr>
          <p:spPr bwMode="auto">
            <a:xfrm>
              <a:off x="6489700" y="1897063"/>
              <a:ext cx="66675" cy="160338"/>
            </a:xfrm>
            <a:custGeom>
              <a:avLst/>
              <a:gdLst>
                <a:gd name="T0" fmla="*/ 160 w 330"/>
                <a:gd name="T1" fmla="*/ 808 h 808"/>
                <a:gd name="T2" fmla="*/ 160 w 330"/>
                <a:gd name="T3" fmla="*/ 808 h 808"/>
                <a:gd name="T4" fmla="*/ 129 w 330"/>
                <a:gd name="T5" fmla="*/ 681 h 808"/>
                <a:gd name="T6" fmla="*/ 98 w 330"/>
                <a:gd name="T7" fmla="*/ 560 h 808"/>
                <a:gd name="T8" fmla="*/ 98 w 330"/>
                <a:gd name="T9" fmla="*/ 560 h 808"/>
                <a:gd name="T10" fmla="*/ 87 w 330"/>
                <a:gd name="T11" fmla="*/ 510 h 808"/>
                <a:gd name="T12" fmla="*/ 76 w 330"/>
                <a:gd name="T13" fmla="*/ 460 h 808"/>
                <a:gd name="T14" fmla="*/ 52 w 330"/>
                <a:gd name="T15" fmla="*/ 362 h 808"/>
                <a:gd name="T16" fmla="*/ 29 w 330"/>
                <a:gd name="T17" fmla="*/ 264 h 808"/>
                <a:gd name="T18" fmla="*/ 18 w 330"/>
                <a:gd name="T19" fmla="*/ 215 h 808"/>
                <a:gd name="T20" fmla="*/ 7 w 330"/>
                <a:gd name="T21" fmla="*/ 164 h 808"/>
                <a:gd name="T22" fmla="*/ 7 w 330"/>
                <a:gd name="T23" fmla="*/ 164 h 808"/>
                <a:gd name="T24" fmla="*/ 4 w 330"/>
                <a:gd name="T25" fmla="*/ 150 h 808"/>
                <a:gd name="T26" fmla="*/ 1 w 330"/>
                <a:gd name="T27" fmla="*/ 136 h 808"/>
                <a:gd name="T28" fmla="*/ 0 w 330"/>
                <a:gd name="T29" fmla="*/ 123 h 808"/>
                <a:gd name="T30" fmla="*/ 0 w 330"/>
                <a:gd name="T31" fmla="*/ 110 h 808"/>
                <a:gd name="T32" fmla="*/ 0 w 330"/>
                <a:gd name="T33" fmla="*/ 98 h 808"/>
                <a:gd name="T34" fmla="*/ 2 w 330"/>
                <a:gd name="T35" fmla="*/ 87 h 808"/>
                <a:gd name="T36" fmla="*/ 4 w 330"/>
                <a:gd name="T37" fmla="*/ 76 h 808"/>
                <a:gd name="T38" fmla="*/ 7 w 330"/>
                <a:gd name="T39" fmla="*/ 66 h 808"/>
                <a:gd name="T40" fmla="*/ 12 w 330"/>
                <a:gd name="T41" fmla="*/ 56 h 808"/>
                <a:gd name="T42" fmla="*/ 17 w 330"/>
                <a:gd name="T43" fmla="*/ 47 h 808"/>
                <a:gd name="T44" fmla="*/ 23 w 330"/>
                <a:gd name="T45" fmla="*/ 39 h 808"/>
                <a:gd name="T46" fmla="*/ 31 w 330"/>
                <a:gd name="T47" fmla="*/ 31 h 808"/>
                <a:gd name="T48" fmla="*/ 39 w 330"/>
                <a:gd name="T49" fmla="*/ 25 h 808"/>
                <a:gd name="T50" fmla="*/ 48 w 330"/>
                <a:gd name="T51" fmla="*/ 19 h 808"/>
                <a:gd name="T52" fmla="*/ 58 w 330"/>
                <a:gd name="T53" fmla="*/ 13 h 808"/>
                <a:gd name="T54" fmla="*/ 70 w 330"/>
                <a:gd name="T55" fmla="*/ 8 h 808"/>
                <a:gd name="T56" fmla="*/ 70 w 330"/>
                <a:gd name="T57" fmla="*/ 8 h 808"/>
                <a:gd name="T58" fmla="*/ 82 w 330"/>
                <a:gd name="T59" fmla="*/ 5 h 808"/>
                <a:gd name="T60" fmla="*/ 93 w 330"/>
                <a:gd name="T61" fmla="*/ 2 h 808"/>
                <a:gd name="T62" fmla="*/ 104 w 330"/>
                <a:gd name="T63" fmla="*/ 1 h 808"/>
                <a:gd name="T64" fmla="*/ 114 w 330"/>
                <a:gd name="T65" fmla="*/ 0 h 808"/>
                <a:gd name="T66" fmla="*/ 124 w 330"/>
                <a:gd name="T67" fmla="*/ 1 h 808"/>
                <a:gd name="T68" fmla="*/ 134 w 330"/>
                <a:gd name="T69" fmla="*/ 2 h 808"/>
                <a:gd name="T70" fmla="*/ 143 w 330"/>
                <a:gd name="T71" fmla="*/ 5 h 808"/>
                <a:gd name="T72" fmla="*/ 151 w 330"/>
                <a:gd name="T73" fmla="*/ 8 h 808"/>
                <a:gd name="T74" fmla="*/ 159 w 330"/>
                <a:gd name="T75" fmla="*/ 13 h 808"/>
                <a:gd name="T76" fmla="*/ 167 w 330"/>
                <a:gd name="T77" fmla="*/ 19 h 808"/>
                <a:gd name="T78" fmla="*/ 174 w 330"/>
                <a:gd name="T79" fmla="*/ 26 h 808"/>
                <a:gd name="T80" fmla="*/ 182 w 330"/>
                <a:gd name="T81" fmla="*/ 33 h 808"/>
                <a:gd name="T82" fmla="*/ 188 w 330"/>
                <a:gd name="T83" fmla="*/ 41 h 808"/>
                <a:gd name="T84" fmla="*/ 193 w 330"/>
                <a:gd name="T85" fmla="*/ 51 h 808"/>
                <a:gd name="T86" fmla="*/ 198 w 330"/>
                <a:gd name="T87" fmla="*/ 61 h 808"/>
                <a:gd name="T88" fmla="*/ 202 w 330"/>
                <a:gd name="T89" fmla="*/ 73 h 808"/>
                <a:gd name="T90" fmla="*/ 202 w 330"/>
                <a:gd name="T91" fmla="*/ 73 h 808"/>
                <a:gd name="T92" fmla="*/ 264 w 330"/>
                <a:gd name="T93" fmla="*/ 324 h 808"/>
                <a:gd name="T94" fmla="*/ 327 w 330"/>
                <a:gd name="T95" fmla="*/ 574 h 808"/>
                <a:gd name="T96" fmla="*/ 327 w 330"/>
                <a:gd name="T97" fmla="*/ 574 h 808"/>
                <a:gd name="T98" fmla="*/ 329 w 330"/>
                <a:gd name="T99" fmla="*/ 577 h 808"/>
                <a:gd name="T100" fmla="*/ 330 w 330"/>
                <a:gd name="T101" fmla="*/ 582 h 808"/>
                <a:gd name="T102" fmla="*/ 330 w 330"/>
                <a:gd name="T103" fmla="*/ 586 h 808"/>
                <a:gd name="T104" fmla="*/ 329 w 330"/>
                <a:gd name="T105" fmla="*/ 592 h 808"/>
                <a:gd name="T106" fmla="*/ 325 w 330"/>
                <a:gd name="T107" fmla="*/ 602 h 808"/>
                <a:gd name="T108" fmla="*/ 323 w 330"/>
                <a:gd name="T109" fmla="*/ 606 h 808"/>
                <a:gd name="T110" fmla="*/ 320 w 330"/>
                <a:gd name="T111" fmla="*/ 609 h 808"/>
                <a:gd name="T112" fmla="*/ 320 w 330"/>
                <a:gd name="T113" fmla="*/ 609 h 808"/>
                <a:gd name="T114" fmla="*/ 282 w 330"/>
                <a:gd name="T115" fmla="*/ 658 h 808"/>
                <a:gd name="T116" fmla="*/ 243 w 330"/>
                <a:gd name="T117" fmla="*/ 706 h 808"/>
                <a:gd name="T118" fmla="*/ 202 w 330"/>
                <a:gd name="T119" fmla="*/ 755 h 808"/>
                <a:gd name="T120" fmla="*/ 160 w 330"/>
                <a:gd name="T121" fmla="*/ 808 h 8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30" h="808">
                  <a:moveTo>
                    <a:pt x="160" y="808"/>
                  </a:moveTo>
                  <a:lnTo>
                    <a:pt x="160" y="808"/>
                  </a:lnTo>
                  <a:lnTo>
                    <a:pt x="129" y="681"/>
                  </a:lnTo>
                  <a:lnTo>
                    <a:pt x="98" y="560"/>
                  </a:lnTo>
                  <a:lnTo>
                    <a:pt x="98" y="560"/>
                  </a:lnTo>
                  <a:lnTo>
                    <a:pt x="87" y="510"/>
                  </a:lnTo>
                  <a:lnTo>
                    <a:pt x="76" y="460"/>
                  </a:lnTo>
                  <a:lnTo>
                    <a:pt x="52" y="362"/>
                  </a:lnTo>
                  <a:lnTo>
                    <a:pt x="29" y="264"/>
                  </a:lnTo>
                  <a:lnTo>
                    <a:pt x="18" y="215"/>
                  </a:lnTo>
                  <a:lnTo>
                    <a:pt x="7" y="164"/>
                  </a:lnTo>
                  <a:lnTo>
                    <a:pt x="7" y="164"/>
                  </a:lnTo>
                  <a:lnTo>
                    <a:pt x="4" y="150"/>
                  </a:lnTo>
                  <a:lnTo>
                    <a:pt x="1" y="136"/>
                  </a:lnTo>
                  <a:lnTo>
                    <a:pt x="0" y="123"/>
                  </a:lnTo>
                  <a:lnTo>
                    <a:pt x="0" y="110"/>
                  </a:lnTo>
                  <a:lnTo>
                    <a:pt x="0" y="98"/>
                  </a:lnTo>
                  <a:lnTo>
                    <a:pt x="2" y="87"/>
                  </a:lnTo>
                  <a:lnTo>
                    <a:pt x="4" y="76"/>
                  </a:lnTo>
                  <a:lnTo>
                    <a:pt x="7" y="66"/>
                  </a:lnTo>
                  <a:lnTo>
                    <a:pt x="12" y="56"/>
                  </a:lnTo>
                  <a:lnTo>
                    <a:pt x="17" y="47"/>
                  </a:lnTo>
                  <a:lnTo>
                    <a:pt x="23" y="39"/>
                  </a:lnTo>
                  <a:lnTo>
                    <a:pt x="31" y="31"/>
                  </a:lnTo>
                  <a:lnTo>
                    <a:pt x="39" y="25"/>
                  </a:lnTo>
                  <a:lnTo>
                    <a:pt x="48" y="19"/>
                  </a:lnTo>
                  <a:lnTo>
                    <a:pt x="58" y="13"/>
                  </a:lnTo>
                  <a:lnTo>
                    <a:pt x="70" y="8"/>
                  </a:lnTo>
                  <a:lnTo>
                    <a:pt x="70" y="8"/>
                  </a:lnTo>
                  <a:lnTo>
                    <a:pt x="82" y="5"/>
                  </a:lnTo>
                  <a:lnTo>
                    <a:pt x="93" y="2"/>
                  </a:lnTo>
                  <a:lnTo>
                    <a:pt x="104" y="1"/>
                  </a:lnTo>
                  <a:lnTo>
                    <a:pt x="114" y="0"/>
                  </a:lnTo>
                  <a:lnTo>
                    <a:pt x="124" y="1"/>
                  </a:lnTo>
                  <a:lnTo>
                    <a:pt x="134" y="2"/>
                  </a:lnTo>
                  <a:lnTo>
                    <a:pt x="143" y="5"/>
                  </a:lnTo>
                  <a:lnTo>
                    <a:pt x="151" y="8"/>
                  </a:lnTo>
                  <a:lnTo>
                    <a:pt x="159" y="13"/>
                  </a:lnTo>
                  <a:lnTo>
                    <a:pt x="167" y="19"/>
                  </a:lnTo>
                  <a:lnTo>
                    <a:pt x="174" y="26"/>
                  </a:lnTo>
                  <a:lnTo>
                    <a:pt x="182" y="33"/>
                  </a:lnTo>
                  <a:lnTo>
                    <a:pt x="188" y="41"/>
                  </a:lnTo>
                  <a:lnTo>
                    <a:pt x="193" y="51"/>
                  </a:lnTo>
                  <a:lnTo>
                    <a:pt x="198" y="61"/>
                  </a:lnTo>
                  <a:lnTo>
                    <a:pt x="202" y="73"/>
                  </a:lnTo>
                  <a:lnTo>
                    <a:pt x="202" y="73"/>
                  </a:lnTo>
                  <a:lnTo>
                    <a:pt x="264" y="324"/>
                  </a:lnTo>
                  <a:lnTo>
                    <a:pt x="327" y="574"/>
                  </a:lnTo>
                  <a:lnTo>
                    <a:pt x="327" y="574"/>
                  </a:lnTo>
                  <a:lnTo>
                    <a:pt x="329" y="577"/>
                  </a:lnTo>
                  <a:lnTo>
                    <a:pt x="330" y="582"/>
                  </a:lnTo>
                  <a:lnTo>
                    <a:pt x="330" y="586"/>
                  </a:lnTo>
                  <a:lnTo>
                    <a:pt x="329" y="592"/>
                  </a:lnTo>
                  <a:lnTo>
                    <a:pt x="325" y="602"/>
                  </a:lnTo>
                  <a:lnTo>
                    <a:pt x="323" y="606"/>
                  </a:lnTo>
                  <a:lnTo>
                    <a:pt x="320" y="609"/>
                  </a:lnTo>
                  <a:lnTo>
                    <a:pt x="320" y="609"/>
                  </a:lnTo>
                  <a:lnTo>
                    <a:pt x="282" y="658"/>
                  </a:lnTo>
                  <a:lnTo>
                    <a:pt x="243" y="706"/>
                  </a:lnTo>
                  <a:lnTo>
                    <a:pt x="202" y="755"/>
                  </a:lnTo>
                  <a:lnTo>
                    <a:pt x="160" y="80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3" name="Freeform 15"/>
            <p:cNvSpPr>
              <a:spLocks/>
            </p:cNvSpPr>
            <p:nvPr/>
          </p:nvSpPr>
          <p:spPr bwMode="auto">
            <a:xfrm>
              <a:off x="6489700" y="1897063"/>
              <a:ext cx="66675" cy="160338"/>
            </a:xfrm>
            <a:custGeom>
              <a:avLst/>
              <a:gdLst>
                <a:gd name="T0" fmla="*/ 160 w 330"/>
                <a:gd name="T1" fmla="*/ 808 h 808"/>
                <a:gd name="T2" fmla="*/ 160 w 330"/>
                <a:gd name="T3" fmla="*/ 808 h 808"/>
                <a:gd name="T4" fmla="*/ 129 w 330"/>
                <a:gd name="T5" fmla="*/ 681 h 808"/>
                <a:gd name="T6" fmla="*/ 98 w 330"/>
                <a:gd name="T7" fmla="*/ 560 h 808"/>
                <a:gd name="T8" fmla="*/ 98 w 330"/>
                <a:gd name="T9" fmla="*/ 560 h 808"/>
                <a:gd name="T10" fmla="*/ 87 w 330"/>
                <a:gd name="T11" fmla="*/ 510 h 808"/>
                <a:gd name="T12" fmla="*/ 76 w 330"/>
                <a:gd name="T13" fmla="*/ 460 h 808"/>
                <a:gd name="T14" fmla="*/ 52 w 330"/>
                <a:gd name="T15" fmla="*/ 362 h 808"/>
                <a:gd name="T16" fmla="*/ 29 w 330"/>
                <a:gd name="T17" fmla="*/ 264 h 808"/>
                <a:gd name="T18" fmla="*/ 18 w 330"/>
                <a:gd name="T19" fmla="*/ 215 h 808"/>
                <a:gd name="T20" fmla="*/ 7 w 330"/>
                <a:gd name="T21" fmla="*/ 164 h 808"/>
                <a:gd name="T22" fmla="*/ 7 w 330"/>
                <a:gd name="T23" fmla="*/ 164 h 808"/>
                <a:gd name="T24" fmla="*/ 4 w 330"/>
                <a:gd name="T25" fmla="*/ 150 h 808"/>
                <a:gd name="T26" fmla="*/ 1 w 330"/>
                <a:gd name="T27" fmla="*/ 136 h 808"/>
                <a:gd name="T28" fmla="*/ 0 w 330"/>
                <a:gd name="T29" fmla="*/ 123 h 808"/>
                <a:gd name="T30" fmla="*/ 0 w 330"/>
                <a:gd name="T31" fmla="*/ 110 h 808"/>
                <a:gd name="T32" fmla="*/ 0 w 330"/>
                <a:gd name="T33" fmla="*/ 98 h 808"/>
                <a:gd name="T34" fmla="*/ 2 w 330"/>
                <a:gd name="T35" fmla="*/ 87 h 808"/>
                <a:gd name="T36" fmla="*/ 4 w 330"/>
                <a:gd name="T37" fmla="*/ 76 h 808"/>
                <a:gd name="T38" fmla="*/ 7 w 330"/>
                <a:gd name="T39" fmla="*/ 66 h 808"/>
                <a:gd name="T40" fmla="*/ 12 w 330"/>
                <a:gd name="T41" fmla="*/ 56 h 808"/>
                <a:gd name="T42" fmla="*/ 17 w 330"/>
                <a:gd name="T43" fmla="*/ 47 h 808"/>
                <a:gd name="T44" fmla="*/ 23 w 330"/>
                <a:gd name="T45" fmla="*/ 39 h 808"/>
                <a:gd name="T46" fmla="*/ 31 w 330"/>
                <a:gd name="T47" fmla="*/ 31 h 808"/>
                <a:gd name="T48" fmla="*/ 39 w 330"/>
                <a:gd name="T49" fmla="*/ 25 h 808"/>
                <a:gd name="T50" fmla="*/ 48 w 330"/>
                <a:gd name="T51" fmla="*/ 19 h 808"/>
                <a:gd name="T52" fmla="*/ 58 w 330"/>
                <a:gd name="T53" fmla="*/ 13 h 808"/>
                <a:gd name="T54" fmla="*/ 70 w 330"/>
                <a:gd name="T55" fmla="*/ 8 h 808"/>
                <a:gd name="T56" fmla="*/ 70 w 330"/>
                <a:gd name="T57" fmla="*/ 8 h 808"/>
                <a:gd name="T58" fmla="*/ 82 w 330"/>
                <a:gd name="T59" fmla="*/ 5 h 808"/>
                <a:gd name="T60" fmla="*/ 93 w 330"/>
                <a:gd name="T61" fmla="*/ 2 h 808"/>
                <a:gd name="T62" fmla="*/ 104 w 330"/>
                <a:gd name="T63" fmla="*/ 1 h 808"/>
                <a:gd name="T64" fmla="*/ 114 w 330"/>
                <a:gd name="T65" fmla="*/ 0 h 808"/>
                <a:gd name="T66" fmla="*/ 124 w 330"/>
                <a:gd name="T67" fmla="*/ 1 h 808"/>
                <a:gd name="T68" fmla="*/ 134 w 330"/>
                <a:gd name="T69" fmla="*/ 2 h 808"/>
                <a:gd name="T70" fmla="*/ 143 w 330"/>
                <a:gd name="T71" fmla="*/ 5 h 808"/>
                <a:gd name="T72" fmla="*/ 151 w 330"/>
                <a:gd name="T73" fmla="*/ 8 h 808"/>
                <a:gd name="T74" fmla="*/ 159 w 330"/>
                <a:gd name="T75" fmla="*/ 13 h 808"/>
                <a:gd name="T76" fmla="*/ 167 w 330"/>
                <a:gd name="T77" fmla="*/ 19 h 808"/>
                <a:gd name="T78" fmla="*/ 174 w 330"/>
                <a:gd name="T79" fmla="*/ 26 h 808"/>
                <a:gd name="T80" fmla="*/ 182 w 330"/>
                <a:gd name="T81" fmla="*/ 33 h 808"/>
                <a:gd name="T82" fmla="*/ 188 w 330"/>
                <a:gd name="T83" fmla="*/ 41 h 808"/>
                <a:gd name="T84" fmla="*/ 193 w 330"/>
                <a:gd name="T85" fmla="*/ 51 h 808"/>
                <a:gd name="T86" fmla="*/ 198 w 330"/>
                <a:gd name="T87" fmla="*/ 61 h 808"/>
                <a:gd name="T88" fmla="*/ 202 w 330"/>
                <a:gd name="T89" fmla="*/ 73 h 808"/>
                <a:gd name="T90" fmla="*/ 202 w 330"/>
                <a:gd name="T91" fmla="*/ 73 h 808"/>
                <a:gd name="T92" fmla="*/ 264 w 330"/>
                <a:gd name="T93" fmla="*/ 324 h 808"/>
                <a:gd name="T94" fmla="*/ 327 w 330"/>
                <a:gd name="T95" fmla="*/ 574 h 808"/>
                <a:gd name="T96" fmla="*/ 327 w 330"/>
                <a:gd name="T97" fmla="*/ 574 h 808"/>
                <a:gd name="T98" fmla="*/ 329 w 330"/>
                <a:gd name="T99" fmla="*/ 577 h 808"/>
                <a:gd name="T100" fmla="*/ 330 w 330"/>
                <a:gd name="T101" fmla="*/ 582 h 808"/>
                <a:gd name="T102" fmla="*/ 330 w 330"/>
                <a:gd name="T103" fmla="*/ 586 h 808"/>
                <a:gd name="T104" fmla="*/ 329 w 330"/>
                <a:gd name="T105" fmla="*/ 592 h 808"/>
                <a:gd name="T106" fmla="*/ 325 w 330"/>
                <a:gd name="T107" fmla="*/ 602 h 808"/>
                <a:gd name="T108" fmla="*/ 323 w 330"/>
                <a:gd name="T109" fmla="*/ 606 h 808"/>
                <a:gd name="T110" fmla="*/ 320 w 330"/>
                <a:gd name="T111" fmla="*/ 609 h 808"/>
                <a:gd name="T112" fmla="*/ 320 w 330"/>
                <a:gd name="T113" fmla="*/ 609 h 808"/>
                <a:gd name="T114" fmla="*/ 282 w 330"/>
                <a:gd name="T115" fmla="*/ 658 h 808"/>
                <a:gd name="T116" fmla="*/ 243 w 330"/>
                <a:gd name="T117" fmla="*/ 706 h 808"/>
                <a:gd name="T118" fmla="*/ 202 w 330"/>
                <a:gd name="T119" fmla="*/ 755 h 808"/>
                <a:gd name="T120" fmla="*/ 160 w 330"/>
                <a:gd name="T121" fmla="*/ 808 h 8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30" h="808">
                  <a:moveTo>
                    <a:pt x="160" y="808"/>
                  </a:moveTo>
                  <a:lnTo>
                    <a:pt x="160" y="808"/>
                  </a:lnTo>
                  <a:lnTo>
                    <a:pt x="129" y="681"/>
                  </a:lnTo>
                  <a:lnTo>
                    <a:pt x="98" y="560"/>
                  </a:lnTo>
                  <a:lnTo>
                    <a:pt x="98" y="560"/>
                  </a:lnTo>
                  <a:lnTo>
                    <a:pt x="87" y="510"/>
                  </a:lnTo>
                  <a:lnTo>
                    <a:pt x="76" y="460"/>
                  </a:lnTo>
                  <a:lnTo>
                    <a:pt x="52" y="362"/>
                  </a:lnTo>
                  <a:lnTo>
                    <a:pt x="29" y="264"/>
                  </a:lnTo>
                  <a:lnTo>
                    <a:pt x="18" y="215"/>
                  </a:lnTo>
                  <a:lnTo>
                    <a:pt x="7" y="164"/>
                  </a:lnTo>
                  <a:lnTo>
                    <a:pt x="7" y="164"/>
                  </a:lnTo>
                  <a:lnTo>
                    <a:pt x="4" y="150"/>
                  </a:lnTo>
                  <a:lnTo>
                    <a:pt x="1" y="136"/>
                  </a:lnTo>
                  <a:lnTo>
                    <a:pt x="0" y="123"/>
                  </a:lnTo>
                  <a:lnTo>
                    <a:pt x="0" y="110"/>
                  </a:lnTo>
                  <a:lnTo>
                    <a:pt x="0" y="98"/>
                  </a:lnTo>
                  <a:lnTo>
                    <a:pt x="2" y="87"/>
                  </a:lnTo>
                  <a:lnTo>
                    <a:pt x="4" y="76"/>
                  </a:lnTo>
                  <a:lnTo>
                    <a:pt x="7" y="66"/>
                  </a:lnTo>
                  <a:lnTo>
                    <a:pt x="12" y="56"/>
                  </a:lnTo>
                  <a:lnTo>
                    <a:pt x="17" y="47"/>
                  </a:lnTo>
                  <a:lnTo>
                    <a:pt x="23" y="39"/>
                  </a:lnTo>
                  <a:lnTo>
                    <a:pt x="31" y="31"/>
                  </a:lnTo>
                  <a:lnTo>
                    <a:pt x="39" y="25"/>
                  </a:lnTo>
                  <a:lnTo>
                    <a:pt x="48" y="19"/>
                  </a:lnTo>
                  <a:lnTo>
                    <a:pt x="58" y="13"/>
                  </a:lnTo>
                  <a:lnTo>
                    <a:pt x="70" y="8"/>
                  </a:lnTo>
                  <a:lnTo>
                    <a:pt x="70" y="8"/>
                  </a:lnTo>
                  <a:lnTo>
                    <a:pt x="82" y="5"/>
                  </a:lnTo>
                  <a:lnTo>
                    <a:pt x="93" y="2"/>
                  </a:lnTo>
                  <a:lnTo>
                    <a:pt x="104" y="1"/>
                  </a:lnTo>
                  <a:lnTo>
                    <a:pt x="114" y="0"/>
                  </a:lnTo>
                  <a:lnTo>
                    <a:pt x="124" y="1"/>
                  </a:lnTo>
                  <a:lnTo>
                    <a:pt x="134" y="2"/>
                  </a:lnTo>
                  <a:lnTo>
                    <a:pt x="143" y="5"/>
                  </a:lnTo>
                  <a:lnTo>
                    <a:pt x="151" y="8"/>
                  </a:lnTo>
                  <a:lnTo>
                    <a:pt x="159" y="13"/>
                  </a:lnTo>
                  <a:lnTo>
                    <a:pt x="167" y="19"/>
                  </a:lnTo>
                  <a:lnTo>
                    <a:pt x="174" y="26"/>
                  </a:lnTo>
                  <a:lnTo>
                    <a:pt x="182" y="33"/>
                  </a:lnTo>
                  <a:lnTo>
                    <a:pt x="188" y="41"/>
                  </a:lnTo>
                  <a:lnTo>
                    <a:pt x="193" y="51"/>
                  </a:lnTo>
                  <a:lnTo>
                    <a:pt x="198" y="61"/>
                  </a:lnTo>
                  <a:lnTo>
                    <a:pt x="202" y="73"/>
                  </a:lnTo>
                  <a:lnTo>
                    <a:pt x="202" y="73"/>
                  </a:lnTo>
                  <a:lnTo>
                    <a:pt x="264" y="324"/>
                  </a:lnTo>
                  <a:lnTo>
                    <a:pt x="327" y="574"/>
                  </a:lnTo>
                  <a:lnTo>
                    <a:pt x="327" y="574"/>
                  </a:lnTo>
                  <a:lnTo>
                    <a:pt x="329" y="577"/>
                  </a:lnTo>
                  <a:lnTo>
                    <a:pt x="330" y="582"/>
                  </a:lnTo>
                  <a:lnTo>
                    <a:pt x="330" y="586"/>
                  </a:lnTo>
                  <a:lnTo>
                    <a:pt x="329" y="592"/>
                  </a:lnTo>
                  <a:lnTo>
                    <a:pt x="325" y="602"/>
                  </a:lnTo>
                  <a:lnTo>
                    <a:pt x="323" y="606"/>
                  </a:lnTo>
                  <a:lnTo>
                    <a:pt x="320" y="609"/>
                  </a:lnTo>
                  <a:lnTo>
                    <a:pt x="320" y="609"/>
                  </a:lnTo>
                  <a:lnTo>
                    <a:pt x="282" y="658"/>
                  </a:lnTo>
                  <a:lnTo>
                    <a:pt x="243" y="706"/>
                  </a:lnTo>
                  <a:lnTo>
                    <a:pt x="202" y="755"/>
                  </a:lnTo>
                  <a:lnTo>
                    <a:pt x="160" y="808"/>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4" name="Freeform 16"/>
            <p:cNvSpPr>
              <a:spLocks/>
            </p:cNvSpPr>
            <p:nvPr/>
          </p:nvSpPr>
          <p:spPr bwMode="auto">
            <a:xfrm>
              <a:off x="6405563" y="2068513"/>
              <a:ext cx="77788" cy="77788"/>
            </a:xfrm>
            <a:custGeom>
              <a:avLst/>
              <a:gdLst>
                <a:gd name="T0" fmla="*/ 197 w 388"/>
                <a:gd name="T1" fmla="*/ 392 h 392"/>
                <a:gd name="T2" fmla="*/ 157 w 388"/>
                <a:gd name="T3" fmla="*/ 388 h 392"/>
                <a:gd name="T4" fmla="*/ 119 w 388"/>
                <a:gd name="T5" fmla="*/ 377 h 392"/>
                <a:gd name="T6" fmla="*/ 85 w 388"/>
                <a:gd name="T7" fmla="*/ 359 h 392"/>
                <a:gd name="T8" fmla="*/ 57 w 388"/>
                <a:gd name="T9" fmla="*/ 335 h 392"/>
                <a:gd name="T10" fmla="*/ 33 w 388"/>
                <a:gd name="T11" fmla="*/ 307 h 392"/>
                <a:gd name="T12" fmla="*/ 15 w 388"/>
                <a:gd name="T13" fmla="*/ 275 h 392"/>
                <a:gd name="T14" fmla="*/ 4 w 388"/>
                <a:gd name="T15" fmla="*/ 239 h 392"/>
                <a:gd name="T16" fmla="*/ 0 w 388"/>
                <a:gd name="T17" fmla="*/ 200 h 392"/>
                <a:gd name="T18" fmla="*/ 1 w 388"/>
                <a:gd name="T19" fmla="*/ 178 h 392"/>
                <a:gd name="T20" fmla="*/ 8 w 388"/>
                <a:gd name="T21" fmla="*/ 139 h 392"/>
                <a:gd name="T22" fmla="*/ 23 w 388"/>
                <a:gd name="T23" fmla="*/ 103 h 392"/>
                <a:gd name="T24" fmla="*/ 44 w 388"/>
                <a:gd name="T25" fmla="*/ 71 h 392"/>
                <a:gd name="T26" fmla="*/ 70 w 388"/>
                <a:gd name="T27" fmla="*/ 44 h 392"/>
                <a:gd name="T28" fmla="*/ 102 w 388"/>
                <a:gd name="T29" fmla="*/ 23 h 392"/>
                <a:gd name="T30" fmla="*/ 137 w 388"/>
                <a:gd name="T31" fmla="*/ 8 h 392"/>
                <a:gd name="T32" fmla="*/ 177 w 388"/>
                <a:gd name="T33" fmla="*/ 1 h 392"/>
                <a:gd name="T34" fmla="*/ 197 w 388"/>
                <a:gd name="T35" fmla="*/ 0 h 392"/>
                <a:gd name="T36" fmla="*/ 238 w 388"/>
                <a:gd name="T37" fmla="*/ 4 h 392"/>
                <a:gd name="T38" fmla="*/ 275 w 388"/>
                <a:gd name="T39" fmla="*/ 15 h 392"/>
                <a:gd name="T40" fmla="*/ 307 w 388"/>
                <a:gd name="T41" fmla="*/ 32 h 392"/>
                <a:gd name="T42" fmla="*/ 334 w 388"/>
                <a:gd name="T43" fmla="*/ 56 h 392"/>
                <a:gd name="T44" fmla="*/ 357 w 388"/>
                <a:gd name="T45" fmla="*/ 85 h 392"/>
                <a:gd name="T46" fmla="*/ 373 w 388"/>
                <a:gd name="T47" fmla="*/ 117 h 392"/>
                <a:gd name="T48" fmla="*/ 384 w 388"/>
                <a:gd name="T49" fmla="*/ 153 h 392"/>
                <a:gd name="T50" fmla="*/ 388 w 388"/>
                <a:gd name="T51" fmla="*/ 192 h 392"/>
                <a:gd name="T52" fmla="*/ 387 w 388"/>
                <a:gd name="T53" fmla="*/ 214 h 392"/>
                <a:gd name="T54" fmla="*/ 380 w 388"/>
                <a:gd name="T55" fmla="*/ 253 h 392"/>
                <a:gd name="T56" fmla="*/ 366 w 388"/>
                <a:gd name="T57" fmla="*/ 289 h 392"/>
                <a:gd name="T58" fmla="*/ 346 w 388"/>
                <a:gd name="T59" fmla="*/ 320 h 392"/>
                <a:gd name="T60" fmla="*/ 321 w 388"/>
                <a:gd name="T61" fmla="*/ 348 h 392"/>
                <a:gd name="T62" fmla="*/ 292 w 388"/>
                <a:gd name="T63" fmla="*/ 369 h 392"/>
                <a:gd name="T64" fmla="*/ 256 w 388"/>
                <a:gd name="T65" fmla="*/ 383 h 392"/>
                <a:gd name="T66" fmla="*/ 218 w 388"/>
                <a:gd name="T67" fmla="*/ 391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88" h="392">
                  <a:moveTo>
                    <a:pt x="197" y="392"/>
                  </a:moveTo>
                  <a:lnTo>
                    <a:pt x="197" y="392"/>
                  </a:lnTo>
                  <a:lnTo>
                    <a:pt x="177" y="391"/>
                  </a:lnTo>
                  <a:lnTo>
                    <a:pt x="157" y="388"/>
                  </a:lnTo>
                  <a:lnTo>
                    <a:pt x="137" y="383"/>
                  </a:lnTo>
                  <a:lnTo>
                    <a:pt x="119" y="377"/>
                  </a:lnTo>
                  <a:lnTo>
                    <a:pt x="102" y="369"/>
                  </a:lnTo>
                  <a:lnTo>
                    <a:pt x="85" y="359"/>
                  </a:lnTo>
                  <a:lnTo>
                    <a:pt x="70" y="348"/>
                  </a:lnTo>
                  <a:lnTo>
                    <a:pt x="57" y="335"/>
                  </a:lnTo>
                  <a:lnTo>
                    <a:pt x="44" y="322"/>
                  </a:lnTo>
                  <a:lnTo>
                    <a:pt x="33" y="307"/>
                  </a:lnTo>
                  <a:lnTo>
                    <a:pt x="23" y="291"/>
                  </a:lnTo>
                  <a:lnTo>
                    <a:pt x="15" y="275"/>
                  </a:lnTo>
                  <a:lnTo>
                    <a:pt x="8" y="257"/>
                  </a:lnTo>
                  <a:lnTo>
                    <a:pt x="4" y="239"/>
                  </a:lnTo>
                  <a:lnTo>
                    <a:pt x="1" y="220"/>
                  </a:lnTo>
                  <a:lnTo>
                    <a:pt x="0" y="200"/>
                  </a:lnTo>
                  <a:lnTo>
                    <a:pt x="0" y="200"/>
                  </a:lnTo>
                  <a:lnTo>
                    <a:pt x="1" y="178"/>
                  </a:lnTo>
                  <a:lnTo>
                    <a:pt x="4" y="158"/>
                  </a:lnTo>
                  <a:lnTo>
                    <a:pt x="8" y="139"/>
                  </a:lnTo>
                  <a:lnTo>
                    <a:pt x="15" y="120"/>
                  </a:lnTo>
                  <a:lnTo>
                    <a:pt x="23" y="103"/>
                  </a:lnTo>
                  <a:lnTo>
                    <a:pt x="33" y="86"/>
                  </a:lnTo>
                  <a:lnTo>
                    <a:pt x="44" y="71"/>
                  </a:lnTo>
                  <a:lnTo>
                    <a:pt x="57" y="57"/>
                  </a:lnTo>
                  <a:lnTo>
                    <a:pt x="70" y="44"/>
                  </a:lnTo>
                  <a:lnTo>
                    <a:pt x="85" y="33"/>
                  </a:lnTo>
                  <a:lnTo>
                    <a:pt x="102" y="23"/>
                  </a:lnTo>
                  <a:lnTo>
                    <a:pt x="119" y="15"/>
                  </a:lnTo>
                  <a:lnTo>
                    <a:pt x="137" y="8"/>
                  </a:lnTo>
                  <a:lnTo>
                    <a:pt x="157" y="4"/>
                  </a:lnTo>
                  <a:lnTo>
                    <a:pt x="177" y="1"/>
                  </a:lnTo>
                  <a:lnTo>
                    <a:pt x="197" y="0"/>
                  </a:lnTo>
                  <a:lnTo>
                    <a:pt x="197" y="0"/>
                  </a:lnTo>
                  <a:lnTo>
                    <a:pt x="218" y="1"/>
                  </a:lnTo>
                  <a:lnTo>
                    <a:pt x="238" y="4"/>
                  </a:lnTo>
                  <a:lnTo>
                    <a:pt x="256" y="8"/>
                  </a:lnTo>
                  <a:lnTo>
                    <a:pt x="275" y="15"/>
                  </a:lnTo>
                  <a:lnTo>
                    <a:pt x="292" y="23"/>
                  </a:lnTo>
                  <a:lnTo>
                    <a:pt x="307" y="32"/>
                  </a:lnTo>
                  <a:lnTo>
                    <a:pt x="321" y="43"/>
                  </a:lnTo>
                  <a:lnTo>
                    <a:pt x="334" y="56"/>
                  </a:lnTo>
                  <a:lnTo>
                    <a:pt x="346" y="70"/>
                  </a:lnTo>
                  <a:lnTo>
                    <a:pt x="357" y="85"/>
                  </a:lnTo>
                  <a:lnTo>
                    <a:pt x="366" y="100"/>
                  </a:lnTo>
                  <a:lnTo>
                    <a:pt x="373" y="117"/>
                  </a:lnTo>
                  <a:lnTo>
                    <a:pt x="380" y="135"/>
                  </a:lnTo>
                  <a:lnTo>
                    <a:pt x="384" y="153"/>
                  </a:lnTo>
                  <a:lnTo>
                    <a:pt x="387" y="172"/>
                  </a:lnTo>
                  <a:lnTo>
                    <a:pt x="388" y="192"/>
                  </a:lnTo>
                  <a:lnTo>
                    <a:pt x="388" y="192"/>
                  </a:lnTo>
                  <a:lnTo>
                    <a:pt x="387" y="214"/>
                  </a:lnTo>
                  <a:lnTo>
                    <a:pt x="384" y="234"/>
                  </a:lnTo>
                  <a:lnTo>
                    <a:pt x="380" y="253"/>
                  </a:lnTo>
                  <a:lnTo>
                    <a:pt x="373" y="272"/>
                  </a:lnTo>
                  <a:lnTo>
                    <a:pt x="366" y="289"/>
                  </a:lnTo>
                  <a:lnTo>
                    <a:pt x="357" y="305"/>
                  </a:lnTo>
                  <a:lnTo>
                    <a:pt x="346" y="320"/>
                  </a:lnTo>
                  <a:lnTo>
                    <a:pt x="334" y="334"/>
                  </a:lnTo>
                  <a:lnTo>
                    <a:pt x="321" y="348"/>
                  </a:lnTo>
                  <a:lnTo>
                    <a:pt x="307" y="359"/>
                  </a:lnTo>
                  <a:lnTo>
                    <a:pt x="292" y="369"/>
                  </a:lnTo>
                  <a:lnTo>
                    <a:pt x="275" y="377"/>
                  </a:lnTo>
                  <a:lnTo>
                    <a:pt x="256" y="383"/>
                  </a:lnTo>
                  <a:lnTo>
                    <a:pt x="238" y="388"/>
                  </a:lnTo>
                  <a:lnTo>
                    <a:pt x="218" y="391"/>
                  </a:lnTo>
                  <a:lnTo>
                    <a:pt x="197" y="3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5" name="Freeform 17"/>
            <p:cNvSpPr>
              <a:spLocks/>
            </p:cNvSpPr>
            <p:nvPr/>
          </p:nvSpPr>
          <p:spPr bwMode="auto">
            <a:xfrm>
              <a:off x="6405563" y="2068513"/>
              <a:ext cx="77788" cy="77788"/>
            </a:xfrm>
            <a:custGeom>
              <a:avLst/>
              <a:gdLst>
                <a:gd name="T0" fmla="*/ 197 w 388"/>
                <a:gd name="T1" fmla="*/ 392 h 392"/>
                <a:gd name="T2" fmla="*/ 157 w 388"/>
                <a:gd name="T3" fmla="*/ 388 h 392"/>
                <a:gd name="T4" fmla="*/ 119 w 388"/>
                <a:gd name="T5" fmla="*/ 377 h 392"/>
                <a:gd name="T6" fmla="*/ 85 w 388"/>
                <a:gd name="T7" fmla="*/ 359 h 392"/>
                <a:gd name="T8" fmla="*/ 57 w 388"/>
                <a:gd name="T9" fmla="*/ 335 h 392"/>
                <a:gd name="T10" fmla="*/ 33 w 388"/>
                <a:gd name="T11" fmla="*/ 307 h 392"/>
                <a:gd name="T12" fmla="*/ 15 w 388"/>
                <a:gd name="T13" fmla="*/ 275 h 392"/>
                <a:gd name="T14" fmla="*/ 4 w 388"/>
                <a:gd name="T15" fmla="*/ 239 h 392"/>
                <a:gd name="T16" fmla="*/ 0 w 388"/>
                <a:gd name="T17" fmla="*/ 200 h 392"/>
                <a:gd name="T18" fmla="*/ 1 w 388"/>
                <a:gd name="T19" fmla="*/ 178 h 392"/>
                <a:gd name="T20" fmla="*/ 8 w 388"/>
                <a:gd name="T21" fmla="*/ 139 h 392"/>
                <a:gd name="T22" fmla="*/ 23 w 388"/>
                <a:gd name="T23" fmla="*/ 103 h 392"/>
                <a:gd name="T24" fmla="*/ 44 w 388"/>
                <a:gd name="T25" fmla="*/ 71 h 392"/>
                <a:gd name="T26" fmla="*/ 70 w 388"/>
                <a:gd name="T27" fmla="*/ 44 h 392"/>
                <a:gd name="T28" fmla="*/ 102 w 388"/>
                <a:gd name="T29" fmla="*/ 23 h 392"/>
                <a:gd name="T30" fmla="*/ 137 w 388"/>
                <a:gd name="T31" fmla="*/ 8 h 392"/>
                <a:gd name="T32" fmla="*/ 177 w 388"/>
                <a:gd name="T33" fmla="*/ 1 h 392"/>
                <a:gd name="T34" fmla="*/ 197 w 388"/>
                <a:gd name="T35" fmla="*/ 0 h 392"/>
                <a:gd name="T36" fmla="*/ 238 w 388"/>
                <a:gd name="T37" fmla="*/ 4 h 392"/>
                <a:gd name="T38" fmla="*/ 275 w 388"/>
                <a:gd name="T39" fmla="*/ 15 h 392"/>
                <a:gd name="T40" fmla="*/ 307 w 388"/>
                <a:gd name="T41" fmla="*/ 32 h 392"/>
                <a:gd name="T42" fmla="*/ 334 w 388"/>
                <a:gd name="T43" fmla="*/ 56 h 392"/>
                <a:gd name="T44" fmla="*/ 357 w 388"/>
                <a:gd name="T45" fmla="*/ 85 h 392"/>
                <a:gd name="T46" fmla="*/ 373 w 388"/>
                <a:gd name="T47" fmla="*/ 117 h 392"/>
                <a:gd name="T48" fmla="*/ 384 w 388"/>
                <a:gd name="T49" fmla="*/ 153 h 392"/>
                <a:gd name="T50" fmla="*/ 388 w 388"/>
                <a:gd name="T51" fmla="*/ 192 h 392"/>
                <a:gd name="T52" fmla="*/ 387 w 388"/>
                <a:gd name="T53" fmla="*/ 214 h 392"/>
                <a:gd name="T54" fmla="*/ 380 w 388"/>
                <a:gd name="T55" fmla="*/ 253 h 392"/>
                <a:gd name="T56" fmla="*/ 366 w 388"/>
                <a:gd name="T57" fmla="*/ 289 h 392"/>
                <a:gd name="T58" fmla="*/ 346 w 388"/>
                <a:gd name="T59" fmla="*/ 320 h 392"/>
                <a:gd name="T60" fmla="*/ 321 w 388"/>
                <a:gd name="T61" fmla="*/ 348 h 392"/>
                <a:gd name="T62" fmla="*/ 292 w 388"/>
                <a:gd name="T63" fmla="*/ 369 h 392"/>
                <a:gd name="T64" fmla="*/ 256 w 388"/>
                <a:gd name="T65" fmla="*/ 383 h 392"/>
                <a:gd name="T66" fmla="*/ 218 w 388"/>
                <a:gd name="T67" fmla="*/ 391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88" h="392">
                  <a:moveTo>
                    <a:pt x="197" y="392"/>
                  </a:moveTo>
                  <a:lnTo>
                    <a:pt x="197" y="392"/>
                  </a:lnTo>
                  <a:lnTo>
                    <a:pt x="177" y="391"/>
                  </a:lnTo>
                  <a:lnTo>
                    <a:pt x="157" y="388"/>
                  </a:lnTo>
                  <a:lnTo>
                    <a:pt x="137" y="383"/>
                  </a:lnTo>
                  <a:lnTo>
                    <a:pt x="119" y="377"/>
                  </a:lnTo>
                  <a:lnTo>
                    <a:pt x="102" y="369"/>
                  </a:lnTo>
                  <a:lnTo>
                    <a:pt x="85" y="359"/>
                  </a:lnTo>
                  <a:lnTo>
                    <a:pt x="70" y="348"/>
                  </a:lnTo>
                  <a:lnTo>
                    <a:pt x="57" y="335"/>
                  </a:lnTo>
                  <a:lnTo>
                    <a:pt x="44" y="322"/>
                  </a:lnTo>
                  <a:lnTo>
                    <a:pt x="33" y="307"/>
                  </a:lnTo>
                  <a:lnTo>
                    <a:pt x="23" y="291"/>
                  </a:lnTo>
                  <a:lnTo>
                    <a:pt x="15" y="275"/>
                  </a:lnTo>
                  <a:lnTo>
                    <a:pt x="8" y="257"/>
                  </a:lnTo>
                  <a:lnTo>
                    <a:pt x="4" y="239"/>
                  </a:lnTo>
                  <a:lnTo>
                    <a:pt x="1" y="220"/>
                  </a:lnTo>
                  <a:lnTo>
                    <a:pt x="0" y="200"/>
                  </a:lnTo>
                  <a:lnTo>
                    <a:pt x="0" y="200"/>
                  </a:lnTo>
                  <a:lnTo>
                    <a:pt x="1" y="178"/>
                  </a:lnTo>
                  <a:lnTo>
                    <a:pt x="4" y="158"/>
                  </a:lnTo>
                  <a:lnTo>
                    <a:pt x="8" y="139"/>
                  </a:lnTo>
                  <a:lnTo>
                    <a:pt x="15" y="120"/>
                  </a:lnTo>
                  <a:lnTo>
                    <a:pt x="23" y="103"/>
                  </a:lnTo>
                  <a:lnTo>
                    <a:pt x="33" y="86"/>
                  </a:lnTo>
                  <a:lnTo>
                    <a:pt x="44" y="71"/>
                  </a:lnTo>
                  <a:lnTo>
                    <a:pt x="57" y="57"/>
                  </a:lnTo>
                  <a:lnTo>
                    <a:pt x="70" y="44"/>
                  </a:lnTo>
                  <a:lnTo>
                    <a:pt x="85" y="33"/>
                  </a:lnTo>
                  <a:lnTo>
                    <a:pt x="102" y="23"/>
                  </a:lnTo>
                  <a:lnTo>
                    <a:pt x="119" y="15"/>
                  </a:lnTo>
                  <a:lnTo>
                    <a:pt x="137" y="8"/>
                  </a:lnTo>
                  <a:lnTo>
                    <a:pt x="157" y="4"/>
                  </a:lnTo>
                  <a:lnTo>
                    <a:pt x="177" y="1"/>
                  </a:lnTo>
                  <a:lnTo>
                    <a:pt x="197" y="0"/>
                  </a:lnTo>
                  <a:lnTo>
                    <a:pt x="197" y="0"/>
                  </a:lnTo>
                  <a:lnTo>
                    <a:pt x="218" y="1"/>
                  </a:lnTo>
                  <a:lnTo>
                    <a:pt x="238" y="4"/>
                  </a:lnTo>
                  <a:lnTo>
                    <a:pt x="256" y="8"/>
                  </a:lnTo>
                  <a:lnTo>
                    <a:pt x="275" y="15"/>
                  </a:lnTo>
                  <a:lnTo>
                    <a:pt x="292" y="23"/>
                  </a:lnTo>
                  <a:lnTo>
                    <a:pt x="307" y="32"/>
                  </a:lnTo>
                  <a:lnTo>
                    <a:pt x="321" y="43"/>
                  </a:lnTo>
                  <a:lnTo>
                    <a:pt x="334" y="56"/>
                  </a:lnTo>
                  <a:lnTo>
                    <a:pt x="346" y="70"/>
                  </a:lnTo>
                  <a:lnTo>
                    <a:pt x="357" y="85"/>
                  </a:lnTo>
                  <a:lnTo>
                    <a:pt x="366" y="100"/>
                  </a:lnTo>
                  <a:lnTo>
                    <a:pt x="373" y="117"/>
                  </a:lnTo>
                  <a:lnTo>
                    <a:pt x="380" y="135"/>
                  </a:lnTo>
                  <a:lnTo>
                    <a:pt x="384" y="153"/>
                  </a:lnTo>
                  <a:lnTo>
                    <a:pt x="387" y="172"/>
                  </a:lnTo>
                  <a:lnTo>
                    <a:pt x="388" y="192"/>
                  </a:lnTo>
                  <a:lnTo>
                    <a:pt x="388" y="192"/>
                  </a:lnTo>
                  <a:lnTo>
                    <a:pt x="387" y="214"/>
                  </a:lnTo>
                  <a:lnTo>
                    <a:pt x="384" y="234"/>
                  </a:lnTo>
                  <a:lnTo>
                    <a:pt x="380" y="253"/>
                  </a:lnTo>
                  <a:lnTo>
                    <a:pt x="373" y="272"/>
                  </a:lnTo>
                  <a:lnTo>
                    <a:pt x="366" y="289"/>
                  </a:lnTo>
                  <a:lnTo>
                    <a:pt x="357" y="305"/>
                  </a:lnTo>
                  <a:lnTo>
                    <a:pt x="346" y="320"/>
                  </a:lnTo>
                  <a:lnTo>
                    <a:pt x="334" y="334"/>
                  </a:lnTo>
                  <a:lnTo>
                    <a:pt x="321" y="348"/>
                  </a:lnTo>
                  <a:lnTo>
                    <a:pt x="307" y="359"/>
                  </a:lnTo>
                  <a:lnTo>
                    <a:pt x="292" y="369"/>
                  </a:lnTo>
                  <a:lnTo>
                    <a:pt x="275" y="377"/>
                  </a:lnTo>
                  <a:lnTo>
                    <a:pt x="256" y="383"/>
                  </a:lnTo>
                  <a:lnTo>
                    <a:pt x="238" y="388"/>
                  </a:lnTo>
                  <a:lnTo>
                    <a:pt x="218" y="391"/>
                  </a:lnTo>
                  <a:lnTo>
                    <a:pt x="197" y="392"/>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6" name="Freeform 18"/>
            <p:cNvSpPr>
              <a:spLocks/>
            </p:cNvSpPr>
            <p:nvPr/>
          </p:nvSpPr>
          <p:spPr bwMode="auto">
            <a:xfrm>
              <a:off x="6105525" y="1935163"/>
              <a:ext cx="244475" cy="293688"/>
            </a:xfrm>
            <a:custGeom>
              <a:avLst/>
              <a:gdLst>
                <a:gd name="T0" fmla="*/ 1177 w 1233"/>
                <a:gd name="T1" fmla="*/ 1475 h 1478"/>
                <a:gd name="T2" fmla="*/ 1199 w 1233"/>
                <a:gd name="T3" fmla="*/ 1464 h 1478"/>
                <a:gd name="T4" fmla="*/ 1216 w 1233"/>
                <a:gd name="T5" fmla="*/ 1447 h 1478"/>
                <a:gd name="T6" fmla="*/ 1226 w 1233"/>
                <a:gd name="T7" fmla="*/ 1427 h 1478"/>
                <a:gd name="T8" fmla="*/ 1233 w 1233"/>
                <a:gd name="T9" fmla="*/ 1378 h 1478"/>
                <a:gd name="T10" fmla="*/ 1146 w 1233"/>
                <a:gd name="T11" fmla="*/ 1103 h 1478"/>
                <a:gd name="T12" fmla="*/ 1055 w 1233"/>
                <a:gd name="T13" fmla="*/ 838 h 1478"/>
                <a:gd name="T14" fmla="*/ 1039 w 1233"/>
                <a:gd name="T15" fmla="*/ 795 h 1478"/>
                <a:gd name="T16" fmla="*/ 1016 w 1233"/>
                <a:gd name="T17" fmla="*/ 760 h 1478"/>
                <a:gd name="T18" fmla="*/ 987 w 1233"/>
                <a:gd name="T19" fmla="*/ 732 h 1478"/>
                <a:gd name="T20" fmla="*/ 954 w 1233"/>
                <a:gd name="T21" fmla="*/ 710 h 1478"/>
                <a:gd name="T22" fmla="*/ 906 w 1233"/>
                <a:gd name="T23" fmla="*/ 689 h 1478"/>
                <a:gd name="T24" fmla="*/ 832 w 1233"/>
                <a:gd name="T25" fmla="*/ 673 h 1478"/>
                <a:gd name="T26" fmla="*/ 768 w 1233"/>
                <a:gd name="T27" fmla="*/ 669 h 1478"/>
                <a:gd name="T28" fmla="*/ 723 w 1233"/>
                <a:gd name="T29" fmla="*/ 668 h 1478"/>
                <a:gd name="T30" fmla="*/ 688 w 1233"/>
                <a:gd name="T31" fmla="*/ 663 h 1478"/>
                <a:gd name="T32" fmla="*/ 641 w 1233"/>
                <a:gd name="T33" fmla="*/ 648 h 1478"/>
                <a:gd name="T34" fmla="*/ 573 w 1233"/>
                <a:gd name="T35" fmla="*/ 608 h 1478"/>
                <a:gd name="T36" fmla="*/ 534 w 1233"/>
                <a:gd name="T37" fmla="*/ 575 h 1478"/>
                <a:gd name="T38" fmla="*/ 488 w 1233"/>
                <a:gd name="T39" fmla="*/ 522 h 1478"/>
                <a:gd name="T40" fmla="*/ 435 w 1233"/>
                <a:gd name="T41" fmla="*/ 449 h 1478"/>
                <a:gd name="T42" fmla="*/ 366 w 1233"/>
                <a:gd name="T43" fmla="*/ 327 h 1478"/>
                <a:gd name="T44" fmla="*/ 238 w 1233"/>
                <a:gd name="T45" fmla="*/ 72 h 1478"/>
                <a:gd name="T46" fmla="*/ 227 w 1233"/>
                <a:gd name="T47" fmla="*/ 53 h 1478"/>
                <a:gd name="T48" fmla="*/ 208 w 1233"/>
                <a:gd name="T49" fmla="*/ 29 h 1478"/>
                <a:gd name="T50" fmla="*/ 185 w 1233"/>
                <a:gd name="T51" fmla="*/ 13 h 1478"/>
                <a:gd name="T52" fmla="*/ 157 w 1233"/>
                <a:gd name="T53" fmla="*/ 3 h 1478"/>
                <a:gd name="T54" fmla="*/ 127 w 1233"/>
                <a:gd name="T55" fmla="*/ 0 h 1478"/>
                <a:gd name="T56" fmla="*/ 104 w 1233"/>
                <a:gd name="T57" fmla="*/ 1 h 1478"/>
                <a:gd name="T58" fmla="*/ 60 w 1233"/>
                <a:gd name="T59" fmla="*/ 14 h 1478"/>
                <a:gd name="T60" fmla="*/ 38 w 1233"/>
                <a:gd name="T61" fmla="*/ 28 h 1478"/>
                <a:gd name="T62" fmla="*/ 20 w 1233"/>
                <a:gd name="T63" fmla="*/ 46 h 1478"/>
                <a:gd name="T64" fmla="*/ 8 w 1233"/>
                <a:gd name="T65" fmla="*/ 69 h 1478"/>
                <a:gd name="T66" fmla="*/ 4 w 1233"/>
                <a:gd name="T67" fmla="*/ 86 h 1478"/>
                <a:gd name="T68" fmla="*/ 0 w 1233"/>
                <a:gd name="T69" fmla="*/ 131 h 1478"/>
                <a:gd name="T70" fmla="*/ 3 w 1233"/>
                <a:gd name="T71" fmla="*/ 178 h 1478"/>
                <a:gd name="T72" fmla="*/ 11 w 1233"/>
                <a:gd name="T73" fmla="*/ 207 h 1478"/>
                <a:gd name="T74" fmla="*/ 190 w 1233"/>
                <a:gd name="T75" fmla="*/ 555 h 1478"/>
                <a:gd name="T76" fmla="*/ 253 w 1233"/>
                <a:gd name="T77" fmla="*/ 668 h 1478"/>
                <a:gd name="T78" fmla="*/ 311 w 1233"/>
                <a:gd name="T79" fmla="*/ 794 h 1478"/>
                <a:gd name="T80" fmla="*/ 353 w 1233"/>
                <a:gd name="T81" fmla="*/ 921 h 1478"/>
                <a:gd name="T82" fmla="*/ 373 w 1233"/>
                <a:gd name="T83" fmla="*/ 1009 h 1478"/>
                <a:gd name="T84" fmla="*/ 386 w 1233"/>
                <a:gd name="T85" fmla="*/ 1095 h 1478"/>
                <a:gd name="T86" fmla="*/ 388 w 1233"/>
                <a:gd name="T87" fmla="*/ 1188 h 1478"/>
                <a:gd name="T88" fmla="*/ 394 w 1233"/>
                <a:gd name="T89" fmla="*/ 1385 h 1478"/>
                <a:gd name="T90" fmla="*/ 396 w 1233"/>
                <a:gd name="T91" fmla="*/ 1416 h 1478"/>
                <a:gd name="T92" fmla="*/ 405 w 1233"/>
                <a:gd name="T93" fmla="*/ 1442 h 1478"/>
                <a:gd name="T94" fmla="*/ 417 w 1233"/>
                <a:gd name="T95" fmla="*/ 1459 h 1478"/>
                <a:gd name="T96" fmla="*/ 435 w 1233"/>
                <a:gd name="T97" fmla="*/ 1472 h 1478"/>
                <a:gd name="T98" fmla="*/ 1168 w 1233"/>
                <a:gd name="T99" fmla="*/ 1478 h 1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233" h="1478">
                  <a:moveTo>
                    <a:pt x="1168" y="1478"/>
                  </a:moveTo>
                  <a:lnTo>
                    <a:pt x="1168" y="1478"/>
                  </a:lnTo>
                  <a:lnTo>
                    <a:pt x="1177" y="1475"/>
                  </a:lnTo>
                  <a:lnTo>
                    <a:pt x="1185" y="1472"/>
                  </a:lnTo>
                  <a:lnTo>
                    <a:pt x="1193" y="1468"/>
                  </a:lnTo>
                  <a:lnTo>
                    <a:pt x="1199" y="1464"/>
                  </a:lnTo>
                  <a:lnTo>
                    <a:pt x="1206" y="1459"/>
                  </a:lnTo>
                  <a:lnTo>
                    <a:pt x="1211" y="1453"/>
                  </a:lnTo>
                  <a:lnTo>
                    <a:pt x="1216" y="1447"/>
                  </a:lnTo>
                  <a:lnTo>
                    <a:pt x="1220" y="1441"/>
                  </a:lnTo>
                  <a:lnTo>
                    <a:pt x="1223" y="1434"/>
                  </a:lnTo>
                  <a:lnTo>
                    <a:pt x="1226" y="1427"/>
                  </a:lnTo>
                  <a:lnTo>
                    <a:pt x="1230" y="1413"/>
                  </a:lnTo>
                  <a:lnTo>
                    <a:pt x="1232" y="1396"/>
                  </a:lnTo>
                  <a:lnTo>
                    <a:pt x="1233" y="1378"/>
                  </a:lnTo>
                  <a:lnTo>
                    <a:pt x="1233" y="1378"/>
                  </a:lnTo>
                  <a:lnTo>
                    <a:pt x="1181" y="1214"/>
                  </a:lnTo>
                  <a:lnTo>
                    <a:pt x="1146" y="1103"/>
                  </a:lnTo>
                  <a:lnTo>
                    <a:pt x="1110" y="995"/>
                  </a:lnTo>
                  <a:lnTo>
                    <a:pt x="1055" y="838"/>
                  </a:lnTo>
                  <a:lnTo>
                    <a:pt x="1055" y="838"/>
                  </a:lnTo>
                  <a:lnTo>
                    <a:pt x="1050" y="823"/>
                  </a:lnTo>
                  <a:lnTo>
                    <a:pt x="1045" y="809"/>
                  </a:lnTo>
                  <a:lnTo>
                    <a:pt x="1039" y="795"/>
                  </a:lnTo>
                  <a:lnTo>
                    <a:pt x="1032" y="783"/>
                  </a:lnTo>
                  <a:lnTo>
                    <a:pt x="1024" y="771"/>
                  </a:lnTo>
                  <a:lnTo>
                    <a:pt x="1016" y="760"/>
                  </a:lnTo>
                  <a:lnTo>
                    <a:pt x="1007" y="750"/>
                  </a:lnTo>
                  <a:lnTo>
                    <a:pt x="997" y="741"/>
                  </a:lnTo>
                  <a:lnTo>
                    <a:pt x="987" y="732"/>
                  </a:lnTo>
                  <a:lnTo>
                    <a:pt x="977" y="724"/>
                  </a:lnTo>
                  <a:lnTo>
                    <a:pt x="965" y="717"/>
                  </a:lnTo>
                  <a:lnTo>
                    <a:pt x="954" y="710"/>
                  </a:lnTo>
                  <a:lnTo>
                    <a:pt x="942" y="704"/>
                  </a:lnTo>
                  <a:lnTo>
                    <a:pt x="930" y="698"/>
                  </a:lnTo>
                  <a:lnTo>
                    <a:pt x="906" y="689"/>
                  </a:lnTo>
                  <a:lnTo>
                    <a:pt x="881" y="682"/>
                  </a:lnTo>
                  <a:lnTo>
                    <a:pt x="856" y="677"/>
                  </a:lnTo>
                  <a:lnTo>
                    <a:pt x="832" y="673"/>
                  </a:lnTo>
                  <a:lnTo>
                    <a:pt x="809" y="671"/>
                  </a:lnTo>
                  <a:lnTo>
                    <a:pt x="788" y="669"/>
                  </a:lnTo>
                  <a:lnTo>
                    <a:pt x="768" y="669"/>
                  </a:lnTo>
                  <a:lnTo>
                    <a:pt x="735" y="668"/>
                  </a:lnTo>
                  <a:lnTo>
                    <a:pt x="735" y="668"/>
                  </a:lnTo>
                  <a:lnTo>
                    <a:pt x="723" y="668"/>
                  </a:lnTo>
                  <a:lnTo>
                    <a:pt x="711" y="667"/>
                  </a:lnTo>
                  <a:lnTo>
                    <a:pt x="700" y="665"/>
                  </a:lnTo>
                  <a:lnTo>
                    <a:pt x="688" y="663"/>
                  </a:lnTo>
                  <a:lnTo>
                    <a:pt x="676" y="660"/>
                  </a:lnTo>
                  <a:lnTo>
                    <a:pt x="664" y="657"/>
                  </a:lnTo>
                  <a:lnTo>
                    <a:pt x="641" y="648"/>
                  </a:lnTo>
                  <a:lnTo>
                    <a:pt x="617" y="637"/>
                  </a:lnTo>
                  <a:lnTo>
                    <a:pt x="595" y="624"/>
                  </a:lnTo>
                  <a:lnTo>
                    <a:pt x="573" y="608"/>
                  </a:lnTo>
                  <a:lnTo>
                    <a:pt x="551" y="591"/>
                  </a:lnTo>
                  <a:lnTo>
                    <a:pt x="551" y="591"/>
                  </a:lnTo>
                  <a:lnTo>
                    <a:pt x="534" y="575"/>
                  </a:lnTo>
                  <a:lnTo>
                    <a:pt x="518" y="557"/>
                  </a:lnTo>
                  <a:lnTo>
                    <a:pt x="502" y="540"/>
                  </a:lnTo>
                  <a:lnTo>
                    <a:pt x="488" y="522"/>
                  </a:lnTo>
                  <a:lnTo>
                    <a:pt x="474" y="505"/>
                  </a:lnTo>
                  <a:lnTo>
                    <a:pt x="460" y="486"/>
                  </a:lnTo>
                  <a:lnTo>
                    <a:pt x="435" y="449"/>
                  </a:lnTo>
                  <a:lnTo>
                    <a:pt x="411" y="409"/>
                  </a:lnTo>
                  <a:lnTo>
                    <a:pt x="388" y="369"/>
                  </a:lnTo>
                  <a:lnTo>
                    <a:pt x="366" y="327"/>
                  </a:lnTo>
                  <a:lnTo>
                    <a:pt x="345" y="286"/>
                  </a:lnTo>
                  <a:lnTo>
                    <a:pt x="345" y="286"/>
                  </a:lnTo>
                  <a:lnTo>
                    <a:pt x="238" y="72"/>
                  </a:lnTo>
                  <a:lnTo>
                    <a:pt x="238" y="72"/>
                  </a:lnTo>
                  <a:lnTo>
                    <a:pt x="233" y="62"/>
                  </a:lnTo>
                  <a:lnTo>
                    <a:pt x="227" y="53"/>
                  </a:lnTo>
                  <a:lnTo>
                    <a:pt x="221" y="44"/>
                  </a:lnTo>
                  <a:lnTo>
                    <a:pt x="215" y="36"/>
                  </a:lnTo>
                  <a:lnTo>
                    <a:pt x="208" y="29"/>
                  </a:lnTo>
                  <a:lnTo>
                    <a:pt x="201" y="23"/>
                  </a:lnTo>
                  <a:lnTo>
                    <a:pt x="193" y="18"/>
                  </a:lnTo>
                  <a:lnTo>
                    <a:pt x="185" y="13"/>
                  </a:lnTo>
                  <a:lnTo>
                    <a:pt x="176" y="9"/>
                  </a:lnTo>
                  <a:lnTo>
                    <a:pt x="166" y="6"/>
                  </a:lnTo>
                  <a:lnTo>
                    <a:pt x="157" y="3"/>
                  </a:lnTo>
                  <a:lnTo>
                    <a:pt x="147" y="2"/>
                  </a:lnTo>
                  <a:lnTo>
                    <a:pt x="137" y="1"/>
                  </a:lnTo>
                  <a:lnTo>
                    <a:pt x="127" y="0"/>
                  </a:lnTo>
                  <a:lnTo>
                    <a:pt x="115" y="0"/>
                  </a:lnTo>
                  <a:lnTo>
                    <a:pt x="104" y="1"/>
                  </a:lnTo>
                  <a:lnTo>
                    <a:pt x="104" y="1"/>
                  </a:lnTo>
                  <a:lnTo>
                    <a:pt x="86" y="5"/>
                  </a:lnTo>
                  <a:lnTo>
                    <a:pt x="69" y="11"/>
                  </a:lnTo>
                  <a:lnTo>
                    <a:pt x="60" y="14"/>
                  </a:lnTo>
                  <a:lnTo>
                    <a:pt x="52" y="18"/>
                  </a:lnTo>
                  <a:lnTo>
                    <a:pt x="44" y="23"/>
                  </a:lnTo>
                  <a:lnTo>
                    <a:pt x="38" y="28"/>
                  </a:lnTo>
                  <a:lnTo>
                    <a:pt x="31" y="33"/>
                  </a:lnTo>
                  <a:lnTo>
                    <a:pt x="26" y="39"/>
                  </a:lnTo>
                  <a:lnTo>
                    <a:pt x="20" y="46"/>
                  </a:lnTo>
                  <a:lnTo>
                    <a:pt x="16" y="53"/>
                  </a:lnTo>
                  <a:lnTo>
                    <a:pt x="12" y="61"/>
                  </a:lnTo>
                  <a:lnTo>
                    <a:pt x="8" y="69"/>
                  </a:lnTo>
                  <a:lnTo>
                    <a:pt x="6" y="77"/>
                  </a:lnTo>
                  <a:lnTo>
                    <a:pt x="4" y="86"/>
                  </a:lnTo>
                  <a:lnTo>
                    <a:pt x="4" y="86"/>
                  </a:lnTo>
                  <a:lnTo>
                    <a:pt x="2" y="100"/>
                  </a:lnTo>
                  <a:lnTo>
                    <a:pt x="0" y="115"/>
                  </a:lnTo>
                  <a:lnTo>
                    <a:pt x="0" y="131"/>
                  </a:lnTo>
                  <a:lnTo>
                    <a:pt x="0" y="147"/>
                  </a:lnTo>
                  <a:lnTo>
                    <a:pt x="1" y="163"/>
                  </a:lnTo>
                  <a:lnTo>
                    <a:pt x="3" y="178"/>
                  </a:lnTo>
                  <a:lnTo>
                    <a:pt x="7" y="193"/>
                  </a:lnTo>
                  <a:lnTo>
                    <a:pt x="11" y="207"/>
                  </a:lnTo>
                  <a:lnTo>
                    <a:pt x="11" y="207"/>
                  </a:lnTo>
                  <a:lnTo>
                    <a:pt x="70" y="324"/>
                  </a:lnTo>
                  <a:lnTo>
                    <a:pt x="129" y="441"/>
                  </a:lnTo>
                  <a:lnTo>
                    <a:pt x="190" y="555"/>
                  </a:lnTo>
                  <a:lnTo>
                    <a:pt x="221" y="612"/>
                  </a:lnTo>
                  <a:lnTo>
                    <a:pt x="253" y="668"/>
                  </a:lnTo>
                  <a:lnTo>
                    <a:pt x="253" y="668"/>
                  </a:lnTo>
                  <a:lnTo>
                    <a:pt x="273" y="710"/>
                  </a:lnTo>
                  <a:lnTo>
                    <a:pt x="293" y="753"/>
                  </a:lnTo>
                  <a:lnTo>
                    <a:pt x="311" y="794"/>
                  </a:lnTo>
                  <a:lnTo>
                    <a:pt x="327" y="836"/>
                  </a:lnTo>
                  <a:lnTo>
                    <a:pt x="341" y="879"/>
                  </a:lnTo>
                  <a:lnTo>
                    <a:pt x="353" y="921"/>
                  </a:lnTo>
                  <a:lnTo>
                    <a:pt x="364" y="964"/>
                  </a:lnTo>
                  <a:lnTo>
                    <a:pt x="373" y="1009"/>
                  </a:lnTo>
                  <a:lnTo>
                    <a:pt x="373" y="1009"/>
                  </a:lnTo>
                  <a:lnTo>
                    <a:pt x="378" y="1037"/>
                  </a:lnTo>
                  <a:lnTo>
                    <a:pt x="383" y="1066"/>
                  </a:lnTo>
                  <a:lnTo>
                    <a:pt x="386" y="1095"/>
                  </a:lnTo>
                  <a:lnTo>
                    <a:pt x="387" y="1122"/>
                  </a:lnTo>
                  <a:lnTo>
                    <a:pt x="387" y="1122"/>
                  </a:lnTo>
                  <a:lnTo>
                    <a:pt x="388" y="1188"/>
                  </a:lnTo>
                  <a:lnTo>
                    <a:pt x="391" y="1254"/>
                  </a:lnTo>
                  <a:lnTo>
                    <a:pt x="393" y="1321"/>
                  </a:lnTo>
                  <a:lnTo>
                    <a:pt x="394" y="1385"/>
                  </a:lnTo>
                  <a:lnTo>
                    <a:pt x="394" y="1385"/>
                  </a:lnTo>
                  <a:lnTo>
                    <a:pt x="395" y="1401"/>
                  </a:lnTo>
                  <a:lnTo>
                    <a:pt x="396" y="1416"/>
                  </a:lnTo>
                  <a:lnTo>
                    <a:pt x="399" y="1429"/>
                  </a:lnTo>
                  <a:lnTo>
                    <a:pt x="402" y="1436"/>
                  </a:lnTo>
                  <a:lnTo>
                    <a:pt x="405" y="1442"/>
                  </a:lnTo>
                  <a:lnTo>
                    <a:pt x="408" y="1448"/>
                  </a:lnTo>
                  <a:lnTo>
                    <a:pt x="412" y="1453"/>
                  </a:lnTo>
                  <a:lnTo>
                    <a:pt x="417" y="1459"/>
                  </a:lnTo>
                  <a:lnTo>
                    <a:pt x="422" y="1464"/>
                  </a:lnTo>
                  <a:lnTo>
                    <a:pt x="428" y="1468"/>
                  </a:lnTo>
                  <a:lnTo>
                    <a:pt x="435" y="1472"/>
                  </a:lnTo>
                  <a:lnTo>
                    <a:pt x="443" y="1475"/>
                  </a:lnTo>
                  <a:lnTo>
                    <a:pt x="452" y="1478"/>
                  </a:lnTo>
                  <a:lnTo>
                    <a:pt x="1168" y="147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7" name="Freeform 19"/>
            <p:cNvSpPr>
              <a:spLocks/>
            </p:cNvSpPr>
            <p:nvPr/>
          </p:nvSpPr>
          <p:spPr bwMode="auto">
            <a:xfrm>
              <a:off x="6216650" y="1971675"/>
              <a:ext cx="77788" cy="76200"/>
            </a:xfrm>
            <a:custGeom>
              <a:avLst/>
              <a:gdLst>
                <a:gd name="T0" fmla="*/ 193 w 392"/>
                <a:gd name="T1" fmla="*/ 387 h 387"/>
                <a:gd name="T2" fmla="*/ 234 w 392"/>
                <a:gd name="T3" fmla="*/ 382 h 387"/>
                <a:gd name="T4" fmla="*/ 272 w 392"/>
                <a:gd name="T5" fmla="*/ 371 h 387"/>
                <a:gd name="T6" fmla="*/ 307 w 392"/>
                <a:gd name="T7" fmla="*/ 354 h 387"/>
                <a:gd name="T8" fmla="*/ 336 w 392"/>
                <a:gd name="T9" fmla="*/ 331 h 387"/>
                <a:gd name="T10" fmla="*/ 360 w 392"/>
                <a:gd name="T11" fmla="*/ 303 h 387"/>
                <a:gd name="T12" fmla="*/ 377 w 392"/>
                <a:gd name="T13" fmla="*/ 271 h 387"/>
                <a:gd name="T14" fmla="*/ 389 w 392"/>
                <a:gd name="T15" fmla="*/ 235 h 387"/>
                <a:gd name="T16" fmla="*/ 392 w 392"/>
                <a:gd name="T17" fmla="*/ 197 h 387"/>
                <a:gd name="T18" fmla="*/ 392 w 392"/>
                <a:gd name="T19" fmla="*/ 176 h 387"/>
                <a:gd name="T20" fmla="*/ 384 w 392"/>
                <a:gd name="T21" fmla="*/ 137 h 387"/>
                <a:gd name="T22" fmla="*/ 369 w 392"/>
                <a:gd name="T23" fmla="*/ 102 h 387"/>
                <a:gd name="T24" fmla="*/ 348 w 392"/>
                <a:gd name="T25" fmla="*/ 70 h 387"/>
                <a:gd name="T26" fmla="*/ 322 w 392"/>
                <a:gd name="T27" fmla="*/ 44 h 387"/>
                <a:gd name="T28" fmla="*/ 290 w 392"/>
                <a:gd name="T29" fmla="*/ 23 h 387"/>
                <a:gd name="T30" fmla="*/ 254 w 392"/>
                <a:gd name="T31" fmla="*/ 9 h 387"/>
                <a:gd name="T32" fmla="*/ 214 w 392"/>
                <a:gd name="T33" fmla="*/ 1 h 387"/>
                <a:gd name="T34" fmla="*/ 193 w 392"/>
                <a:gd name="T35" fmla="*/ 0 h 387"/>
                <a:gd name="T36" fmla="*/ 154 w 392"/>
                <a:gd name="T37" fmla="*/ 4 h 387"/>
                <a:gd name="T38" fmla="*/ 118 w 392"/>
                <a:gd name="T39" fmla="*/ 15 h 387"/>
                <a:gd name="T40" fmla="*/ 85 w 392"/>
                <a:gd name="T41" fmla="*/ 32 h 387"/>
                <a:gd name="T42" fmla="*/ 56 w 392"/>
                <a:gd name="T43" fmla="*/ 55 h 387"/>
                <a:gd name="T44" fmla="*/ 33 w 392"/>
                <a:gd name="T45" fmla="*/ 83 h 387"/>
                <a:gd name="T46" fmla="*/ 15 w 392"/>
                <a:gd name="T47" fmla="*/ 116 h 387"/>
                <a:gd name="T48" fmla="*/ 4 w 392"/>
                <a:gd name="T49" fmla="*/ 152 h 387"/>
                <a:gd name="T50" fmla="*/ 0 w 392"/>
                <a:gd name="T51" fmla="*/ 190 h 387"/>
                <a:gd name="T52" fmla="*/ 1 w 392"/>
                <a:gd name="T53" fmla="*/ 210 h 387"/>
                <a:gd name="T54" fmla="*/ 8 w 392"/>
                <a:gd name="T55" fmla="*/ 250 h 387"/>
                <a:gd name="T56" fmla="*/ 22 w 392"/>
                <a:gd name="T57" fmla="*/ 286 h 387"/>
                <a:gd name="T58" fmla="*/ 42 w 392"/>
                <a:gd name="T59" fmla="*/ 317 h 387"/>
                <a:gd name="T60" fmla="*/ 67 w 392"/>
                <a:gd name="T61" fmla="*/ 343 h 387"/>
                <a:gd name="T62" fmla="*/ 98 w 392"/>
                <a:gd name="T63" fmla="*/ 363 h 387"/>
                <a:gd name="T64" fmla="*/ 133 w 392"/>
                <a:gd name="T65" fmla="*/ 378 h 387"/>
                <a:gd name="T66" fmla="*/ 172 w 392"/>
                <a:gd name="T67" fmla="*/ 386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92" h="387">
                  <a:moveTo>
                    <a:pt x="193" y="387"/>
                  </a:moveTo>
                  <a:lnTo>
                    <a:pt x="193" y="387"/>
                  </a:lnTo>
                  <a:lnTo>
                    <a:pt x="214" y="386"/>
                  </a:lnTo>
                  <a:lnTo>
                    <a:pt x="234" y="382"/>
                  </a:lnTo>
                  <a:lnTo>
                    <a:pt x="254" y="378"/>
                  </a:lnTo>
                  <a:lnTo>
                    <a:pt x="272" y="371"/>
                  </a:lnTo>
                  <a:lnTo>
                    <a:pt x="290" y="364"/>
                  </a:lnTo>
                  <a:lnTo>
                    <a:pt x="307" y="354"/>
                  </a:lnTo>
                  <a:lnTo>
                    <a:pt x="322" y="343"/>
                  </a:lnTo>
                  <a:lnTo>
                    <a:pt x="336" y="331"/>
                  </a:lnTo>
                  <a:lnTo>
                    <a:pt x="348" y="318"/>
                  </a:lnTo>
                  <a:lnTo>
                    <a:pt x="360" y="303"/>
                  </a:lnTo>
                  <a:lnTo>
                    <a:pt x="369" y="288"/>
                  </a:lnTo>
                  <a:lnTo>
                    <a:pt x="377" y="271"/>
                  </a:lnTo>
                  <a:lnTo>
                    <a:pt x="384" y="254"/>
                  </a:lnTo>
                  <a:lnTo>
                    <a:pt x="389" y="235"/>
                  </a:lnTo>
                  <a:lnTo>
                    <a:pt x="392" y="216"/>
                  </a:lnTo>
                  <a:lnTo>
                    <a:pt x="392" y="197"/>
                  </a:lnTo>
                  <a:lnTo>
                    <a:pt x="392" y="197"/>
                  </a:lnTo>
                  <a:lnTo>
                    <a:pt x="392" y="176"/>
                  </a:lnTo>
                  <a:lnTo>
                    <a:pt x="389" y="156"/>
                  </a:lnTo>
                  <a:lnTo>
                    <a:pt x="384" y="137"/>
                  </a:lnTo>
                  <a:lnTo>
                    <a:pt x="377" y="119"/>
                  </a:lnTo>
                  <a:lnTo>
                    <a:pt x="369" y="102"/>
                  </a:lnTo>
                  <a:lnTo>
                    <a:pt x="360" y="85"/>
                  </a:lnTo>
                  <a:lnTo>
                    <a:pt x="348" y="70"/>
                  </a:lnTo>
                  <a:lnTo>
                    <a:pt x="336" y="56"/>
                  </a:lnTo>
                  <a:lnTo>
                    <a:pt x="322" y="44"/>
                  </a:lnTo>
                  <a:lnTo>
                    <a:pt x="307" y="33"/>
                  </a:lnTo>
                  <a:lnTo>
                    <a:pt x="290" y="23"/>
                  </a:lnTo>
                  <a:lnTo>
                    <a:pt x="272" y="15"/>
                  </a:lnTo>
                  <a:lnTo>
                    <a:pt x="254" y="9"/>
                  </a:lnTo>
                  <a:lnTo>
                    <a:pt x="234" y="4"/>
                  </a:lnTo>
                  <a:lnTo>
                    <a:pt x="214" y="1"/>
                  </a:lnTo>
                  <a:lnTo>
                    <a:pt x="193" y="0"/>
                  </a:lnTo>
                  <a:lnTo>
                    <a:pt x="193" y="0"/>
                  </a:lnTo>
                  <a:lnTo>
                    <a:pt x="173" y="1"/>
                  </a:lnTo>
                  <a:lnTo>
                    <a:pt x="154" y="4"/>
                  </a:lnTo>
                  <a:lnTo>
                    <a:pt x="135" y="9"/>
                  </a:lnTo>
                  <a:lnTo>
                    <a:pt x="118" y="15"/>
                  </a:lnTo>
                  <a:lnTo>
                    <a:pt x="101" y="23"/>
                  </a:lnTo>
                  <a:lnTo>
                    <a:pt x="85" y="32"/>
                  </a:lnTo>
                  <a:lnTo>
                    <a:pt x="70" y="43"/>
                  </a:lnTo>
                  <a:lnTo>
                    <a:pt x="56" y="55"/>
                  </a:lnTo>
                  <a:lnTo>
                    <a:pt x="44" y="69"/>
                  </a:lnTo>
                  <a:lnTo>
                    <a:pt x="33" y="83"/>
                  </a:lnTo>
                  <a:lnTo>
                    <a:pt x="23" y="100"/>
                  </a:lnTo>
                  <a:lnTo>
                    <a:pt x="15" y="116"/>
                  </a:lnTo>
                  <a:lnTo>
                    <a:pt x="9" y="133"/>
                  </a:lnTo>
                  <a:lnTo>
                    <a:pt x="4" y="152"/>
                  </a:lnTo>
                  <a:lnTo>
                    <a:pt x="1" y="170"/>
                  </a:lnTo>
                  <a:lnTo>
                    <a:pt x="0" y="190"/>
                  </a:lnTo>
                  <a:lnTo>
                    <a:pt x="0" y="190"/>
                  </a:lnTo>
                  <a:lnTo>
                    <a:pt x="1" y="210"/>
                  </a:lnTo>
                  <a:lnTo>
                    <a:pt x="4" y="230"/>
                  </a:lnTo>
                  <a:lnTo>
                    <a:pt x="8" y="250"/>
                  </a:lnTo>
                  <a:lnTo>
                    <a:pt x="14" y="268"/>
                  </a:lnTo>
                  <a:lnTo>
                    <a:pt x="22" y="286"/>
                  </a:lnTo>
                  <a:lnTo>
                    <a:pt x="31" y="302"/>
                  </a:lnTo>
                  <a:lnTo>
                    <a:pt x="42" y="317"/>
                  </a:lnTo>
                  <a:lnTo>
                    <a:pt x="53" y="330"/>
                  </a:lnTo>
                  <a:lnTo>
                    <a:pt x="67" y="343"/>
                  </a:lnTo>
                  <a:lnTo>
                    <a:pt x="82" y="354"/>
                  </a:lnTo>
                  <a:lnTo>
                    <a:pt x="98" y="363"/>
                  </a:lnTo>
                  <a:lnTo>
                    <a:pt x="115" y="371"/>
                  </a:lnTo>
                  <a:lnTo>
                    <a:pt x="133" y="378"/>
                  </a:lnTo>
                  <a:lnTo>
                    <a:pt x="152" y="382"/>
                  </a:lnTo>
                  <a:lnTo>
                    <a:pt x="172" y="386"/>
                  </a:lnTo>
                  <a:lnTo>
                    <a:pt x="193" y="3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8" name="Freeform 20"/>
            <p:cNvSpPr>
              <a:spLocks/>
            </p:cNvSpPr>
            <p:nvPr/>
          </p:nvSpPr>
          <p:spPr bwMode="auto">
            <a:xfrm>
              <a:off x="6216650" y="1971675"/>
              <a:ext cx="77788" cy="76200"/>
            </a:xfrm>
            <a:custGeom>
              <a:avLst/>
              <a:gdLst>
                <a:gd name="T0" fmla="*/ 193 w 392"/>
                <a:gd name="T1" fmla="*/ 387 h 387"/>
                <a:gd name="T2" fmla="*/ 234 w 392"/>
                <a:gd name="T3" fmla="*/ 382 h 387"/>
                <a:gd name="T4" fmla="*/ 272 w 392"/>
                <a:gd name="T5" fmla="*/ 371 h 387"/>
                <a:gd name="T6" fmla="*/ 307 w 392"/>
                <a:gd name="T7" fmla="*/ 354 h 387"/>
                <a:gd name="T8" fmla="*/ 336 w 392"/>
                <a:gd name="T9" fmla="*/ 331 h 387"/>
                <a:gd name="T10" fmla="*/ 360 w 392"/>
                <a:gd name="T11" fmla="*/ 303 h 387"/>
                <a:gd name="T12" fmla="*/ 377 w 392"/>
                <a:gd name="T13" fmla="*/ 271 h 387"/>
                <a:gd name="T14" fmla="*/ 389 w 392"/>
                <a:gd name="T15" fmla="*/ 235 h 387"/>
                <a:gd name="T16" fmla="*/ 392 w 392"/>
                <a:gd name="T17" fmla="*/ 197 h 387"/>
                <a:gd name="T18" fmla="*/ 392 w 392"/>
                <a:gd name="T19" fmla="*/ 176 h 387"/>
                <a:gd name="T20" fmla="*/ 384 w 392"/>
                <a:gd name="T21" fmla="*/ 137 h 387"/>
                <a:gd name="T22" fmla="*/ 369 w 392"/>
                <a:gd name="T23" fmla="*/ 102 h 387"/>
                <a:gd name="T24" fmla="*/ 348 w 392"/>
                <a:gd name="T25" fmla="*/ 70 h 387"/>
                <a:gd name="T26" fmla="*/ 322 w 392"/>
                <a:gd name="T27" fmla="*/ 44 h 387"/>
                <a:gd name="T28" fmla="*/ 290 w 392"/>
                <a:gd name="T29" fmla="*/ 23 h 387"/>
                <a:gd name="T30" fmla="*/ 254 w 392"/>
                <a:gd name="T31" fmla="*/ 9 h 387"/>
                <a:gd name="T32" fmla="*/ 214 w 392"/>
                <a:gd name="T33" fmla="*/ 1 h 387"/>
                <a:gd name="T34" fmla="*/ 193 w 392"/>
                <a:gd name="T35" fmla="*/ 0 h 387"/>
                <a:gd name="T36" fmla="*/ 154 w 392"/>
                <a:gd name="T37" fmla="*/ 4 h 387"/>
                <a:gd name="T38" fmla="*/ 118 w 392"/>
                <a:gd name="T39" fmla="*/ 15 h 387"/>
                <a:gd name="T40" fmla="*/ 85 w 392"/>
                <a:gd name="T41" fmla="*/ 32 h 387"/>
                <a:gd name="T42" fmla="*/ 56 w 392"/>
                <a:gd name="T43" fmla="*/ 55 h 387"/>
                <a:gd name="T44" fmla="*/ 33 w 392"/>
                <a:gd name="T45" fmla="*/ 83 h 387"/>
                <a:gd name="T46" fmla="*/ 15 w 392"/>
                <a:gd name="T47" fmla="*/ 116 h 387"/>
                <a:gd name="T48" fmla="*/ 4 w 392"/>
                <a:gd name="T49" fmla="*/ 152 h 387"/>
                <a:gd name="T50" fmla="*/ 0 w 392"/>
                <a:gd name="T51" fmla="*/ 190 h 387"/>
                <a:gd name="T52" fmla="*/ 1 w 392"/>
                <a:gd name="T53" fmla="*/ 210 h 387"/>
                <a:gd name="T54" fmla="*/ 8 w 392"/>
                <a:gd name="T55" fmla="*/ 250 h 387"/>
                <a:gd name="T56" fmla="*/ 22 w 392"/>
                <a:gd name="T57" fmla="*/ 286 h 387"/>
                <a:gd name="T58" fmla="*/ 42 w 392"/>
                <a:gd name="T59" fmla="*/ 317 h 387"/>
                <a:gd name="T60" fmla="*/ 67 w 392"/>
                <a:gd name="T61" fmla="*/ 343 h 387"/>
                <a:gd name="T62" fmla="*/ 98 w 392"/>
                <a:gd name="T63" fmla="*/ 363 h 387"/>
                <a:gd name="T64" fmla="*/ 133 w 392"/>
                <a:gd name="T65" fmla="*/ 378 h 387"/>
                <a:gd name="T66" fmla="*/ 172 w 392"/>
                <a:gd name="T67" fmla="*/ 386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92" h="387">
                  <a:moveTo>
                    <a:pt x="193" y="387"/>
                  </a:moveTo>
                  <a:lnTo>
                    <a:pt x="193" y="387"/>
                  </a:lnTo>
                  <a:lnTo>
                    <a:pt x="214" y="386"/>
                  </a:lnTo>
                  <a:lnTo>
                    <a:pt x="234" y="382"/>
                  </a:lnTo>
                  <a:lnTo>
                    <a:pt x="254" y="378"/>
                  </a:lnTo>
                  <a:lnTo>
                    <a:pt x="272" y="371"/>
                  </a:lnTo>
                  <a:lnTo>
                    <a:pt x="290" y="364"/>
                  </a:lnTo>
                  <a:lnTo>
                    <a:pt x="307" y="354"/>
                  </a:lnTo>
                  <a:lnTo>
                    <a:pt x="322" y="343"/>
                  </a:lnTo>
                  <a:lnTo>
                    <a:pt x="336" y="331"/>
                  </a:lnTo>
                  <a:lnTo>
                    <a:pt x="348" y="318"/>
                  </a:lnTo>
                  <a:lnTo>
                    <a:pt x="360" y="303"/>
                  </a:lnTo>
                  <a:lnTo>
                    <a:pt x="369" y="288"/>
                  </a:lnTo>
                  <a:lnTo>
                    <a:pt x="377" y="271"/>
                  </a:lnTo>
                  <a:lnTo>
                    <a:pt x="384" y="254"/>
                  </a:lnTo>
                  <a:lnTo>
                    <a:pt x="389" y="235"/>
                  </a:lnTo>
                  <a:lnTo>
                    <a:pt x="392" y="216"/>
                  </a:lnTo>
                  <a:lnTo>
                    <a:pt x="392" y="197"/>
                  </a:lnTo>
                  <a:lnTo>
                    <a:pt x="392" y="197"/>
                  </a:lnTo>
                  <a:lnTo>
                    <a:pt x="392" y="176"/>
                  </a:lnTo>
                  <a:lnTo>
                    <a:pt x="389" y="156"/>
                  </a:lnTo>
                  <a:lnTo>
                    <a:pt x="384" y="137"/>
                  </a:lnTo>
                  <a:lnTo>
                    <a:pt x="377" y="119"/>
                  </a:lnTo>
                  <a:lnTo>
                    <a:pt x="369" y="102"/>
                  </a:lnTo>
                  <a:lnTo>
                    <a:pt x="360" y="85"/>
                  </a:lnTo>
                  <a:lnTo>
                    <a:pt x="348" y="70"/>
                  </a:lnTo>
                  <a:lnTo>
                    <a:pt x="336" y="56"/>
                  </a:lnTo>
                  <a:lnTo>
                    <a:pt x="322" y="44"/>
                  </a:lnTo>
                  <a:lnTo>
                    <a:pt x="307" y="33"/>
                  </a:lnTo>
                  <a:lnTo>
                    <a:pt x="290" y="23"/>
                  </a:lnTo>
                  <a:lnTo>
                    <a:pt x="272" y="15"/>
                  </a:lnTo>
                  <a:lnTo>
                    <a:pt x="254" y="9"/>
                  </a:lnTo>
                  <a:lnTo>
                    <a:pt x="234" y="4"/>
                  </a:lnTo>
                  <a:lnTo>
                    <a:pt x="214" y="1"/>
                  </a:lnTo>
                  <a:lnTo>
                    <a:pt x="193" y="0"/>
                  </a:lnTo>
                  <a:lnTo>
                    <a:pt x="193" y="0"/>
                  </a:lnTo>
                  <a:lnTo>
                    <a:pt x="173" y="1"/>
                  </a:lnTo>
                  <a:lnTo>
                    <a:pt x="154" y="4"/>
                  </a:lnTo>
                  <a:lnTo>
                    <a:pt x="135" y="9"/>
                  </a:lnTo>
                  <a:lnTo>
                    <a:pt x="118" y="15"/>
                  </a:lnTo>
                  <a:lnTo>
                    <a:pt x="101" y="23"/>
                  </a:lnTo>
                  <a:lnTo>
                    <a:pt x="85" y="32"/>
                  </a:lnTo>
                  <a:lnTo>
                    <a:pt x="70" y="43"/>
                  </a:lnTo>
                  <a:lnTo>
                    <a:pt x="56" y="55"/>
                  </a:lnTo>
                  <a:lnTo>
                    <a:pt x="44" y="69"/>
                  </a:lnTo>
                  <a:lnTo>
                    <a:pt x="33" y="83"/>
                  </a:lnTo>
                  <a:lnTo>
                    <a:pt x="23" y="100"/>
                  </a:lnTo>
                  <a:lnTo>
                    <a:pt x="15" y="116"/>
                  </a:lnTo>
                  <a:lnTo>
                    <a:pt x="9" y="133"/>
                  </a:lnTo>
                  <a:lnTo>
                    <a:pt x="4" y="152"/>
                  </a:lnTo>
                  <a:lnTo>
                    <a:pt x="1" y="170"/>
                  </a:lnTo>
                  <a:lnTo>
                    <a:pt x="0" y="190"/>
                  </a:lnTo>
                  <a:lnTo>
                    <a:pt x="0" y="190"/>
                  </a:lnTo>
                  <a:lnTo>
                    <a:pt x="1" y="210"/>
                  </a:lnTo>
                  <a:lnTo>
                    <a:pt x="4" y="230"/>
                  </a:lnTo>
                  <a:lnTo>
                    <a:pt x="8" y="250"/>
                  </a:lnTo>
                  <a:lnTo>
                    <a:pt x="14" y="268"/>
                  </a:lnTo>
                  <a:lnTo>
                    <a:pt x="22" y="286"/>
                  </a:lnTo>
                  <a:lnTo>
                    <a:pt x="31" y="302"/>
                  </a:lnTo>
                  <a:lnTo>
                    <a:pt x="42" y="317"/>
                  </a:lnTo>
                  <a:lnTo>
                    <a:pt x="53" y="330"/>
                  </a:lnTo>
                  <a:lnTo>
                    <a:pt x="67" y="343"/>
                  </a:lnTo>
                  <a:lnTo>
                    <a:pt x="82" y="354"/>
                  </a:lnTo>
                  <a:lnTo>
                    <a:pt x="98" y="363"/>
                  </a:lnTo>
                  <a:lnTo>
                    <a:pt x="115" y="371"/>
                  </a:lnTo>
                  <a:lnTo>
                    <a:pt x="133" y="378"/>
                  </a:lnTo>
                  <a:lnTo>
                    <a:pt x="152" y="382"/>
                  </a:lnTo>
                  <a:lnTo>
                    <a:pt x="172" y="386"/>
                  </a:lnTo>
                  <a:lnTo>
                    <a:pt x="193" y="387"/>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9" name="Freeform 21"/>
            <p:cNvSpPr>
              <a:spLocks/>
            </p:cNvSpPr>
            <p:nvPr/>
          </p:nvSpPr>
          <p:spPr bwMode="auto">
            <a:xfrm>
              <a:off x="6586538" y="1971675"/>
              <a:ext cx="76200" cy="76200"/>
            </a:xfrm>
            <a:custGeom>
              <a:avLst/>
              <a:gdLst>
                <a:gd name="T0" fmla="*/ 191 w 382"/>
                <a:gd name="T1" fmla="*/ 387 h 387"/>
                <a:gd name="T2" fmla="*/ 153 w 382"/>
                <a:gd name="T3" fmla="*/ 382 h 387"/>
                <a:gd name="T4" fmla="*/ 116 w 382"/>
                <a:gd name="T5" fmla="*/ 371 h 387"/>
                <a:gd name="T6" fmla="*/ 84 w 382"/>
                <a:gd name="T7" fmla="*/ 354 h 387"/>
                <a:gd name="T8" fmla="*/ 56 w 382"/>
                <a:gd name="T9" fmla="*/ 330 h 387"/>
                <a:gd name="T10" fmla="*/ 32 w 382"/>
                <a:gd name="T11" fmla="*/ 302 h 387"/>
                <a:gd name="T12" fmla="*/ 14 w 382"/>
                <a:gd name="T13" fmla="*/ 268 h 387"/>
                <a:gd name="T14" fmla="*/ 4 w 382"/>
                <a:gd name="T15" fmla="*/ 230 h 387"/>
                <a:gd name="T16" fmla="*/ 0 w 382"/>
                <a:gd name="T17" fmla="*/ 190 h 387"/>
                <a:gd name="T18" fmla="*/ 1 w 382"/>
                <a:gd name="T19" fmla="*/ 170 h 387"/>
                <a:gd name="T20" fmla="*/ 8 w 382"/>
                <a:gd name="T21" fmla="*/ 133 h 387"/>
                <a:gd name="T22" fmla="*/ 21 w 382"/>
                <a:gd name="T23" fmla="*/ 100 h 387"/>
                <a:gd name="T24" fmla="*/ 41 w 382"/>
                <a:gd name="T25" fmla="*/ 69 h 387"/>
                <a:gd name="T26" fmla="*/ 66 w 382"/>
                <a:gd name="T27" fmla="*/ 43 h 387"/>
                <a:gd name="T28" fmla="*/ 96 w 382"/>
                <a:gd name="T29" fmla="*/ 23 h 387"/>
                <a:gd name="T30" fmla="*/ 131 w 382"/>
                <a:gd name="T31" fmla="*/ 9 h 387"/>
                <a:gd name="T32" fmla="*/ 170 w 382"/>
                <a:gd name="T33" fmla="*/ 1 h 387"/>
                <a:gd name="T34" fmla="*/ 191 w 382"/>
                <a:gd name="T35" fmla="*/ 0 h 387"/>
                <a:gd name="T36" fmla="*/ 231 w 382"/>
                <a:gd name="T37" fmla="*/ 4 h 387"/>
                <a:gd name="T38" fmla="*/ 269 w 382"/>
                <a:gd name="T39" fmla="*/ 15 h 387"/>
                <a:gd name="T40" fmla="*/ 301 w 382"/>
                <a:gd name="T41" fmla="*/ 32 h 387"/>
                <a:gd name="T42" fmla="*/ 329 w 382"/>
                <a:gd name="T43" fmla="*/ 55 h 387"/>
                <a:gd name="T44" fmla="*/ 351 w 382"/>
                <a:gd name="T45" fmla="*/ 83 h 387"/>
                <a:gd name="T46" fmla="*/ 368 w 382"/>
                <a:gd name="T47" fmla="*/ 116 h 387"/>
                <a:gd name="T48" fmla="*/ 378 w 382"/>
                <a:gd name="T49" fmla="*/ 152 h 387"/>
                <a:gd name="T50" fmla="*/ 382 w 382"/>
                <a:gd name="T51" fmla="*/ 190 h 387"/>
                <a:gd name="T52" fmla="*/ 382 w 382"/>
                <a:gd name="T53" fmla="*/ 210 h 387"/>
                <a:gd name="T54" fmla="*/ 374 w 382"/>
                <a:gd name="T55" fmla="*/ 250 h 387"/>
                <a:gd name="T56" fmla="*/ 360 w 382"/>
                <a:gd name="T57" fmla="*/ 286 h 387"/>
                <a:gd name="T58" fmla="*/ 341 w 382"/>
                <a:gd name="T59" fmla="*/ 317 h 387"/>
                <a:gd name="T60" fmla="*/ 316 w 382"/>
                <a:gd name="T61" fmla="*/ 343 h 387"/>
                <a:gd name="T62" fmla="*/ 286 w 382"/>
                <a:gd name="T63" fmla="*/ 363 h 387"/>
                <a:gd name="T64" fmla="*/ 250 w 382"/>
                <a:gd name="T65" fmla="*/ 378 h 387"/>
                <a:gd name="T66" fmla="*/ 212 w 382"/>
                <a:gd name="T67" fmla="*/ 386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82" h="387">
                  <a:moveTo>
                    <a:pt x="191" y="387"/>
                  </a:moveTo>
                  <a:lnTo>
                    <a:pt x="191" y="387"/>
                  </a:lnTo>
                  <a:lnTo>
                    <a:pt x="172" y="386"/>
                  </a:lnTo>
                  <a:lnTo>
                    <a:pt x="153" y="382"/>
                  </a:lnTo>
                  <a:lnTo>
                    <a:pt x="134" y="378"/>
                  </a:lnTo>
                  <a:lnTo>
                    <a:pt x="116" y="371"/>
                  </a:lnTo>
                  <a:lnTo>
                    <a:pt x="100" y="363"/>
                  </a:lnTo>
                  <a:lnTo>
                    <a:pt x="84" y="354"/>
                  </a:lnTo>
                  <a:lnTo>
                    <a:pt x="69" y="343"/>
                  </a:lnTo>
                  <a:lnTo>
                    <a:pt x="56" y="330"/>
                  </a:lnTo>
                  <a:lnTo>
                    <a:pt x="44" y="317"/>
                  </a:lnTo>
                  <a:lnTo>
                    <a:pt x="32" y="302"/>
                  </a:lnTo>
                  <a:lnTo>
                    <a:pt x="22" y="286"/>
                  </a:lnTo>
                  <a:lnTo>
                    <a:pt x="14" y="268"/>
                  </a:lnTo>
                  <a:lnTo>
                    <a:pt x="8" y="250"/>
                  </a:lnTo>
                  <a:lnTo>
                    <a:pt x="4" y="230"/>
                  </a:lnTo>
                  <a:lnTo>
                    <a:pt x="1" y="210"/>
                  </a:lnTo>
                  <a:lnTo>
                    <a:pt x="0" y="190"/>
                  </a:lnTo>
                  <a:lnTo>
                    <a:pt x="0" y="190"/>
                  </a:lnTo>
                  <a:lnTo>
                    <a:pt x="1" y="170"/>
                  </a:lnTo>
                  <a:lnTo>
                    <a:pt x="3" y="152"/>
                  </a:lnTo>
                  <a:lnTo>
                    <a:pt x="8" y="133"/>
                  </a:lnTo>
                  <a:lnTo>
                    <a:pt x="14" y="116"/>
                  </a:lnTo>
                  <a:lnTo>
                    <a:pt x="21" y="100"/>
                  </a:lnTo>
                  <a:lnTo>
                    <a:pt x="30" y="83"/>
                  </a:lnTo>
                  <a:lnTo>
                    <a:pt x="41" y="69"/>
                  </a:lnTo>
                  <a:lnTo>
                    <a:pt x="53" y="55"/>
                  </a:lnTo>
                  <a:lnTo>
                    <a:pt x="66" y="43"/>
                  </a:lnTo>
                  <a:lnTo>
                    <a:pt x="81" y="32"/>
                  </a:lnTo>
                  <a:lnTo>
                    <a:pt x="96" y="23"/>
                  </a:lnTo>
                  <a:lnTo>
                    <a:pt x="113" y="15"/>
                  </a:lnTo>
                  <a:lnTo>
                    <a:pt x="131" y="9"/>
                  </a:lnTo>
                  <a:lnTo>
                    <a:pt x="151" y="4"/>
                  </a:lnTo>
                  <a:lnTo>
                    <a:pt x="170" y="1"/>
                  </a:lnTo>
                  <a:lnTo>
                    <a:pt x="191" y="0"/>
                  </a:lnTo>
                  <a:lnTo>
                    <a:pt x="191" y="0"/>
                  </a:lnTo>
                  <a:lnTo>
                    <a:pt x="212" y="1"/>
                  </a:lnTo>
                  <a:lnTo>
                    <a:pt x="231" y="4"/>
                  </a:lnTo>
                  <a:lnTo>
                    <a:pt x="250" y="9"/>
                  </a:lnTo>
                  <a:lnTo>
                    <a:pt x="269" y="15"/>
                  </a:lnTo>
                  <a:lnTo>
                    <a:pt x="286" y="23"/>
                  </a:lnTo>
                  <a:lnTo>
                    <a:pt x="301" y="32"/>
                  </a:lnTo>
                  <a:lnTo>
                    <a:pt x="316" y="43"/>
                  </a:lnTo>
                  <a:lnTo>
                    <a:pt x="329" y="55"/>
                  </a:lnTo>
                  <a:lnTo>
                    <a:pt x="341" y="69"/>
                  </a:lnTo>
                  <a:lnTo>
                    <a:pt x="351" y="83"/>
                  </a:lnTo>
                  <a:lnTo>
                    <a:pt x="360" y="100"/>
                  </a:lnTo>
                  <a:lnTo>
                    <a:pt x="368" y="116"/>
                  </a:lnTo>
                  <a:lnTo>
                    <a:pt x="374" y="133"/>
                  </a:lnTo>
                  <a:lnTo>
                    <a:pt x="378" y="152"/>
                  </a:lnTo>
                  <a:lnTo>
                    <a:pt x="382" y="170"/>
                  </a:lnTo>
                  <a:lnTo>
                    <a:pt x="382" y="190"/>
                  </a:lnTo>
                  <a:lnTo>
                    <a:pt x="382" y="190"/>
                  </a:lnTo>
                  <a:lnTo>
                    <a:pt x="382" y="210"/>
                  </a:lnTo>
                  <a:lnTo>
                    <a:pt x="378" y="230"/>
                  </a:lnTo>
                  <a:lnTo>
                    <a:pt x="374" y="250"/>
                  </a:lnTo>
                  <a:lnTo>
                    <a:pt x="368" y="268"/>
                  </a:lnTo>
                  <a:lnTo>
                    <a:pt x="360" y="286"/>
                  </a:lnTo>
                  <a:lnTo>
                    <a:pt x="351" y="302"/>
                  </a:lnTo>
                  <a:lnTo>
                    <a:pt x="341" y="317"/>
                  </a:lnTo>
                  <a:lnTo>
                    <a:pt x="329" y="330"/>
                  </a:lnTo>
                  <a:lnTo>
                    <a:pt x="316" y="343"/>
                  </a:lnTo>
                  <a:lnTo>
                    <a:pt x="301" y="354"/>
                  </a:lnTo>
                  <a:lnTo>
                    <a:pt x="286" y="363"/>
                  </a:lnTo>
                  <a:lnTo>
                    <a:pt x="269" y="371"/>
                  </a:lnTo>
                  <a:lnTo>
                    <a:pt x="250" y="378"/>
                  </a:lnTo>
                  <a:lnTo>
                    <a:pt x="231" y="382"/>
                  </a:lnTo>
                  <a:lnTo>
                    <a:pt x="212" y="386"/>
                  </a:lnTo>
                  <a:lnTo>
                    <a:pt x="191" y="3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60" name="Freeform 22"/>
            <p:cNvSpPr>
              <a:spLocks/>
            </p:cNvSpPr>
            <p:nvPr/>
          </p:nvSpPr>
          <p:spPr bwMode="auto">
            <a:xfrm>
              <a:off x="6586538" y="1971675"/>
              <a:ext cx="76200" cy="76200"/>
            </a:xfrm>
            <a:custGeom>
              <a:avLst/>
              <a:gdLst>
                <a:gd name="T0" fmla="*/ 191 w 382"/>
                <a:gd name="T1" fmla="*/ 387 h 387"/>
                <a:gd name="T2" fmla="*/ 153 w 382"/>
                <a:gd name="T3" fmla="*/ 382 h 387"/>
                <a:gd name="T4" fmla="*/ 116 w 382"/>
                <a:gd name="T5" fmla="*/ 371 h 387"/>
                <a:gd name="T6" fmla="*/ 84 w 382"/>
                <a:gd name="T7" fmla="*/ 354 h 387"/>
                <a:gd name="T8" fmla="*/ 56 w 382"/>
                <a:gd name="T9" fmla="*/ 330 h 387"/>
                <a:gd name="T10" fmla="*/ 32 w 382"/>
                <a:gd name="T11" fmla="*/ 302 h 387"/>
                <a:gd name="T12" fmla="*/ 14 w 382"/>
                <a:gd name="T13" fmla="*/ 268 h 387"/>
                <a:gd name="T14" fmla="*/ 4 w 382"/>
                <a:gd name="T15" fmla="*/ 230 h 387"/>
                <a:gd name="T16" fmla="*/ 0 w 382"/>
                <a:gd name="T17" fmla="*/ 190 h 387"/>
                <a:gd name="T18" fmla="*/ 1 w 382"/>
                <a:gd name="T19" fmla="*/ 170 h 387"/>
                <a:gd name="T20" fmla="*/ 8 w 382"/>
                <a:gd name="T21" fmla="*/ 133 h 387"/>
                <a:gd name="T22" fmla="*/ 21 w 382"/>
                <a:gd name="T23" fmla="*/ 100 h 387"/>
                <a:gd name="T24" fmla="*/ 41 w 382"/>
                <a:gd name="T25" fmla="*/ 69 h 387"/>
                <a:gd name="T26" fmla="*/ 66 w 382"/>
                <a:gd name="T27" fmla="*/ 43 h 387"/>
                <a:gd name="T28" fmla="*/ 96 w 382"/>
                <a:gd name="T29" fmla="*/ 23 h 387"/>
                <a:gd name="T30" fmla="*/ 131 w 382"/>
                <a:gd name="T31" fmla="*/ 9 h 387"/>
                <a:gd name="T32" fmla="*/ 170 w 382"/>
                <a:gd name="T33" fmla="*/ 1 h 387"/>
                <a:gd name="T34" fmla="*/ 191 w 382"/>
                <a:gd name="T35" fmla="*/ 0 h 387"/>
                <a:gd name="T36" fmla="*/ 231 w 382"/>
                <a:gd name="T37" fmla="*/ 4 h 387"/>
                <a:gd name="T38" fmla="*/ 269 w 382"/>
                <a:gd name="T39" fmla="*/ 15 h 387"/>
                <a:gd name="T40" fmla="*/ 301 w 382"/>
                <a:gd name="T41" fmla="*/ 32 h 387"/>
                <a:gd name="T42" fmla="*/ 329 w 382"/>
                <a:gd name="T43" fmla="*/ 55 h 387"/>
                <a:gd name="T44" fmla="*/ 351 w 382"/>
                <a:gd name="T45" fmla="*/ 83 h 387"/>
                <a:gd name="T46" fmla="*/ 368 w 382"/>
                <a:gd name="T47" fmla="*/ 116 h 387"/>
                <a:gd name="T48" fmla="*/ 378 w 382"/>
                <a:gd name="T49" fmla="*/ 152 h 387"/>
                <a:gd name="T50" fmla="*/ 382 w 382"/>
                <a:gd name="T51" fmla="*/ 190 h 387"/>
                <a:gd name="T52" fmla="*/ 382 w 382"/>
                <a:gd name="T53" fmla="*/ 210 h 387"/>
                <a:gd name="T54" fmla="*/ 374 w 382"/>
                <a:gd name="T55" fmla="*/ 250 h 387"/>
                <a:gd name="T56" fmla="*/ 360 w 382"/>
                <a:gd name="T57" fmla="*/ 286 h 387"/>
                <a:gd name="T58" fmla="*/ 341 w 382"/>
                <a:gd name="T59" fmla="*/ 317 h 387"/>
                <a:gd name="T60" fmla="*/ 316 w 382"/>
                <a:gd name="T61" fmla="*/ 343 h 387"/>
                <a:gd name="T62" fmla="*/ 286 w 382"/>
                <a:gd name="T63" fmla="*/ 363 h 387"/>
                <a:gd name="T64" fmla="*/ 250 w 382"/>
                <a:gd name="T65" fmla="*/ 378 h 387"/>
                <a:gd name="T66" fmla="*/ 212 w 382"/>
                <a:gd name="T67" fmla="*/ 386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82" h="387">
                  <a:moveTo>
                    <a:pt x="191" y="387"/>
                  </a:moveTo>
                  <a:lnTo>
                    <a:pt x="191" y="387"/>
                  </a:lnTo>
                  <a:lnTo>
                    <a:pt x="172" y="386"/>
                  </a:lnTo>
                  <a:lnTo>
                    <a:pt x="153" y="382"/>
                  </a:lnTo>
                  <a:lnTo>
                    <a:pt x="134" y="378"/>
                  </a:lnTo>
                  <a:lnTo>
                    <a:pt x="116" y="371"/>
                  </a:lnTo>
                  <a:lnTo>
                    <a:pt x="100" y="363"/>
                  </a:lnTo>
                  <a:lnTo>
                    <a:pt x="84" y="354"/>
                  </a:lnTo>
                  <a:lnTo>
                    <a:pt x="69" y="343"/>
                  </a:lnTo>
                  <a:lnTo>
                    <a:pt x="56" y="330"/>
                  </a:lnTo>
                  <a:lnTo>
                    <a:pt x="44" y="317"/>
                  </a:lnTo>
                  <a:lnTo>
                    <a:pt x="32" y="302"/>
                  </a:lnTo>
                  <a:lnTo>
                    <a:pt x="22" y="286"/>
                  </a:lnTo>
                  <a:lnTo>
                    <a:pt x="14" y="268"/>
                  </a:lnTo>
                  <a:lnTo>
                    <a:pt x="8" y="250"/>
                  </a:lnTo>
                  <a:lnTo>
                    <a:pt x="4" y="230"/>
                  </a:lnTo>
                  <a:lnTo>
                    <a:pt x="1" y="210"/>
                  </a:lnTo>
                  <a:lnTo>
                    <a:pt x="0" y="190"/>
                  </a:lnTo>
                  <a:lnTo>
                    <a:pt x="0" y="190"/>
                  </a:lnTo>
                  <a:lnTo>
                    <a:pt x="1" y="170"/>
                  </a:lnTo>
                  <a:lnTo>
                    <a:pt x="3" y="152"/>
                  </a:lnTo>
                  <a:lnTo>
                    <a:pt x="8" y="133"/>
                  </a:lnTo>
                  <a:lnTo>
                    <a:pt x="14" y="116"/>
                  </a:lnTo>
                  <a:lnTo>
                    <a:pt x="21" y="100"/>
                  </a:lnTo>
                  <a:lnTo>
                    <a:pt x="30" y="83"/>
                  </a:lnTo>
                  <a:lnTo>
                    <a:pt x="41" y="69"/>
                  </a:lnTo>
                  <a:lnTo>
                    <a:pt x="53" y="55"/>
                  </a:lnTo>
                  <a:lnTo>
                    <a:pt x="66" y="43"/>
                  </a:lnTo>
                  <a:lnTo>
                    <a:pt x="81" y="32"/>
                  </a:lnTo>
                  <a:lnTo>
                    <a:pt x="96" y="23"/>
                  </a:lnTo>
                  <a:lnTo>
                    <a:pt x="113" y="15"/>
                  </a:lnTo>
                  <a:lnTo>
                    <a:pt x="131" y="9"/>
                  </a:lnTo>
                  <a:lnTo>
                    <a:pt x="151" y="4"/>
                  </a:lnTo>
                  <a:lnTo>
                    <a:pt x="170" y="1"/>
                  </a:lnTo>
                  <a:lnTo>
                    <a:pt x="191" y="0"/>
                  </a:lnTo>
                  <a:lnTo>
                    <a:pt x="191" y="0"/>
                  </a:lnTo>
                  <a:lnTo>
                    <a:pt x="212" y="1"/>
                  </a:lnTo>
                  <a:lnTo>
                    <a:pt x="231" y="4"/>
                  </a:lnTo>
                  <a:lnTo>
                    <a:pt x="250" y="9"/>
                  </a:lnTo>
                  <a:lnTo>
                    <a:pt x="269" y="15"/>
                  </a:lnTo>
                  <a:lnTo>
                    <a:pt x="286" y="23"/>
                  </a:lnTo>
                  <a:lnTo>
                    <a:pt x="301" y="32"/>
                  </a:lnTo>
                  <a:lnTo>
                    <a:pt x="316" y="43"/>
                  </a:lnTo>
                  <a:lnTo>
                    <a:pt x="329" y="55"/>
                  </a:lnTo>
                  <a:lnTo>
                    <a:pt x="341" y="69"/>
                  </a:lnTo>
                  <a:lnTo>
                    <a:pt x="351" y="83"/>
                  </a:lnTo>
                  <a:lnTo>
                    <a:pt x="360" y="100"/>
                  </a:lnTo>
                  <a:lnTo>
                    <a:pt x="368" y="116"/>
                  </a:lnTo>
                  <a:lnTo>
                    <a:pt x="374" y="133"/>
                  </a:lnTo>
                  <a:lnTo>
                    <a:pt x="378" y="152"/>
                  </a:lnTo>
                  <a:lnTo>
                    <a:pt x="382" y="170"/>
                  </a:lnTo>
                  <a:lnTo>
                    <a:pt x="382" y="190"/>
                  </a:lnTo>
                  <a:lnTo>
                    <a:pt x="382" y="190"/>
                  </a:lnTo>
                  <a:lnTo>
                    <a:pt x="382" y="210"/>
                  </a:lnTo>
                  <a:lnTo>
                    <a:pt x="378" y="230"/>
                  </a:lnTo>
                  <a:lnTo>
                    <a:pt x="374" y="250"/>
                  </a:lnTo>
                  <a:lnTo>
                    <a:pt x="368" y="268"/>
                  </a:lnTo>
                  <a:lnTo>
                    <a:pt x="360" y="286"/>
                  </a:lnTo>
                  <a:lnTo>
                    <a:pt x="351" y="302"/>
                  </a:lnTo>
                  <a:lnTo>
                    <a:pt x="341" y="317"/>
                  </a:lnTo>
                  <a:lnTo>
                    <a:pt x="329" y="330"/>
                  </a:lnTo>
                  <a:lnTo>
                    <a:pt x="316" y="343"/>
                  </a:lnTo>
                  <a:lnTo>
                    <a:pt x="301" y="354"/>
                  </a:lnTo>
                  <a:lnTo>
                    <a:pt x="286" y="363"/>
                  </a:lnTo>
                  <a:lnTo>
                    <a:pt x="269" y="371"/>
                  </a:lnTo>
                  <a:lnTo>
                    <a:pt x="250" y="378"/>
                  </a:lnTo>
                  <a:lnTo>
                    <a:pt x="231" y="382"/>
                  </a:lnTo>
                  <a:lnTo>
                    <a:pt x="212" y="386"/>
                  </a:lnTo>
                  <a:lnTo>
                    <a:pt x="191" y="387"/>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61" name="Freeform 23"/>
            <p:cNvSpPr>
              <a:spLocks/>
            </p:cNvSpPr>
            <p:nvPr/>
          </p:nvSpPr>
          <p:spPr bwMode="auto">
            <a:xfrm>
              <a:off x="6489700" y="1792288"/>
              <a:ext cx="87313" cy="100013"/>
            </a:xfrm>
            <a:custGeom>
              <a:avLst/>
              <a:gdLst>
                <a:gd name="T0" fmla="*/ 0 w 440"/>
                <a:gd name="T1" fmla="*/ 499 h 508"/>
                <a:gd name="T2" fmla="*/ 8 w 440"/>
                <a:gd name="T3" fmla="*/ 479 h 508"/>
                <a:gd name="T4" fmla="*/ 17 w 440"/>
                <a:gd name="T5" fmla="*/ 454 h 508"/>
                <a:gd name="T6" fmla="*/ 24 w 440"/>
                <a:gd name="T7" fmla="*/ 441 h 508"/>
                <a:gd name="T8" fmla="*/ 28 w 440"/>
                <a:gd name="T9" fmla="*/ 436 h 508"/>
                <a:gd name="T10" fmla="*/ 119 w 440"/>
                <a:gd name="T11" fmla="*/ 265 h 508"/>
                <a:gd name="T12" fmla="*/ 214 w 440"/>
                <a:gd name="T13" fmla="*/ 94 h 508"/>
                <a:gd name="T14" fmla="*/ 220 w 440"/>
                <a:gd name="T15" fmla="*/ 83 h 508"/>
                <a:gd name="T16" fmla="*/ 235 w 440"/>
                <a:gd name="T17" fmla="*/ 63 h 508"/>
                <a:gd name="T18" fmla="*/ 252 w 440"/>
                <a:gd name="T19" fmla="*/ 44 h 508"/>
                <a:gd name="T20" fmla="*/ 270 w 440"/>
                <a:gd name="T21" fmla="*/ 29 h 508"/>
                <a:gd name="T22" fmla="*/ 278 w 440"/>
                <a:gd name="T23" fmla="*/ 23 h 508"/>
                <a:gd name="T24" fmla="*/ 292 w 440"/>
                <a:gd name="T25" fmla="*/ 12 h 508"/>
                <a:gd name="T26" fmla="*/ 309 w 440"/>
                <a:gd name="T27" fmla="*/ 4 h 508"/>
                <a:gd name="T28" fmla="*/ 326 w 440"/>
                <a:gd name="T29" fmla="*/ 0 h 508"/>
                <a:gd name="T30" fmla="*/ 343 w 440"/>
                <a:gd name="T31" fmla="*/ 0 h 508"/>
                <a:gd name="T32" fmla="*/ 360 w 440"/>
                <a:gd name="T33" fmla="*/ 2 h 508"/>
                <a:gd name="T34" fmla="*/ 377 w 440"/>
                <a:gd name="T35" fmla="*/ 6 h 508"/>
                <a:gd name="T36" fmla="*/ 392 w 440"/>
                <a:gd name="T37" fmla="*/ 14 h 508"/>
                <a:gd name="T38" fmla="*/ 407 w 440"/>
                <a:gd name="T39" fmla="*/ 23 h 508"/>
                <a:gd name="T40" fmla="*/ 415 w 440"/>
                <a:gd name="T41" fmla="*/ 29 h 508"/>
                <a:gd name="T42" fmla="*/ 427 w 440"/>
                <a:gd name="T43" fmla="*/ 41 h 508"/>
                <a:gd name="T44" fmla="*/ 434 w 440"/>
                <a:gd name="T45" fmla="*/ 53 h 508"/>
                <a:gd name="T46" fmla="*/ 439 w 440"/>
                <a:gd name="T47" fmla="*/ 67 h 508"/>
                <a:gd name="T48" fmla="*/ 440 w 440"/>
                <a:gd name="T49" fmla="*/ 82 h 508"/>
                <a:gd name="T50" fmla="*/ 438 w 440"/>
                <a:gd name="T51" fmla="*/ 106 h 508"/>
                <a:gd name="T52" fmla="*/ 429 w 440"/>
                <a:gd name="T53" fmla="*/ 137 h 508"/>
                <a:gd name="T54" fmla="*/ 390 w 440"/>
                <a:gd name="T55" fmla="*/ 222 h 508"/>
                <a:gd name="T56" fmla="*/ 310 w 440"/>
                <a:gd name="T57" fmla="*/ 392 h 508"/>
                <a:gd name="T58" fmla="*/ 271 w 440"/>
                <a:gd name="T59" fmla="*/ 478 h 508"/>
                <a:gd name="T60" fmla="*/ 255 w 440"/>
                <a:gd name="T61" fmla="*/ 500 h 508"/>
                <a:gd name="T62" fmla="*/ 243 w 440"/>
                <a:gd name="T63" fmla="*/ 507 h 508"/>
                <a:gd name="T64" fmla="*/ 236 w 440"/>
                <a:gd name="T65" fmla="*/ 508 h 508"/>
                <a:gd name="T66" fmla="*/ 229 w 440"/>
                <a:gd name="T67" fmla="*/ 505 h 508"/>
                <a:gd name="T68" fmla="*/ 222 w 440"/>
                <a:gd name="T69" fmla="*/ 499 h 508"/>
                <a:gd name="T70" fmla="*/ 212 w 440"/>
                <a:gd name="T71" fmla="*/ 490 h 508"/>
                <a:gd name="T72" fmla="*/ 193 w 440"/>
                <a:gd name="T73" fmla="*/ 477 h 508"/>
                <a:gd name="T74" fmla="*/ 172 w 440"/>
                <a:gd name="T75" fmla="*/ 468 h 508"/>
                <a:gd name="T76" fmla="*/ 152 w 440"/>
                <a:gd name="T77" fmla="*/ 464 h 508"/>
                <a:gd name="T78" fmla="*/ 131 w 440"/>
                <a:gd name="T79" fmla="*/ 463 h 508"/>
                <a:gd name="T80" fmla="*/ 111 w 440"/>
                <a:gd name="T81" fmla="*/ 466 h 508"/>
                <a:gd name="T82" fmla="*/ 89 w 440"/>
                <a:gd name="T83" fmla="*/ 472 h 508"/>
                <a:gd name="T84" fmla="*/ 57 w 440"/>
                <a:gd name="T85" fmla="*/ 485 h 508"/>
                <a:gd name="T86" fmla="*/ 46 w 440"/>
                <a:gd name="T87" fmla="*/ 486 h 508"/>
                <a:gd name="T88" fmla="*/ 19 w 440"/>
                <a:gd name="T89" fmla="*/ 494 h 5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40" h="508">
                  <a:moveTo>
                    <a:pt x="0" y="499"/>
                  </a:moveTo>
                  <a:lnTo>
                    <a:pt x="0" y="499"/>
                  </a:lnTo>
                  <a:lnTo>
                    <a:pt x="5" y="489"/>
                  </a:lnTo>
                  <a:lnTo>
                    <a:pt x="8" y="479"/>
                  </a:lnTo>
                  <a:lnTo>
                    <a:pt x="14" y="462"/>
                  </a:lnTo>
                  <a:lnTo>
                    <a:pt x="17" y="454"/>
                  </a:lnTo>
                  <a:lnTo>
                    <a:pt x="20" y="448"/>
                  </a:lnTo>
                  <a:lnTo>
                    <a:pt x="24" y="441"/>
                  </a:lnTo>
                  <a:lnTo>
                    <a:pt x="28" y="436"/>
                  </a:lnTo>
                  <a:lnTo>
                    <a:pt x="28" y="436"/>
                  </a:lnTo>
                  <a:lnTo>
                    <a:pt x="73" y="350"/>
                  </a:lnTo>
                  <a:lnTo>
                    <a:pt x="119" y="265"/>
                  </a:lnTo>
                  <a:lnTo>
                    <a:pt x="166" y="180"/>
                  </a:lnTo>
                  <a:lnTo>
                    <a:pt x="214" y="94"/>
                  </a:lnTo>
                  <a:lnTo>
                    <a:pt x="214" y="94"/>
                  </a:lnTo>
                  <a:lnTo>
                    <a:pt x="220" y="83"/>
                  </a:lnTo>
                  <a:lnTo>
                    <a:pt x="227" y="73"/>
                  </a:lnTo>
                  <a:lnTo>
                    <a:pt x="235" y="63"/>
                  </a:lnTo>
                  <a:lnTo>
                    <a:pt x="244" y="53"/>
                  </a:lnTo>
                  <a:lnTo>
                    <a:pt x="252" y="44"/>
                  </a:lnTo>
                  <a:lnTo>
                    <a:pt x="261" y="36"/>
                  </a:lnTo>
                  <a:lnTo>
                    <a:pt x="270" y="29"/>
                  </a:lnTo>
                  <a:lnTo>
                    <a:pt x="278" y="23"/>
                  </a:lnTo>
                  <a:lnTo>
                    <a:pt x="278" y="23"/>
                  </a:lnTo>
                  <a:lnTo>
                    <a:pt x="285" y="17"/>
                  </a:lnTo>
                  <a:lnTo>
                    <a:pt x="292" y="12"/>
                  </a:lnTo>
                  <a:lnTo>
                    <a:pt x="301" y="8"/>
                  </a:lnTo>
                  <a:lnTo>
                    <a:pt x="309" y="4"/>
                  </a:lnTo>
                  <a:lnTo>
                    <a:pt x="317" y="2"/>
                  </a:lnTo>
                  <a:lnTo>
                    <a:pt x="326" y="0"/>
                  </a:lnTo>
                  <a:lnTo>
                    <a:pt x="334" y="0"/>
                  </a:lnTo>
                  <a:lnTo>
                    <a:pt x="343" y="0"/>
                  </a:lnTo>
                  <a:lnTo>
                    <a:pt x="352" y="0"/>
                  </a:lnTo>
                  <a:lnTo>
                    <a:pt x="360" y="2"/>
                  </a:lnTo>
                  <a:lnTo>
                    <a:pt x="369" y="4"/>
                  </a:lnTo>
                  <a:lnTo>
                    <a:pt x="377" y="6"/>
                  </a:lnTo>
                  <a:lnTo>
                    <a:pt x="385" y="10"/>
                  </a:lnTo>
                  <a:lnTo>
                    <a:pt x="392" y="14"/>
                  </a:lnTo>
                  <a:lnTo>
                    <a:pt x="400" y="18"/>
                  </a:lnTo>
                  <a:lnTo>
                    <a:pt x="407" y="23"/>
                  </a:lnTo>
                  <a:lnTo>
                    <a:pt x="407" y="23"/>
                  </a:lnTo>
                  <a:lnTo>
                    <a:pt x="415" y="29"/>
                  </a:lnTo>
                  <a:lnTo>
                    <a:pt x="421" y="35"/>
                  </a:lnTo>
                  <a:lnTo>
                    <a:pt x="427" y="41"/>
                  </a:lnTo>
                  <a:lnTo>
                    <a:pt x="431" y="47"/>
                  </a:lnTo>
                  <a:lnTo>
                    <a:pt x="434" y="53"/>
                  </a:lnTo>
                  <a:lnTo>
                    <a:pt x="437" y="60"/>
                  </a:lnTo>
                  <a:lnTo>
                    <a:pt x="439" y="67"/>
                  </a:lnTo>
                  <a:lnTo>
                    <a:pt x="440" y="74"/>
                  </a:lnTo>
                  <a:lnTo>
                    <a:pt x="440" y="82"/>
                  </a:lnTo>
                  <a:lnTo>
                    <a:pt x="440" y="89"/>
                  </a:lnTo>
                  <a:lnTo>
                    <a:pt x="438" y="106"/>
                  </a:lnTo>
                  <a:lnTo>
                    <a:pt x="434" y="121"/>
                  </a:lnTo>
                  <a:lnTo>
                    <a:pt x="429" y="137"/>
                  </a:lnTo>
                  <a:lnTo>
                    <a:pt x="429" y="137"/>
                  </a:lnTo>
                  <a:lnTo>
                    <a:pt x="390" y="222"/>
                  </a:lnTo>
                  <a:lnTo>
                    <a:pt x="350" y="308"/>
                  </a:lnTo>
                  <a:lnTo>
                    <a:pt x="310" y="392"/>
                  </a:lnTo>
                  <a:lnTo>
                    <a:pt x="271" y="478"/>
                  </a:lnTo>
                  <a:lnTo>
                    <a:pt x="271" y="478"/>
                  </a:lnTo>
                  <a:lnTo>
                    <a:pt x="260" y="493"/>
                  </a:lnTo>
                  <a:lnTo>
                    <a:pt x="255" y="500"/>
                  </a:lnTo>
                  <a:lnTo>
                    <a:pt x="249" y="504"/>
                  </a:lnTo>
                  <a:lnTo>
                    <a:pt x="243" y="507"/>
                  </a:lnTo>
                  <a:lnTo>
                    <a:pt x="240" y="508"/>
                  </a:lnTo>
                  <a:lnTo>
                    <a:pt x="236" y="508"/>
                  </a:lnTo>
                  <a:lnTo>
                    <a:pt x="233" y="507"/>
                  </a:lnTo>
                  <a:lnTo>
                    <a:pt x="229" y="505"/>
                  </a:lnTo>
                  <a:lnTo>
                    <a:pt x="225" y="503"/>
                  </a:lnTo>
                  <a:lnTo>
                    <a:pt x="222" y="499"/>
                  </a:lnTo>
                  <a:lnTo>
                    <a:pt x="222" y="499"/>
                  </a:lnTo>
                  <a:lnTo>
                    <a:pt x="212" y="490"/>
                  </a:lnTo>
                  <a:lnTo>
                    <a:pt x="203" y="483"/>
                  </a:lnTo>
                  <a:lnTo>
                    <a:pt x="193" y="477"/>
                  </a:lnTo>
                  <a:lnTo>
                    <a:pt x="182" y="472"/>
                  </a:lnTo>
                  <a:lnTo>
                    <a:pt x="172" y="468"/>
                  </a:lnTo>
                  <a:lnTo>
                    <a:pt x="162" y="465"/>
                  </a:lnTo>
                  <a:lnTo>
                    <a:pt x="152" y="464"/>
                  </a:lnTo>
                  <a:lnTo>
                    <a:pt x="142" y="463"/>
                  </a:lnTo>
                  <a:lnTo>
                    <a:pt x="131" y="463"/>
                  </a:lnTo>
                  <a:lnTo>
                    <a:pt x="121" y="464"/>
                  </a:lnTo>
                  <a:lnTo>
                    <a:pt x="111" y="466"/>
                  </a:lnTo>
                  <a:lnTo>
                    <a:pt x="100" y="468"/>
                  </a:lnTo>
                  <a:lnTo>
                    <a:pt x="89" y="472"/>
                  </a:lnTo>
                  <a:lnTo>
                    <a:pt x="79" y="475"/>
                  </a:lnTo>
                  <a:lnTo>
                    <a:pt x="57" y="485"/>
                  </a:lnTo>
                  <a:lnTo>
                    <a:pt x="57" y="485"/>
                  </a:lnTo>
                  <a:lnTo>
                    <a:pt x="46" y="486"/>
                  </a:lnTo>
                  <a:lnTo>
                    <a:pt x="34" y="489"/>
                  </a:lnTo>
                  <a:lnTo>
                    <a:pt x="19" y="494"/>
                  </a:lnTo>
                  <a:lnTo>
                    <a:pt x="0" y="49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62" name="Freeform 24"/>
            <p:cNvSpPr>
              <a:spLocks/>
            </p:cNvSpPr>
            <p:nvPr/>
          </p:nvSpPr>
          <p:spPr bwMode="auto">
            <a:xfrm>
              <a:off x="6489700" y="1792288"/>
              <a:ext cx="87313" cy="100013"/>
            </a:xfrm>
            <a:custGeom>
              <a:avLst/>
              <a:gdLst>
                <a:gd name="T0" fmla="*/ 0 w 440"/>
                <a:gd name="T1" fmla="*/ 499 h 508"/>
                <a:gd name="T2" fmla="*/ 8 w 440"/>
                <a:gd name="T3" fmla="*/ 479 h 508"/>
                <a:gd name="T4" fmla="*/ 17 w 440"/>
                <a:gd name="T5" fmla="*/ 454 h 508"/>
                <a:gd name="T6" fmla="*/ 24 w 440"/>
                <a:gd name="T7" fmla="*/ 441 h 508"/>
                <a:gd name="T8" fmla="*/ 28 w 440"/>
                <a:gd name="T9" fmla="*/ 436 h 508"/>
                <a:gd name="T10" fmla="*/ 119 w 440"/>
                <a:gd name="T11" fmla="*/ 265 h 508"/>
                <a:gd name="T12" fmla="*/ 214 w 440"/>
                <a:gd name="T13" fmla="*/ 94 h 508"/>
                <a:gd name="T14" fmla="*/ 220 w 440"/>
                <a:gd name="T15" fmla="*/ 83 h 508"/>
                <a:gd name="T16" fmla="*/ 235 w 440"/>
                <a:gd name="T17" fmla="*/ 63 h 508"/>
                <a:gd name="T18" fmla="*/ 252 w 440"/>
                <a:gd name="T19" fmla="*/ 44 h 508"/>
                <a:gd name="T20" fmla="*/ 270 w 440"/>
                <a:gd name="T21" fmla="*/ 29 h 508"/>
                <a:gd name="T22" fmla="*/ 278 w 440"/>
                <a:gd name="T23" fmla="*/ 23 h 508"/>
                <a:gd name="T24" fmla="*/ 292 w 440"/>
                <a:gd name="T25" fmla="*/ 12 h 508"/>
                <a:gd name="T26" fmla="*/ 309 w 440"/>
                <a:gd name="T27" fmla="*/ 4 h 508"/>
                <a:gd name="T28" fmla="*/ 326 w 440"/>
                <a:gd name="T29" fmla="*/ 0 h 508"/>
                <a:gd name="T30" fmla="*/ 343 w 440"/>
                <a:gd name="T31" fmla="*/ 0 h 508"/>
                <a:gd name="T32" fmla="*/ 360 w 440"/>
                <a:gd name="T33" fmla="*/ 2 h 508"/>
                <a:gd name="T34" fmla="*/ 377 w 440"/>
                <a:gd name="T35" fmla="*/ 6 h 508"/>
                <a:gd name="T36" fmla="*/ 392 w 440"/>
                <a:gd name="T37" fmla="*/ 14 h 508"/>
                <a:gd name="T38" fmla="*/ 407 w 440"/>
                <a:gd name="T39" fmla="*/ 23 h 508"/>
                <a:gd name="T40" fmla="*/ 415 w 440"/>
                <a:gd name="T41" fmla="*/ 29 h 508"/>
                <a:gd name="T42" fmla="*/ 427 w 440"/>
                <a:gd name="T43" fmla="*/ 41 h 508"/>
                <a:gd name="T44" fmla="*/ 434 w 440"/>
                <a:gd name="T45" fmla="*/ 53 h 508"/>
                <a:gd name="T46" fmla="*/ 439 w 440"/>
                <a:gd name="T47" fmla="*/ 67 h 508"/>
                <a:gd name="T48" fmla="*/ 440 w 440"/>
                <a:gd name="T49" fmla="*/ 82 h 508"/>
                <a:gd name="T50" fmla="*/ 438 w 440"/>
                <a:gd name="T51" fmla="*/ 106 h 508"/>
                <a:gd name="T52" fmla="*/ 429 w 440"/>
                <a:gd name="T53" fmla="*/ 137 h 508"/>
                <a:gd name="T54" fmla="*/ 390 w 440"/>
                <a:gd name="T55" fmla="*/ 222 h 508"/>
                <a:gd name="T56" fmla="*/ 310 w 440"/>
                <a:gd name="T57" fmla="*/ 392 h 508"/>
                <a:gd name="T58" fmla="*/ 271 w 440"/>
                <a:gd name="T59" fmla="*/ 478 h 508"/>
                <a:gd name="T60" fmla="*/ 255 w 440"/>
                <a:gd name="T61" fmla="*/ 500 h 508"/>
                <a:gd name="T62" fmla="*/ 243 w 440"/>
                <a:gd name="T63" fmla="*/ 507 h 508"/>
                <a:gd name="T64" fmla="*/ 236 w 440"/>
                <a:gd name="T65" fmla="*/ 508 h 508"/>
                <a:gd name="T66" fmla="*/ 229 w 440"/>
                <a:gd name="T67" fmla="*/ 505 h 508"/>
                <a:gd name="T68" fmla="*/ 222 w 440"/>
                <a:gd name="T69" fmla="*/ 499 h 508"/>
                <a:gd name="T70" fmla="*/ 212 w 440"/>
                <a:gd name="T71" fmla="*/ 490 h 508"/>
                <a:gd name="T72" fmla="*/ 193 w 440"/>
                <a:gd name="T73" fmla="*/ 477 h 508"/>
                <a:gd name="T74" fmla="*/ 172 w 440"/>
                <a:gd name="T75" fmla="*/ 468 h 508"/>
                <a:gd name="T76" fmla="*/ 152 w 440"/>
                <a:gd name="T77" fmla="*/ 464 h 508"/>
                <a:gd name="T78" fmla="*/ 131 w 440"/>
                <a:gd name="T79" fmla="*/ 463 h 508"/>
                <a:gd name="T80" fmla="*/ 111 w 440"/>
                <a:gd name="T81" fmla="*/ 466 h 508"/>
                <a:gd name="T82" fmla="*/ 89 w 440"/>
                <a:gd name="T83" fmla="*/ 472 h 508"/>
                <a:gd name="T84" fmla="*/ 57 w 440"/>
                <a:gd name="T85" fmla="*/ 485 h 508"/>
                <a:gd name="T86" fmla="*/ 46 w 440"/>
                <a:gd name="T87" fmla="*/ 486 h 508"/>
                <a:gd name="T88" fmla="*/ 19 w 440"/>
                <a:gd name="T89" fmla="*/ 494 h 5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40" h="508">
                  <a:moveTo>
                    <a:pt x="0" y="499"/>
                  </a:moveTo>
                  <a:lnTo>
                    <a:pt x="0" y="499"/>
                  </a:lnTo>
                  <a:lnTo>
                    <a:pt x="5" y="489"/>
                  </a:lnTo>
                  <a:lnTo>
                    <a:pt x="8" y="479"/>
                  </a:lnTo>
                  <a:lnTo>
                    <a:pt x="14" y="462"/>
                  </a:lnTo>
                  <a:lnTo>
                    <a:pt x="17" y="454"/>
                  </a:lnTo>
                  <a:lnTo>
                    <a:pt x="20" y="448"/>
                  </a:lnTo>
                  <a:lnTo>
                    <a:pt x="24" y="441"/>
                  </a:lnTo>
                  <a:lnTo>
                    <a:pt x="28" y="436"/>
                  </a:lnTo>
                  <a:lnTo>
                    <a:pt x="28" y="436"/>
                  </a:lnTo>
                  <a:lnTo>
                    <a:pt x="73" y="350"/>
                  </a:lnTo>
                  <a:lnTo>
                    <a:pt x="119" y="265"/>
                  </a:lnTo>
                  <a:lnTo>
                    <a:pt x="166" y="180"/>
                  </a:lnTo>
                  <a:lnTo>
                    <a:pt x="214" y="94"/>
                  </a:lnTo>
                  <a:lnTo>
                    <a:pt x="214" y="94"/>
                  </a:lnTo>
                  <a:lnTo>
                    <a:pt x="220" y="83"/>
                  </a:lnTo>
                  <a:lnTo>
                    <a:pt x="227" y="73"/>
                  </a:lnTo>
                  <a:lnTo>
                    <a:pt x="235" y="63"/>
                  </a:lnTo>
                  <a:lnTo>
                    <a:pt x="244" y="53"/>
                  </a:lnTo>
                  <a:lnTo>
                    <a:pt x="252" y="44"/>
                  </a:lnTo>
                  <a:lnTo>
                    <a:pt x="261" y="36"/>
                  </a:lnTo>
                  <a:lnTo>
                    <a:pt x="270" y="29"/>
                  </a:lnTo>
                  <a:lnTo>
                    <a:pt x="278" y="23"/>
                  </a:lnTo>
                  <a:lnTo>
                    <a:pt x="278" y="23"/>
                  </a:lnTo>
                  <a:lnTo>
                    <a:pt x="285" y="17"/>
                  </a:lnTo>
                  <a:lnTo>
                    <a:pt x="292" y="12"/>
                  </a:lnTo>
                  <a:lnTo>
                    <a:pt x="301" y="8"/>
                  </a:lnTo>
                  <a:lnTo>
                    <a:pt x="309" y="4"/>
                  </a:lnTo>
                  <a:lnTo>
                    <a:pt x="317" y="2"/>
                  </a:lnTo>
                  <a:lnTo>
                    <a:pt x="326" y="0"/>
                  </a:lnTo>
                  <a:lnTo>
                    <a:pt x="334" y="0"/>
                  </a:lnTo>
                  <a:lnTo>
                    <a:pt x="343" y="0"/>
                  </a:lnTo>
                  <a:lnTo>
                    <a:pt x="352" y="0"/>
                  </a:lnTo>
                  <a:lnTo>
                    <a:pt x="360" y="2"/>
                  </a:lnTo>
                  <a:lnTo>
                    <a:pt x="369" y="4"/>
                  </a:lnTo>
                  <a:lnTo>
                    <a:pt x="377" y="6"/>
                  </a:lnTo>
                  <a:lnTo>
                    <a:pt x="385" y="10"/>
                  </a:lnTo>
                  <a:lnTo>
                    <a:pt x="392" y="14"/>
                  </a:lnTo>
                  <a:lnTo>
                    <a:pt x="400" y="18"/>
                  </a:lnTo>
                  <a:lnTo>
                    <a:pt x="407" y="23"/>
                  </a:lnTo>
                  <a:lnTo>
                    <a:pt x="407" y="23"/>
                  </a:lnTo>
                  <a:lnTo>
                    <a:pt x="415" y="29"/>
                  </a:lnTo>
                  <a:lnTo>
                    <a:pt x="421" y="35"/>
                  </a:lnTo>
                  <a:lnTo>
                    <a:pt x="427" y="41"/>
                  </a:lnTo>
                  <a:lnTo>
                    <a:pt x="431" y="47"/>
                  </a:lnTo>
                  <a:lnTo>
                    <a:pt x="434" y="53"/>
                  </a:lnTo>
                  <a:lnTo>
                    <a:pt x="437" y="60"/>
                  </a:lnTo>
                  <a:lnTo>
                    <a:pt x="439" y="67"/>
                  </a:lnTo>
                  <a:lnTo>
                    <a:pt x="440" y="74"/>
                  </a:lnTo>
                  <a:lnTo>
                    <a:pt x="440" y="82"/>
                  </a:lnTo>
                  <a:lnTo>
                    <a:pt x="440" y="89"/>
                  </a:lnTo>
                  <a:lnTo>
                    <a:pt x="438" y="106"/>
                  </a:lnTo>
                  <a:lnTo>
                    <a:pt x="434" y="121"/>
                  </a:lnTo>
                  <a:lnTo>
                    <a:pt x="429" y="137"/>
                  </a:lnTo>
                  <a:lnTo>
                    <a:pt x="429" y="137"/>
                  </a:lnTo>
                  <a:lnTo>
                    <a:pt x="390" y="222"/>
                  </a:lnTo>
                  <a:lnTo>
                    <a:pt x="350" y="308"/>
                  </a:lnTo>
                  <a:lnTo>
                    <a:pt x="310" y="392"/>
                  </a:lnTo>
                  <a:lnTo>
                    <a:pt x="271" y="478"/>
                  </a:lnTo>
                  <a:lnTo>
                    <a:pt x="271" y="478"/>
                  </a:lnTo>
                  <a:lnTo>
                    <a:pt x="260" y="493"/>
                  </a:lnTo>
                  <a:lnTo>
                    <a:pt x="255" y="500"/>
                  </a:lnTo>
                  <a:lnTo>
                    <a:pt x="249" y="504"/>
                  </a:lnTo>
                  <a:lnTo>
                    <a:pt x="243" y="507"/>
                  </a:lnTo>
                  <a:lnTo>
                    <a:pt x="240" y="508"/>
                  </a:lnTo>
                  <a:lnTo>
                    <a:pt x="236" y="508"/>
                  </a:lnTo>
                  <a:lnTo>
                    <a:pt x="233" y="507"/>
                  </a:lnTo>
                  <a:lnTo>
                    <a:pt x="229" y="505"/>
                  </a:lnTo>
                  <a:lnTo>
                    <a:pt x="225" y="503"/>
                  </a:lnTo>
                  <a:lnTo>
                    <a:pt x="222" y="499"/>
                  </a:lnTo>
                  <a:lnTo>
                    <a:pt x="222" y="499"/>
                  </a:lnTo>
                  <a:lnTo>
                    <a:pt x="212" y="490"/>
                  </a:lnTo>
                  <a:lnTo>
                    <a:pt x="203" y="483"/>
                  </a:lnTo>
                  <a:lnTo>
                    <a:pt x="193" y="477"/>
                  </a:lnTo>
                  <a:lnTo>
                    <a:pt x="182" y="472"/>
                  </a:lnTo>
                  <a:lnTo>
                    <a:pt x="172" y="468"/>
                  </a:lnTo>
                  <a:lnTo>
                    <a:pt x="162" y="465"/>
                  </a:lnTo>
                  <a:lnTo>
                    <a:pt x="152" y="464"/>
                  </a:lnTo>
                  <a:lnTo>
                    <a:pt x="142" y="463"/>
                  </a:lnTo>
                  <a:lnTo>
                    <a:pt x="131" y="463"/>
                  </a:lnTo>
                  <a:lnTo>
                    <a:pt x="121" y="464"/>
                  </a:lnTo>
                  <a:lnTo>
                    <a:pt x="111" y="466"/>
                  </a:lnTo>
                  <a:lnTo>
                    <a:pt x="100" y="468"/>
                  </a:lnTo>
                  <a:lnTo>
                    <a:pt x="89" y="472"/>
                  </a:lnTo>
                  <a:lnTo>
                    <a:pt x="79" y="475"/>
                  </a:lnTo>
                  <a:lnTo>
                    <a:pt x="57" y="485"/>
                  </a:lnTo>
                  <a:lnTo>
                    <a:pt x="57" y="485"/>
                  </a:lnTo>
                  <a:lnTo>
                    <a:pt x="46" y="486"/>
                  </a:lnTo>
                  <a:lnTo>
                    <a:pt x="34" y="489"/>
                  </a:lnTo>
                  <a:lnTo>
                    <a:pt x="19" y="494"/>
                  </a:lnTo>
                  <a:lnTo>
                    <a:pt x="0" y="499"/>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63" name="Freeform 25"/>
            <p:cNvSpPr>
              <a:spLocks/>
            </p:cNvSpPr>
            <p:nvPr/>
          </p:nvSpPr>
          <p:spPr bwMode="auto">
            <a:xfrm>
              <a:off x="6384925" y="1862138"/>
              <a:ext cx="71438" cy="71438"/>
            </a:xfrm>
            <a:custGeom>
              <a:avLst/>
              <a:gdLst>
                <a:gd name="T0" fmla="*/ 184 w 359"/>
                <a:gd name="T1" fmla="*/ 0 h 356"/>
                <a:gd name="T2" fmla="*/ 219 w 359"/>
                <a:gd name="T3" fmla="*/ 4 h 356"/>
                <a:gd name="T4" fmla="*/ 253 w 359"/>
                <a:gd name="T5" fmla="*/ 14 h 356"/>
                <a:gd name="T6" fmla="*/ 285 w 359"/>
                <a:gd name="T7" fmla="*/ 30 h 356"/>
                <a:gd name="T8" fmla="*/ 311 w 359"/>
                <a:gd name="T9" fmla="*/ 53 h 356"/>
                <a:gd name="T10" fmla="*/ 333 w 359"/>
                <a:gd name="T11" fmla="*/ 79 h 356"/>
                <a:gd name="T12" fmla="*/ 349 w 359"/>
                <a:gd name="T13" fmla="*/ 109 h 356"/>
                <a:gd name="T14" fmla="*/ 358 w 359"/>
                <a:gd name="T15" fmla="*/ 142 h 356"/>
                <a:gd name="T16" fmla="*/ 359 w 359"/>
                <a:gd name="T17" fmla="*/ 178 h 356"/>
                <a:gd name="T18" fmla="*/ 358 w 359"/>
                <a:gd name="T19" fmla="*/ 197 h 356"/>
                <a:gd name="T20" fmla="*/ 351 w 359"/>
                <a:gd name="T21" fmla="*/ 232 h 356"/>
                <a:gd name="T22" fmla="*/ 338 w 359"/>
                <a:gd name="T23" fmla="*/ 264 h 356"/>
                <a:gd name="T24" fmla="*/ 320 w 359"/>
                <a:gd name="T25" fmla="*/ 292 h 356"/>
                <a:gd name="T26" fmla="*/ 296 w 359"/>
                <a:gd name="T27" fmla="*/ 315 h 356"/>
                <a:gd name="T28" fmla="*/ 268 w 359"/>
                <a:gd name="T29" fmla="*/ 334 h 356"/>
                <a:gd name="T30" fmla="*/ 236 w 359"/>
                <a:gd name="T31" fmla="*/ 348 h 356"/>
                <a:gd name="T32" fmla="*/ 202 w 359"/>
                <a:gd name="T33" fmla="*/ 355 h 356"/>
                <a:gd name="T34" fmla="*/ 184 w 359"/>
                <a:gd name="T35" fmla="*/ 356 h 356"/>
                <a:gd name="T36" fmla="*/ 148 w 359"/>
                <a:gd name="T37" fmla="*/ 353 h 356"/>
                <a:gd name="T38" fmla="*/ 113 w 359"/>
                <a:gd name="T39" fmla="*/ 343 h 356"/>
                <a:gd name="T40" fmla="*/ 82 w 359"/>
                <a:gd name="T41" fmla="*/ 325 h 356"/>
                <a:gd name="T42" fmla="*/ 55 w 359"/>
                <a:gd name="T43" fmla="*/ 304 h 356"/>
                <a:gd name="T44" fmla="*/ 33 w 359"/>
                <a:gd name="T45" fmla="*/ 278 h 356"/>
                <a:gd name="T46" fmla="*/ 15 w 359"/>
                <a:gd name="T47" fmla="*/ 248 h 356"/>
                <a:gd name="T48" fmla="*/ 4 w 359"/>
                <a:gd name="T49" fmla="*/ 215 h 356"/>
                <a:gd name="T50" fmla="*/ 0 w 359"/>
                <a:gd name="T51" fmla="*/ 178 h 356"/>
                <a:gd name="T52" fmla="*/ 1 w 359"/>
                <a:gd name="T53" fmla="*/ 160 h 356"/>
                <a:gd name="T54" fmla="*/ 8 w 359"/>
                <a:gd name="T55" fmla="*/ 125 h 356"/>
                <a:gd name="T56" fmla="*/ 22 w 359"/>
                <a:gd name="T57" fmla="*/ 93 h 356"/>
                <a:gd name="T58" fmla="*/ 43 w 359"/>
                <a:gd name="T59" fmla="*/ 65 h 356"/>
                <a:gd name="T60" fmla="*/ 68 w 359"/>
                <a:gd name="T61" fmla="*/ 40 h 356"/>
                <a:gd name="T62" fmla="*/ 97 w 359"/>
                <a:gd name="T63" fmla="*/ 21 h 356"/>
                <a:gd name="T64" fmla="*/ 129 w 359"/>
                <a:gd name="T65" fmla="*/ 8 h 356"/>
                <a:gd name="T66" fmla="*/ 165 w 359"/>
                <a:gd name="T67" fmla="*/ 1 h 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9" h="356">
                  <a:moveTo>
                    <a:pt x="184" y="0"/>
                  </a:moveTo>
                  <a:lnTo>
                    <a:pt x="184" y="0"/>
                  </a:lnTo>
                  <a:lnTo>
                    <a:pt x="202" y="1"/>
                  </a:lnTo>
                  <a:lnTo>
                    <a:pt x="219" y="4"/>
                  </a:lnTo>
                  <a:lnTo>
                    <a:pt x="237" y="8"/>
                  </a:lnTo>
                  <a:lnTo>
                    <a:pt x="253" y="14"/>
                  </a:lnTo>
                  <a:lnTo>
                    <a:pt x="270" y="21"/>
                  </a:lnTo>
                  <a:lnTo>
                    <a:pt x="285" y="30"/>
                  </a:lnTo>
                  <a:lnTo>
                    <a:pt x="298" y="40"/>
                  </a:lnTo>
                  <a:lnTo>
                    <a:pt x="311" y="53"/>
                  </a:lnTo>
                  <a:lnTo>
                    <a:pt x="323" y="65"/>
                  </a:lnTo>
                  <a:lnTo>
                    <a:pt x="333" y="79"/>
                  </a:lnTo>
                  <a:lnTo>
                    <a:pt x="341" y="93"/>
                  </a:lnTo>
                  <a:lnTo>
                    <a:pt x="349" y="109"/>
                  </a:lnTo>
                  <a:lnTo>
                    <a:pt x="354" y="125"/>
                  </a:lnTo>
                  <a:lnTo>
                    <a:pt x="358" y="142"/>
                  </a:lnTo>
                  <a:lnTo>
                    <a:pt x="359" y="160"/>
                  </a:lnTo>
                  <a:lnTo>
                    <a:pt x="359" y="178"/>
                  </a:lnTo>
                  <a:lnTo>
                    <a:pt x="359" y="178"/>
                  </a:lnTo>
                  <a:lnTo>
                    <a:pt x="358" y="197"/>
                  </a:lnTo>
                  <a:lnTo>
                    <a:pt x="356" y="215"/>
                  </a:lnTo>
                  <a:lnTo>
                    <a:pt x="351" y="232"/>
                  </a:lnTo>
                  <a:lnTo>
                    <a:pt x="346" y="248"/>
                  </a:lnTo>
                  <a:lnTo>
                    <a:pt x="338" y="264"/>
                  </a:lnTo>
                  <a:lnTo>
                    <a:pt x="330" y="278"/>
                  </a:lnTo>
                  <a:lnTo>
                    <a:pt x="320" y="292"/>
                  </a:lnTo>
                  <a:lnTo>
                    <a:pt x="308" y="304"/>
                  </a:lnTo>
                  <a:lnTo>
                    <a:pt x="296" y="315"/>
                  </a:lnTo>
                  <a:lnTo>
                    <a:pt x="283" y="325"/>
                  </a:lnTo>
                  <a:lnTo>
                    <a:pt x="268" y="334"/>
                  </a:lnTo>
                  <a:lnTo>
                    <a:pt x="252" y="343"/>
                  </a:lnTo>
                  <a:lnTo>
                    <a:pt x="236" y="348"/>
                  </a:lnTo>
                  <a:lnTo>
                    <a:pt x="219" y="353"/>
                  </a:lnTo>
                  <a:lnTo>
                    <a:pt x="202" y="355"/>
                  </a:lnTo>
                  <a:lnTo>
                    <a:pt x="184" y="356"/>
                  </a:lnTo>
                  <a:lnTo>
                    <a:pt x="184" y="356"/>
                  </a:lnTo>
                  <a:lnTo>
                    <a:pt x="165" y="355"/>
                  </a:lnTo>
                  <a:lnTo>
                    <a:pt x="148" y="353"/>
                  </a:lnTo>
                  <a:lnTo>
                    <a:pt x="129" y="348"/>
                  </a:lnTo>
                  <a:lnTo>
                    <a:pt x="113" y="343"/>
                  </a:lnTo>
                  <a:lnTo>
                    <a:pt x="97" y="334"/>
                  </a:lnTo>
                  <a:lnTo>
                    <a:pt x="82" y="325"/>
                  </a:lnTo>
                  <a:lnTo>
                    <a:pt x="68" y="315"/>
                  </a:lnTo>
                  <a:lnTo>
                    <a:pt x="55" y="304"/>
                  </a:lnTo>
                  <a:lnTo>
                    <a:pt x="43" y="292"/>
                  </a:lnTo>
                  <a:lnTo>
                    <a:pt x="33" y="278"/>
                  </a:lnTo>
                  <a:lnTo>
                    <a:pt x="22" y="264"/>
                  </a:lnTo>
                  <a:lnTo>
                    <a:pt x="15" y="248"/>
                  </a:lnTo>
                  <a:lnTo>
                    <a:pt x="8" y="232"/>
                  </a:lnTo>
                  <a:lnTo>
                    <a:pt x="4" y="215"/>
                  </a:lnTo>
                  <a:lnTo>
                    <a:pt x="1" y="197"/>
                  </a:lnTo>
                  <a:lnTo>
                    <a:pt x="0" y="178"/>
                  </a:lnTo>
                  <a:lnTo>
                    <a:pt x="0" y="178"/>
                  </a:lnTo>
                  <a:lnTo>
                    <a:pt x="1" y="160"/>
                  </a:lnTo>
                  <a:lnTo>
                    <a:pt x="4" y="142"/>
                  </a:lnTo>
                  <a:lnTo>
                    <a:pt x="8" y="125"/>
                  </a:lnTo>
                  <a:lnTo>
                    <a:pt x="15" y="109"/>
                  </a:lnTo>
                  <a:lnTo>
                    <a:pt x="22" y="93"/>
                  </a:lnTo>
                  <a:lnTo>
                    <a:pt x="33" y="79"/>
                  </a:lnTo>
                  <a:lnTo>
                    <a:pt x="43" y="65"/>
                  </a:lnTo>
                  <a:lnTo>
                    <a:pt x="55" y="53"/>
                  </a:lnTo>
                  <a:lnTo>
                    <a:pt x="68" y="40"/>
                  </a:lnTo>
                  <a:lnTo>
                    <a:pt x="82" y="30"/>
                  </a:lnTo>
                  <a:lnTo>
                    <a:pt x="97" y="21"/>
                  </a:lnTo>
                  <a:lnTo>
                    <a:pt x="113" y="14"/>
                  </a:lnTo>
                  <a:lnTo>
                    <a:pt x="129" y="8"/>
                  </a:lnTo>
                  <a:lnTo>
                    <a:pt x="148" y="4"/>
                  </a:lnTo>
                  <a:lnTo>
                    <a:pt x="165" y="1"/>
                  </a:lnTo>
                  <a:lnTo>
                    <a:pt x="18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096" name="Freeform 26"/>
            <p:cNvSpPr>
              <a:spLocks/>
            </p:cNvSpPr>
            <p:nvPr/>
          </p:nvSpPr>
          <p:spPr bwMode="auto">
            <a:xfrm>
              <a:off x="6384925" y="1862138"/>
              <a:ext cx="71438" cy="71438"/>
            </a:xfrm>
            <a:custGeom>
              <a:avLst/>
              <a:gdLst>
                <a:gd name="T0" fmla="*/ 184 w 359"/>
                <a:gd name="T1" fmla="*/ 0 h 356"/>
                <a:gd name="T2" fmla="*/ 219 w 359"/>
                <a:gd name="T3" fmla="*/ 4 h 356"/>
                <a:gd name="T4" fmla="*/ 253 w 359"/>
                <a:gd name="T5" fmla="*/ 14 h 356"/>
                <a:gd name="T6" fmla="*/ 285 w 359"/>
                <a:gd name="T7" fmla="*/ 30 h 356"/>
                <a:gd name="T8" fmla="*/ 311 w 359"/>
                <a:gd name="T9" fmla="*/ 53 h 356"/>
                <a:gd name="T10" fmla="*/ 333 w 359"/>
                <a:gd name="T11" fmla="*/ 79 h 356"/>
                <a:gd name="T12" fmla="*/ 349 w 359"/>
                <a:gd name="T13" fmla="*/ 109 h 356"/>
                <a:gd name="T14" fmla="*/ 358 w 359"/>
                <a:gd name="T15" fmla="*/ 142 h 356"/>
                <a:gd name="T16" fmla="*/ 359 w 359"/>
                <a:gd name="T17" fmla="*/ 178 h 356"/>
                <a:gd name="T18" fmla="*/ 358 w 359"/>
                <a:gd name="T19" fmla="*/ 197 h 356"/>
                <a:gd name="T20" fmla="*/ 351 w 359"/>
                <a:gd name="T21" fmla="*/ 232 h 356"/>
                <a:gd name="T22" fmla="*/ 338 w 359"/>
                <a:gd name="T23" fmla="*/ 264 h 356"/>
                <a:gd name="T24" fmla="*/ 320 w 359"/>
                <a:gd name="T25" fmla="*/ 292 h 356"/>
                <a:gd name="T26" fmla="*/ 296 w 359"/>
                <a:gd name="T27" fmla="*/ 315 h 356"/>
                <a:gd name="T28" fmla="*/ 268 w 359"/>
                <a:gd name="T29" fmla="*/ 334 h 356"/>
                <a:gd name="T30" fmla="*/ 236 w 359"/>
                <a:gd name="T31" fmla="*/ 348 h 356"/>
                <a:gd name="T32" fmla="*/ 202 w 359"/>
                <a:gd name="T33" fmla="*/ 355 h 356"/>
                <a:gd name="T34" fmla="*/ 184 w 359"/>
                <a:gd name="T35" fmla="*/ 356 h 356"/>
                <a:gd name="T36" fmla="*/ 148 w 359"/>
                <a:gd name="T37" fmla="*/ 353 h 356"/>
                <a:gd name="T38" fmla="*/ 113 w 359"/>
                <a:gd name="T39" fmla="*/ 343 h 356"/>
                <a:gd name="T40" fmla="*/ 82 w 359"/>
                <a:gd name="T41" fmla="*/ 325 h 356"/>
                <a:gd name="T42" fmla="*/ 55 w 359"/>
                <a:gd name="T43" fmla="*/ 304 h 356"/>
                <a:gd name="T44" fmla="*/ 33 w 359"/>
                <a:gd name="T45" fmla="*/ 278 h 356"/>
                <a:gd name="T46" fmla="*/ 15 w 359"/>
                <a:gd name="T47" fmla="*/ 248 h 356"/>
                <a:gd name="T48" fmla="*/ 4 w 359"/>
                <a:gd name="T49" fmla="*/ 215 h 356"/>
                <a:gd name="T50" fmla="*/ 0 w 359"/>
                <a:gd name="T51" fmla="*/ 178 h 356"/>
                <a:gd name="T52" fmla="*/ 1 w 359"/>
                <a:gd name="T53" fmla="*/ 160 h 356"/>
                <a:gd name="T54" fmla="*/ 8 w 359"/>
                <a:gd name="T55" fmla="*/ 125 h 356"/>
                <a:gd name="T56" fmla="*/ 22 w 359"/>
                <a:gd name="T57" fmla="*/ 93 h 356"/>
                <a:gd name="T58" fmla="*/ 43 w 359"/>
                <a:gd name="T59" fmla="*/ 65 h 356"/>
                <a:gd name="T60" fmla="*/ 68 w 359"/>
                <a:gd name="T61" fmla="*/ 40 h 356"/>
                <a:gd name="T62" fmla="*/ 97 w 359"/>
                <a:gd name="T63" fmla="*/ 21 h 356"/>
                <a:gd name="T64" fmla="*/ 129 w 359"/>
                <a:gd name="T65" fmla="*/ 8 h 356"/>
                <a:gd name="T66" fmla="*/ 165 w 359"/>
                <a:gd name="T67" fmla="*/ 1 h 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9" h="356">
                  <a:moveTo>
                    <a:pt x="184" y="0"/>
                  </a:moveTo>
                  <a:lnTo>
                    <a:pt x="184" y="0"/>
                  </a:lnTo>
                  <a:lnTo>
                    <a:pt x="202" y="1"/>
                  </a:lnTo>
                  <a:lnTo>
                    <a:pt x="219" y="4"/>
                  </a:lnTo>
                  <a:lnTo>
                    <a:pt x="237" y="8"/>
                  </a:lnTo>
                  <a:lnTo>
                    <a:pt x="253" y="14"/>
                  </a:lnTo>
                  <a:lnTo>
                    <a:pt x="270" y="21"/>
                  </a:lnTo>
                  <a:lnTo>
                    <a:pt x="285" y="30"/>
                  </a:lnTo>
                  <a:lnTo>
                    <a:pt x="298" y="40"/>
                  </a:lnTo>
                  <a:lnTo>
                    <a:pt x="311" y="53"/>
                  </a:lnTo>
                  <a:lnTo>
                    <a:pt x="323" y="65"/>
                  </a:lnTo>
                  <a:lnTo>
                    <a:pt x="333" y="79"/>
                  </a:lnTo>
                  <a:lnTo>
                    <a:pt x="341" y="93"/>
                  </a:lnTo>
                  <a:lnTo>
                    <a:pt x="349" y="109"/>
                  </a:lnTo>
                  <a:lnTo>
                    <a:pt x="354" y="125"/>
                  </a:lnTo>
                  <a:lnTo>
                    <a:pt x="358" y="142"/>
                  </a:lnTo>
                  <a:lnTo>
                    <a:pt x="359" y="160"/>
                  </a:lnTo>
                  <a:lnTo>
                    <a:pt x="359" y="178"/>
                  </a:lnTo>
                  <a:lnTo>
                    <a:pt x="359" y="178"/>
                  </a:lnTo>
                  <a:lnTo>
                    <a:pt x="358" y="197"/>
                  </a:lnTo>
                  <a:lnTo>
                    <a:pt x="356" y="215"/>
                  </a:lnTo>
                  <a:lnTo>
                    <a:pt x="351" y="232"/>
                  </a:lnTo>
                  <a:lnTo>
                    <a:pt x="346" y="248"/>
                  </a:lnTo>
                  <a:lnTo>
                    <a:pt x="338" y="264"/>
                  </a:lnTo>
                  <a:lnTo>
                    <a:pt x="330" y="278"/>
                  </a:lnTo>
                  <a:lnTo>
                    <a:pt x="320" y="292"/>
                  </a:lnTo>
                  <a:lnTo>
                    <a:pt x="308" y="304"/>
                  </a:lnTo>
                  <a:lnTo>
                    <a:pt x="296" y="315"/>
                  </a:lnTo>
                  <a:lnTo>
                    <a:pt x="283" y="325"/>
                  </a:lnTo>
                  <a:lnTo>
                    <a:pt x="268" y="334"/>
                  </a:lnTo>
                  <a:lnTo>
                    <a:pt x="252" y="343"/>
                  </a:lnTo>
                  <a:lnTo>
                    <a:pt x="236" y="348"/>
                  </a:lnTo>
                  <a:lnTo>
                    <a:pt x="219" y="353"/>
                  </a:lnTo>
                  <a:lnTo>
                    <a:pt x="202" y="355"/>
                  </a:lnTo>
                  <a:lnTo>
                    <a:pt x="184" y="356"/>
                  </a:lnTo>
                  <a:lnTo>
                    <a:pt x="184" y="356"/>
                  </a:lnTo>
                  <a:lnTo>
                    <a:pt x="165" y="355"/>
                  </a:lnTo>
                  <a:lnTo>
                    <a:pt x="148" y="353"/>
                  </a:lnTo>
                  <a:lnTo>
                    <a:pt x="129" y="348"/>
                  </a:lnTo>
                  <a:lnTo>
                    <a:pt x="113" y="343"/>
                  </a:lnTo>
                  <a:lnTo>
                    <a:pt x="97" y="334"/>
                  </a:lnTo>
                  <a:lnTo>
                    <a:pt x="82" y="325"/>
                  </a:lnTo>
                  <a:lnTo>
                    <a:pt x="68" y="315"/>
                  </a:lnTo>
                  <a:lnTo>
                    <a:pt x="55" y="304"/>
                  </a:lnTo>
                  <a:lnTo>
                    <a:pt x="43" y="292"/>
                  </a:lnTo>
                  <a:lnTo>
                    <a:pt x="33" y="278"/>
                  </a:lnTo>
                  <a:lnTo>
                    <a:pt x="22" y="264"/>
                  </a:lnTo>
                  <a:lnTo>
                    <a:pt x="15" y="248"/>
                  </a:lnTo>
                  <a:lnTo>
                    <a:pt x="8" y="232"/>
                  </a:lnTo>
                  <a:lnTo>
                    <a:pt x="4" y="215"/>
                  </a:lnTo>
                  <a:lnTo>
                    <a:pt x="1" y="197"/>
                  </a:lnTo>
                  <a:lnTo>
                    <a:pt x="0" y="178"/>
                  </a:lnTo>
                  <a:lnTo>
                    <a:pt x="0" y="178"/>
                  </a:lnTo>
                  <a:lnTo>
                    <a:pt x="1" y="160"/>
                  </a:lnTo>
                  <a:lnTo>
                    <a:pt x="4" y="142"/>
                  </a:lnTo>
                  <a:lnTo>
                    <a:pt x="8" y="125"/>
                  </a:lnTo>
                  <a:lnTo>
                    <a:pt x="15" y="109"/>
                  </a:lnTo>
                  <a:lnTo>
                    <a:pt x="22" y="93"/>
                  </a:lnTo>
                  <a:lnTo>
                    <a:pt x="33" y="79"/>
                  </a:lnTo>
                  <a:lnTo>
                    <a:pt x="43" y="65"/>
                  </a:lnTo>
                  <a:lnTo>
                    <a:pt x="55" y="53"/>
                  </a:lnTo>
                  <a:lnTo>
                    <a:pt x="68" y="40"/>
                  </a:lnTo>
                  <a:lnTo>
                    <a:pt x="82" y="30"/>
                  </a:lnTo>
                  <a:lnTo>
                    <a:pt x="97" y="21"/>
                  </a:lnTo>
                  <a:lnTo>
                    <a:pt x="113" y="14"/>
                  </a:lnTo>
                  <a:lnTo>
                    <a:pt x="129" y="8"/>
                  </a:lnTo>
                  <a:lnTo>
                    <a:pt x="148" y="4"/>
                  </a:lnTo>
                  <a:lnTo>
                    <a:pt x="165" y="1"/>
                  </a:lnTo>
                  <a:lnTo>
                    <a:pt x="184"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sp>
        <p:nvSpPr>
          <p:cNvPr id="80" name="Oval 53"/>
          <p:cNvSpPr>
            <a:spLocks noChangeAspect="1"/>
          </p:cNvSpPr>
          <p:nvPr/>
        </p:nvSpPr>
        <p:spPr>
          <a:xfrm>
            <a:off x="6000386" y="3107827"/>
            <a:ext cx="967032" cy="967032"/>
          </a:xfrm>
          <a:prstGeom prst="ellipse">
            <a:avLst/>
          </a:prstGeom>
          <a:noFill/>
          <a:ln w="19050">
            <a:solidFill>
              <a:srgbClr val="FF8300"/>
            </a:solidFill>
            <a:prstDash val="sys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nvGrpSpPr>
          <p:cNvPr id="4117" name="Gruppieren 4116"/>
          <p:cNvGrpSpPr/>
          <p:nvPr/>
        </p:nvGrpSpPr>
        <p:grpSpPr>
          <a:xfrm>
            <a:off x="6213114" y="3187882"/>
            <a:ext cx="677472" cy="660432"/>
            <a:chOff x="6213114" y="3187882"/>
            <a:chExt cx="677472" cy="660432"/>
          </a:xfrm>
        </p:grpSpPr>
        <p:sp>
          <p:nvSpPr>
            <p:cNvPr id="79" name="Freeform 6"/>
            <p:cNvSpPr>
              <a:spLocks noChangeAspect="1"/>
            </p:cNvSpPr>
            <p:nvPr/>
          </p:nvSpPr>
          <p:spPr bwMode="auto">
            <a:xfrm>
              <a:off x="6213114" y="3381600"/>
              <a:ext cx="560954" cy="466714"/>
            </a:xfrm>
            <a:custGeom>
              <a:avLst/>
              <a:gdLst>
                <a:gd name="T0" fmla="*/ 46 w 2762"/>
                <a:gd name="T1" fmla="*/ 0 h 2298"/>
                <a:gd name="T2" fmla="*/ 28 w 2762"/>
                <a:gd name="T3" fmla="*/ 4 h 2298"/>
                <a:gd name="T4" fmla="*/ 14 w 2762"/>
                <a:gd name="T5" fmla="*/ 14 h 2298"/>
                <a:gd name="T6" fmla="*/ 4 w 2762"/>
                <a:gd name="T7" fmla="*/ 28 h 2298"/>
                <a:gd name="T8" fmla="*/ 0 w 2762"/>
                <a:gd name="T9" fmla="*/ 46 h 2298"/>
                <a:gd name="T10" fmla="*/ 0 w 2762"/>
                <a:gd name="T11" fmla="*/ 1688 h 2298"/>
                <a:gd name="T12" fmla="*/ 4 w 2762"/>
                <a:gd name="T13" fmla="*/ 1706 h 2298"/>
                <a:gd name="T14" fmla="*/ 14 w 2762"/>
                <a:gd name="T15" fmla="*/ 1720 h 2298"/>
                <a:gd name="T16" fmla="*/ 28 w 2762"/>
                <a:gd name="T17" fmla="*/ 1730 h 2298"/>
                <a:gd name="T18" fmla="*/ 46 w 2762"/>
                <a:gd name="T19" fmla="*/ 1732 h 2298"/>
                <a:gd name="T20" fmla="*/ 356 w 2762"/>
                <a:gd name="T21" fmla="*/ 1732 h 2298"/>
                <a:gd name="T22" fmla="*/ 374 w 2762"/>
                <a:gd name="T23" fmla="*/ 1736 h 2298"/>
                <a:gd name="T24" fmla="*/ 388 w 2762"/>
                <a:gd name="T25" fmla="*/ 1746 h 2298"/>
                <a:gd name="T26" fmla="*/ 398 w 2762"/>
                <a:gd name="T27" fmla="*/ 1760 h 2298"/>
                <a:gd name="T28" fmla="*/ 402 w 2762"/>
                <a:gd name="T29" fmla="*/ 1778 h 2298"/>
                <a:gd name="T30" fmla="*/ 402 w 2762"/>
                <a:gd name="T31" fmla="*/ 2272 h 2298"/>
                <a:gd name="T32" fmla="*/ 404 w 2762"/>
                <a:gd name="T33" fmla="*/ 2288 h 2298"/>
                <a:gd name="T34" fmla="*/ 412 w 2762"/>
                <a:gd name="T35" fmla="*/ 2296 h 2298"/>
                <a:gd name="T36" fmla="*/ 424 w 2762"/>
                <a:gd name="T37" fmla="*/ 2298 h 2298"/>
                <a:gd name="T38" fmla="*/ 438 w 2762"/>
                <a:gd name="T39" fmla="*/ 2290 h 2298"/>
                <a:gd name="T40" fmla="*/ 1134 w 2762"/>
                <a:gd name="T41" fmla="*/ 1760 h 2298"/>
                <a:gd name="T42" fmla="*/ 1172 w 2762"/>
                <a:gd name="T43" fmla="*/ 1742 h 2298"/>
                <a:gd name="T44" fmla="*/ 1216 w 2762"/>
                <a:gd name="T45" fmla="*/ 1732 h 2298"/>
                <a:gd name="T46" fmla="*/ 2716 w 2762"/>
                <a:gd name="T47" fmla="*/ 1732 h 2298"/>
                <a:gd name="T48" fmla="*/ 2734 w 2762"/>
                <a:gd name="T49" fmla="*/ 1730 h 2298"/>
                <a:gd name="T50" fmla="*/ 2748 w 2762"/>
                <a:gd name="T51" fmla="*/ 1720 h 2298"/>
                <a:gd name="T52" fmla="*/ 2758 w 2762"/>
                <a:gd name="T53" fmla="*/ 1706 h 2298"/>
                <a:gd name="T54" fmla="*/ 2762 w 2762"/>
                <a:gd name="T55" fmla="*/ 1688 h 2298"/>
                <a:gd name="T56" fmla="*/ 2762 w 2762"/>
                <a:gd name="T57" fmla="*/ 46 h 2298"/>
                <a:gd name="T58" fmla="*/ 2758 w 2762"/>
                <a:gd name="T59" fmla="*/ 28 h 2298"/>
                <a:gd name="T60" fmla="*/ 2748 w 2762"/>
                <a:gd name="T61" fmla="*/ 14 h 2298"/>
                <a:gd name="T62" fmla="*/ 2734 w 2762"/>
                <a:gd name="T63" fmla="*/ 4 h 2298"/>
                <a:gd name="T64" fmla="*/ 2716 w 2762"/>
                <a:gd name="T65" fmla="*/ 0 h 2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762" h="2298">
                  <a:moveTo>
                    <a:pt x="46" y="0"/>
                  </a:moveTo>
                  <a:lnTo>
                    <a:pt x="46" y="0"/>
                  </a:lnTo>
                  <a:lnTo>
                    <a:pt x="36" y="2"/>
                  </a:lnTo>
                  <a:lnTo>
                    <a:pt x="28" y="4"/>
                  </a:lnTo>
                  <a:lnTo>
                    <a:pt x="20" y="8"/>
                  </a:lnTo>
                  <a:lnTo>
                    <a:pt x="14" y="14"/>
                  </a:lnTo>
                  <a:lnTo>
                    <a:pt x="8" y="20"/>
                  </a:lnTo>
                  <a:lnTo>
                    <a:pt x="4" y="28"/>
                  </a:lnTo>
                  <a:lnTo>
                    <a:pt x="2" y="36"/>
                  </a:lnTo>
                  <a:lnTo>
                    <a:pt x="0" y="46"/>
                  </a:lnTo>
                  <a:lnTo>
                    <a:pt x="0" y="1688"/>
                  </a:lnTo>
                  <a:lnTo>
                    <a:pt x="0" y="1688"/>
                  </a:lnTo>
                  <a:lnTo>
                    <a:pt x="2" y="1696"/>
                  </a:lnTo>
                  <a:lnTo>
                    <a:pt x="4" y="1706"/>
                  </a:lnTo>
                  <a:lnTo>
                    <a:pt x="8" y="1712"/>
                  </a:lnTo>
                  <a:lnTo>
                    <a:pt x="14" y="1720"/>
                  </a:lnTo>
                  <a:lnTo>
                    <a:pt x="20" y="1726"/>
                  </a:lnTo>
                  <a:lnTo>
                    <a:pt x="28" y="1730"/>
                  </a:lnTo>
                  <a:lnTo>
                    <a:pt x="36" y="1732"/>
                  </a:lnTo>
                  <a:lnTo>
                    <a:pt x="46" y="1732"/>
                  </a:lnTo>
                  <a:lnTo>
                    <a:pt x="356" y="1732"/>
                  </a:lnTo>
                  <a:lnTo>
                    <a:pt x="356" y="1732"/>
                  </a:lnTo>
                  <a:lnTo>
                    <a:pt x="364" y="1734"/>
                  </a:lnTo>
                  <a:lnTo>
                    <a:pt x="374" y="1736"/>
                  </a:lnTo>
                  <a:lnTo>
                    <a:pt x="382" y="1740"/>
                  </a:lnTo>
                  <a:lnTo>
                    <a:pt x="388" y="1746"/>
                  </a:lnTo>
                  <a:lnTo>
                    <a:pt x="394" y="1754"/>
                  </a:lnTo>
                  <a:lnTo>
                    <a:pt x="398" y="1760"/>
                  </a:lnTo>
                  <a:lnTo>
                    <a:pt x="400" y="1770"/>
                  </a:lnTo>
                  <a:lnTo>
                    <a:pt x="402" y="1778"/>
                  </a:lnTo>
                  <a:lnTo>
                    <a:pt x="402" y="2272"/>
                  </a:lnTo>
                  <a:lnTo>
                    <a:pt x="402" y="2272"/>
                  </a:lnTo>
                  <a:lnTo>
                    <a:pt x="402" y="2282"/>
                  </a:lnTo>
                  <a:lnTo>
                    <a:pt x="404" y="2288"/>
                  </a:lnTo>
                  <a:lnTo>
                    <a:pt x="408" y="2294"/>
                  </a:lnTo>
                  <a:lnTo>
                    <a:pt x="412" y="2296"/>
                  </a:lnTo>
                  <a:lnTo>
                    <a:pt x="418" y="2298"/>
                  </a:lnTo>
                  <a:lnTo>
                    <a:pt x="424" y="2298"/>
                  </a:lnTo>
                  <a:lnTo>
                    <a:pt x="430" y="2296"/>
                  </a:lnTo>
                  <a:lnTo>
                    <a:pt x="438" y="2290"/>
                  </a:lnTo>
                  <a:lnTo>
                    <a:pt x="1134" y="1760"/>
                  </a:lnTo>
                  <a:lnTo>
                    <a:pt x="1134" y="1760"/>
                  </a:lnTo>
                  <a:lnTo>
                    <a:pt x="1152" y="1750"/>
                  </a:lnTo>
                  <a:lnTo>
                    <a:pt x="1172" y="1742"/>
                  </a:lnTo>
                  <a:lnTo>
                    <a:pt x="1196" y="1736"/>
                  </a:lnTo>
                  <a:lnTo>
                    <a:pt x="1216" y="1732"/>
                  </a:lnTo>
                  <a:lnTo>
                    <a:pt x="2716" y="1732"/>
                  </a:lnTo>
                  <a:lnTo>
                    <a:pt x="2716" y="1732"/>
                  </a:lnTo>
                  <a:lnTo>
                    <a:pt x="2724" y="1732"/>
                  </a:lnTo>
                  <a:lnTo>
                    <a:pt x="2734" y="1730"/>
                  </a:lnTo>
                  <a:lnTo>
                    <a:pt x="2740" y="1726"/>
                  </a:lnTo>
                  <a:lnTo>
                    <a:pt x="2748" y="1720"/>
                  </a:lnTo>
                  <a:lnTo>
                    <a:pt x="2754" y="1712"/>
                  </a:lnTo>
                  <a:lnTo>
                    <a:pt x="2758" y="1706"/>
                  </a:lnTo>
                  <a:lnTo>
                    <a:pt x="2760" y="1696"/>
                  </a:lnTo>
                  <a:lnTo>
                    <a:pt x="2762" y="1688"/>
                  </a:lnTo>
                  <a:lnTo>
                    <a:pt x="2762" y="46"/>
                  </a:lnTo>
                  <a:lnTo>
                    <a:pt x="2762" y="46"/>
                  </a:lnTo>
                  <a:lnTo>
                    <a:pt x="2760" y="36"/>
                  </a:lnTo>
                  <a:lnTo>
                    <a:pt x="2758" y="28"/>
                  </a:lnTo>
                  <a:lnTo>
                    <a:pt x="2754" y="20"/>
                  </a:lnTo>
                  <a:lnTo>
                    <a:pt x="2748" y="14"/>
                  </a:lnTo>
                  <a:lnTo>
                    <a:pt x="2740" y="8"/>
                  </a:lnTo>
                  <a:lnTo>
                    <a:pt x="2734" y="4"/>
                  </a:lnTo>
                  <a:lnTo>
                    <a:pt x="2724" y="2"/>
                  </a:lnTo>
                  <a:lnTo>
                    <a:pt x="2716" y="0"/>
                  </a:lnTo>
                  <a:lnTo>
                    <a:pt x="46"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de-DE"/>
            </a:p>
          </p:txBody>
        </p:sp>
        <p:sp>
          <p:nvSpPr>
            <p:cNvPr id="4116" name="Textfeld 4115"/>
            <p:cNvSpPr txBox="1"/>
            <p:nvPr/>
          </p:nvSpPr>
          <p:spPr>
            <a:xfrm>
              <a:off x="6269573" y="3187882"/>
              <a:ext cx="621013" cy="553998"/>
            </a:xfrm>
            <a:prstGeom prst="rect">
              <a:avLst/>
            </a:prstGeom>
            <a:noFill/>
          </p:spPr>
          <p:txBody>
            <a:bodyPr wrap="square" rtlCol="0">
              <a:spAutoFit/>
            </a:bodyPr>
            <a:lstStyle/>
            <a:p>
              <a:r>
                <a:rPr lang="en-US" sz="3000" b="1" dirty="0" smtClean="0">
                  <a:solidFill>
                    <a:schemeClr val="bg1"/>
                  </a:solidFill>
                </a:rPr>
                <a:t>…</a:t>
              </a:r>
              <a:endParaRPr lang="de-DE" sz="3000" dirty="0" err="1" smtClean="0">
                <a:solidFill>
                  <a:schemeClr val="bg1"/>
                </a:solidFill>
              </a:endParaRPr>
            </a:p>
          </p:txBody>
        </p:sp>
      </p:grpSp>
      <p:sp>
        <p:nvSpPr>
          <p:cNvPr id="4118" name="Textfeld 4117"/>
          <p:cNvSpPr txBox="1"/>
          <p:nvPr/>
        </p:nvSpPr>
        <p:spPr>
          <a:xfrm>
            <a:off x="736072" y="1941680"/>
            <a:ext cx="1765698" cy="823302"/>
          </a:xfrm>
          <a:prstGeom prst="rect">
            <a:avLst/>
          </a:prstGeom>
          <a:noFill/>
        </p:spPr>
        <p:txBody>
          <a:bodyPr wrap="square" rtlCol="0">
            <a:spAutoFit/>
          </a:bodyPr>
          <a:lstStyle/>
          <a:p>
            <a:r>
              <a:rPr lang="de-DE" sz="4000" b="1" dirty="0" smtClean="0">
                <a:solidFill>
                  <a:srgbClr val="FFFFFF"/>
                </a:solidFill>
              </a:rPr>
              <a:t>738</a:t>
            </a:r>
          </a:p>
          <a:p>
            <a:pPr>
              <a:lnSpc>
                <a:spcPts val="900"/>
              </a:lnSpc>
            </a:pPr>
            <a:r>
              <a:rPr lang="ru-RU" sz="1200" dirty="0" smtClean="0">
                <a:solidFill>
                  <a:srgbClr val="FFFFFF"/>
                </a:solidFill>
              </a:rPr>
              <a:t>МИЛЛИОНОВ В</a:t>
            </a:r>
            <a:r>
              <a:rPr lang="de-DE" sz="1200" dirty="0" smtClean="0">
                <a:solidFill>
                  <a:srgbClr val="FFFFFF"/>
                </a:solidFill>
              </a:rPr>
              <a:t> 2000</a:t>
            </a:r>
          </a:p>
        </p:txBody>
      </p:sp>
      <p:sp>
        <p:nvSpPr>
          <p:cNvPr id="91" name="Textfeld 90"/>
          <p:cNvSpPr txBox="1"/>
          <p:nvPr/>
        </p:nvSpPr>
        <p:spPr>
          <a:xfrm>
            <a:off x="3491879" y="1941680"/>
            <a:ext cx="1620181" cy="823302"/>
          </a:xfrm>
          <a:prstGeom prst="rect">
            <a:avLst/>
          </a:prstGeom>
          <a:noFill/>
        </p:spPr>
        <p:txBody>
          <a:bodyPr wrap="square" rtlCol="0">
            <a:spAutoFit/>
          </a:bodyPr>
          <a:lstStyle/>
          <a:p>
            <a:r>
              <a:rPr lang="en-GB" sz="4000" b="1" cap="all" dirty="0">
                <a:solidFill>
                  <a:srgbClr val="FFFFFF"/>
                </a:solidFill>
              </a:rPr>
              <a:t>&gt;7</a:t>
            </a:r>
            <a:endParaRPr lang="de-DE" sz="4000" b="1" cap="all" dirty="0">
              <a:solidFill>
                <a:srgbClr val="FFFFFF"/>
              </a:solidFill>
            </a:endParaRPr>
          </a:p>
          <a:p>
            <a:pPr>
              <a:lnSpc>
                <a:spcPts val="900"/>
              </a:lnSpc>
            </a:pPr>
            <a:r>
              <a:rPr lang="ru-RU" sz="1200" dirty="0" smtClean="0">
                <a:solidFill>
                  <a:srgbClr val="FFFFFF"/>
                </a:solidFill>
              </a:rPr>
              <a:t>МИЛЛИАРДОВ В </a:t>
            </a:r>
            <a:r>
              <a:rPr lang="de-DE" sz="1200" dirty="0" smtClean="0">
                <a:solidFill>
                  <a:srgbClr val="FFFFFF"/>
                </a:solidFill>
              </a:rPr>
              <a:t>2017</a:t>
            </a:r>
            <a:endParaRPr lang="de-DE" sz="1200" dirty="0" smtClean="0">
              <a:solidFill>
                <a:srgbClr val="FFFFFF"/>
              </a:solidFill>
            </a:endParaRPr>
          </a:p>
        </p:txBody>
      </p:sp>
      <p:sp>
        <p:nvSpPr>
          <p:cNvPr id="93" name="Oval 3"/>
          <p:cNvSpPr>
            <a:spLocks noChangeAspect="1"/>
          </p:cNvSpPr>
          <p:nvPr/>
        </p:nvSpPr>
        <p:spPr>
          <a:xfrm>
            <a:off x="2271514" y="1874300"/>
            <a:ext cx="1108782" cy="1108782"/>
          </a:xfrm>
          <a:prstGeom prst="ellipse">
            <a:avLst/>
          </a:prstGeom>
          <a:solidFill>
            <a:schemeClr val="accent2"/>
          </a:solidFill>
          <a:ln w="19050">
            <a:solidFill>
              <a:srgbClr val="FFFFFF"/>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accent2"/>
              </a:solidFill>
            </a:endParaRPr>
          </a:p>
        </p:txBody>
      </p:sp>
      <p:sp>
        <p:nvSpPr>
          <p:cNvPr id="138" name="Abgerundetes Rechteck 137"/>
          <p:cNvSpPr/>
          <p:nvPr/>
        </p:nvSpPr>
        <p:spPr>
          <a:xfrm>
            <a:off x="502975" y="3629662"/>
            <a:ext cx="4572310" cy="832072"/>
          </a:xfrm>
          <a:prstGeom prst="roundRect">
            <a:avLst/>
          </a:prstGeom>
          <a:solidFill>
            <a:schemeClr val="tx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sp>
        <p:nvSpPr>
          <p:cNvPr id="139" name="Textfeld 138"/>
          <p:cNvSpPr txBox="1"/>
          <p:nvPr/>
        </p:nvSpPr>
        <p:spPr>
          <a:xfrm>
            <a:off x="646062" y="3558568"/>
            <a:ext cx="1765698" cy="848950"/>
          </a:xfrm>
          <a:prstGeom prst="rect">
            <a:avLst/>
          </a:prstGeom>
          <a:noFill/>
        </p:spPr>
        <p:txBody>
          <a:bodyPr wrap="square" rtlCol="0">
            <a:spAutoFit/>
          </a:bodyPr>
          <a:lstStyle/>
          <a:p>
            <a:r>
              <a:rPr lang="de-DE" sz="4000" b="1" dirty="0" smtClean="0">
                <a:solidFill>
                  <a:srgbClr val="FFFFFF"/>
                </a:solidFill>
              </a:rPr>
              <a:t>40</a:t>
            </a:r>
            <a:r>
              <a:rPr lang="ru-RU" sz="4000" b="1" dirty="0" smtClean="0">
                <a:solidFill>
                  <a:srgbClr val="FFFFFF"/>
                </a:solidFill>
              </a:rPr>
              <a:t>0</a:t>
            </a:r>
            <a:endParaRPr lang="de-DE" sz="4000" b="1" dirty="0" smtClean="0">
              <a:solidFill>
                <a:srgbClr val="FFFFFF"/>
              </a:solidFill>
            </a:endParaRPr>
          </a:p>
          <a:p>
            <a:pPr>
              <a:lnSpc>
                <a:spcPts val="900"/>
              </a:lnSpc>
            </a:pPr>
            <a:r>
              <a:rPr lang="ru-RU" sz="1200" dirty="0" smtClean="0">
                <a:solidFill>
                  <a:srgbClr val="FFFFFF"/>
                </a:solidFill>
              </a:rPr>
              <a:t>МИЛЛИОНОВ В 2000</a:t>
            </a:r>
            <a:endParaRPr lang="de-DE" sz="1200" dirty="0" smtClean="0">
              <a:solidFill>
                <a:srgbClr val="FFFFFF"/>
              </a:solidFill>
            </a:endParaRPr>
          </a:p>
        </p:txBody>
      </p:sp>
      <p:sp>
        <p:nvSpPr>
          <p:cNvPr id="140" name="Textfeld 139"/>
          <p:cNvSpPr txBox="1"/>
          <p:nvPr/>
        </p:nvSpPr>
        <p:spPr>
          <a:xfrm>
            <a:off x="3455105" y="3556556"/>
            <a:ext cx="1620180" cy="823302"/>
          </a:xfrm>
          <a:prstGeom prst="rect">
            <a:avLst/>
          </a:prstGeom>
          <a:noFill/>
        </p:spPr>
        <p:txBody>
          <a:bodyPr wrap="square" rtlCol="0">
            <a:spAutoFit/>
          </a:bodyPr>
          <a:lstStyle/>
          <a:p>
            <a:r>
              <a:rPr lang="de-DE" sz="4000" b="1" cap="all" dirty="0" smtClean="0">
                <a:solidFill>
                  <a:srgbClr val="FFFFFF"/>
                </a:solidFill>
              </a:rPr>
              <a:t>&gt;3.4</a:t>
            </a:r>
            <a:endParaRPr lang="de-DE" sz="4000" b="1" cap="all" dirty="0">
              <a:solidFill>
                <a:srgbClr val="FFFFFF"/>
              </a:solidFill>
            </a:endParaRPr>
          </a:p>
          <a:p>
            <a:pPr>
              <a:lnSpc>
                <a:spcPts val="900"/>
              </a:lnSpc>
            </a:pPr>
            <a:r>
              <a:rPr lang="ru-RU" sz="1200" dirty="0" smtClean="0">
                <a:solidFill>
                  <a:srgbClr val="FFFFFF"/>
                </a:solidFill>
              </a:rPr>
              <a:t>МИЛЛИАРДОВ В</a:t>
            </a:r>
            <a:r>
              <a:rPr lang="de-DE" sz="1200" dirty="0" smtClean="0">
                <a:solidFill>
                  <a:srgbClr val="FFFFFF"/>
                </a:solidFill>
              </a:rPr>
              <a:t> </a:t>
            </a:r>
            <a:r>
              <a:rPr lang="de-DE" sz="1200" dirty="0" smtClean="0">
                <a:solidFill>
                  <a:srgbClr val="FFFFFF"/>
                </a:solidFill>
              </a:rPr>
              <a:t>2017</a:t>
            </a:r>
            <a:endParaRPr lang="de-DE" sz="1200" dirty="0" smtClean="0">
              <a:solidFill>
                <a:srgbClr val="FFFFFF"/>
              </a:solidFill>
            </a:endParaRPr>
          </a:p>
        </p:txBody>
      </p:sp>
      <p:sp>
        <p:nvSpPr>
          <p:cNvPr id="179" name="Oval 3"/>
          <p:cNvSpPr>
            <a:spLocks noChangeAspect="1"/>
          </p:cNvSpPr>
          <p:nvPr/>
        </p:nvSpPr>
        <p:spPr>
          <a:xfrm>
            <a:off x="2260525" y="3488193"/>
            <a:ext cx="1108782" cy="1108782"/>
          </a:xfrm>
          <a:prstGeom prst="ellipse">
            <a:avLst/>
          </a:prstGeom>
          <a:solidFill>
            <a:schemeClr val="accent2"/>
          </a:solidFill>
          <a:ln w="19050">
            <a:solidFill>
              <a:srgbClr val="FFFFFF"/>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accent2"/>
              </a:solidFill>
            </a:endParaRPr>
          </a:p>
        </p:txBody>
      </p:sp>
      <p:grpSp>
        <p:nvGrpSpPr>
          <p:cNvPr id="180" name="Gruppieren 179"/>
          <p:cNvGrpSpPr>
            <a:grpSpLocks noChangeAspect="1"/>
          </p:cNvGrpSpPr>
          <p:nvPr/>
        </p:nvGrpSpPr>
        <p:grpSpPr>
          <a:xfrm>
            <a:off x="2376633" y="3699532"/>
            <a:ext cx="859560" cy="558094"/>
            <a:chOff x="9829800" y="1619251"/>
            <a:chExt cx="882651" cy="573088"/>
          </a:xfrm>
        </p:grpSpPr>
        <p:sp>
          <p:nvSpPr>
            <p:cNvPr id="181" name="Oval 13"/>
            <p:cNvSpPr>
              <a:spLocks noChangeArrowheads="1"/>
            </p:cNvSpPr>
            <p:nvPr/>
          </p:nvSpPr>
          <p:spPr bwMode="auto">
            <a:xfrm>
              <a:off x="10248900" y="1619251"/>
              <a:ext cx="41275" cy="4127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82" name="Freeform 14"/>
            <p:cNvSpPr>
              <a:spLocks/>
            </p:cNvSpPr>
            <p:nvPr/>
          </p:nvSpPr>
          <p:spPr bwMode="auto">
            <a:xfrm>
              <a:off x="10029825" y="1693863"/>
              <a:ext cx="481013" cy="277813"/>
            </a:xfrm>
            <a:custGeom>
              <a:avLst/>
              <a:gdLst>
                <a:gd name="T0" fmla="*/ 307 w 307"/>
                <a:gd name="T1" fmla="*/ 170 h 177"/>
                <a:gd name="T2" fmla="*/ 301 w 307"/>
                <a:gd name="T3" fmla="*/ 177 h 177"/>
                <a:gd name="T4" fmla="*/ 6 w 307"/>
                <a:gd name="T5" fmla="*/ 177 h 177"/>
                <a:gd name="T6" fmla="*/ 0 w 307"/>
                <a:gd name="T7" fmla="*/ 170 h 177"/>
                <a:gd name="T8" fmla="*/ 0 w 307"/>
                <a:gd name="T9" fmla="*/ 6 h 177"/>
                <a:gd name="T10" fmla="*/ 6 w 307"/>
                <a:gd name="T11" fmla="*/ 0 h 177"/>
                <a:gd name="T12" fmla="*/ 301 w 307"/>
                <a:gd name="T13" fmla="*/ 0 h 177"/>
                <a:gd name="T14" fmla="*/ 307 w 307"/>
                <a:gd name="T15" fmla="*/ 6 h 177"/>
                <a:gd name="T16" fmla="*/ 307 w 307"/>
                <a:gd name="T17" fmla="*/ 170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7" h="177">
                  <a:moveTo>
                    <a:pt x="307" y="170"/>
                  </a:moveTo>
                  <a:cubicBezTo>
                    <a:pt x="307" y="174"/>
                    <a:pt x="304" y="177"/>
                    <a:pt x="301" y="177"/>
                  </a:cubicBezTo>
                  <a:cubicBezTo>
                    <a:pt x="6" y="177"/>
                    <a:pt x="6" y="177"/>
                    <a:pt x="6" y="177"/>
                  </a:cubicBezTo>
                  <a:cubicBezTo>
                    <a:pt x="2" y="177"/>
                    <a:pt x="0" y="174"/>
                    <a:pt x="0" y="170"/>
                  </a:cubicBezTo>
                  <a:cubicBezTo>
                    <a:pt x="0" y="6"/>
                    <a:pt x="0" y="6"/>
                    <a:pt x="0" y="6"/>
                  </a:cubicBezTo>
                  <a:cubicBezTo>
                    <a:pt x="0" y="3"/>
                    <a:pt x="2" y="0"/>
                    <a:pt x="6" y="0"/>
                  </a:cubicBezTo>
                  <a:cubicBezTo>
                    <a:pt x="301" y="0"/>
                    <a:pt x="301" y="0"/>
                    <a:pt x="301" y="0"/>
                  </a:cubicBezTo>
                  <a:cubicBezTo>
                    <a:pt x="304" y="0"/>
                    <a:pt x="307" y="3"/>
                    <a:pt x="307" y="6"/>
                  </a:cubicBezTo>
                  <a:lnTo>
                    <a:pt x="307" y="17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83" name="Freeform 15"/>
            <p:cNvSpPr>
              <a:spLocks/>
            </p:cNvSpPr>
            <p:nvPr/>
          </p:nvSpPr>
          <p:spPr bwMode="auto">
            <a:xfrm>
              <a:off x="9963150" y="1633538"/>
              <a:ext cx="614363" cy="396875"/>
            </a:xfrm>
            <a:custGeom>
              <a:avLst/>
              <a:gdLst>
                <a:gd name="T0" fmla="*/ 380 w 391"/>
                <a:gd name="T1" fmla="*/ 253 h 253"/>
                <a:gd name="T2" fmla="*/ 11 w 391"/>
                <a:gd name="T3" fmla="*/ 253 h 253"/>
                <a:gd name="T4" fmla="*/ 0 w 391"/>
                <a:gd name="T5" fmla="*/ 242 h 253"/>
                <a:gd name="T6" fmla="*/ 0 w 391"/>
                <a:gd name="T7" fmla="*/ 11 h 253"/>
                <a:gd name="T8" fmla="*/ 11 w 391"/>
                <a:gd name="T9" fmla="*/ 0 h 253"/>
                <a:gd name="T10" fmla="*/ 165 w 391"/>
                <a:gd name="T11" fmla="*/ 0 h 253"/>
                <a:gd name="T12" fmla="*/ 170 w 391"/>
                <a:gd name="T13" fmla="*/ 4 h 253"/>
                <a:gd name="T14" fmla="*/ 165 w 391"/>
                <a:gd name="T15" fmla="*/ 9 h 253"/>
                <a:gd name="T16" fmla="*/ 11 w 391"/>
                <a:gd name="T17" fmla="*/ 9 h 253"/>
                <a:gd name="T18" fmla="*/ 9 w 391"/>
                <a:gd name="T19" fmla="*/ 11 h 253"/>
                <a:gd name="T20" fmla="*/ 9 w 391"/>
                <a:gd name="T21" fmla="*/ 242 h 253"/>
                <a:gd name="T22" fmla="*/ 11 w 391"/>
                <a:gd name="T23" fmla="*/ 244 h 253"/>
                <a:gd name="T24" fmla="*/ 380 w 391"/>
                <a:gd name="T25" fmla="*/ 244 h 253"/>
                <a:gd name="T26" fmla="*/ 382 w 391"/>
                <a:gd name="T27" fmla="*/ 242 h 253"/>
                <a:gd name="T28" fmla="*/ 382 w 391"/>
                <a:gd name="T29" fmla="*/ 11 h 253"/>
                <a:gd name="T30" fmla="*/ 380 w 391"/>
                <a:gd name="T31" fmla="*/ 9 h 253"/>
                <a:gd name="T32" fmla="*/ 225 w 391"/>
                <a:gd name="T33" fmla="*/ 9 h 253"/>
                <a:gd name="T34" fmla="*/ 221 w 391"/>
                <a:gd name="T35" fmla="*/ 4 h 253"/>
                <a:gd name="T36" fmla="*/ 225 w 391"/>
                <a:gd name="T37" fmla="*/ 0 h 253"/>
                <a:gd name="T38" fmla="*/ 380 w 391"/>
                <a:gd name="T39" fmla="*/ 0 h 253"/>
                <a:gd name="T40" fmla="*/ 391 w 391"/>
                <a:gd name="T41" fmla="*/ 11 h 253"/>
                <a:gd name="T42" fmla="*/ 391 w 391"/>
                <a:gd name="T43" fmla="*/ 242 h 253"/>
                <a:gd name="T44" fmla="*/ 380 w 391"/>
                <a:gd name="T45" fmla="*/ 253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91" h="253">
                  <a:moveTo>
                    <a:pt x="380" y="253"/>
                  </a:moveTo>
                  <a:cubicBezTo>
                    <a:pt x="11" y="253"/>
                    <a:pt x="11" y="253"/>
                    <a:pt x="11" y="253"/>
                  </a:cubicBezTo>
                  <a:cubicBezTo>
                    <a:pt x="5" y="253"/>
                    <a:pt x="0" y="248"/>
                    <a:pt x="0" y="242"/>
                  </a:cubicBezTo>
                  <a:cubicBezTo>
                    <a:pt x="0" y="11"/>
                    <a:pt x="0" y="11"/>
                    <a:pt x="0" y="11"/>
                  </a:cubicBezTo>
                  <a:cubicBezTo>
                    <a:pt x="0" y="5"/>
                    <a:pt x="5" y="0"/>
                    <a:pt x="11" y="0"/>
                  </a:cubicBezTo>
                  <a:cubicBezTo>
                    <a:pt x="165" y="0"/>
                    <a:pt x="165" y="0"/>
                    <a:pt x="165" y="0"/>
                  </a:cubicBezTo>
                  <a:cubicBezTo>
                    <a:pt x="168" y="0"/>
                    <a:pt x="170" y="2"/>
                    <a:pt x="170" y="4"/>
                  </a:cubicBezTo>
                  <a:cubicBezTo>
                    <a:pt x="170" y="7"/>
                    <a:pt x="168" y="9"/>
                    <a:pt x="165" y="9"/>
                  </a:cubicBezTo>
                  <a:cubicBezTo>
                    <a:pt x="11" y="9"/>
                    <a:pt x="11" y="9"/>
                    <a:pt x="11" y="9"/>
                  </a:cubicBezTo>
                  <a:cubicBezTo>
                    <a:pt x="10" y="9"/>
                    <a:pt x="9" y="10"/>
                    <a:pt x="9" y="11"/>
                  </a:cubicBezTo>
                  <a:cubicBezTo>
                    <a:pt x="9" y="242"/>
                    <a:pt x="9" y="242"/>
                    <a:pt x="9" y="242"/>
                  </a:cubicBezTo>
                  <a:cubicBezTo>
                    <a:pt x="9" y="243"/>
                    <a:pt x="10" y="244"/>
                    <a:pt x="11" y="244"/>
                  </a:cubicBezTo>
                  <a:cubicBezTo>
                    <a:pt x="380" y="244"/>
                    <a:pt x="380" y="244"/>
                    <a:pt x="380" y="244"/>
                  </a:cubicBezTo>
                  <a:cubicBezTo>
                    <a:pt x="381" y="244"/>
                    <a:pt x="382" y="243"/>
                    <a:pt x="382" y="242"/>
                  </a:cubicBezTo>
                  <a:cubicBezTo>
                    <a:pt x="382" y="11"/>
                    <a:pt x="382" y="11"/>
                    <a:pt x="382" y="11"/>
                  </a:cubicBezTo>
                  <a:cubicBezTo>
                    <a:pt x="382" y="10"/>
                    <a:pt x="381" y="9"/>
                    <a:pt x="380" y="9"/>
                  </a:cubicBezTo>
                  <a:cubicBezTo>
                    <a:pt x="225" y="9"/>
                    <a:pt x="225" y="9"/>
                    <a:pt x="225" y="9"/>
                  </a:cubicBezTo>
                  <a:cubicBezTo>
                    <a:pt x="223" y="9"/>
                    <a:pt x="221" y="7"/>
                    <a:pt x="221" y="4"/>
                  </a:cubicBezTo>
                  <a:cubicBezTo>
                    <a:pt x="221" y="2"/>
                    <a:pt x="223" y="0"/>
                    <a:pt x="225" y="0"/>
                  </a:cubicBezTo>
                  <a:cubicBezTo>
                    <a:pt x="380" y="0"/>
                    <a:pt x="380" y="0"/>
                    <a:pt x="380" y="0"/>
                  </a:cubicBezTo>
                  <a:cubicBezTo>
                    <a:pt x="386" y="0"/>
                    <a:pt x="391" y="5"/>
                    <a:pt x="391" y="11"/>
                  </a:cubicBezTo>
                  <a:cubicBezTo>
                    <a:pt x="391" y="242"/>
                    <a:pt x="391" y="242"/>
                    <a:pt x="391" y="242"/>
                  </a:cubicBezTo>
                  <a:cubicBezTo>
                    <a:pt x="391" y="248"/>
                    <a:pt x="386" y="253"/>
                    <a:pt x="380" y="25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84" name="Oval 16"/>
            <p:cNvSpPr>
              <a:spLocks noChangeArrowheads="1"/>
            </p:cNvSpPr>
            <p:nvPr/>
          </p:nvSpPr>
          <p:spPr bwMode="auto">
            <a:xfrm>
              <a:off x="10028238" y="2087563"/>
              <a:ext cx="38100" cy="174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85" name="Oval 17"/>
            <p:cNvSpPr>
              <a:spLocks noChangeArrowheads="1"/>
            </p:cNvSpPr>
            <p:nvPr/>
          </p:nvSpPr>
          <p:spPr bwMode="auto">
            <a:xfrm>
              <a:off x="9963150" y="2087563"/>
              <a:ext cx="39688" cy="174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86" name="Oval 18"/>
            <p:cNvSpPr>
              <a:spLocks noChangeArrowheads="1"/>
            </p:cNvSpPr>
            <p:nvPr/>
          </p:nvSpPr>
          <p:spPr bwMode="auto">
            <a:xfrm>
              <a:off x="9923463" y="2119313"/>
              <a:ext cx="41275" cy="1587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87" name="Oval 19"/>
            <p:cNvSpPr>
              <a:spLocks noChangeArrowheads="1"/>
            </p:cNvSpPr>
            <p:nvPr/>
          </p:nvSpPr>
          <p:spPr bwMode="auto">
            <a:xfrm>
              <a:off x="10091738" y="2087563"/>
              <a:ext cx="41275" cy="174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88" name="Oval 20"/>
            <p:cNvSpPr>
              <a:spLocks noChangeArrowheads="1"/>
            </p:cNvSpPr>
            <p:nvPr/>
          </p:nvSpPr>
          <p:spPr bwMode="auto">
            <a:xfrm>
              <a:off x="10156825" y="2087563"/>
              <a:ext cx="39688" cy="174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89" name="Oval 21"/>
            <p:cNvSpPr>
              <a:spLocks noChangeArrowheads="1"/>
            </p:cNvSpPr>
            <p:nvPr/>
          </p:nvSpPr>
          <p:spPr bwMode="auto">
            <a:xfrm>
              <a:off x="10221913" y="2087563"/>
              <a:ext cx="39688" cy="174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90" name="Oval 22"/>
            <p:cNvSpPr>
              <a:spLocks noChangeArrowheads="1"/>
            </p:cNvSpPr>
            <p:nvPr/>
          </p:nvSpPr>
          <p:spPr bwMode="auto">
            <a:xfrm>
              <a:off x="10287000" y="2087563"/>
              <a:ext cx="39688" cy="174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91" name="Oval 23"/>
            <p:cNvSpPr>
              <a:spLocks noChangeArrowheads="1"/>
            </p:cNvSpPr>
            <p:nvPr/>
          </p:nvSpPr>
          <p:spPr bwMode="auto">
            <a:xfrm>
              <a:off x="10350500" y="2087563"/>
              <a:ext cx="39688" cy="174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92" name="Oval 24"/>
            <p:cNvSpPr>
              <a:spLocks noChangeArrowheads="1"/>
            </p:cNvSpPr>
            <p:nvPr/>
          </p:nvSpPr>
          <p:spPr bwMode="auto">
            <a:xfrm>
              <a:off x="10415588" y="2087563"/>
              <a:ext cx="39688" cy="174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93" name="Oval 25"/>
            <p:cNvSpPr>
              <a:spLocks noChangeArrowheads="1"/>
            </p:cNvSpPr>
            <p:nvPr/>
          </p:nvSpPr>
          <p:spPr bwMode="auto">
            <a:xfrm>
              <a:off x="10480675" y="2087563"/>
              <a:ext cx="38100" cy="174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94" name="Oval 26"/>
            <p:cNvSpPr>
              <a:spLocks noChangeArrowheads="1"/>
            </p:cNvSpPr>
            <p:nvPr/>
          </p:nvSpPr>
          <p:spPr bwMode="auto">
            <a:xfrm>
              <a:off x="10544175" y="2087563"/>
              <a:ext cx="41275" cy="174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95" name="Oval 27"/>
            <p:cNvSpPr>
              <a:spLocks noChangeArrowheads="1"/>
            </p:cNvSpPr>
            <p:nvPr/>
          </p:nvSpPr>
          <p:spPr bwMode="auto">
            <a:xfrm>
              <a:off x="10583863" y="2119313"/>
              <a:ext cx="39688" cy="1587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96" name="Oval 28"/>
            <p:cNvSpPr>
              <a:spLocks noChangeArrowheads="1"/>
            </p:cNvSpPr>
            <p:nvPr/>
          </p:nvSpPr>
          <p:spPr bwMode="auto">
            <a:xfrm>
              <a:off x="9996488" y="2054226"/>
              <a:ext cx="39688" cy="1905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97" name="Oval 29"/>
            <p:cNvSpPr>
              <a:spLocks noChangeArrowheads="1"/>
            </p:cNvSpPr>
            <p:nvPr/>
          </p:nvSpPr>
          <p:spPr bwMode="auto">
            <a:xfrm>
              <a:off x="10059988" y="2054226"/>
              <a:ext cx="39688" cy="1905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98" name="Oval 30"/>
            <p:cNvSpPr>
              <a:spLocks noChangeArrowheads="1"/>
            </p:cNvSpPr>
            <p:nvPr/>
          </p:nvSpPr>
          <p:spPr bwMode="auto">
            <a:xfrm>
              <a:off x="10125075" y="2054226"/>
              <a:ext cx="41275" cy="1905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99" name="Oval 31"/>
            <p:cNvSpPr>
              <a:spLocks noChangeArrowheads="1"/>
            </p:cNvSpPr>
            <p:nvPr/>
          </p:nvSpPr>
          <p:spPr bwMode="auto">
            <a:xfrm>
              <a:off x="10190163" y="2054226"/>
              <a:ext cx="39688" cy="1905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00" name="Oval 32"/>
            <p:cNvSpPr>
              <a:spLocks noChangeArrowheads="1"/>
            </p:cNvSpPr>
            <p:nvPr/>
          </p:nvSpPr>
          <p:spPr bwMode="auto">
            <a:xfrm>
              <a:off x="10255250" y="2054226"/>
              <a:ext cx="39688" cy="1905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01" name="Oval 33"/>
            <p:cNvSpPr>
              <a:spLocks noChangeArrowheads="1"/>
            </p:cNvSpPr>
            <p:nvPr/>
          </p:nvSpPr>
          <p:spPr bwMode="auto">
            <a:xfrm>
              <a:off x="10320338" y="2054226"/>
              <a:ext cx="38100" cy="1905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02" name="Oval 34"/>
            <p:cNvSpPr>
              <a:spLocks noChangeArrowheads="1"/>
            </p:cNvSpPr>
            <p:nvPr/>
          </p:nvSpPr>
          <p:spPr bwMode="auto">
            <a:xfrm>
              <a:off x="10383838" y="2054226"/>
              <a:ext cx="39688" cy="1905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03" name="Oval 35"/>
            <p:cNvSpPr>
              <a:spLocks noChangeArrowheads="1"/>
            </p:cNvSpPr>
            <p:nvPr/>
          </p:nvSpPr>
          <p:spPr bwMode="auto">
            <a:xfrm>
              <a:off x="10448925" y="2054226"/>
              <a:ext cx="38100" cy="1905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04" name="Oval 36"/>
            <p:cNvSpPr>
              <a:spLocks noChangeArrowheads="1"/>
            </p:cNvSpPr>
            <p:nvPr/>
          </p:nvSpPr>
          <p:spPr bwMode="auto">
            <a:xfrm>
              <a:off x="10512425" y="2054226"/>
              <a:ext cx="39688" cy="1905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05" name="Oval 37"/>
            <p:cNvSpPr>
              <a:spLocks noChangeArrowheads="1"/>
            </p:cNvSpPr>
            <p:nvPr/>
          </p:nvSpPr>
          <p:spPr bwMode="auto">
            <a:xfrm>
              <a:off x="9990138" y="2119313"/>
              <a:ext cx="41275" cy="1587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06" name="Oval 38"/>
            <p:cNvSpPr>
              <a:spLocks noChangeArrowheads="1"/>
            </p:cNvSpPr>
            <p:nvPr/>
          </p:nvSpPr>
          <p:spPr bwMode="auto">
            <a:xfrm>
              <a:off x="10055225" y="2119313"/>
              <a:ext cx="41275" cy="1587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07" name="Oval 39"/>
            <p:cNvSpPr>
              <a:spLocks noChangeArrowheads="1"/>
            </p:cNvSpPr>
            <p:nvPr/>
          </p:nvSpPr>
          <p:spPr bwMode="auto">
            <a:xfrm>
              <a:off x="10121900" y="2119313"/>
              <a:ext cx="39688" cy="1587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08" name="Oval 40"/>
            <p:cNvSpPr>
              <a:spLocks noChangeArrowheads="1"/>
            </p:cNvSpPr>
            <p:nvPr/>
          </p:nvSpPr>
          <p:spPr bwMode="auto">
            <a:xfrm>
              <a:off x="10188575" y="2119313"/>
              <a:ext cx="38100" cy="1587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09" name="Oval 41"/>
            <p:cNvSpPr>
              <a:spLocks noChangeArrowheads="1"/>
            </p:cNvSpPr>
            <p:nvPr/>
          </p:nvSpPr>
          <p:spPr bwMode="auto">
            <a:xfrm>
              <a:off x="10253663" y="2119313"/>
              <a:ext cx="39688" cy="1587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10" name="Oval 42"/>
            <p:cNvSpPr>
              <a:spLocks noChangeArrowheads="1"/>
            </p:cNvSpPr>
            <p:nvPr/>
          </p:nvSpPr>
          <p:spPr bwMode="auto">
            <a:xfrm>
              <a:off x="10320338" y="2119313"/>
              <a:ext cx="38100" cy="1587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11" name="Oval 43"/>
            <p:cNvSpPr>
              <a:spLocks noChangeArrowheads="1"/>
            </p:cNvSpPr>
            <p:nvPr/>
          </p:nvSpPr>
          <p:spPr bwMode="auto">
            <a:xfrm>
              <a:off x="10385425" y="2119313"/>
              <a:ext cx="39688" cy="1587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12" name="Oval 44"/>
            <p:cNvSpPr>
              <a:spLocks noChangeArrowheads="1"/>
            </p:cNvSpPr>
            <p:nvPr/>
          </p:nvSpPr>
          <p:spPr bwMode="auto">
            <a:xfrm>
              <a:off x="10452100" y="2119313"/>
              <a:ext cx="38100" cy="1587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13" name="Oval 45"/>
            <p:cNvSpPr>
              <a:spLocks noChangeArrowheads="1"/>
            </p:cNvSpPr>
            <p:nvPr/>
          </p:nvSpPr>
          <p:spPr bwMode="auto">
            <a:xfrm>
              <a:off x="10517188" y="2119313"/>
              <a:ext cx="39688" cy="1587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14" name="Freeform 46"/>
            <p:cNvSpPr>
              <a:spLocks noEditPoints="1"/>
            </p:cNvSpPr>
            <p:nvPr/>
          </p:nvSpPr>
          <p:spPr bwMode="auto">
            <a:xfrm>
              <a:off x="9829800" y="2016126"/>
              <a:ext cx="882651" cy="176213"/>
            </a:xfrm>
            <a:custGeom>
              <a:avLst/>
              <a:gdLst>
                <a:gd name="T0" fmla="*/ 553 w 562"/>
                <a:gd name="T1" fmla="*/ 112 h 112"/>
                <a:gd name="T2" fmla="*/ 9 w 562"/>
                <a:gd name="T3" fmla="*/ 112 h 112"/>
                <a:gd name="T4" fmla="*/ 1 w 562"/>
                <a:gd name="T5" fmla="*/ 108 h 112"/>
                <a:gd name="T6" fmla="*/ 3 w 562"/>
                <a:gd name="T7" fmla="*/ 99 h 112"/>
                <a:gd name="T8" fmla="*/ 81 w 562"/>
                <a:gd name="T9" fmla="*/ 6 h 112"/>
                <a:gd name="T10" fmla="*/ 94 w 562"/>
                <a:gd name="T11" fmla="*/ 0 h 112"/>
                <a:gd name="T12" fmla="*/ 467 w 562"/>
                <a:gd name="T13" fmla="*/ 0 h 112"/>
                <a:gd name="T14" fmla="*/ 481 w 562"/>
                <a:gd name="T15" fmla="*/ 6 h 112"/>
                <a:gd name="T16" fmla="*/ 559 w 562"/>
                <a:gd name="T17" fmla="*/ 99 h 112"/>
                <a:gd name="T18" fmla="*/ 561 w 562"/>
                <a:gd name="T19" fmla="*/ 108 h 112"/>
                <a:gd name="T20" fmla="*/ 553 w 562"/>
                <a:gd name="T21" fmla="*/ 112 h 112"/>
                <a:gd name="T22" fmla="*/ 14 w 562"/>
                <a:gd name="T23" fmla="*/ 102 h 112"/>
                <a:gd name="T24" fmla="*/ 548 w 562"/>
                <a:gd name="T25" fmla="*/ 102 h 112"/>
                <a:gd name="T26" fmla="*/ 473 w 562"/>
                <a:gd name="T27" fmla="*/ 13 h 112"/>
                <a:gd name="T28" fmla="*/ 467 w 562"/>
                <a:gd name="T29" fmla="*/ 10 h 112"/>
                <a:gd name="T30" fmla="*/ 94 w 562"/>
                <a:gd name="T31" fmla="*/ 10 h 112"/>
                <a:gd name="T32" fmla="*/ 89 w 562"/>
                <a:gd name="T33" fmla="*/ 13 h 112"/>
                <a:gd name="T34" fmla="*/ 14 w 562"/>
                <a:gd name="T35" fmla="*/ 102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62" h="112">
                  <a:moveTo>
                    <a:pt x="553" y="112"/>
                  </a:moveTo>
                  <a:cubicBezTo>
                    <a:pt x="9" y="112"/>
                    <a:pt x="9" y="112"/>
                    <a:pt x="9" y="112"/>
                  </a:cubicBezTo>
                  <a:cubicBezTo>
                    <a:pt x="4" y="112"/>
                    <a:pt x="2" y="109"/>
                    <a:pt x="1" y="108"/>
                  </a:cubicBezTo>
                  <a:cubicBezTo>
                    <a:pt x="1" y="107"/>
                    <a:pt x="0" y="103"/>
                    <a:pt x="3" y="99"/>
                  </a:cubicBezTo>
                  <a:cubicBezTo>
                    <a:pt x="81" y="6"/>
                    <a:pt x="81" y="6"/>
                    <a:pt x="81" y="6"/>
                  </a:cubicBezTo>
                  <a:cubicBezTo>
                    <a:pt x="84" y="3"/>
                    <a:pt x="90" y="0"/>
                    <a:pt x="94" y="0"/>
                  </a:cubicBezTo>
                  <a:cubicBezTo>
                    <a:pt x="467" y="0"/>
                    <a:pt x="467" y="0"/>
                    <a:pt x="467" y="0"/>
                  </a:cubicBezTo>
                  <a:cubicBezTo>
                    <a:pt x="472" y="0"/>
                    <a:pt x="478" y="3"/>
                    <a:pt x="481" y="6"/>
                  </a:cubicBezTo>
                  <a:cubicBezTo>
                    <a:pt x="559" y="99"/>
                    <a:pt x="559" y="99"/>
                    <a:pt x="559" y="99"/>
                  </a:cubicBezTo>
                  <a:cubicBezTo>
                    <a:pt x="562" y="103"/>
                    <a:pt x="561" y="107"/>
                    <a:pt x="561" y="108"/>
                  </a:cubicBezTo>
                  <a:cubicBezTo>
                    <a:pt x="560" y="109"/>
                    <a:pt x="558" y="112"/>
                    <a:pt x="553" y="112"/>
                  </a:cubicBezTo>
                  <a:close/>
                  <a:moveTo>
                    <a:pt x="14" y="102"/>
                  </a:moveTo>
                  <a:cubicBezTo>
                    <a:pt x="548" y="102"/>
                    <a:pt x="548" y="102"/>
                    <a:pt x="548" y="102"/>
                  </a:cubicBezTo>
                  <a:cubicBezTo>
                    <a:pt x="473" y="13"/>
                    <a:pt x="473" y="13"/>
                    <a:pt x="473" y="13"/>
                  </a:cubicBezTo>
                  <a:cubicBezTo>
                    <a:pt x="472" y="11"/>
                    <a:pt x="469" y="10"/>
                    <a:pt x="467" y="10"/>
                  </a:cubicBezTo>
                  <a:cubicBezTo>
                    <a:pt x="94" y="10"/>
                    <a:pt x="94" y="10"/>
                    <a:pt x="94" y="10"/>
                  </a:cubicBezTo>
                  <a:cubicBezTo>
                    <a:pt x="93" y="10"/>
                    <a:pt x="90" y="11"/>
                    <a:pt x="89" y="13"/>
                  </a:cubicBezTo>
                  <a:lnTo>
                    <a:pt x="14" y="10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grpSp>
        <p:nvGrpSpPr>
          <p:cNvPr id="88" name="Gruppieren 87"/>
          <p:cNvGrpSpPr>
            <a:grpSpLocks noChangeAspect="1"/>
          </p:cNvGrpSpPr>
          <p:nvPr/>
        </p:nvGrpSpPr>
        <p:grpSpPr>
          <a:xfrm>
            <a:off x="2627452" y="2046084"/>
            <a:ext cx="433273" cy="751918"/>
            <a:chOff x="-4281488" y="1727200"/>
            <a:chExt cx="3270250" cy="5675313"/>
          </a:xfrm>
          <a:solidFill>
            <a:srgbClr val="FFFFFF"/>
          </a:solidFill>
        </p:grpSpPr>
        <p:sp>
          <p:nvSpPr>
            <p:cNvPr id="89" name="Freeform 25"/>
            <p:cNvSpPr>
              <a:spLocks noEditPoints="1"/>
            </p:cNvSpPr>
            <p:nvPr/>
          </p:nvSpPr>
          <p:spPr bwMode="auto">
            <a:xfrm>
              <a:off x="-4281488" y="1727200"/>
              <a:ext cx="3270250" cy="5675313"/>
            </a:xfrm>
            <a:custGeom>
              <a:avLst/>
              <a:gdLst>
                <a:gd name="T0" fmla="*/ 566 w 2060"/>
                <a:gd name="T1" fmla="*/ 0 h 3575"/>
                <a:gd name="T2" fmla="*/ 421 w 2060"/>
                <a:gd name="T3" fmla="*/ 26 h 3575"/>
                <a:gd name="T4" fmla="*/ 288 w 2060"/>
                <a:gd name="T5" fmla="*/ 87 h 3575"/>
                <a:gd name="T6" fmla="*/ 176 w 2060"/>
                <a:gd name="T7" fmla="*/ 175 h 3575"/>
                <a:gd name="T8" fmla="*/ 87 w 2060"/>
                <a:gd name="T9" fmla="*/ 288 h 3575"/>
                <a:gd name="T10" fmla="*/ 28 w 2060"/>
                <a:gd name="T11" fmla="*/ 419 h 3575"/>
                <a:gd name="T12" fmla="*/ 1 w 2060"/>
                <a:gd name="T13" fmla="*/ 566 h 3575"/>
                <a:gd name="T14" fmla="*/ 1 w 2060"/>
                <a:gd name="T15" fmla="*/ 3003 h 3575"/>
                <a:gd name="T16" fmla="*/ 28 w 2060"/>
                <a:gd name="T17" fmla="*/ 3151 h 3575"/>
                <a:gd name="T18" fmla="*/ 87 w 2060"/>
                <a:gd name="T19" fmla="*/ 3285 h 3575"/>
                <a:gd name="T20" fmla="*/ 176 w 2060"/>
                <a:gd name="T21" fmla="*/ 3399 h 3575"/>
                <a:gd name="T22" fmla="*/ 288 w 2060"/>
                <a:gd name="T23" fmla="*/ 3488 h 3575"/>
                <a:gd name="T24" fmla="*/ 421 w 2060"/>
                <a:gd name="T25" fmla="*/ 3549 h 3575"/>
                <a:gd name="T26" fmla="*/ 566 w 2060"/>
                <a:gd name="T27" fmla="*/ 3575 h 3575"/>
                <a:gd name="T28" fmla="*/ 1487 w 2060"/>
                <a:gd name="T29" fmla="*/ 3575 h 3575"/>
                <a:gd name="T30" fmla="*/ 1637 w 2060"/>
                <a:gd name="T31" fmla="*/ 3549 h 3575"/>
                <a:gd name="T32" fmla="*/ 1769 w 2060"/>
                <a:gd name="T33" fmla="*/ 3488 h 3575"/>
                <a:gd name="T34" fmla="*/ 1884 w 2060"/>
                <a:gd name="T35" fmla="*/ 3399 h 3575"/>
                <a:gd name="T36" fmla="*/ 1972 w 2060"/>
                <a:gd name="T37" fmla="*/ 3285 h 3575"/>
                <a:gd name="T38" fmla="*/ 2032 w 2060"/>
                <a:gd name="T39" fmla="*/ 3151 h 3575"/>
                <a:gd name="T40" fmla="*/ 2059 w 2060"/>
                <a:gd name="T41" fmla="*/ 3003 h 3575"/>
                <a:gd name="T42" fmla="*/ 2059 w 2060"/>
                <a:gd name="T43" fmla="*/ 566 h 3575"/>
                <a:gd name="T44" fmla="*/ 2032 w 2060"/>
                <a:gd name="T45" fmla="*/ 419 h 3575"/>
                <a:gd name="T46" fmla="*/ 1972 w 2060"/>
                <a:gd name="T47" fmla="*/ 288 h 3575"/>
                <a:gd name="T48" fmla="*/ 1884 w 2060"/>
                <a:gd name="T49" fmla="*/ 175 h 3575"/>
                <a:gd name="T50" fmla="*/ 1769 w 2060"/>
                <a:gd name="T51" fmla="*/ 87 h 3575"/>
                <a:gd name="T52" fmla="*/ 1637 w 2060"/>
                <a:gd name="T53" fmla="*/ 26 h 3575"/>
                <a:gd name="T54" fmla="*/ 1487 w 2060"/>
                <a:gd name="T55" fmla="*/ 0 h 3575"/>
                <a:gd name="T56" fmla="*/ 1981 w 2060"/>
                <a:gd name="T57" fmla="*/ 2999 h 3575"/>
                <a:gd name="T58" fmla="*/ 1957 w 2060"/>
                <a:gd name="T59" fmla="*/ 3128 h 3575"/>
                <a:gd name="T60" fmla="*/ 1904 w 2060"/>
                <a:gd name="T61" fmla="*/ 3244 h 3575"/>
                <a:gd name="T62" fmla="*/ 1826 w 2060"/>
                <a:gd name="T63" fmla="*/ 3343 h 3575"/>
                <a:gd name="T64" fmla="*/ 1728 w 2060"/>
                <a:gd name="T65" fmla="*/ 3421 h 3575"/>
                <a:gd name="T66" fmla="*/ 1612 w 2060"/>
                <a:gd name="T67" fmla="*/ 3474 h 3575"/>
                <a:gd name="T68" fmla="*/ 1484 w 2060"/>
                <a:gd name="T69" fmla="*/ 3496 h 3575"/>
                <a:gd name="T70" fmla="*/ 571 w 2060"/>
                <a:gd name="T71" fmla="*/ 3496 h 3575"/>
                <a:gd name="T72" fmla="*/ 443 w 2060"/>
                <a:gd name="T73" fmla="*/ 3474 h 3575"/>
                <a:gd name="T74" fmla="*/ 328 w 2060"/>
                <a:gd name="T75" fmla="*/ 3421 h 3575"/>
                <a:gd name="T76" fmla="*/ 229 w 2060"/>
                <a:gd name="T77" fmla="*/ 3343 h 3575"/>
                <a:gd name="T78" fmla="*/ 153 w 2060"/>
                <a:gd name="T79" fmla="*/ 3244 h 3575"/>
                <a:gd name="T80" fmla="*/ 101 w 2060"/>
                <a:gd name="T81" fmla="*/ 3128 h 3575"/>
                <a:gd name="T82" fmla="*/ 79 w 2060"/>
                <a:gd name="T83" fmla="*/ 2999 h 3575"/>
                <a:gd name="T84" fmla="*/ 79 w 2060"/>
                <a:gd name="T85" fmla="*/ 569 h 3575"/>
                <a:gd name="T86" fmla="*/ 101 w 2060"/>
                <a:gd name="T87" fmla="*/ 441 h 3575"/>
                <a:gd name="T88" fmla="*/ 153 w 2060"/>
                <a:gd name="T89" fmla="*/ 326 h 3575"/>
                <a:gd name="T90" fmla="*/ 229 w 2060"/>
                <a:gd name="T91" fmla="*/ 229 h 3575"/>
                <a:gd name="T92" fmla="*/ 328 w 2060"/>
                <a:gd name="T93" fmla="*/ 153 h 3575"/>
                <a:gd name="T94" fmla="*/ 443 w 2060"/>
                <a:gd name="T95" fmla="*/ 101 h 3575"/>
                <a:gd name="T96" fmla="*/ 571 w 2060"/>
                <a:gd name="T97" fmla="*/ 79 h 3575"/>
                <a:gd name="T98" fmla="*/ 1484 w 2060"/>
                <a:gd name="T99" fmla="*/ 79 h 3575"/>
                <a:gd name="T100" fmla="*/ 1612 w 2060"/>
                <a:gd name="T101" fmla="*/ 101 h 3575"/>
                <a:gd name="T102" fmla="*/ 1728 w 2060"/>
                <a:gd name="T103" fmla="*/ 153 h 3575"/>
                <a:gd name="T104" fmla="*/ 1826 w 2060"/>
                <a:gd name="T105" fmla="*/ 229 h 3575"/>
                <a:gd name="T106" fmla="*/ 1904 w 2060"/>
                <a:gd name="T107" fmla="*/ 326 h 3575"/>
                <a:gd name="T108" fmla="*/ 1957 w 2060"/>
                <a:gd name="T109" fmla="*/ 441 h 3575"/>
                <a:gd name="T110" fmla="*/ 1981 w 2060"/>
                <a:gd name="T111" fmla="*/ 569 h 35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060" h="3575">
                  <a:moveTo>
                    <a:pt x="1456" y="0"/>
                  </a:moveTo>
                  <a:lnTo>
                    <a:pt x="1456" y="0"/>
                  </a:lnTo>
                  <a:lnTo>
                    <a:pt x="597" y="0"/>
                  </a:lnTo>
                  <a:lnTo>
                    <a:pt x="597" y="0"/>
                  </a:lnTo>
                  <a:lnTo>
                    <a:pt x="566" y="0"/>
                  </a:lnTo>
                  <a:lnTo>
                    <a:pt x="537" y="3"/>
                  </a:lnTo>
                  <a:lnTo>
                    <a:pt x="507" y="6"/>
                  </a:lnTo>
                  <a:lnTo>
                    <a:pt x="478" y="12"/>
                  </a:lnTo>
                  <a:lnTo>
                    <a:pt x="448" y="19"/>
                  </a:lnTo>
                  <a:lnTo>
                    <a:pt x="421" y="26"/>
                  </a:lnTo>
                  <a:lnTo>
                    <a:pt x="393" y="35"/>
                  </a:lnTo>
                  <a:lnTo>
                    <a:pt x="366" y="47"/>
                  </a:lnTo>
                  <a:lnTo>
                    <a:pt x="340" y="59"/>
                  </a:lnTo>
                  <a:lnTo>
                    <a:pt x="313" y="72"/>
                  </a:lnTo>
                  <a:lnTo>
                    <a:pt x="288" y="87"/>
                  </a:lnTo>
                  <a:lnTo>
                    <a:pt x="265" y="101"/>
                  </a:lnTo>
                  <a:lnTo>
                    <a:pt x="241" y="119"/>
                  </a:lnTo>
                  <a:lnTo>
                    <a:pt x="218" y="137"/>
                  </a:lnTo>
                  <a:lnTo>
                    <a:pt x="197" y="156"/>
                  </a:lnTo>
                  <a:lnTo>
                    <a:pt x="176" y="175"/>
                  </a:lnTo>
                  <a:lnTo>
                    <a:pt x="156" y="196"/>
                  </a:lnTo>
                  <a:lnTo>
                    <a:pt x="137" y="218"/>
                  </a:lnTo>
                  <a:lnTo>
                    <a:pt x="119" y="240"/>
                  </a:lnTo>
                  <a:lnTo>
                    <a:pt x="103" y="263"/>
                  </a:lnTo>
                  <a:lnTo>
                    <a:pt x="87" y="288"/>
                  </a:lnTo>
                  <a:lnTo>
                    <a:pt x="72" y="313"/>
                  </a:lnTo>
                  <a:lnTo>
                    <a:pt x="59" y="338"/>
                  </a:lnTo>
                  <a:lnTo>
                    <a:pt x="47" y="365"/>
                  </a:lnTo>
                  <a:lnTo>
                    <a:pt x="37" y="393"/>
                  </a:lnTo>
                  <a:lnTo>
                    <a:pt x="28" y="419"/>
                  </a:lnTo>
                  <a:lnTo>
                    <a:pt x="19" y="449"/>
                  </a:lnTo>
                  <a:lnTo>
                    <a:pt x="13" y="476"/>
                  </a:lnTo>
                  <a:lnTo>
                    <a:pt x="7" y="506"/>
                  </a:lnTo>
                  <a:lnTo>
                    <a:pt x="3" y="535"/>
                  </a:lnTo>
                  <a:lnTo>
                    <a:pt x="1" y="566"/>
                  </a:lnTo>
                  <a:lnTo>
                    <a:pt x="0" y="597"/>
                  </a:lnTo>
                  <a:lnTo>
                    <a:pt x="0" y="597"/>
                  </a:lnTo>
                  <a:lnTo>
                    <a:pt x="0" y="2972"/>
                  </a:lnTo>
                  <a:lnTo>
                    <a:pt x="0" y="2972"/>
                  </a:lnTo>
                  <a:lnTo>
                    <a:pt x="1" y="3003"/>
                  </a:lnTo>
                  <a:lnTo>
                    <a:pt x="3" y="3034"/>
                  </a:lnTo>
                  <a:lnTo>
                    <a:pt x="7" y="3065"/>
                  </a:lnTo>
                  <a:lnTo>
                    <a:pt x="13" y="3094"/>
                  </a:lnTo>
                  <a:lnTo>
                    <a:pt x="19" y="3124"/>
                  </a:lnTo>
                  <a:lnTo>
                    <a:pt x="28" y="3151"/>
                  </a:lnTo>
                  <a:lnTo>
                    <a:pt x="37" y="3179"/>
                  </a:lnTo>
                  <a:lnTo>
                    <a:pt x="47" y="3207"/>
                  </a:lnTo>
                  <a:lnTo>
                    <a:pt x="59" y="3234"/>
                  </a:lnTo>
                  <a:lnTo>
                    <a:pt x="72" y="3260"/>
                  </a:lnTo>
                  <a:lnTo>
                    <a:pt x="87" y="3285"/>
                  </a:lnTo>
                  <a:lnTo>
                    <a:pt x="103" y="3310"/>
                  </a:lnTo>
                  <a:lnTo>
                    <a:pt x="119" y="3334"/>
                  </a:lnTo>
                  <a:lnTo>
                    <a:pt x="137" y="3356"/>
                  </a:lnTo>
                  <a:lnTo>
                    <a:pt x="156" y="3378"/>
                  </a:lnTo>
                  <a:lnTo>
                    <a:pt x="176" y="3399"/>
                  </a:lnTo>
                  <a:lnTo>
                    <a:pt x="197" y="3419"/>
                  </a:lnTo>
                  <a:lnTo>
                    <a:pt x="218" y="3438"/>
                  </a:lnTo>
                  <a:lnTo>
                    <a:pt x="241" y="3456"/>
                  </a:lnTo>
                  <a:lnTo>
                    <a:pt x="265" y="3472"/>
                  </a:lnTo>
                  <a:lnTo>
                    <a:pt x="288" y="3488"/>
                  </a:lnTo>
                  <a:lnTo>
                    <a:pt x="313" y="3503"/>
                  </a:lnTo>
                  <a:lnTo>
                    <a:pt x="340" y="3516"/>
                  </a:lnTo>
                  <a:lnTo>
                    <a:pt x="366" y="3528"/>
                  </a:lnTo>
                  <a:lnTo>
                    <a:pt x="393" y="3540"/>
                  </a:lnTo>
                  <a:lnTo>
                    <a:pt x="421" y="3549"/>
                  </a:lnTo>
                  <a:lnTo>
                    <a:pt x="448" y="3556"/>
                  </a:lnTo>
                  <a:lnTo>
                    <a:pt x="478" y="3563"/>
                  </a:lnTo>
                  <a:lnTo>
                    <a:pt x="507" y="3569"/>
                  </a:lnTo>
                  <a:lnTo>
                    <a:pt x="537" y="3572"/>
                  </a:lnTo>
                  <a:lnTo>
                    <a:pt x="566" y="3575"/>
                  </a:lnTo>
                  <a:lnTo>
                    <a:pt x="597" y="3575"/>
                  </a:lnTo>
                  <a:lnTo>
                    <a:pt x="597" y="3575"/>
                  </a:lnTo>
                  <a:lnTo>
                    <a:pt x="1456" y="3575"/>
                  </a:lnTo>
                  <a:lnTo>
                    <a:pt x="1456" y="3575"/>
                  </a:lnTo>
                  <a:lnTo>
                    <a:pt x="1487" y="3575"/>
                  </a:lnTo>
                  <a:lnTo>
                    <a:pt x="1517" y="3572"/>
                  </a:lnTo>
                  <a:lnTo>
                    <a:pt x="1548" y="3569"/>
                  </a:lnTo>
                  <a:lnTo>
                    <a:pt x="1578" y="3563"/>
                  </a:lnTo>
                  <a:lnTo>
                    <a:pt x="1607" y="3556"/>
                  </a:lnTo>
                  <a:lnTo>
                    <a:pt x="1637" y="3549"/>
                  </a:lnTo>
                  <a:lnTo>
                    <a:pt x="1664" y="3540"/>
                  </a:lnTo>
                  <a:lnTo>
                    <a:pt x="1691" y="3528"/>
                  </a:lnTo>
                  <a:lnTo>
                    <a:pt x="1719" y="3516"/>
                  </a:lnTo>
                  <a:lnTo>
                    <a:pt x="1744" y="3503"/>
                  </a:lnTo>
                  <a:lnTo>
                    <a:pt x="1769" y="3488"/>
                  </a:lnTo>
                  <a:lnTo>
                    <a:pt x="1794" y="3472"/>
                  </a:lnTo>
                  <a:lnTo>
                    <a:pt x="1817" y="3456"/>
                  </a:lnTo>
                  <a:lnTo>
                    <a:pt x="1841" y="3438"/>
                  </a:lnTo>
                  <a:lnTo>
                    <a:pt x="1861" y="3419"/>
                  </a:lnTo>
                  <a:lnTo>
                    <a:pt x="1884" y="3399"/>
                  </a:lnTo>
                  <a:lnTo>
                    <a:pt x="1903" y="3378"/>
                  </a:lnTo>
                  <a:lnTo>
                    <a:pt x="1922" y="3356"/>
                  </a:lnTo>
                  <a:lnTo>
                    <a:pt x="1939" y="3334"/>
                  </a:lnTo>
                  <a:lnTo>
                    <a:pt x="1957" y="3310"/>
                  </a:lnTo>
                  <a:lnTo>
                    <a:pt x="1972" y="3285"/>
                  </a:lnTo>
                  <a:lnTo>
                    <a:pt x="1986" y="3260"/>
                  </a:lnTo>
                  <a:lnTo>
                    <a:pt x="2000" y="3234"/>
                  </a:lnTo>
                  <a:lnTo>
                    <a:pt x="2011" y="3207"/>
                  </a:lnTo>
                  <a:lnTo>
                    <a:pt x="2023" y="3179"/>
                  </a:lnTo>
                  <a:lnTo>
                    <a:pt x="2032" y="3151"/>
                  </a:lnTo>
                  <a:lnTo>
                    <a:pt x="2041" y="3124"/>
                  </a:lnTo>
                  <a:lnTo>
                    <a:pt x="2047" y="3094"/>
                  </a:lnTo>
                  <a:lnTo>
                    <a:pt x="2053" y="3065"/>
                  </a:lnTo>
                  <a:lnTo>
                    <a:pt x="2056" y="3034"/>
                  </a:lnTo>
                  <a:lnTo>
                    <a:pt x="2059" y="3003"/>
                  </a:lnTo>
                  <a:lnTo>
                    <a:pt x="2060" y="2972"/>
                  </a:lnTo>
                  <a:lnTo>
                    <a:pt x="2060" y="2972"/>
                  </a:lnTo>
                  <a:lnTo>
                    <a:pt x="2060" y="597"/>
                  </a:lnTo>
                  <a:lnTo>
                    <a:pt x="2060" y="597"/>
                  </a:lnTo>
                  <a:lnTo>
                    <a:pt x="2059" y="566"/>
                  </a:lnTo>
                  <a:lnTo>
                    <a:pt x="2056" y="535"/>
                  </a:lnTo>
                  <a:lnTo>
                    <a:pt x="2053" y="506"/>
                  </a:lnTo>
                  <a:lnTo>
                    <a:pt x="2047" y="476"/>
                  </a:lnTo>
                  <a:lnTo>
                    <a:pt x="2041" y="449"/>
                  </a:lnTo>
                  <a:lnTo>
                    <a:pt x="2032" y="419"/>
                  </a:lnTo>
                  <a:lnTo>
                    <a:pt x="2023" y="393"/>
                  </a:lnTo>
                  <a:lnTo>
                    <a:pt x="2011" y="365"/>
                  </a:lnTo>
                  <a:lnTo>
                    <a:pt x="2000" y="338"/>
                  </a:lnTo>
                  <a:lnTo>
                    <a:pt x="1986" y="313"/>
                  </a:lnTo>
                  <a:lnTo>
                    <a:pt x="1972" y="288"/>
                  </a:lnTo>
                  <a:lnTo>
                    <a:pt x="1957" y="263"/>
                  </a:lnTo>
                  <a:lnTo>
                    <a:pt x="1939" y="240"/>
                  </a:lnTo>
                  <a:lnTo>
                    <a:pt x="1922" y="218"/>
                  </a:lnTo>
                  <a:lnTo>
                    <a:pt x="1903" y="196"/>
                  </a:lnTo>
                  <a:lnTo>
                    <a:pt x="1884" y="175"/>
                  </a:lnTo>
                  <a:lnTo>
                    <a:pt x="1861" y="156"/>
                  </a:lnTo>
                  <a:lnTo>
                    <a:pt x="1841" y="137"/>
                  </a:lnTo>
                  <a:lnTo>
                    <a:pt x="1817" y="119"/>
                  </a:lnTo>
                  <a:lnTo>
                    <a:pt x="1794" y="101"/>
                  </a:lnTo>
                  <a:lnTo>
                    <a:pt x="1769" y="87"/>
                  </a:lnTo>
                  <a:lnTo>
                    <a:pt x="1744" y="72"/>
                  </a:lnTo>
                  <a:lnTo>
                    <a:pt x="1719" y="59"/>
                  </a:lnTo>
                  <a:lnTo>
                    <a:pt x="1691" y="47"/>
                  </a:lnTo>
                  <a:lnTo>
                    <a:pt x="1664" y="35"/>
                  </a:lnTo>
                  <a:lnTo>
                    <a:pt x="1637" y="26"/>
                  </a:lnTo>
                  <a:lnTo>
                    <a:pt x="1607" y="19"/>
                  </a:lnTo>
                  <a:lnTo>
                    <a:pt x="1578" y="12"/>
                  </a:lnTo>
                  <a:lnTo>
                    <a:pt x="1548" y="6"/>
                  </a:lnTo>
                  <a:lnTo>
                    <a:pt x="1517" y="3"/>
                  </a:lnTo>
                  <a:lnTo>
                    <a:pt x="1487" y="0"/>
                  </a:lnTo>
                  <a:lnTo>
                    <a:pt x="1456" y="0"/>
                  </a:lnTo>
                  <a:lnTo>
                    <a:pt x="1456" y="0"/>
                  </a:lnTo>
                  <a:close/>
                  <a:moveTo>
                    <a:pt x="1981" y="2972"/>
                  </a:moveTo>
                  <a:lnTo>
                    <a:pt x="1981" y="2972"/>
                  </a:lnTo>
                  <a:lnTo>
                    <a:pt x="1981" y="2999"/>
                  </a:lnTo>
                  <a:lnTo>
                    <a:pt x="1978" y="3025"/>
                  </a:lnTo>
                  <a:lnTo>
                    <a:pt x="1975" y="3051"/>
                  </a:lnTo>
                  <a:lnTo>
                    <a:pt x="1970" y="3078"/>
                  </a:lnTo>
                  <a:lnTo>
                    <a:pt x="1964" y="3103"/>
                  </a:lnTo>
                  <a:lnTo>
                    <a:pt x="1957" y="3128"/>
                  </a:lnTo>
                  <a:lnTo>
                    <a:pt x="1948" y="3151"/>
                  </a:lnTo>
                  <a:lnTo>
                    <a:pt x="1939" y="3175"/>
                  </a:lnTo>
                  <a:lnTo>
                    <a:pt x="1929" y="3199"/>
                  </a:lnTo>
                  <a:lnTo>
                    <a:pt x="1917" y="3222"/>
                  </a:lnTo>
                  <a:lnTo>
                    <a:pt x="1904" y="3244"/>
                  </a:lnTo>
                  <a:lnTo>
                    <a:pt x="1891" y="3265"/>
                  </a:lnTo>
                  <a:lnTo>
                    <a:pt x="1876" y="3285"/>
                  </a:lnTo>
                  <a:lnTo>
                    <a:pt x="1860" y="3306"/>
                  </a:lnTo>
                  <a:lnTo>
                    <a:pt x="1844" y="3325"/>
                  </a:lnTo>
                  <a:lnTo>
                    <a:pt x="1826" y="3343"/>
                  </a:lnTo>
                  <a:lnTo>
                    <a:pt x="1809" y="3360"/>
                  </a:lnTo>
                  <a:lnTo>
                    <a:pt x="1789" y="3376"/>
                  </a:lnTo>
                  <a:lnTo>
                    <a:pt x="1769" y="3393"/>
                  </a:lnTo>
                  <a:lnTo>
                    <a:pt x="1748" y="3407"/>
                  </a:lnTo>
                  <a:lnTo>
                    <a:pt x="1728" y="3421"/>
                  </a:lnTo>
                  <a:lnTo>
                    <a:pt x="1706" y="3434"/>
                  </a:lnTo>
                  <a:lnTo>
                    <a:pt x="1684" y="3444"/>
                  </a:lnTo>
                  <a:lnTo>
                    <a:pt x="1660" y="3456"/>
                  </a:lnTo>
                  <a:lnTo>
                    <a:pt x="1637" y="3465"/>
                  </a:lnTo>
                  <a:lnTo>
                    <a:pt x="1612" y="3474"/>
                  </a:lnTo>
                  <a:lnTo>
                    <a:pt x="1587" y="3481"/>
                  </a:lnTo>
                  <a:lnTo>
                    <a:pt x="1562" y="3487"/>
                  </a:lnTo>
                  <a:lnTo>
                    <a:pt x="1535" y="3491"/>
                  </a:lnTo>
                  <a:lnTo>
                    <a:pt x="1510" y="3494"/>
                  </a:lnTo>
                  <a:lnTo>
                    <a:pt x="1484" y="3496"/>
                  </a:lnTo>
                  <a:lnTo>
                    <a:pt x="1456" y="3497"/>
                  </a:lnTo>
                  <a:lnTo>
                    <a:pt x="1456" y="3497"/>
                  </a:lnTo>
                  <a:lnTo>
                    <a:pt x="597" y="3497"/>
                  </a:lnTo>
                  <a:lnTo>
                    <a:pt x="597" y="3497"/>
                  </a:lnTo>
                  <a:lnTo>
                    <a:pt x="571" y="3496"/>
                  </a:lnTo>
                  <a:lnTo>
                    <a:pt x="544" y="3494"/>
                  </a:lnTo>
                  <a:lnTo>
                    <a:pt x="518" y="3491"/>
                  </a:lnTo>
                  <a:lnTo>
                    <a:pt x="493" y="3487"/>
                  </a:lnTo>
                  <a:lnTo>
                    <a:pt x="466" y="3481"/>
                  </a:lnTo>
                  <a:lnTo>
                    <a:pt x="443" y="3474"/>
                  </a:lnTo>
                  <a:lnTo>
                    <a:pt x="418" y="3465"/>
                  </a:lnTo>
                  <a:lnTo>
                    <a:pt x="394" y="3456"/>
                  </a:lnTo>
                  <a:lnTo>
                    <a:pt x="372" y="3444"/>
                  </a:lnTo>
                  <a:lnTo>
                    <a:pt x="348" y="3434"/>
                  </a:lnTo>
                  <a:lnTo>
                    <a:pt x="328" y="3421"/>
                  </a:lnTo>
                  <a:lnTo>
                    <a:pt x="306" y="3407"/>
                  </a:lnTo>
                  <a:lnTo>
                    <a:pt x="287" y="3393"/>
                  </a:lnTo>
                  <a:lnTo>
                    <a:pt x="266" y="3376"/>
                  </a:lnTo>
                  <a:lnTo>
                    <a:pt x="248" y="3360"/>
                  </a:lnTo>
                  <a:lnTo>
                    <a:pt x="229" y="3343"/>
                  </a:lnTo>
                  <a:lnTo>
                    <a:pt x="213" y="3325"/>
                  </a:lnTo>
                  <a:lnTo>
                    <a:pt x="197" y="3306"/>
                  </a:lnTo>
                  <a:lnTo>
                    <a:pt x="181" y="3285"/>
                  </a:lnTo>
                  <a:lnTo>
                    <a:pt x="166" y="3265"/>
                  </a:lnTo>
                  <a:lnTo>
                    <a:pt x="153" y="3244"/>
                  </a:lnTo>
                  <a:lnTo>
                    <a:pt x="141" y="3222"/>
                  </a:lnTo>
                  <a:lnTo>
                    <a:pt x="129" y="3199"/>
                  </a:lnTo>
                  <a:lnTo>
                    <a:pt x="119" y="3175"/>
                  </a:lnTo>
                  <a:lnTo>
                    <a:pt x="110" y="3151"/>
                  </a:lnTo>
                  <a:lnTo>
                    <a:pt x="101" y="3128"/>
                  </a:lnTo>
                  <a:lnTo>
                    <a:pt x="96" y="3103"/>
                  </a:lnTo>
                  <a:lnTo>
                    <a:pt x="90" y="3078"/>
                  </a:lnTo>
                  <a:lnTo>
                    <a:pt x="85" y="3051"/>
                  </a:lnTo>
                  <a:lnTo>
                    <a:pt x="82" y="3025"/>
                  </a:lnTo>
                  <a:lnTo>
                    <a:pt x="79" y="2999"/>
                  </a:lnTo>
                  <a:lnTo>
                    <a:pt x="79" y="2972"/>
                  </a:lnTo>
                  <a:lnTo>
                    <a:pt x="79" y="2972"/>
                  </a:lnTo>
                  <a:lnTo>
                    <a:pt x="79" y="597"/>
                  </a:lnTo>
                  <a:lnTo>
                    <a:pt x="79" y="597"/>
                  </a:lnTo>
                  <a:lnTo>
                    <a:pt x="79" y="569"/>
                  </a:lnTo>
                  <a:lnTo>
                    <a:pt x="82" y="543"/>
                  </a:lnTo>
                  <a:lnTo>
                    <a:pt x="85" y="518"/>
                  </a:lnTo>
                  <a:lnTo>
                    <a:pt x="90" y="491"/>
                  </a:lnTo>
                  <a:lnTo>
                    <a:pt x="96" y="466"/>
                  </a:lnTo>
                  <a:lnTo>
                    <a:pt x="101" y="441"/>
                  </a:lnTo>
                  <a:lnTo>
                    <a:pt x="110" y="418"/>
                  </a:lnTo>
                  <a:lnTo>
                    <a:pt x="119" y="394"/>
                  </a:lnTo>
                  <a:lnTo>
                    <a:pt x="129" y="371"/>
                  </a:lnTo>
                  <a:lnTo>
                    <a:pt x="141" y="349"/>
                  </a:lnTo>
                  <a:lnTo>
                    <a:pt x="153" y="326"/>
                  </a:lnTo>
                  <a:lnTo>
                    <a:pt x="166" y="306"/>
                  </a:lnTo>
                  <a:lnTo>
                    <a:pt x="181" y="285"/>
                  </a:lnTo>
                  <a:lnTo>
                    <a:pt x="197" y="266"/>
                  </a:lnTo>
                  <a:lnTo>
                    <a:pt x="213" y="247"/>
                  </a:lnTo>
                  <a:lnTo>
                    <a:pt x="229" y="229"/>
                  </a:lnTo>
                  <a:lnTo>
                    <a:pt x="248" y="212"/>
                  </a:lnTo>
                  <a:lnTo>
                    <a:pt x="266" y="196"/>
                  </a:lnTo>
                  <a:lnTo>
                    <a:pt x="287" y="181"/>
                  </a:lnTo>
                  <a:lnTo>
                    <a:pt x="306" y="166"/>
                  </a:lnTo>
                  <a:lnTo>
                    <a:pt x="328" y="153"/>
                  </a:lnTo>
                  <a:lnTo>
                    <a:pt x="348" y="140"/>
                  </a:lnTo>
                  <a:lnTo>
                    <a:pt x="372" y="129"/>
                  </a:lnTo>
                  <a:lnTo>
                    <a:pt x="394" y="119"/>
                  </a:lnTo>
                  <a:lnTo>
                    <a:pt x="418" y="109"/>
                  </a:lnTo>
                  <a:lnTo>
                    <a:pt x="443" y="101"/>
                  </a:lnTo>
                  <a:lnTo>
                    <a:pt x="466" y="94"/>
                  </a:lnTo>
                  <a:lnTo>
                    <a:pt x="493" y="88"/>
                  </a:lnTo>
                  <a:lnTo>
                    <a:pt x="518" y="84"/>
                  </a:lnTo>
                  <a:lnTo>
                    <a:pt x="544" y="81"/>
                  </a:lnTo>
                  <a:lnTo>
                    <a:pt x="571" y="79"/>
                  </a:lnTo>
                  <a:lnTo>
                    <a:pt x="597" y="78"/>
                  </a:lnTo>
                  <a:lnTo>
                    <a:pt x="597" y="78"/>
                  </a:lnTo>
                  <a:lnTo>
                    <a:pt x="1456" y="78"/>
                  </a:lnTo>
                  <a:lnTo>
                    <a:pt x="1456" y="78"/>
                  </a:lnTo>
                  <a:lnTo>
                    <a:pt x="1484" y="79"/>
                  </a:lnTo>
                  <a:lnTo>
                    <a:pt x="1510" y="81"/>
                  </a:lnTo>
                  <a:lnTo>
                    <a:pt x="1535" y="84"/>
                  </a:lnTo>
                  <a:lnTo>
                    <a:pt x="1562" y="88"/>
                  </a:lnTo>
                  <a:lnTo>
                    <a:pt x="1587" y="94"/>
                  </a:lnTo>
                  <a:lnTo>
                    <a:pt x="1612" y="101"/>
                  </a:lnTo>
                  <a:lnTo>
                    <a:pt x="1637" y="109"/>
                  </a:lnTo>
                  <a:lnTo>
                    <a:pt x="1660" y="119"/>
                  </a:lnTo>
                  <a:lnTo>
                    <a:pt x="1684" y="129"/>
                  </a:lnTo>
                  <a:lnTo>
                    <a:pt x="1706" y="140"/>
                  </a:lnTo>
                  <a:lnTo>
                    <a:pt x="1728" y="153"/>
                  </a:lnTo>
                  <a:lnTo>
                    <a:pt x="1748" y="166"/>
                  </a:lnTo>
                  <a:lnTo>
                    <a:pt x="1769" y="181"/>
                  </a:lnTo>
                  <a:lnTo>
                    <a:pt x="1789" y="196"/>
                  </a:lnTo>
                  <a:lnTo>
                    <a:pt x="1809" y="212"/>
                  </a:lnTo>
                  <a:lnTo>
                    <a:pt x="1826" y="229"/>
                  </a:lnTo>
                  <a:lnTo>
                    <a:pt x="1844" y="247"/>
                  </a:lnTo>
                  <a:lnTo>
                    <a:pt x="1860" y="266"/>
                  </a:lnTo>
                  <a:lnTo>
                    <a:pt x="1876" y="285"/>
                  </a:lnTo>
                  <a:lnTo>
                    <a:pt x="1891" y="306"/>
                  </a:lnTo>
                  <a:lnTo>
                    <a:pt x="1904" y="326"/>
                  </a:lnTo>
                  <a:lnTo>
                    <a:pt x="1917" y="349"/>
                  </a:lnTo>
                  <a:lnTo>
                    <a:pt x="1929" y="371"/>
                  </a:lnTo>
                  <a:lnTo>
                    <a:pt x="1939" y="394"/>
                  </a:lnTo>
                  <a:lnTo>
                    <a:pt x="1948" y="418"/>
                  </a:lnTo>
                  <a:lnTo>
                    <a:pt x="1957" y="441"/>
                  </a:lnTo>
                  <a:lnTo>
                    <a:pt x="1964" y="466"/>
                  </a:lnTo>
                  <a:lnTo>
                    <a:pt x="1970" y="491"/>
                  </a:lnTo>
                  <a:lnTo>
                    <a:pt x="1975" y="518"/>
                  </a:lnTo>
                  <a:lnTo>
                    <a:pt x="1978" y="543"/>
                  </a:lnTo>
                  <a:lnTo>
                    <a:pt x="1981" y="569"/>
                  </a:lnTo>
                  <a:lnTo>
                    <a:pt x="1981" y="597"/>
                  </a:lnTo>
                  <a:lnTo>
                    <a:pt x="1981" y="597"/>
                  </a:lnTo>
                  <a:lnTo>
                    <a:pt x="1981" y="2972"/>
                  </a:lnTo>
                  <a:lnTo>
                    <a:pt x="1981" y="297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90" name="Freeform 26"/>
            <p:cNvSpPr>
              <a:spLocks/>
            </p:cNvSpPr>
            <p:nvPr/>
          </p:nvSpPr>
          <p:spPr bwMode="auto">
            <a:xfrm>
              <a:off x="-3760788" y="2725738"/>
              <a:ext cx="2217738" cy="3249613"/>
            </a:xfrm>
            <a:custGeom>
              <a:avLst/>
              <a:gdLst>
                <a:gd name="T0" fmla="*/ 1357 w 1397"/>
                <a:gd name="T1" fmla="*/ 0 h 2047"/>
                <a:gd name="T2" fmla="*/ 1357 w 1397"/>
                <a:gd name="T3" fmla="*/ 0 h 2047"/>
                <a:gd name="T4" fmla="*/ 40 w 1397"/>
                <a:gd name="T5" fmla="*/ 0 h 2047"/>
                <a:gd name="T6" fmla="*/ 40 w 1397"/>
                <a:gd name="T7" fmla="*/ 0 h 2047"/>
                <a:gd name="T8" fmla="*/ 32 w 1397"/>
                <a:gd name="T9" fmla="*/ 0 h 2047"/>
                <a:gd name="T10" fmla="*/ 25 w 1397"/>
                <a:gd name="T11" fmla="*/ 3 h 2047"/>
                <a:gd name="T12" fmla="*/ 19 w 1397"/>
                <a:gd name="T13" fmla="*/ 6 h 2047"/>
                <a:gd name="T14" fmla="*/ 13 w 1397"/>
                <a:gd name="T15" fmla="*/ 11 h 2047"/>
                <a:gd name="T16" fmla="*/ 7 w 1397"/>
                <a:gd name="T17" fmla="*/ 15 h 2047"/>
                <a:gd name="T18" fmla="*/ 4 w 1397"/>
                <a:gd name="T19" fmla="*/ 22 h 2047"/>
                <a:gd name="T20" fmla="*/ 1 w 1397"/>
                <a:gd name="T21" fmla="*/ 30 h 2047"/>
                <a:gd name="T22" fmla="*/ 0 w 1397"/>
                <a:gd name="T23" fmla="*/ 40 h 2047"/>
                <a:gd name="T24" fmla="*/ 0 w 1397"/>
                <a:gd name="T25" fmla="*/ 40 h 2047"/>
                <a:gd name="T26" fmla="*/ 0 w 1397"/>
                <a:gd name="T27" fmla="*/ 2008 h 2047"/>
                <a:gd name="T28" fmla="*/ 0 w 1397"/>
                <a:gd name="T29" fmla="*/ 2008 h 2047"/>
                <a:gd name="T30" fmla="*/ 1 w 1397"/>
                <a:gd name="T31" fmla="*/ 2015 h 2047"/>
                <a:gd name="T32" fmla="*/ 4 w 1397"/>
                <a:gd name="T33" fmla="*/ 2022 h 2047"/>
                <a:gd name="T34" fmla="*/ 7 w 1397"/>
                <a:gd name="T35" fmla="*/ 2030 h 2047"/>
                <a:gd name="T36" fmla="*/ 13 w 1397"/>
                <a:gd name="T37" fmla="*/ 2036 h 2047"/>
                <a:gd name="T38" fmla="*/ 19 w 1397"/>
                <a:gd name="T39" fmla="*/ 2040 h 2047"/>
                <a:gd name="T40" fmla="*/ 25 w 1397"/>
                <a:gd name="T41" fmla="*/ 2045 h 2047"/>
                <a:gd name="T42" fmla="*/ 32 w 1397"/>
                <a:gd name="T43" fmla="*/ 2046 h 2047"/>
                <a:gd name="T44" fmla="*/ 40 w 1397"/>
                <a:gd name="T45" fmla="*/ 2047 h 2047"/>
                <a:gd name="T46" fmla="*/ 40 w 1397"/>
                <a:gd name="T47" fmla="*/ 2047 h 2047"/>
                <a:gd name="T48" fmla="*/ 1357 w 1397"/>
                <a:gd name="T49" fmla="*/ 2047 h 2047"/>
                <a:gd name="T50" fmla="*/ 1357 w 1397"/>
                <a:gd name="T51" fmla="*/ 2047 h 2047"/>
                <a:gd name="T52" fmla="*/ 1364 w 1397"/>
                <a:gd name="T53" fmla="*/ 2046 h 2047"/>
                <a:gd name="T54" fmla="*/ 1372 w 1397"/>
                <a:gd name="T55" fmla="*/ 2045 h 2047"/>
                <a:gd name="T56" fmla="*/ 1379 w 1397"/>
                <a:gd name="T57" fmla="*/ 2040 h 2047"/>
                <a:gd name="T58" fmla="*/ 1385 w 1397"/>
                <a:gd name="T59" fmla="*/ 2036 h 2047"/>
                <a:gd name="T60" fmla="*/ 1389 w 1397"/>
                <a:gd name="T61" fmla="*/ 2030 h 2047"/>
                <a:gd name="T62" fmla="*/ 1394 w 1397"/>
                <a:gd name="T63" fmla="*/ 2022 h 2047"/>
                <a:gd name="T64" fmla="*/ 1397 w 1397"/>
                <a:gd name="T65" fmla="*/ 2015 h 2047"/>
                <a:gd name="T66" fmla="*/ 1397 w 1397"/>
                <a:gd name="T67" fmla="*/ 2008 h 2047"/>
                <a:gd name="T68" fmla="*/ 1397 w 1397"/>
                <a:gd name="T69" fmla="*/ 40 h 2047"/>
                <a:gd name="T70" fmla="*/ 1397 w 1397"/>
                <a:gd name="T71" fmla="*/ 40 h 2047"/>
                <a:gd name="T72" fmla="*/ 1397 w 1397"/>
                <a:gd name="T73" fmla="*/ 30 h 2047"/>
                <a:gd name="T74" fmla="*/ 1394 w 1397"/>
                <a:gd name="T75" fmla="*/ 22 h 2047"/>
                <a:gd name="T76" fmla="*/ 1389 w 1397"/>
                <a:gd name="T77" fmla="*/ 15 h 2047"/>
                <a:gd name="T78" fmla="*/ 1385 w 1397"/>
                <a:gd name="T79" fmla="*/ 11 h 2047"/>
                <a:gd name="T80" fmla="*/ 1379 w 1397"/>
                <a:gd name="T81" fmla="*/ 6 h 2047"/>
                <a:gd name="T82" fmla="*/ 1372 w 1397"/>
                <a:gd name="T83" fmla="*/ 3 h 2047"/>
                <a:gd name="T84" fmla="*/ 1364 w 1397"/>
                <a:gd name="T85" fmla="*/ 0 h 2047"/>
                <a:gd name="T86" fmla="*/ 1357 w 1397"/>
                <a:gd name="T87" fmla="*/ 0 h 2047"/>
                <a:gd name="T88" fmla="*/ 1357 w 1397"/>
                <a:gd name="T89" fmla="*/ 0 h 20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397" h="2047">
                  <a:moveTo>
                    <a:pt x="1357" y="0"/>
                  </a:moveTo>
                  <a:lnTo>
                    <a:pt x="1357" y="0"/>
                  </a:lnTo>
                  <a:lnTo>
                    <a:pt x="40" y="0"/>
                  </a:lnTo>
                  <a:lnTo>
                    <a:pt x="40" y="0"/>
                  </a:lnTo>
                  <a:lnTo>
                    <a:pt x="32" y="0"/>
                  </a:lnTo>
                  <a:lnTo>
                    <a:pt x="25" y="3"/>
                  </a:lnTo>
                  <a:lnTo>
                    <a:pt x="19" y="6"/>
                  </a:lnTo>
                  <a:lnTo>
                    <a:pt x="13" y="11"/>
                  </a:lnTo>
                  <a:lnTo>
                    <a:pt x="7" y="15"/>
                  </a:lnTo>
                  <a:lnTo>
                    <a:pt x="4" y="22"/>
                  </a:lnTo>
                  <a:lnTo>
                    <a:pt x="1" y="30"/>
                  </a:lnTo>
                  <a:lnTo>
                    <a:pt x="0" y="40"/>
                  </a:lnTo>
                  <a:lnTo>
                    <a:pt x="0" y="40"/>
                  </a:lnTo>
                  <a:lnTo>
                    <a:pt x="0" y="2008"/>
                  </a:lnTo>
                  <a:lnTo>
                    <a:pt x="0" y="2008"/>
                  </a:lnTo>
                  <a:lnTo>
                    <a:pt x="1" y="2015"/>
                  </a:lnTo>
                  <a:lnTo>
                    <a:pt x="4" y="2022"/>
                  </a:lnTo>
                  <a:lnTo>
                    <a:pt x="7" y="2030"/>
                  </a:lnTo>
                  <a:lnTo>
                    <a:pt x="13" y="2036"/>
                  </a:lnTo>
                  <a:lnTo>
                    <a:pt x="19" y="2040"/>
                  </a:lnTo>
                  <a:lnTo>
                    <a:pt x="25" y="2045"/>
                  </a:lnTo>
                  <a:lnTo>
                    <a:pt x="32" y="2046"/>
                  </a:lnTo>
                  <a:lnTo>
                    <a:pt x="40" y="2047"/>
                  </a:lnTo>
                  <a:lnTo>
                    <a:pt x="40" y="2047"/>
                  </a:lnTo>
                  <a:lnTo>
                    <a:pt x="1357" y="2047"/>
                  </a:lnTo>
                  <a:lnTo>
                    <a:pt x="1357" y="2047"/>
                  </a:lnTo>
                  <a:lnTo>
                    <a:pt x="1364" y="2046"/>
                  </a:lnTo>
                  <a:lnTo>
                    <a:pt x="1372" y="2045"/>
                  </a:lnTo>
                  <a:lnTo>
                    <a:pt x="1379" y="2040"/>
                  </a:lnTo>
                  <a:lnTo>
                    <a:pt x="1385" y="2036"/>
                  </a:lnTo>
                  <a:lnTo>
                    <a:pt x="1389" y="2030"/>
                  </a:lnTo>
                  <a:lnTo>
                    <a:pt x="1394" y="2022"/>
                  </a:lnTo>
                  <a:lnTo>
                    <a:pt x="1397" y="2015"/>
                  </a:lnTo>
                  <a:lnTo>
                    <a:pt x="1397" y="2008"/>
                  </a:lnTo>
                  <a:lnTo>
                    <a:pt x="1397" y="40"/>
                  </a:lnTo>
                  <a:lnTo>
                    <a:pt x="1397" y="40"/>
                  </a:lnTo>
                  <a:lnTo>
                    <a:pt x="1397" y="30"/>
                  </a:lnTo>
                  <a:lnTo>
                    <a:pt x="1394" y="22"/>
                  </a:lnTo>
                  <a:lnTo>
                    <a:pt x="1389" y="15"/>
                  </a:lnTo>
                  <a:lnTo>
                    <a:pt x="1385" y="11"/>
                  </a:lnTo>
                  <a:lnTo>
                    <a:pt x="1379" y="6"/>
                  </a:lnTo>
                  <a:lnTo>
                    <a:pt x="1372" y="3"/>
                  </a:lnTo>
                  <a:lnTo>
                    <a:pt x="1364" y="0"/>
                  </a:lnTo>
                  <a:lnTo>
                    <a:pt x="1357" y="0"/>
                  </a:lnTo>
                  <a:lnTo>
                    <a:pt x="1357"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92" name="Freeform 27"/>
            <p:cNvSpPr>
              <a:spLocks/>
            </p:cNvSpPr>
            <p:nvPr/>
          </p:nvSpPr>
          <p:spPr bwMode="auto">
            <a:xfrm>
              <a:off x="-3011488" y="2154238"/>
              <a:ext cx="719138" cy="123825"/>
            </a:xfrm>
            <a:custGeom>
              <a:avLst/>
              <a:gdLst>
                <a:gd name="T0" fmla="*/ 40 w 453"/>
                <a:gd name="T1" fmla="*/ 78 h 78"/>
                <a:gd name="T2" fmla="*/ 40 w 453"/>
                <a:gd name="T3" fmla="*/ 78 h 78"/>
                <a:gd name="T4" fmla="*/ 413 w 453"/>
                <a:gd name="T5" fmla="*/ 78 h 78"/>
                <a:gd name="T6" fmla="*/ 413 w 453"/>
                <a:gd name="T7" fmla="*/ 78 h 78"/>
                <a:gd name="T8" fmla="*/ 423 w 453"/>
                <a:gd name="T9" fmla="*/ 78 h 78"/>
                <a:gd name="T10" fmla="*/ 431 w 453"/>
                <a:gd name="T11" fmla="*/ 75 h 78"/>
                <a:gd name="T12" fmla="*/ 438 w 453"/>
                <a:gd name="T13" fmla="*/ 71 h 78"/>
                <a:gd name="T14" fmla="*/ 442 w 453"/>
                <a:gd name="T15" fmla="*/ 66 h 78"/>
                <a:gd name="T16" fmla="*/ 447 w 453"/>
                <a:gd name="T17" fmla="*/ 60 h 78"/>
                <a:gd name="T18" fmla="*/ 450 w 453"/>
                <a:gd name="T19" fmla="*/ 53 h 78"/>
                <a:gd name="T20" fmla="*/ 453 w 453"/>
                <a:gd name="T21" fmla="*/ 46 h 78"/>
                <a:gd name="T22" fmla="*/ 453 w 453"/>
                <a:gd name="T23" fmla="*/ 38 h 78"/>
                <a:gd name="T24" fmla="*/ 453 w 453"/>
                <a:gd name="T25" fmla="*/ 38 h 78"/>
                <a:gd name="T26" fmla="*/ 453 w 453"/>
                <a:gd name="T27" fmla="*/ 31 h 78"/>
                <a:gd name="T28" fmla="*/ 450 w 453"/>
                <a:gd name="T29" fmla="*/ 25 h 78"/>
                <a:gd name="T30" fmla="*/ 447 w 453"/>
                <a:gd name="T31" fmla="*/ 18 h 78"/>
                <a:gd name="T32" fmla="*/ 442 w 453"/>
                <a:gd name="T33" fmla="*/ 12 h 78"/>
                <a:gd name="T34" fmla="*/ 438 w 453"/>
                <a:gd name="T35" fmla="*/ 7 h 78"/>
                <a:gd name="T36" fmla="*/ 431 w 453"/>
                <a:gd name="T37" fmla="*/ 3 h 78"/>
                <a:gd name="T38" fmla="*/ 423 w 453"/>
                <a:gd name="T39" fmla="*/ 0 h 78"/>
                <a:gd name="T40" fmla="*/ 413 w 453"/>
                <a:gd name="T41" fmla="*/ 0 h 78"/>
                <a:gd name="T42" fmla="*/ 413 w 453"/>
                <a:gd name="T43" fmla="*/ 0 h 78"/>
                <a:gd name="T44" fmla="*/ 40 w 453"/>
                <a:gd name="T45" fmla="*/ 0 h 78"/>
                <a:gd name="T46" fmla="*/ 40 w 453"/>
                <a:gd name="T47" fmla="*/ 0 h 78"/>
                <a:gd name="T48" fmla="*/ 32 w 453"/>
                <a:gd name="T49" fmla="*/ 0 h 78"/>
                <a:gd name="T50" fmla="*/ 25 w 453"/>
                <a:gd name="T51" fmla="*/ 3 h 78"/>
                <a:gd name="T52" fmla="*/ 19 w 453"/>
                <a:gd name="T53" fmla="*/ 7 h 78"/>
                <a:gd name="T54" fmla="*/ 13 w 453"/>
                <a:gd name="T55" fmla="*/ 12 h 78"/>
                <a:gd name="T56" fmla="*/ 7 w 453"/>
                <a:gd name="T57" fmla="*/ 18 h 78"/>
                <a:gd name="T58" fmla="*/ 4 w 453"/>
                <a:gd name="T59" fmla="*/ 25 h 78"/>
                <a:gd name="T60" fmla="*/ 1 w 453"/>
                <a:gd name="T61" fmla="*/ 31 h 78"/>
                <a:gd name="T62" fmla="*/ 0 w 453"/>
                <a:gd name="T63" fmla="*/ 38 h 78"/>
                <a:gd name="T64" fmla="*/ 0 w 453"/>
                <a:gd name="T65" fmla="*/ 38 h 78"/>
                <a:gd name="T66" fmla="*/ 1 w 453"/>
                <a:gd name="T67" fmla="*/ 46 h 78"/>
                <a:gd name="T68" fmla="*/ 4 w 453"/>
                <a:gd name="T69" fmla="*/ 53 h 78"/>
                <a:gd name="T70" fmla="*/ 7 w 453"/>
                <a:gd name="T71" fmla="*/ 60 h 78"/>
                <a:gd name="T72" fmla="*/ 13 w 453"/>
                <a:gd name="T73" fmla="*/ 66 h 78"/>
                <a:gd name="T74" fmla="*/ 19 w 453"/>
                <a:gd name="T75" fmla="*/ 71 h 78"/>
                <a:gd name="T76" fmla="*/ 25 w 453"/>
                <a:gd name="T77" fmla="*/ 75 h 78"/>
                <a:gd name="T78" fmla="*/ 32 w 453"/>
                <a:gd name="T79" fmla="*/ 78 h 78"/>
                <a:gd name="T80" fmla="*/ 40 w 453"/>
                <a:gd name="T81" fmla="*/ 78 h 78"/>
                <a:gd name="T82" fmla="*/ 40 w 453"/>
                <a:gd name="T83"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53" h="78">
                  <a:moveTo>
                    <a:pt x="40" y="78"/>
                  </a:moveTo>
                  <a:lnTo>
                    <a:pt x="40" y="78"/>
                  </a:lnTo>
                  <a:lnTo>
                    <a:pt x="413" y="78"/>
                  </a:lnTo>
                  <a:lnTo>
                    <a:pt x="413" y="78"/>
                  </a:lnTo>
                  <a:lnTo>
                    <a:pt x="423" y="78"/>
                  </a:lnTo>
                  <a:lnTo>
                    <a:pt x="431" y="75"/>
                  </a:lnTo>
                  <a:lnTo>
                    <a:pt x="438" y="71"/>
                  </a:lnTo>
                  <a:lnTo>
                    <a:pt x="442" y="66"/>
                  </a:lnTo>
                  <a:lnTo>
                    <a:pt x="447" y="60"/>
                  </a:lnTo>
                  <a:lnTo>
                    <a:pt x="450" y="53"/>
                  </a:lnTo>
                  <a:lnTo>
                    <a:pt x="453" y="46"/>
                  </a:lnTo>
                  <a:lnTo>
                    <a:pt x="453" y="38"/>
                  </a:lnTo>
                  <a:lnTo>
                    <a:pt x="453" y="38"/>
                  </a:lnTo>
                  <a:lnTo>
                    <a:pt x="453" y="31"/>
                  </a:lnTo>
                  <a:lnTo>
                    <a:pt x="450" y="25"/>
                  </a:lnTo>
                  <a:lnTo>
                    <a:pt x="447" y="18"/>
                  </a:lnTo>
                  <a:lnTo>
                    <a:pt x="442" y="12"/>
                  </a:lnTo>
                  <a:lnTo>
                    <a:pt x="438" y="7"/>
                  </a:lnTo>
                  <a:lnTo>
                    <a:pt x="431" y="3"/>
                  </a:lnTo>
                  <a:lnTo>
                    <a:pt x="423" y="0"/>
                  </a:lnTo>
                  <a:lnTo>
                    <a:pt x="413" y="0"/>
                  </a:lnTo>
                  <a:lnTo>
                    <a:pt x="413" y="0"/>
                  </a:lnTo>
                  <a:lnTo>
                    <a:pt x="40" y="0"/>
                  </a:lnTo>
                  <a:lnTo>
                    <a:pt x="40" y="0"/>
                  </a:lnTo>
                  <a:lnTo>
                    <a:pt x="32" y="0"/>
                  </a:lnTo>
                  <a:lnTo>
                    <a:pt x="25" y="3"/>
                  </a:lnTo>
                  <a:lnTo>
                    <a:pt x="19" y="7"/>
                  </a:lnTo>
                  <a:lnTo>
                    <a:pt x="13" y="12"/>
                  </a:lnTo>
                  <a:lnTo>
                    <a:pt x="7" y="18"/>
                  </a:lnTo>
                  <a:lnTo>
                    <a:pt x="4" y="25"/>
                  </a:lnTo>
                  <a:lnTo>
                    <a:pt x="1" y="31"/>
                  </a:lnTo>
                  <a:lnTo>
                    <a:pt x="0" y="38"/>
                  </a:lnTo>
                  <a:lnTo>
                    <a:pt x="0" y="38"/>
                  </a:lnTo>
                  <a:lnTo>
                    <a:pt x="1" y="46"/>
                  </a:lnTo>
                  <a:lnTo>
                    <a:pt x="4" y="53"/>
                  </a:lnTo>
                  <a:lnTo>
                    <a:pt x="7" y="60"/>
                  </a:lnTo>
                  <a:lnTo>
                    <a:pt x="13" y="66"/>
                  </a:lnTo>
                  <a:lnTo>
                    <a:pt x="19" y="71"/>
                  </a:lnTo>
                  <a:lnTo>
                    <a:pt x="25" y="75"/>
                  </a:lnTo>
                  <a:lnTo>
                    <a:pt x="32" y="78"/>
                  </a:lnTo>
                  <a:lnTo>
                    <a:pt x="40" y="78"/>
                  </a:lnTo>
                  <a:lnTo>
                    <a:pt x="40" y="7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94" name="Freeform 28"/>
            <p:cNvSpPr>
              <a:spLocks/>
            </p:cNvSpPr>
            <p:nvPr/>
          </p:nvSpPr>
          <p:spPr bwMode="auto">
            <a:xfrm>
              <a:off x="-2792413" y="6518275"/>
              <a:ext cx="280988" cy="282575"/>
            </a:xfrm>
            <a:custGeom>
              <a:avLst/>
              <a:gdLst>
                <a:gd name="T0" fmla="*/ 91 w 177"/>
                <a:gd name="T1" fmla="*/ 0 h 178"/>
                <a:gd name="T2" fmla="*/ 91 w 177"/>
                <a:gd name="T3" fmla="*/ 0 h 178"/>
                <a:gd name="T4" fmla="*/ 82 w 177"/>
                <a:gd name="T5" fmla="*/ 0 h 178"/>
                <a:gd name="T6" fmla="*/ 72 w 177"/>
                <a:gd name="T7" fmla="*/ 1 h 178"/>
                <a:gd name="T8" fmla="*/ 56 w 177"/>
                <a:gd name="T9" fmla="*/ 7 h 178"/>
                <a:gd name="T10" fmla="*/ 40 w 177"/>
                <a:gd name="T11" fmla="*/ 14 h 178"/>
                <a:gd name="T12" fmla="*/ 27 w 177"/>
                <a:gd name="T13" fmla="*/ 25 h 178"/>
                <a:gd name="T14" fmla="*/ 15 w 177"/>
                <a:gd name="T15" fmla="*/ 38 h 178"/>
                <a:gd name="T16" fmla="*/ 7 w 177"/>
                <a:gd name="T17" fmla="*/ 53 h 178"/>
                <a:gd name="T18" fmla="*/ 2 w 177"/>
                <a:gd name="T19" fmla="*/ 69 h 178"/>
                <a:gd name="T20" fmla="*/ 0 w 177"/>
                <a:gd name="T21" fmla="*/ 76 h 178"/>
                <a:gd name="T22" fmla="*/ 0 w 177"/>
                <a:gd name="T23" fmla="*/ 85 h 178"/>
                <a:gd name="T24" fmla="*/ 0 w 177"/>
                <a:gd name="T25" fmla="*/ 85 h 178"/>
                <a:gd name="T26" fmla="*/ 0 w 177"/>
                <a:gd name="T27" fmla="*/ 95 h 178"/>
                <a:gd name="T28" fmla="*/ 2 w 177"/>
                <a:gd name="T29" fmla="*/ 104 h 178"/>
                <a:gd name="T30" fmla="*/ 5 w 177"/>
                <a:gd name="T31" fmla="*/ 113 h 178"/>
                <a:gd name="T32" fmla="*/ 7 w 177"/>
                <a:gd name="T33" fmla="*/ 122 h 178"/>
                <a:gd name="T34" fmla="*/ 10 w 177"/>
                <a:gd name="T35" fmla="*/ 129 h 178"/>
                <a:gd name="T36" fmla="*/ 15 w 177"/>
                <a:gd name="T37" fmla="*/ 138 h 178"/>
                <a:gd name="T38" fmla="*/ 27 w 177"/>
                <a:gd name="T39" fmla="*/ 151 h 178"/>
                <a:gd name="T40" fmla="*/ 40 w 177"/>
                <a:gd name="T41" fmla="*/ 161 h 178"/>
                <a:gd name="T42" fmla="*/ 47 w 177"/>
                <a:gd name="T43" fmla="*/ 166 h 178"/>
                <a:gd name="T44" fmla="*/ 56 w 177"/>
                <a:gd name="T45" fmla="*/ 170 h 178"/>
                <a:gd name="T46" fmla="*/ 63 w 177"/>
                <a:gd name="T47" fmla="*/ 173 h 178"/>
                <a:gd name="T48" fmla="*/ 72 w 177"/>
                <a:gd name="T49" fmla="*/ 175 h 178"/>
                <a:gd name="T50" fmla="*/ 82 w 177"/>
                <a:gd name="T51" fmla="*/ 176 h 178"/>
                <a:gd name="T52" fmla="*/ 91 w 177"/>
                <a:gd name="T53" fmla="*/ 178 h 178"/>
                <a:gd name="T54" fmla="*/ 91 w 177"/>
                <a:gd name="T55" fmla="*/ 178 h 178"/>
                <a:gd name="T56" fmla="*/ 100 w 177"/>
                <a:gd name="T57" fmla="*/ 176 h 178"/>
                <a:gd name="T58" fmla="*/ 109 w 177"/>
                <a:gd name="T59" fmla="*/ 175 h 178"/>
                <a:gd name="T60" fmla="*/ 125 w 177"/>
                <a:gd name="T61" fmla="*/ 170 h 178"/>
                <a:gd name="T62" fmla="*/ 138 w 177"/>
                <a:gd name="T63" fmla="*/ 161 h 178"/>
                <a:gd name="T64" fmla="*/ 152 w 177"/>
                <a:gd name="T65" fmla="*/ 151 h 178"/>
                <a:gd name="T66" fmla="*/ 162 w 177"/>
                <a:gd name="T67" fmla="*/ 138 h 178"/>
                <a:gd name="T68" fmla="*/ 171 w 177"/>
                <a:gd name="T69" fmla="*/ 122 h 178"/>
                <a:gd name="T70" fmla="*/ 175 w 177"/>
                <a:gd name="T71" fmla="*/ 104 h 178"/>
                <a:gd name="T72" fmla="*/ 177 w 177"/>
                <a:gd name="T73" fmla="*/ 95 h 178"/>
                <a:gd name="T74" fmla="*/ 177 w 177"/>
                <a:gd name="T75" fmla="*/ 85 h 178"/>
                <a:gd name="T76" fmla="*/ 177 w 177"/>
                <a:gd name="T77" fmla="*/ 85 h 178"/>
                <a:gd name="T78" fmla="*/ 177 w 177"/>
                <a:gd name="T79" fmla="*/ 76 h 178"/>
                <a:gd name="T80" fmla="*/ 175 w 177"/>
                <a:gd name="T81" fmla="*/ 69 h 178"/>
                <a:gd name="T82" fmla="*/ 171 w 177"/>
                <a:gd name="T83" fmla="*/ 53 h 178"/>
                <a:gd name="T84" fmla="*/ 162 w 177"/>
                <a:gd name="T85" fmla="*/ 38 h 178"/>
                <a:gd name="T86" fmla="*/ 152 w 177"/>
                <a:gd name="T87" fmla="*/ 25 h 178"/>
                <a:gd name="T88" fmla="*/ 138 w 177"/>
                <a:gd name="T89" fmla="*/ 14 h 178"/>
                <a:gd name="T90" fmla="*/ 125 w 177"/>
                <a:gd name="T91" fmla="*/ 7 h 178"/>
                <a:gd name="T92" fmla="*/ 109 w 177"/>
                <a:gd name="T93" fmla="*/ 1 h 178"/>
                <a:gd name="T94" fmla="*/ 100 w 177"/>
                <a:gd name="T95" fmla="*/ 0 h 178"/>
                <a:gd name="T96" fmla="*/ 91 w 177"/>
                <a:gd name="T97" fmla="*/ 0 h 178"/>
                <a:gd name="T98" fmla="*/ 91 w 177"/>
                <a:gd name="T99"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77" h="178">
                  <a:moveTo>
                    <a:pt x="91" y="0"/>
                  </a:moveTo>
                  <a:lnTo>
                    <a:pt x="91" y="0"/>
                  </a:lnTo>
                  <a:lnTo>
                    <a:pt x="82" y="0"/>
                  </a:lnTo>
                  <a:lnTo>
                    <a:pt x="72" y="1"/>
                  </a:lnTo>
                  <a:lnTo>
                    <a:pt x="56" y="7"/>
                  </a:lnTo>
                  <a:lnTo>
                    <a:pt x="40" y="14"/>
                  </a:lnTo>
                  <a:lnTo>
                    <a:pt x="27" y="25"/>
                  </a:lnTo>
                  <a:lnTo>
                    <a:pt x="15" y="38"/>
                  </a:lnTo>
                  <a:lnTo>
                    <a:pt x="7" y="53"/>
                  </a:lnTo>
                  <a:lnTo>
                    <a:pt x="2" y="69"/>
                  </a:lnTo>
                  <a:lnTo>
                    <a:pt x="0" y="76"/>
                  </a:lnTo>
                  <a:lnTo>
                    <a:pt x="0" y="85"/>
                  </a:lnTo>
                  <a:lnTo>
                    <a:pt x="0" y="85"/>
                  </a:lnTo>
                  <a:lnTo>
                    <a:pt x="0" y="95"/>
                  </a:lnTo>
                  <a:lnTo>
                    <a:pt x="2" y="104"/>
                  </a:lnTo>
                  <a:lnTo>
                    <a:pt x="5" y="113"/>
                  </a:lnTo>
                  <a:lnTo>
                    <a:pt x="7" y="122"/>
                  </a:lnTo>
                  <a:lnTo>
                    <a:pt x="10" y="129"/>
                  </a:lnTo>
                  <a:lnTo>
                    <a:pt x="15" y="138"/>
                  </a:lnTo>
                  <a:lnTo>
                    <a:pt x="27" y="151"/>
                  </a:lnTo>
                  <a:lnTo>
                    <a:pt x="40" y="161"/>
                  </a:lnTo>
                  <a:lnTo>
                    <a:pt x="47" y="166"/>
                  </a:lnTo>
                  <a:lnTo>
                    <a:pt x="56" y="170"/>
                  </a:lnTo>
                  <a:lnTo>
                    <a:pt x="63" y="173"/>
                  </a:lnTo>
                  <a:lnTo>
                    <a:pt x="72" y="175"/>
                  </a:lnTo>
                  <a:lnTo>
                    <a:pt x="82" y="176"/>
                  </a:lnTo>
                  <a:lnTo>
                    <a:pt x="91" y="178"/>
                  </a:lnTo>
                  <a:lnTo>
                    <a:pt x="91" y="178"/>
                  </a:lnTo>
                  <a:lnTo>
                    <a:pt x="100" y="176"/>
                  </a:lnTo>
                  <a:lnTo>
                    <a:pt x="109" y="175"/>
                  </a:lnTo>
                  <a:lnTo>
                    <a:pt x="125" y="170"/>
                  </a:lnTo>
                  <a:lnTo>
                    <a:pt x="138" y="161"/>
                  </a:lnTo>
                  <a:lnTo>
                    <a:pt x="152" y="151"/>
                  </a:lnTo>
                  <a:lnTo>
                    <a:pt x="162" y="138"/>
                  </a:lnTo>
                  <a:lnTo>
                    <a:pt x="171" y="122"/>
                  </a:lnTo>
                  <a:lnTo>
                    <a:pt x="175" y="104"/>
                  </a:lnTo>
                  <a:lnTo>
                    <a:pt x="177" y="95"/>
                  </a:lnTo>
                  <a:lnTo>
                    <a:pt x="177" y="85"/>
                  </a:lnTo>
                  <a:lnTo>
                    <a:pt x="177" y="85"/>
                  </a:lnTo>
                  <a:lnTo>
                    <a:pt x="177" y="76"/>
                  </a:lnTo>
                  <a:lnTo>
                    <a:pt x="175" y="69"/>
                  </a:lnTo>
                  <a:lnTo>
                    <a:pt x="171" y="53"/>
                  </a:lnTo>
                  <a:lnTo>
                    <a:pt x="162" y="38"/>
                  </a:lnTo>
                  <a:lnTo>
                    <a:pt x="152" y="25"/>
                  </a:lnTo>
                  <a:lnTo>
                    <a:pt x="138" y="14"/>
                  </a:lnTo>
                  <a:lnTo>
                    <a:pt x="125" y="7"/>
                  </a:lnTo>
                  <a:lnTo>
                    <a:pt x="109" y="1"/>
                  </a:lnTo>
                  <a:lnTo>
                    <a:pt x="100" y="0"/>
                  </a:lnTo>
                  <a:lnTo>
                    <a:pt x="91" y="0"/>
                  </a:lnTo>
                  <a:lnTo>
                    <a:pt x="91"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95" name="Freeform 29"/>
            <p:cNvSpPr>
              <a:spLocks/>
            </p:cNvSpPr>
            <p:nvPr/>
          </p:nvSpPr>
          <p:spPr bwMode="auto">
            <a:xfrm>
              <a:off x="-2187576" y="6518275"/>
              <a:ext cx="279400" cy="282575"/>
            </a:xfrm>
            <a:custGeom>
              <a:avLst/>
              <a:gdLst>
                <a:gd name="T0" fmla="*/ 85 w 176"/>
                <a:gd name="T1" fmla="*/ 0 h 178"/>
                <a:gd name="T2" fmla="*/ 85 w 176"/>
                <a:gd name="T3" fmla="*/ 0 h 178"/>
                <a:gd name="T4" fmla="*/ 76 w 176"/>
                <a:gd name="T5" fmla="*/ 0 h 178"/>
                <a:gd name="T6" fmla="*/ 68 w 176"/>
                <a:gd name="T7" fmla="*/ 1 h 178"/>
                <a:gd name="T8" fmla="*/ 51 w 176"/>
                <a:gd name="T9" fmla="*/ 7 h 178"/>
                <a:gd name="T10" fmla="*/ 38 w 176"/>
                <a:gd name="T11" fmla="*/ 14 h 178"/>
                <a:gd name="T12" fmla="*/ 25 w 176"/>
                <a:gd name="T13" fmla="*/ 25 h 178"/>
                <a:gd name="T14" fmla="*/ 15 w 176"/>
                <a:gd name="T15" fmla="*/ 38 h 178"/>
                <a:gd name="T16" fmla="*/ 6 w 176"/>
                <a:gd name="T17" fmla="*/ 53 h 178"/>
                <a:gd name="T18" fmla="*/ 1 w 176"/>
                <a:gd name="T19" fmla="*/ 69 h 178"/>
                <a:gd name="T20" fmla="*/ 0 w 176"/>
                <a:gd name="T21" fmla="*/ 76 h 178"/>
                <a:gd name="T22" fmla="*/ 0 w 176"/>
                <a:gd name="T23" fmla="*/ 85 h 178"/>
                <a:gd name="T24" fmla="*/ 0 w 176"/>
                <a:gd name="T25" fmla="*/ 85 h 178"/>
                <a:gd name="T26" fmla="*/ 0 w 176"/>
                <a:gd name="T27" fmla="*/ 95 h 178"/>
                <a:gd name="T28" fmla="*/ 1 w 176"/>
                <a:gd name="T29" fmla="*/ 104 h 178"/>
                <a:gd name="T30" fmla="*/ 6 w 176"/>
                <a:gd name="T31" fmla="*/ 122 h 178"/>
                <a:gd name="T32" fmla="*/ 15 w 176"/>
                <a:gd name="T33" fmla="*/ 138 h 178"/>
                <a:gd name="T34" fmla="*/ 25 w 176"/>
                <a:gd name="T35" fmla="*/ 151 h 178"/>
                <a:gd name="T36" fmla="*/ 38 w 176"/>
                <a:gd name="T37" fmla="*/ 161 h 178"/>
                <a:gd name="T38" fmla="*/ 51 w 176"/>
                <a:gd name="T39" fmla="*/ 170 h 178"/>
                <a:gd name="T40" fmla="*/ 68 w 176"/>
                <a:gd name="T41" fmla="*/ 175 h 178"/>
                <a:gd name="T42" fmla="*/ 76 w 176"/>
                <a:gd name="T43" fmla="*/ 176 h 178"/>
                <a:gd name="T44" fmla="*/ 85 w 176"/>
                <a:gd name="T45" fmla="*/ 178 h 178"/>
                <a:gd name="T46" fmla="*/ 85 w 176"/>
                <a:gd name="T47" fmla="*/ 178 h 178"/>
                <a:gd name="T48" fmla="*/ 94 w 176"/>
                <a:gd name="T49" fmla="*/ 176 h 178"/>
                <a:gd name="T50" fmla="*/ 104 w 176"/>
                <a:gd name="T51" fmla="*/ 175 h 178"/>
                <a:gd name="T52" fmla="*/ 113 w 176"/>
                <a:gd name="T53" fmla="*/ 173 h 178"/>
                <a:gd name="T54" fmla="*/ 121 w 176"/>
                <a:gd name="T55" fmla="*/ 170 h 178"/>
                <a:gd name="T56" fmla="*/ 129 w 176"/>
                <a:gd name="T57" fmla="*/ 166 h 178"/>
                <a:gd name="T58" fmla="*/ 137 w 176"/>
                <a:gd name="T59" fmla="*/ 161 h 178"/>
                <a:gd name="T60" fmla="*/ 150 w 176"/>
                <a:gd name="T61" fmla="*/ 151 h 178"/>
                <a:gd name="T62" fmla="*/ 162 w 176"/>
                <a:gd name="T63" fmla="*/ 138 h 178"/>
                <a:gd name="T64" fmla="*/ 166 w 176"/>
                <a:gd name="T65" fmla="*/ 129 h 178"/>
                <a:gd name="T66" fmla="*/ 169 w 176"/>
                <a:gd name="T67" fmla="*/ 122 h 178"/>
                <a:gd name="T68" fmla="*/ 172 w 176"/>
                <a:gd name="T69" fmla="*/ 113 h 178"/>
                <a:gd name="T70" fmla="*/ 175 w 176"/>
                <a:gd name="T71" fmla="*/ 104 h 178"/>
                <a:gd name="T72" fmla="*/ 176 w 176"/>
                <a:gd name="T73" fmla="*/ 95 h 178"/>
                <a:gd name="T74" fmla="*/ 176 w 176"/>
                <a:gd name="T75" fmla="*/ 85 h 178"/>
                <a:gd name="T76" fmla="*/ 176 w 176"/>
                <a:gd name="T77" fmla="*/ 85 h 178"/>
                <a:gd name="T78" fmla="*/ 176 w 176"/>
                <a:gd name="T79" fmla="*/ 76 h 178"/>
                <a:gd name="T80" fmla="*/ 175 w 176"/>
                <a:gd name="T81" fmla="*/ 69 h 178"/>
                <a:gd name="T82" fmla="*/ 169 w 176"/>
                <a:gd name="T83" fmla="*/ 53 h 178"/>
                <a:gd name="T84" fmla="*/ 162 w 176"/>
                <a:gd name="T85" fmla="*/ 38 h 178"/>
                <a:gd name="T86" fmla="*/ 150 w 176"/>
                <a:gd name="T87" fmla="*/ 25 h 178"/>
                <a:gd name="T88" fmla="*/ 137 w 176"/>
                <a:gd name="T89" fmla="*/ 14 h 178"/>
                <a:gd name="T90" fmla="*/ 121 w 176"/>
                <a:gd name="T91" fmla="*/ 7 h 178"/>
                <a:gd name="T92" fmla="*/ 104 w 176"/>
                <a:gd name="T93" fmla="*/ 1 h 178"/>
                <a:gd name="T94" fmla="*/ 94 w 176"/>
                <a:gd name="T95" fmla="*/ 0 h 178"/>
                <a:gd name="T96" fmla="*/ 85 w 176"/>
                <a:gd name="T97" fmla="*/ 0 h 178"/>
                <a:gd name="T98" fmla="*/ 85 w 176"/>
                <a:gd name="T99"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76" h="178">
                  <a:moveTo>
                    <a:pt x="85" y="0"/>
                  </a:moveTo>
                  <a:lnTo>
                    <a:pt x="85" y="0"/>
                  </a:lnTo>
                  <a:lnTo>
                    <a:pt x="76" y="0"/>
                  </a:lnTo>
                  <a:lnTo>
                    <a:pt x="68" y="1"/>
                  </a:lnTo>
                  <a:lnTo>
                    <a:pt x="51" y="7"/>
                  </a:lnTo>
                  <a:lnTo>
                    <a:pt x="38" y="14"/>
                  </a:lnTo>
                  <a:lnTo>
                    <a:pt x="25" y="25"/>
                  </a:lnTo>
                  <a:lnTo>
                    <a:pt x="15" y="38"/>
                  </a:lnTo>
                  <a:lnTo>
                    <a:pt x="6" y="53"/>
                  </a:lnTo>
                  <a:lnTo>
                    <a:pt x="1" y="69"/>
                  </a:lnTo>
                  <a:lnTo>
                    <a:pt x="0" y="76"/>
                  </a:lnTo>
                  <a:lnTo>
                    <a:pt x="0" y="85"/>
                  </a:lnTo>
                  <a:lnTo>
                    <a:pt x="0" y="85"/>
                  </a:lnTo>
                  <a:lnTo>
                    <a:pt x="0" y="95"/>
                  </a:lnTo>
                  <a:lnTo>
                    <a:pt x="1" y="104"/>
                  </a:lnTo>
                  <a:lnTo>
                    <a:pt x="6" y="122"/>
                  </a:lnTo>
                  <a:lnTo>
                    <a:pt x="15" y="138"/>
                  </a:lnTo>
                  <a:lnTo>
                    <a:pt x="25" y="151"/>
                  </a:lnTo>
                  <a:lnTo>
                    <a:pt x="38" y="161"/>
                  </a:lnTo>
                  <a:lnTo>
                    <a:pt x="51" y="170"/>
                  </a:lnTo>
                  <a:lnTo>
                    <a:pt x="68" y="175"/>
                  </a:lnTo>
                  <a:lnTo>
                    <a:pt x="76" y="176"/>
                  </a:lnTo>
                  <a:lnTo>
                    <a:pt x="85" y="178"/>
                  </a:lnTo>
                  <a:lnTo>
                    <a:pt x="85" y="178"/>
                  </a:lnTo>
                  <a:lnTo>
                    <a:pt x="94" y="176"/>
                  </a:lnTo>
                  <a:lnTo>
                    <a:pt x="104" y="175"/>
                  </a:lnTo>
                  <a:lnTo>
                    <a:pt x="113" y="173"/>
                  </a:lnTo>
                  <a:lnTo>
                    <a:pt x="121" y="170"/>
                  </a:lnTo>
                  <a:lnTo>
                    <a:pt x="129" y="166"/>
                  </a:lnTo>
                  <a:lnTo>
                    <a:pt x="137" y="161"/>
                  </a:lnTo>
                  <a:lnTo>
                    <a:pt x="150" y="151"/>
                  </a:lnTo>
                  <a:lnTo>
                    <a:pt x="162" y="138"/>
                  </a:lnTo>
                  <a:lnTo>
                    <a:pt x="166" y="129"/>
                  </a:lnTo>
                  <a:lnTo>
                    <a:pt x="169" y="122"/>
                  </a:lnTo>
                  <a:lnTo>
                    <a:pt x="172" y="113"/>
                  </a:lnTo>
                  <a:lnTo>
                    <a:pt x="175" y="104"/>
                  </a:lnTo>
                  <a:lnTo>
                    <a:pt x="176" y="95"/>
                  </a:lnTo>
                  <a:lnTo>
                    <a:pt x="176" y="85"/>
                  </a:lnTo>
                  <a:lnTo>
                    <a:pt x="176" y="85"/>
                  </a:lnTo>
                  <a:lnTo>
                    <a:pt x="176" y="76"/>
                  </a:lnTo>
                  <a:lnTo>
                    <a:pt x="175" y="69"/>
                  </a:lnTo>
                  <a:lnTo>
                    <a:pt x="169" y="53"/>
                  </a:lnTo>
                  <a:lnTo>
                    <a:pt x="162" y="38"/>
                  </a:lnTo>
                  <a:lnTo>
                    <a:pt x="150" y="25"/>
                  </a:lnTo>
                  <a:lnTo>
                    <a:pt x="137" y="14"/>
                  </a:lnTo>
                  <a:lnTo>
                    <a:pt x="121" y="7"/>
                  </a:lnTo>
                  <a:lnTo>
                    <a:pt x="104" y="1"/>
                  </a:lnTo>
                  <a:lnTo>
                    <a:pt x="94" y="0"/>
                  </a:lnTo>
                  <a:lnTo>
                    <a:pt x="85" y="0"/>
                  </a:lnTo>
                  <a:lnTo>
                    <a:pt x="85"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96" name="Freeform 30"/>
            <p:cNvSpPr>
              <a:spLocks/>
            </p:cNvSpPr>
            <p:nvPr/>
          </p:nvSpPr>
          <p:spPr bwMode="auto">
            <a:xfrm>
              <a:off x="-3397251" y="6518275"/>
              <a:ext cx="282575" cy="282575"/>
            </a:xfrm>
            <a:custGeom>
              <a:avLst/>
              <a:gdLst>
                <a:gd name="T0" fmla="*/ 93 w 178"/>
                <a:gd name="T1" fmla="*/ 0 h 178"/>
                <a:gd name="T2" fmla="*/ 93 w 178"/>
                <a:gd name="T3" fmla="*/ 0 h 178"/>
                <a:gd name="T4" fmla="*/ 83 w 178"/>
                <a:gd name="T5" fmla="*/ 0 h 178"/>
                <a:gd name="T6" fmla="*/ 74 w 178"/>
                <a:gd name="T7" fmla="*/ 1 h 178"/>
                <a:gd name="T8" fmla="*/ 56 w 178"/>
                <a:gd name="T9" fmla="*/ 7 h 178"/>
                <a:gd name="T10" fmla="*/ 40 w 178"/>
                <a:gd name="T11" fmla="*/ 14 h 178"/>
                <a:gd name="T12" fmla="*/ 27 w 178"/>
                <a:gd name="T13" fmla="*/ 25 h 178"/>
                <a:gd name="T14" fmla="*/ 16 w 178"/>
                <a:gd name="T15" fmla="*/ 38 h 178"/>
                <a:gd name="T16" fmla="*/ 8 w 178"/>
                <a:gd name="T17" fmla="*/ 53 h 178"/>
                <a:gd name="T18" fmla="*/ 3 w 178"/>
                <a:gd name="T19" fmla="*/ 69 h 178"/>
                <a:gd name="T20" fmla="*/ 2 w 178"/>
                <a:gd name="T21" fmla="*/ 76 h 178"/>
                <a:gd name="T22" fmla="*/ 0 w 178"/>
                <a:gd name="T23" fmla="*/ 85 h 178"/>
                <a:gd name="T24" fmla="*/ 0 w 178"/>
                <a:gd name="T25" fmla="*/ 85 h 178"/>
                <a:gd name="T26" fmla="*/ 2 w 178"/>
                <a:gd name="T27" fmla="*/ 95 h 178"/>
                <a:gd name="T28" fmla="*/ 3 w 178"/>
                <a:gd name="T29" fmla="*/ 104 h 178"/>
                <a:gd name="T30" fmla="*/ 5 w 178"/>
                <a:gd name="T31" fmla="*/ 113 h 178"/>
                <a:gd name="T32" fmla="*/ 8 w 178"/>
                <a:gd name="T33" fmla="*/ 122 h 178"/>
                <a:gd name="T34" fmla="*/ 12 w 178"/>
                <a:gd name="T35" fmla="*/ 129 h 178"/>
                <a:gd name="T36" fmla="*/ 16 w 178"/>
                <a:gd name="T37" fmla="*/ 138 h 178"/>
                <a:gd name="T38" fmla="*/ 27 w 178"/>
                <a:gd name="T39" fmla="*/ 151 h 178"/>
                <a:gd name="T40" fmla="*/ 40 w 178"/>
                <a:gd name="T41" fmla="*/ 161 h 178"/>
                <a:gd name="T42" fmla="*/ 47 w 178"/>
                <a:gd name="T43" fmla="*/ 166 h 178"/>
                <a:gd name="T44" fmla="*/ 56 w 178"/>
                <a:gd name="T45" fmla="*/ 170 h 178"/>
                <a:gd name="T46" fmla="*/ 65 w 178"/>
                <a:gd name="T47" fmla="*/ 173 h 178"/>
                <a:gd name="T48" fmla="*/ 74 w 178"/>
                <a:gd name="T49" fmla="*/ 175 h 178"/>
                <a:gd name="T50" fmla="*/ 83 w 178"/>
                <a:gd name="T51" fmla="*/ 176 h 178"/>
                <a:gd name="T52" fmla="*/ 93 w 178"/>
                <a:gd name="T53" fmla="*/ 178 h 178"/>
                <a:gd name="T54" fmla="*/ 93 w 178"/>
                <a:gd name="T55" fmla="*/ 178 h 178"/>
                <a:gd name="T56" fmla="*/ 102 w 178"/>
                <a:gd name="T57" fmla="*/ 176 h 178"/>
                <a:gd name="T58" fmla="*/ 109 w 178"/>
                <a:gd name="T59" fmla="*/ 175 h 178"/>
                <a:gd name="T60" fmla="*/ 125 w 178"/>
                <a:gd name="T61" fmla="*/ 170 h 178"/>
                <a:gd name="T62" fmla="*/ 140 w 178"/>
                <a:gd name="T63" fmla="*/ 161 h 178"/>
                <a:gd name="T64" fmla="*/ 152 w 178"/>
                <a:gd name="T65" fmla="*/ 151 h 178"/>
                <a:gd name="T66" fmla="*/ 163 w 178"/>
                <a:gd name="T67" fmla="*/ 138 h 178"/>
                <a:gd name="T68" fmla="*/ 171 w 178"/>
                <a:gd name="T69" fmla="*/ 122 h 178"/>
                <a:gd name="T70" fmla="*/ 175 w 178"/>
                <a:gd name="T71" fmla="*/ 104 h 178"/>
                <a:gd name="T72" fmla="*/ 177 w 178"/>
                <a:gd name="T73" fmla="*/ 95 h 178"/>
                <a:gd name="T74" fmla="*/ 178 w 178"/>
                <a:gd name="T75" fmla="*/ 85 h 178"/>
                <a:gd name="T76" fmla="*/ 178 w 178"/>
                <a:gd name="T77" fmla="*/ 85 h 178"/>
                <a:gd name="T78" fmla="*/ 177 w 178"/>
                <a:gd name="T79" fmla="*/ 76 h 178"/>
                <a:gd name="T80" fmla="*/ 175 w 178"/>
                <a:gd name="T81" fmla="*/ 69 h 178"/>
                <a:gd name="T82" fmla="*/ 171 w 178"/>
                <a:gd name="T83" fmla="*/ 53 h 178"/>
                <a:gd name="T84" fmla="*/ 163 w 178"/>
                <a:gd name="T85" fmla="*/ 38 h 178"/>
                <a:gd name="T86" fmla="*/ 152 w 178"/>
                <a:gd name="T87" fmla="*/ 25 h 178"/>
                <a:gd name="T88" fmla="*/ 140 w 178"/>
                <a:gd name="T89" fmla="*/ 14 h 178"/>
                <a:gd name="T90" fmla="*/ 125 w 178"/>
                <a:gd name="T91" fmla="*/ 7 h 178"/>
                <a:gd name="T92" fmla="*/ 109 w 178"/>
                <a:gd name="T93" fmla="*/ 1 h 178"/>
                <a:gd name="T94" fmla="*/ 102 w 178"/>
                <a:gd name="T95" fmla="*/ 0 h 178"/>
                <a:gd name="T96" fmla="*/ 93 w 178"/>
                <a:gd name="T97" fmla="*/ 0 h 178"/>
                <a:gd name="T98" fmla="*/ 93 w 178"/>
                <a:gd name="T99"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78" h="178">
                  <a:moveTo>
                    <a:pt x="93" y="0"/>
                  </a:moveTo>
                  <a:lnTo>
                    <a:pt x="93" y="0"/>
                  </a:lnTo>
                  <a:lnTo>
                    <a:pt x="83" y="0"/>
                  </a:lnTo>
                  <a:lnTo>
                    <a:pt x="74" y="1"/>
                  </a:lnTo>
                  <a:lnTo>
                    <a:pt x="56" y="7"/>
                  </a:lnTo>
                  <a:lnTo>
                    <a:pt x="40" y="14"/>
                  </a:lnTo>
                  <a:lnTo>
                    <a:pt x="27" y="25"/>
                  </a:lnTo>
                  <a:lnTo>
                    <a:pt x="16" y="38"/>
                  </a:lnTo>
                  <a:lnTo>
                    <a:pt x="8" y="53"/>
                  </a:lnTo>
                  <a:lnTo>
                    <a:pt x="3" y="69"/>
                  </a:lnTo>
                  <a:lnTo>
                    <a:pt x="2" y="76"/>
                  </a:lnTo>
                  <a:lnTo>
                    <a:pt x="0" y="85"/>
                  </a:lnTo>
                  <a:lnTo>
                    <a:pt x="0" y="85"/>
                  </a:lnTo>
                  <a:lnTo>
                    <a:pt x="2" y="95"/>
                  </a:lnTo>
                  <a:lnTo>
                    <a:pt x="3" y="104"/>
                  </a:lnTo>
                  <a:lnTo>
                    <a:pt x="5" y="113"/>
                  </a:lnTo>
                  <a:lnTo>
                    <a:pt x="8" y="122"/>
                  </a:lnTo>
                  <a:lnTo>
                    <a:pt x="12" y="129"/>
                  </a:lnTo>
                  <a:lnTo>
                    <a:pt x="16" y="138"/>
                  </a:lnTo>
                  <a:lnTo>
                    <a:pt x="27" y="151"/>
                  </a:lnTo>
                  <a:lnTo>
                    <a:pt x="40" y="161"/>
                  </a:lnTo>
                  <a:lnTo>
                    <a:pt x="47" y="166"/>
                  </a:lnTo>
                  <a:lnTo>
                    <a:pt x="56" y="170"/>
                  </a:lnTo>
                  <a:lnTo>
                    <a:pt x="65" y="173"/>
                  </a:lnTo>
                  <a:lnTo>
                    <a:pt x="74" y="175"/>
                  </a:lnTo>
                  <a:lnTo>
                    <a:pt x="83" y="176"/>
                  </a:lnTo>
                  <a:lnTo>
                    <a:pt x="93" y="178"/>
                  </a:lnTo>
                  <a:lnTo>
                    <a:pt x="93" y="178"/>
                  </a:lnTo>
                  <a:lnTo>
                    <a:pt x="102" y="176"/>
                  </a:lnTo>
                  <a:lnTo>
                    <a:pt x="109" y="175"/>
                  </a:lnTo>
                  <a:lnTo>
                    <a:pt x="125" y="170"/>
                  </a:lnTo>
                  <a:lnTo>
                    <a:pt x="140" y="161"/>
                  </a:lnTo>
                  <a:lnTo>
                    <a:pt x="152" y="151"/>
                  </a:lnTo>
                  <a:lnTo>
                    <a:pt x="163" y="138"/>
                  </a:lnTo>
                  <a:lnTo>
                    <a:pt x="171" y="122"/>
                  </a:lnTo>
                  <a:lnTo>
                    <a:pt x="175" y="104"/>
                  </a:lnTo>
                  <a:lnTo>
                    <a:pt x="177" y="95"/>
                  </a:lnTo>
                  <a:lnTo>
                    <a:pt x="178" y="85"/>
                  </a:lnTo>
                  <a:lnTo>
                    <a:pt x="178" y="85"/>
                  </a:lnTo>
                  <a:lnTo>
                    <a:pt x="177" y="76"/>
                  </a:lnTo>
                  <a:lnTo>
                    <a:pt x="175" y="69"/>
                  </a:lnTo>
                  <a:lnTo>
                    <a:pt x="171" y="53"/>
                  </a:lnTo>
                  <a:lnTo>
                    <a:pt x="163" y="38"/>
                  </a:lnTo>
                  <a:lnTo>
                    <a:pt x="152" y="25"/>
                  </a:lnTo>
                  <a:lnTo>
                    <a:pt x="140" y="14"/>
                  </a:lnTo>
                  <a:lnTo>
                    <a:pt x="125" y="7"/>
                  </a:lnTo>
                  <a:lnTo>
                    <a:pt x="109" y="1"/>
                  </a:lnTo>
                  <a:lnTo>
                    <a:pt x="102" y="0"/>
                  </a:lnTo>
                  <a:lnTo>
                    <a:pt x="93" y="0"/>
                  </a:lnTo>
                  <a:lnTo>
                    <a:pt x="93"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de-DE"/>
            </a:p>
          </p:txBody>
        </p:sp>
      </p:grpSp>
    </p:spTree>
    <p:extLst>
      <p:ext uri="{BB962C8B-B14F-4D97-AF65-F5344CB8AC3E}">
        <p14:creationId xmlns:p14="http://schemas.microsoft.com/office/powerpoint/2010/main" val="3074054820"/>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9" name="Group 18"/>
          <p:cNvGrpSpPr/>
          <p:nvPr/>
        </p:nvGrpSpPr>
        <p:grpSpPr>
          <a:xfrm>
            <a:off x="1384329" y="1732012"/>
            <a:ext cx="686378" cy="669198"/>
            <a:chOff x="956236" y="2516605"/>
            <a:chExt cx="1371600" cy="1371600"/>
          </a:xfrm>
        </p:grpSpPr>
        <p:sp>
          <p:nvSpPr>
            <p:cNvPr id="20" name="Shape 351"/>
            <p:cNvSpPr/>
            <p:nvPr/>
          </p:nvSpPr>
          <p:spPr>
            <a:xfrm>
              <a:off x="956236" y="2516605"/>
              <a:ext cx="1371600" cy="1371600"/>
            </a:xfrm>
            <a:prstGeom prst="ellipse">
              <a:avLst/>
            </a:prstGeom>
            <a:solidFill>
              <a:schemeClr val="accent2"/>
            </a:solidFill>
            <a:ln>
              <a:noFill/>
            </a:ln>
          </p:spPr>
          <p:txBody>
            <a:bodyPr lIns="91425" tIns="45700" rIns="91425" bIns="45700" anchor="ctr" anchorCtr="0">
              <a:noAutofit/>
            </a:bodyPr>
            <a:lstStyle/>
            <a:p>
              <a:pPr algn="ctr" defTabSz="914400"/>
              <a:endParaRPr sz="1600">
                <a:solidFill>
                  <a:srgbClr val="FFFFFF"/>
                </a:solidFill>
                <a:ea typeface="Calibri"/>
                <a:cs typeface="Calibri"/>
                <a:sym typeface="Calibri"/>
              </a:endParaRPr>
            </a:p>
          </p:txBody>
        </p:sp>
        <p:pic>
          <p:nvPicPr>
            <p:cNvPr id="21" name="Shape 354" descr="Audience.emf"/>
            <p:cNvPicPr preferRelativeResize="0"/>
            <p:nvPr/>
          </p:nvPicPr>
          <p:blipFill rotWithShape="1">
            <a:blip r:embed="rId3">
              <a:alphaModFix/>
            </a:blip>
            <a:srcRect/>
            <a:stretch/>
          </p:blipFill>
          <p:spPr>
            <a:xfrm>
              <a:off x="1193534" y="2867295"/>
              <a:ext cx="897000" cy="521100"/>
            </a:xfrm>
            <a:prstGeom prst="rect">
              <a:avLst/>
            </a:prstGeom>
            <a:noFill/>
            <a:ln>
              <a:noFill/>
            </a:ln>
          </p:spPr>
        </p:pic>
      </p:grpSp>
      <p:grpSp>
        <p:nvGrpSpPr>
          <p:cNvPr id="10" name="Gruppieren 9"/>
          <p:cNvGrpSpPr/>
          <p:nvPr/>
        </p:nvGrpSpPr>
        <p:grpSpPr>
          <a:xfrm>
            <a:off x="7241031" y="1765200"/>
            <a:ext cx="692250" cy="692250"/>
            <a:chOff x="7063412" y="1711574"/>
            <a:chExt cx="799502" cy="799502"/>
          </a:xfrm>
        </p:grpSpPr>
        <p:sp>
          <p:nvSpPr>
            <p:cNvPr id="44" name="Ellipse 43"/>
            <p:cNvSpPr/>
            <p:nvPr/>
          </p:nvSpPr>
          <p:spPr>
            <a:xfrm>
              <a:off x="7063412" y="1711574"/>
              <a:ext cx="799502" cy="799502"/>
            </a:xfrm>
            <a:prstGeom prst="ellipse">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pic>
          <p:nvPicPr>
            <p:cNvPr id="27" name="Shape 356" descr="Financials.emf"/>
            <p:cNvPicPr preferRelativeResize="0"/>
            <p:nvPr/>
          </p:nvPicPr>
          <p:blipFill rotWithShape="1">
            <a:blip r:embed="rId4">
              <a:alphaModFix/>
            </a:blip>
            <a:srcRect/>
            <a:stretch/>
          </p:blipFill>
          <p:spPr>
            <a:xfrm>
              <a:off x="7227295" y="1920352"/>
              <a:ext cx="489032" cy="381368"/>
            </a:xfrm>
            <a:prstGeom prst="rect">
              <a:avLst/>
            </a:prstGeom>
            <a:noFill/>
            <a:ln>
              <a:noFill/>
            </a:ln>
          </p:spPr>
        </p:pic>
      </p:grpSp>
      <p:sp>
        <p:nvSpPr>
          <p:cNvPr id="29" name="Shape 359"/>
          <p:cNvSpPr txBox="1"/>
          <p:nvPr/>
        </p:nvSpPr>
        <p:spPr>
          <a:xfrm>
            <a:off x="6371842" y="2612310"/>
            <a:ext cx="2430628" cy="499500"/>
          </a:xfrm>
          <a:prstGeom prst="rect">
            <a:avLst/>
          </a:prstGeom>
          <a:noFill/>
          <a:ln>
            <a:noFill/>
          </a:ln>
        </p:spPr>
        <p:txBody>
          <a:bodyPr lIns="91425" tIns="91425" rIns="91425" bIns="91425" anchor="t" anchorCtr="0">
            <a:noAutofit/>
          </a:bodyPr>
          <a:lstStyle/>
          <a:p>
            <a:pPr algn="ctr" defTabSz="914400"/>
            <a:r>
              <a:rPr lang="ru-RU" sz="1600" b="1" dirty="0" smtClean="0">
                <a:solidFill>
                  <a:schemeClr val="accent2"/>
                </a:solidFill>
              </a:rPr>
              <a:t>МОНЕТИЗАЦИЯ</a:t>
            </a:r>
            <a:endParaRPr lang="en-US" sz="1600" b="1" dirty="0">
              <a:solidFill>
                <a:schemeClr val="accent2"/>
              </a:solidFill>
            </a:endParaRPr>
          </a:p>
        </p:txBody>
      </p:sp>
      <p:sp>
        <p:nvSpPr>
          <p:cNvPr id="32" name="Rectangle 31"/>
          <p:cNvSpPr/>
          <p:nvPr/>
        </p:nvSpPr>
        <p:spPr>
          <a:xfrm>
            <a:off x="6381187" y="3137433"/>
            <a:ext cx="2411936" cy="1723936"/>
          </a:xfrm>
          <a:prstGeom prst="rect">
            <a:avLst/>
          </a:prstGeom>
          <a:noFill/>
          <a:ln w="12700">
            <a:solidFill>
              <a:schemeClr val="accent2"/>
            </a:solidFill>
            <a:prstDash val="sysDash"/>
          </a:ln>
        </p:spPr>
        <p:style>
          <a:lnRef idx="2">
            <a:schemeClr val="accent1"/>
          </a:lnRef>
          <a:fillRef idx="1">
            <a:schemeClr val="lt1"/>
          </a:fillRef>
          <a:effectRef idx="0">
            <a:schemeClr val="accent1"/>
          </a:effectRef>
          <a:fontRef idx="minor">
            <a:schemeClr val="dk1"/>
          </a:fontRef>
        </p:style>
        <p:txBody>
          <a:bodyPr tIns="288000" rtlCol="0" anchor="ctr"/>
          <a:lstStyle/>
          <a:p>
            <a:pPr defTabSz="914400">
              <a:lnSpc>
                <a:spcPts val="2100"/>
              </a:lnSpc>
            </a:pPr>
            <a:endParaRPr lang="en-GB" sz="1200" b="1" dirty="0" smtClean="0">
              <a:solidFill>
                <a:srgbClr val="009DD9"/>
              </a:solidFill>
            </a:endParaRPr>
          </a:p>
          <a:p>
            <a:pPr algn="ctr" defTabSz="914400">
              <a:lnSpc>
                <a:spcPts val="2100"/>
              </a:lnSpc>
            </a:pPr>
            <a:r>
              <a:rPr lang="ru-RU" sz="1600" dirty="0" smtClean="0">
                <a:solidFill>
                  <a:srgbClr val="5F5F5F"/>
                </a:solidFill>
              </a:rPr>
              <a:t>Лидируют американские и европейские правообладатели</a:t>
            </a:r>
          </a:p>
          <a:p>
            <a:pPr algn="ctr" defTabSz="914400">
              <a:lnSpc>
                <a:spcPts val="2100"/>
              </a:lnSpc>
            </a:pPr>
            <a:r>
              <a:rPr lang="ru-RU" sz="1600" dirty="0" smtClean="0">
                <a:solidFill>
                  <a:srgbClr val="5F5F5F"/>
                </a:solidFill>
              </a:rPr>
              <a:t>(команды, турниры и спортсмены)</a:t>
            </a:r>
            <a:r>
              <a:rPr lang="ru-RU" sz="1600" dirty="0">
                <a:solidFill>
                  <a:srgbClr val="5F5F5F"/>
                </a:solidFill>
              </a:rPr>
              <a:t> </a:t>
            </a:r>
            <a:r>
              <a:rPr lang="en-GB" sz="1600" b="1" dirty="0" smtClean="0">
                <a:solidFill>
                  <a:schemeClr val="accent2"/>
                </a:solidFill>
              </a:rPr>
              <a:t>~10%</a:t>
            </a:r>
            <a:endParaRPr lang="en-GB" sz="1600" b="1" dirty="0" smtClean="0">
              <a:solidFill>
                <a:srgbClr val="009DD9"/>
              </a:solidFill>
            </a:endParaRPr>
          </a:p>
          <a:p>
            <a:pPr defTabSz="914400">
              <a:lnSpc>
                <a:spcPts val="2100"/>
              </a:lnSpc>
            </a:pPr>
            <a:endParaRPr lang="en-GB" sz="1200" b="1" dirty="0">
              <a:solidFill>
                <a:srgbClr val="009DD9"/>
              </a:solidFill>
            </a:endParaRPr>
          </a:p>
          <a:p>
            <a:pPr defTabSz="914400">
              <a:lnSpc>
                <a:spcPts val="2100"/>
              </a:lnSpc>
            </a:pPr>
            <a:endParaRPr lang="en-GB" sz="1200" dirty="0">
              <a:solidFill>
                <a:srgbClr val="5F5F5F"/>
              </a:solidFill>
            </a:endParaRPr>
          </a:p>
        </p:txBody>
      </p:sp>
      <p:sp>
        <p:nvSpPr>
          <p:cNvPr id="43" name="Rectangle 42"/>
          <p:cNvSpPr/>
          <p:nvPr/>
        </p:nvSpPr>
        <p:spPr>
          <a:xfrm>
            <a:off x="521549" y="3111810"/>
            <a:ext cx="2411936" cy="1705808"/>
          </a:xfrm>
          <a:prstGeom prst="rect">
            <a:avLst/>
          </a:prstGeom>
          <a:noFill/>
          <a:ln w="12700">
            <a:solidFill>
              <a:schemeClr val="accent2"/>
            </a:solidFill>
            <a:prstDash val="sysDash"/>
          </a:ln>
        </p:spPr>
        <p:style>
          <a:lnRef idx="2">
            <a:schemeClr val="accent1"/>
          </a:lnRef>
          <a:fillRef idx="1">
            <a:schemeClr val="lt1"/>
          </a:fillRef>
          <a:effectRef idx="0">
            <a:schemeClr val="accent1"/>
          </a:effectRef>
          <a:fontRef idx="minor">
            <a:schemeClr val="dk1"/>
          </a:fontRef>
        </p:style>
        <p:txBody>
          <a:bodyPr tIns="360000" rtlCol="0" anchor="ctr"/>
          <a:lstStyle/>
          <a:p>
            <a:pPr algn="ctr" defTabSz="914400">
              <a:lnSpc>
                <a:spcPts val="2100"/>
              </a:lnSpc>
            </a:pPr>
            <a:r>
              <a:rPr lang="ru-RU" sz="1600" dirty="0" smtClean="0">
                <a:solidFill>
                  <a:srgbClr val="5F5F5F"/>
                </a:solidFill>
              </a:rPr>
              <a:t>Сегмент, который только начинает понимать значимость большой базы болельщиков</a:t>
            </a:r>
            <a:r>
              <a:rPr lang="en-GB" sz="1600" b="1" dirty="0" smtClean="0">
                <a:solidFill>
                  <a:schemeClr val="accent2"/>
                </a:solidFill>
              </a:rPr>
              <a:t>~30%</a:t>
            </a:r>
            <a:r>
              <a:rPr lang="en-GB" sz="1600" dirty="0" smtClean="0">
                <a:solidFill>
                  <a:schemeClr val="accent2"/>
                </a:solidFill>
              </a:rPr>
              <a:t>.</a:t>
            </a:r>
            <a:endParaRPr lang="en-GB" sz="1600" b="1" dirty="0">
              <a:solidFill>
                <a:schemeClr val="accent2"/>
              </a:solidFill>
            </a:endParaRPr>
          </a:p>
          <a:p>
            <a:pPr defTabSz="914400"/>
            <a:endParaRPr lang="en-GB" sz="1200" b="1" dirty="0">
              <a:solidFill>
                <a:srgbClr val="009DD9"/>
              </a:solidFill>
            </a:endParaRPr>
          </a:p>
          <a:p>
            <a:pPr defTabSz="914400"/>
            <a:endParaRPr lang="en-GB" sz="1050" dirty="0">
              <a:solidFill>
                <a:srgbClr val="5F5F5F"/>
              </a:solidFill>
            </a:endParaRPr>
          </a:p>
        </p:txBody>
      </p:sp>
      <p:sp>
        <p:nvSpPr>
          <p:cNvPr id="30" name="Shape 358"/>
          <p:cNvSpPr txBox="1"/>
          <p:nvPr/>
        </p:nvSpPr>
        <p:spPr>
          <a:xfrm>
            <a:off x="341530" y="2612310"/>
            <a:ext cx="2790310" cy="383242"/>
          </a:xfrm>
          <a:prstGeom prst="rect">
            <a:avLst/>
          </a:prstGeom>
          <a:noFill/>
          <a:ln>
            <a:solidFill>
              <a:srgbClr val="FFFFFF"/>
            </a:solidFill>
          </a:ln>
        </p:spPr>
        <p:txBody>
          <a:bodyPr lIns="91425" tIns="91425" rIns="91425" bIns="91425" anchor="t" anchorCtr="0">
            <a:noAutofit/>
          </a:bodyPr>
          <a:lstStyle/>
          <a:p>
            <a:pPr algn="ctr" defTabSz="914400"/>
            <a:r>
              <a:rPr lang="ru-RU" sz="1600" b="1" dirty="0" smtClean="0">
                <a:solidFill>
                  <a:schemeClr val="accent2"/>
                </a:solidFill>
              </a:rPr>
              <a:t>УВЕЛИЧЕНИЕ БОЛЕЛЬЩИКОВ</a:t>
            </a:r>
            <a:endParaRPr lang="en-US" sz="1600" b="1" dirty="0">
              <a:solidFill>
                <a:schemeClr val="accent2"/>
              </a:solidFill>
            </a:endParaRPr>
          </a:p>
        </p:txBody>
      </p:sp>
      <p:sp>
        <p:nvSpPr>
          <p:cNvPr id="3" name="Titel 2"/>
          <p:cNvSpPr>
            <a:spLocks noGrp="1"/>
          </p:cNvSpPr>
          <p:nvPr>
            <p:ph type="title"/>
          </p:nvPr>
        </p:nvSpPr>
        <p:spPr>
          <a:xfrm>
            <a:off x="522288" y="484770"/>
            <a:ext cx="7410994" cy="997196"/>
          </a:xfrm>
        </p:spPr>
        <p:txBody>
          <a:bodyPr/>
          <a:lstStyle/>
          <a:p>
            <a:r>
              <a:rPr lang="ru-RU" dirty="0" smtClean="0"/>
              <a:t>Правообладатели все больше и больше </a:t>
            </a:r>
            <a:r>
              <a:rPr lang="ru-RU" b="1" dirty="0" smtClean="0"/>
              <a:t>фокусируются на монетизации</a:t>
            </a:r>
            <a:br>
              <a:rPr lang="ru-RU" b="1" dirty="0" smtClean="0"/>
            </a:br>
            <a:endParaRPr lang="en-US" b="1" dirty="0"/>
          </a:p>
        </p:txBody>
      </p:sp>
      <p:grpSp>
        <p:nvGrpSpPr>
          <p:cNvPr id="33" name="Gruppieren 32"/>
          <p:cNvGrpSpPr>
            <a:grpSpLocks noChangeAspect="1"/>
          </p:cNvGrpSpPr>
          <p:nvPr/>
        </p:nvGrpSpPr>
        <p:grpSpPr>
          <a:xfrm>
            <a:off x="539748" y="4876006"/>
            <a:ext cx="719884" cy="215444"/>
            <a:chOff x="539748" y="4876006"/>
            <a:chExt cx="719884" cy="215444"/>
          </a:xfrm>
        </p:grpSpPr>
        <p:sp>
          <p:nvSpPr>
            <p:cNvPr id="34" name="Textfeld 33"/>
            <p:cNvSpPr txBox="1"/>
            <p:nvPr userDrawn="1"/>
          </p:nvSpPr>
          <p:spPr>
            <a:xfrm>
              <a:off x="539750" y="4876006"/>
              <a:ext cx="719882" cy="215444"/>
            </a:xfrm>
            <a:prstGeom prst="rect">
              <a:avLst/>
            </a:prstGeom>
            <a:noFill/>
          </p:spPr>
          <p:txBody>
            <a:bodyPr wrap="square" rtlCol="0">
              <a:spAutoFit/>
            </a:bodyPr>
            <a:lstStyle/>
            <a:p>
              <a:pPr algn="ctr"/>
              <a:r>
                <a:rPr lang="ru-RU" sz="800" kern="1300" spc="80" dirty="0" smtClean="0"/>
                <a:t>ТРЕНД</a:t>
              </a:r>
              <a:r>
                <a:rPr lang="de-DE" sz="800" kern="1300" spc="80" baseline="0" dirty="0" smtClean="0"/>
                <a:t> </a:t>
              </a:r>
              <a:r>
                <a:rPr lang="de-DE" sz="800" b="1" kern="1300" spc="80" baseline="0" dirty="0" smtClean="0"/>
                <a:t>0</a:t>
              </a:r>
              <a:r>
                <a:rPr lang="ru-RU" sz="800" b="1" kern="1300" spc="80" baseline="0" dirty="0" smtClean="0"/>
                <a:t>3</a:t>
              </a:r>
              <a:endParaRPr lang="de-DE" sz="800" b="1" kern="1300" spc="80" baseline="0" dirty="0" smtClean="0"/>
            </a:p>
          </p:txBody>
        </p:sp>
        <p:sp>
          <p:nvSpPr>
            <p:cNvPr id="35" name="Gleichschenkliges Dreieck 34"/>
            <p:cNvSpPr/>
            <p:nvPr userDrawn="1"/>
          </p:nvSpPr>
          <p:spPr>
            <a:xfrm rot="16200000" flipH="1" flipV="1">
              <a:off x="534004" y="4938683"/>
              <a:ext cx="83300" cy="71811"/>
            </a:xfrm>
            <a:prstGeom prst="triangl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sp>
          <p:nvSpPr>
            <p:cNvPr id="36" name="Gleichschenkliges Dreieck 35"/>
            <p:cNvSpPr/>
            <p:nvPr userDrawn="1"/>
          </p:nvSpPr>
          <p:spPr>
            <a:xfrm rot="5400000" flipV="1">
              <a:off x="1182077" y="4938684"/>
              <a:ext cx="83300" cy="71811"/>
            </a:xfrm>
            <a:prstGeom prst="triangl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grpSp>
      <p:sp>
        <p:nvSpPr>
          <p:cNvPr id="28" name="Shape 358"/>
          <p:cNvSpPr txBox="1"/>
          <p:nvPr/>
        </p:nvSpPr>
        <p:spPr>
          <a:xfrm>
            <a:off x="3266855" y="2612310"/>
            <a:ext cx="2790309" cy="333000"/>
          </a:xfrm>
          <a:prstGeom prst="rect">
            <a:avLst/>
          </a:prstGeom>
          <a:noFill/>
          <a:ln>
            <a:noFill/>
          </a:ln>
        </p:spPr>
        <p:txBody>
          <a:bodyPr lIns="91425" tIns="91425" rIns="91425" bIns="91425" anchor="t" anchorCtr="0">
            <a:noAutofit/>
          </a:bodyPr>
          <a:lstStyle/>
          <a:p>
            <a:pPr algn="ctr" defTabSz="914400"/>
            <a:r>
              <a:rPr lang="ru-RU" sz="1600" b="1" dirty="0" smtClean="0">
                <a:solidFill>
                  <a:schemeClr val="accent2"/>
                </a:solidFill>
              </a:rPr>
              <a:t>ВОВЛЕЧЕНИЕ БОЛЕЛЬЩИКОВ</a:t>
            </a:r>
          </a:p>
          <a:p>
            <a:pPr algn="ctr" defTabSz="914400"/>
            <a:endParaRPr lang="en-US" sz="1600" b="1" dirty="0">
              <a:solidFill>
                <a:schemeClr val="accent2"/>
              </a:solidFill>
            </a:endParaRPr>
          </a:p>
        </p:txBody>
      </p:sp>
      <p:grpSp>
        <p:nvGrpSpPr>
          <p:cNvPr id="4" name="Gruppieren 3"/>
          <p:cNvGrpSpPr/>
          <p:nvPr/>
        </p:nvGrpSpPr>
        <p:grpSpPr>
          <a:xfrm>
            <a:off x="4306718" y="1704644"/>
            <a:ext cx="692250" cy="692250"/>
            <a:chOff x="4247429" y="1702638"/>
            <a:chExt cx="799502" cy="799502"/>
          </a:xfrm>
        </p:grpSpPr>
        <p:sp>
          <p:nvSpPr>
            <p:cNvPr id="2" name="Ellipse 1"/>
            <p:cNvSpPr/>
            <p:nvPr/>
          </p:nvSpPr>
          <p:spPr>
            <a:xfrm>
              <a:off x="4247429" y="1702638"/>
              <a:ext cx="799502" cy="799502"/>
            </a:xfrm>
            <a:prstGeom prst="ellipse">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grpSp>
          <p:nvGrpSpPr>
            <p:cNvPr id="38" name="Gruppieren 37"/>
            <p:cNvGrpSpPr/>
            <p:nvPr/>
          </p:nvGrpSpPr>
          <p:grpSpPr>
            <a:xfrm>
              <a:off x="4317758" y="1876753"/>
              <a:ext cx="658672" cy="506228"/>
              <a:chOff x="6105525" y="1768475"/>
              <a:chExt cx="727075" cy="558801"/>
            </a:xfrm>
            <a:solidFill>
              <a:srgbClr val="FFFFFF"/>
            </a:solidFill>
          </p:grpSpPr>
          <p:sp>
            <p:nvSpPr>
              <p:cNvPr id="40" name="Freeform 8"/>
              <p:cNvSpPr>
                <a:spLocks/>
              </p:cNvSpPr>
              <p:nvPr/>
            </p:nvSpPr>
            <p:spPr bwMode="auto">
              <a:xfrm>
                <a:off x="6321425" y="2033588"/>
                <a:ext cx="273050" cy="293688"/>
              </a:xfrm>
              <a:custGeom>
                <a:avLst/>
                <a:gdLst>
                  <a:gd name="T0" fmla="*/ 324 w 1377"/>
                  <a:gd name="T1" fmla="*/ 1472 h 1481"/>
                  <a:gd name="T2" fmla="*/ 300 w 1377"/>
                  <a:gd name="T3" fmla="*/ 1451 h 1481"/>
                  <a:gd name="T4" fmla="*/ 287 w 1377"/>
                  <a:gd name="T5" fmla="*/ 1425 h 1481"/>
                  <a:gd name="T6" fmla="*/ 285 w 1377"/>
                  <a:gd name="T7" fmla="*/ 1374 h 1481"/>
                  <a:gd name="T8" fmla="*/ 288 w 1377"/>
                  <a:gd name="T9" fmla="*/ 1296 h 1481"/>
                  <a:gd name="T10" fmla="*/ 275 w 1377"/>
                  <a:gd name="T11" fmla="*/ 1117 h 1481"/>
                  <a:gd name="T12" fmla="*/ 235 w 1377"/>
                  <a:gd name="T13" fmla="*/ 917 h 1481"/>
                  <a:gd name="T14" fmla="*/ 161 w 1377"/>
                  <a:gd name="T15" fmla="*/ 673 h 1481"/>
                  <a:gd name="T16" fmla="*/ 65 w 1377"/>
                  <a:gd name="T17" fmla="*/ 373 h 1481"/>
                  <a:gd name="T18" fmla="*/ 5 w 1377"/>
                  <a:gd name="T19" fmla="*/ 157 h 1481"/>
                  <a:gd name="T20" fmla="*/ 1 w 1377"/>
                  <a:gd name="T21" fmla="*/ 105 h 1481"/>
                  <a:gd name="T22" fmla="*/ 11 w 1377"/>
                  <a:gd name="T23" fmla="*/ 62 h 1481"/>
                  <a:gd name="T24" fmla="*/ 37 w 1377"/>
                  <a:gd name="T25" fmla="*/ 31 h 1481"/>
                  <a:gd name="T26" fmla="*/ 65 w 1377"/>
                  <a:gd name="T27" fmla="*/ 15 h 1481"/>
                  <a:gd name="T28" fmla="*/ 116 w 1377"/>
                  <a:gd name="T29" fmla="*/ 6 h 1481"/>
                  <a:gd name="T30" fmla="*/ 160 w 1377"/>
                  <a:gd name="T31" fmla="*/ 18 h 1481"/>
                  <a:gd name="T32" fmla="*/ 197 w 1377"/>
                  <a:gd name="T33" fmla="*/ 50 h 1481"/>
                  <a:gd name="T34" fmla="*/ 227 w 1377"/>
                  <a:gd name="T35" fmla="*/ 100 h 1481"/>
                  <a:gd name="T36" fmla="*/ 318 w 1377"/>
                  <a:gd name="T37" fmla="*/ 352 h 1481"/>
                  <a:gd name="T38" fmla="*/ 357 w 1377"/>
                  <a:gd name="T39" fmla="*/ 451 h 1481"/>
                  <a:gd name="T40" fmla="*/ 397 w 1377"/>
                  <a:gd name="T41" fmla="*/ 523 h 1481"/>
                  <a:gd name="T42" fmla="*/ 434 w 1377"/>
                  <a:gd name="T43" fmla="*/ 568 h 1481"/>
                  <a:gd name="T44" fmla="*/ 479 w 1377"/>
                  <a:gd name="T45" fmla="*/ 610 h 1481"/>
                  <a:gd name="T46" fmla="*/ 526 w 1377"/>
                  <a:gd name="T47" fmla="*/ 640 h 1481"/>
                  <a:gd name="T48" fmla="*/ 576 w 1377"/>
                  <a:gd name="T49" fmla="*/ 660 h 1481"/>
                  <a:gd name="T50" fmla="*/ 627 w 1377"/>
                  <a:gd name="T51" fmla="*/ 669 h 1481"/>
                  <a:gd name="T52" fmla="*/ 678 w 1377"/>
                  <a:gd name="T53" fmla="*/ 665 h 1481"/>
                  <a:gd name="T54" fmla="*/ 729 w 1377"/>
                  <a:gd name="T55" fmla="*/ 651 h 1481"/>
                  <a:gd name="T56" fmla="*/ 778 w 1377"/>
                  <a:gd name="T57" fmla="*/ 625 h 1481"/>
                  <a:gd name="T58" fmla="*/ 825 w 1377"/>
                  <a:gd name="T59" fmla="*/ 589 h 1481"/>
                  <a:gd name="T60" fmla="*/ 874 w 1377"/>
                  <a:gd name="T61" fmla="*/ 539 h 1481"/>
                  <a:gd name="T62" fmla="*/ 944 w 1377"/>
                  <a:gd name="T63" fmla="*/ 448 h 1481"/>
                  <a:gd name="T64" fmla="*/ 1031 w 1377"/>
                  <a:gd name="T65" fmla="*/ 291 h 1481"/>
                  <a:gd name="T66" fmla="*/ 1137 w 1377"/>
                  <a:gd name="T67" fmla="*/ 71 h 1481"/>
                  <a:gd name="T68" fmla="*/ 1155 w 1377"/>
                  <a:gd name="T69" fmla="*/ 43 h 1481"/>
                  <a:gd name="T70" fmla="*/ 1183 w 1377"/>
                  <a:gd name="T71" fmla="*/ 17 h 1481"/>
                  <a:gd name="T72" fmla="*/ 1218 w 1377"/>
                  <a:gd name="T73" fmla="*/ 3 h 1481"/>
                  <a:gd name="T74" fmla="*/ 1261 w 1377"/>
                  <a:gd name="T75" fmla="*/ 0 h 1481"/>
                  <a:gd name="T76" fmla="*/ 1308 w 1377"/>
                  <a:gd name="T77" fmla="*/ 10 h 1481"/>
                  <a:gd name="T78" fmla="*/ 1338 w 1377"/>
                  <a:gd name="T79" fmla="*/ 27 h 1481"/>
                  <a:gd name="T80" fmla="*/ 1360 w 1377"/>
                  <a:gd name="T81" fmla="*/ 52 h 1481"/>
                  <a:gd name="T82" fmla="*/ 1371 w 1377"/>
                  <a:gd name="T83" fmla="*/ 86 h 1481"/>
                  <a:gd name="T84" fmla="*/ 1377 w 1377"/>
                  <a:gd name="T85" fmla="*/ 130 h 1481"/>
                  <a:gd name="T86" fmla="*/ 1369 w 1377"/>
                  <a:gd name="T87" fmla="*/ 192 h 1481"/>
                  <a:gd name="T88" fmla="*/ 1130 w 1377"/>
                  <a:gd name="T89" fmla="*/ 674 h 1481"/>
                  <a:gd name="T90" fmla="*/ 1053 w 1377"/>
                  <a:gd name="T91" fmla="*/ 835 h 1481"/>
                  <a:gd name="T92" fmla="*/ 1011 w 1377"/>
                  <a:gd name="T93" fmla="*/ 961 h 1481"/>
                  <a:gd name="T94" fmla="*/ 1000 w 1377"/>
                  <a:gd name="T95" fmla="*/ 1020 h 1481"/>
                  <a:gd name="T96" fmla="*/ 990 w 1377"/>
                  <a:gd name="T97" fmla="*/ 1106 h 1481"/>
                  <a:gd name="T98" fmla="*/ 984 w 1377"/>
                  <a:gd name="T99" fmla="*/ 1253 h 1481"/>
                  <a:gd name="T100" fmla="*/ 980 w 1377"/>
                  <a:gd name="T101" fmla="*/ 1399 h 1481"/>
                  <a:gd name="T102" fmla="*/ 971 w 1377"/>
                  <a:gd name="T103" fmla="*/ 1442 h 1481"/>
                  <a:gd name="T104" fmla="*/ 954 w 1377"/>
                  <a:gd name="T105" fmla="*/ 1464 h 1481"/>
                  <a:gd name="T106" fmla="*/ 341 w 1377"/>
                  <a:gd name="T107" fmla="*/ 1481 h 1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77" h="1481">
                    <a:moveTo>
                      <a:pt x="341" y="1481"/>
                    </a:moveTo>
                    <a:lnTo>
                      <a:pt x="341" y="1481"/>
                    </a:lnTo>
                    <a:lnTo>
                      <a:pt x="332" y="1477"/>
                    </a:lnTo>
                    <a:lnTo>
                      <a:pt x="324" y="1472"/>
                    </a:lnTo>
                    <a:lnTo>
                      <a:pt x="317" y="1468"/>
                    </a:lnTo>
                    <a:lnTo>
                      <a:pt x="311" y="1462"/>
                    </a:lnTo>
                    <a:lnTo>
                      <a:pt x="305" y="1457"/>
                    </a:lnTo>
                    <a:lnTo>
                      <a:pt x="300" y="1451"/>
                    </a:lnTo>
                    <a:lnTo>
                      <a:pt x="295" y="1445"/>
                    </a:lnTo>
                    <a:lnTo>
                      <a:pt x="292" y="1439"/>
                    </a:lnTo>
                    <a:lnTo>
                      <a:pt x="289" y="1432"/>
                    </a:lnTo>
                    <a:lnTo>
                      <a:pt x="287" y="1425"/>
                    </a:lnTo>
                    <a:lnTo>
                      <a:pt x="285" y="1417"/>
                    </a:lnTo>
                    <a:lnTo>
                      <a:pt x="284" y="1410"/>
                    </a:lnTo>
                    <a:lnTo>
                      <a:pt x="283" y="1392"/>
                    </a:lnTo>
                    <a:lnTo>
                      <a:pt x="285" y="1374"/>
                    </a:lnTo>
                    <a:lnTo>
                      <a:pt x="285" y="1374"/>
                    </a:lnTo>
                    <a:lnTo>
                      <a:pt x="286" y="1348"/>
                    </a:lnTo>
                    <a:lnTo>
                      <a:pt x="287" y="1322"/>
                    </a:lnTo>
                    <a:lnTo>
                      <a:pt x="288" y="1296"/>
                    </a:lnTo>
                    <a:lnTo>
                      <a:pt x="288" y="1270"/>
                    </a:lnTo>
                    <a:lnTo>
                      <a:pt x="286" y="1218"/>
                    </a:lnTo>
                    <a:lnTo>
                      <a:pt x="281" y="1167"/>
                    </a:lnTo>
                    <a:lnTo>
                      <a:pt x="275" y="1117"/>
                    </a:lnTo>
                    <a:lnTo>
                      <a:pt x="267" y="1066"/>
                    </a:lnTo>
                    <a:lnTo>
                      <a:pt x="258" y="1016"/>
                    </a:lnTo>
                    <a:lnTo>
                      <a:pt x="247" y="967"/>
                    </a:lnTo>
                    <a:lnTo>
                      <a:pt x="235" y="917"/>
                    </a:lnTo>
                    <a:lnTo>
                      <a:pt x="221" y="868"/>
                    </a:lnTo>
                    <a:lnTo>
                      <a:pt x="207" y="820"/>
                    </a:lnTo>
                    <a:lnTo>
                      <a:pt x="192" y="770"/>
                    </a:lnTo>
                    <a:lnTo>
                      <a:pt x="161" y="673"/>
                    </a:lnTo>
                    <a:lnTo>
                      <a:pt x="129" y="575"/>
                    </a:lnTo>
                    <a:lnTo>
                      <a:pt x="129" y="575"/>
                    </a:lnTo>
                    <a:lnTo>
                      <a:pt x="96" y="473"/>
                    </a:lnTo>
                    <a:lnTo>
                      <a:pt x="65" y="373"/>
                    </a:lnTo>
                    <a:lnTo>
                      <a:pt x="36" y="272"/>
                    </a:lnTo>
                    <a:lnTo>
                      <a:pt x="8" y="171"/>
                    </a:lnTo>
                    <a:lnTo>
                      <a:pt x="8" y="171"/>
                    </a:lnTo>
                    <a:lnTo>
                      <a:pt x="5" y="157"/>
                    </a:lnTo>
                    <a:lnTo>
                      <a:pt x="2" y="143"/>
                    </a:lnTo>
                    <a:lnTo>
                      <a:pt x="1" y="130"/>
                    </a:lnTo>
                    <a:lnTo>
                      <a:pt x="0" y="117"/>
                    </a:lnTo>
                    <a:lnTo>
                      <a:pt x="1" y="105"/>
                    </a:lnTo>
                    <a:lnTo>
                      <a:pt x="2" y="93"/>
                    </a:lnTo>
                    <a:lnTo>
                      <a:pt x="4" y="83"/>
                    </a:lnTo>
                    <a:lnTo>
                      <a:pt x="7" y="71"/>
                    </a:lnTo>
                    <a:lnTo>
                      <a:pt x="11" y="62"/>
                    </a:lnTo>
                    <a:lnTo>
                      <a:pt x="16" y="53"/>
                    </a:lnTo>
                    <a:lnTo>
                      <a:pt x="22" y="45"/>
                    </a:lnTo>
                    <a:lnTo>
                      <a:pt x="29" y="37"/>
                    </a:lnTo>
                    <a:lnTo>
                      <a:pt x="37" y="31"/>
                    </a:lnTo>
                    <a:lnTo>
                      <a:pt x="45" y="25"/>
                    </a:lnTo>
                    <a:lnTo>
                      <a:pt x="54" y="19"/>
                    </a:lnTo>
                    <a:lnTo>
                      <a:pt x="65" y="15"/>
                    </a:lnTo>
                    <a:lnTo>
                      <a:pt x="65" y="15"/>
                    </a:lnTo>
                    <a:lnTo>
                      <a:pt x="78" y="11"/>
                    </a:lnTo>
                    <a:lnTo>
                      <a:pt x="90" y="7"/>
                    </a:lnTo>
                    <a:lnTo>
                      <a:pt x="103" y="6"/>
                    </a:lnTo>
                    <a:lnTo>
                      <a:pt x="116" y="6"/>
                    </a:lnTo>
                    <a:lnTo>
                      <a:pt x="127" y="7"/>
                    </a:lnTo>
                    <a:lnTo>
                      <a:pt x="138" y="9"/>
                    </a:lnTo>
                    <a:lnTo>
                      <a:pt x="149" y="13"/>
                    </a:lnTo>
                    <a:lnTo>
                      <a:pt x="160" y="18"/>
                    </a:lnTo>
                    <a:lnTo>
                      <a:pt x="170" y="24"/>
                    </a:lnTo>
                    <a:lnTo>
                      <a:pt x="179" y="31"/>
                    </a:lnTo>
                    <a:lnTo>
                      <a:pt x="188" y="40"/>
                    </a:lnTo>
                    <a:lnTo>
                      <a:pt x="197" y="50"/>
                    </a:lnTo>
                    <a:lnTo>
                      <a:pt x="205" y="61"/>
                    </a:lnTo>
                    <a:lnTo>
                      <a:pt x="213" y="72"/>
                    </a:lnTo>
                    <a:lnTo>
                      <a:pt x="221" y="86"/>
                    </a:lnTo>
                    <a:lnTo>
                      <a:pt x="227" y="100"/>
                    </a:lnTo>
                    <a:lnTo>
                      <a:pt x="227" y="100"/>
                    </a:lnTo>
                    <a:lnTo>
                      <a:pt x="259" y="185"/>
                    </a:lnTo>
                    <a:lnTo>
                      <a:pt x="288" y="269"/>
                    </a:lnTo>
                    <a:lnTo>
                      <a:pt x="318" y="352"/>
                    </a:lnTo>
                    <a:lnTo>
                      <a:pt x="333" y="393"/>
                    </a:lnTo>
                    <a:lnTo>
                      <a:pt x="349" y="433"/>
                    </a:lnTo>
                    <a:lnTo>
                      <a:pt x="349" y="433"/>
                    </a:lnTo>
                    <a:lnTo>
                      <a:pt x="357" y="451"/>
                    </a:lnTo>
                    <a:lnTo>
                      <a:pt x="366" y="470"/>
                    </a:lnTo>
                    <a:lnTo>
                      <a:pt x="376" y="488"/>
                    </a:lnTo>
                    <a:lnTo>
                      <a:pt x="386" y="505"/>
                    </a:lnTo>
                    <a:lnTo>
                      <a:pt x="397" y="523"/>
                    </a:lnTo>
                    <a:lnTo>
                      <a:pt x="409" y="539"/>
                    </a:lnTo>
                    <a:lnTo>
                      <a:pt x="421" y="554"/>
                    </a:lnTo>
                    <a:lnTo>
                      <a:pt x="434" y="568"/>
                    </a:lnTo>
                    <a:lnTo>
                      <a:pt x="434" y="568"/>
                    </a:lnTo>
                    <a:lnTo>
                      <a:pt x="444" y="579"/>
                    </a:lnTo>
                    <a:lnTo>
                      <a:pt x="455" y="590"/>
                    </a:lnTo>
                    <a:lnTo>
                      <a:pt x="467" y="600"/>
                    </a:lnTo>
                    <a:lnTo>
                      <a:pt x="479" y="610"/>
                    </a:lnTo>
                    <a:lnTo>
                      <a:pt x="490" y="618"/>
                    </a:lnTo>
                    <a:lnTo>
                      <a:pt x="502" y="626"/>
                    </a:lnTo>
                    <a:lnTo>
                      <a:pt x="514" y="634"/>
                    </a:lnTo>
                    <a:lnTo>
                      <a:pt x="526" y="640"/>
                    </a:lnTo>
                    <a:lnTo>
                      <a:pt x="538" y="646"/>
                    </a:lnTo>
                    <a:lnTo>
                      <a:pt x="550" y="651"/>
                    </a:lnTo>
                    <a:lnTo>
                      <a:pt x="563" y="656"/>
                    </a:lnTo>
                    <a:lnTo>
                      <a:pt x="576" y="660"/>
                    </a:lnTo>
                    <a:lnTo>
                      <a:pt x="589" y="663"/>
                    </a:lnTo>
                    <a:lnTo>
                      <a:pt x="601" y="665"/>
                    </a:lnTo>
                    <a:lnTo>
                      <a:pt x="614" y="668"/>
                    </a:lnTo>
                    <a:lnTo>
                      <a:pt x="627" y="669"/>
                    </a:lnTo>
                    <a:lnTo>
                      <a:pt x="639" y="669"/>
                    </a:lnTo>
                    <a:lnTo>
                      <a:pt x="652" y="669"/>
                    </a:lnTo>
                    <a:lnTo>
                      <a:pt x="665" y="668"/>
                    </a:lnTo>
                    <a:lnTo>
                      <a:pt x="678" y="665"/>
                    </a:lnTo>
                    <a:lnTo>
                      <a:pt x="691" y="662"/>
                    </a:lnTo>
                    <a:lnTo>
                      <a:pt x="704" y="659"/>
                    </a:lnTo>
                    <a:lnTo>
                      <a:pt x="716" y="655"/>
                    </a:lnTo>
                    <a:lnTo>
                      <a:pt x="729" y="651"/>
                    </a:lnTo>
                    <a:lnTo>
                      <a:pt x="741" y="645"/>
                    </a:lnTo>
                    <a:lnTo>
                      <a:pt x="753" y="639"/>
                    </a:lnTo>
                    <a:lnTo>
                      <a:pt x="766" y="633"/>
                    </a:lnTo>
                    <a:lnTo>
                      <a:pt x="778" y="625"/>
                    </a:lnTo>
                    <a:lnTo>
                      <a:pt x="789" y="617"/>
                    </a:lnTo>
                    <a:lnTo>
                      <a:pt x="802" y="608"/>
                    </a:lnTo>
                    <a:lnTo>
                      <a:pt x="814" y="599"/>
                    </a:lnTo>
                    <a:lnTo>
                      <a:pt x="825" y="589"/>
                    </a:lnTo>
                    <a:lnTo>
                      <a:pt x="825" y="589"/>
                    </a:lnTo>
                    <a:lnTo>
                      <a:pt x="842" y="573"/>
                    </a:lnTo>
                    <a:lnTo>
                      <a:pt x="858" y="556"/>
                    </a:lnTo>
                    <a:lnTo>
                      <a:pt x="874" y="539"/>
                    </a:lnTo>
                    <a:lnTo>
                      <a:pt x="889" y="522"/>
                    </a:lnTo>
                    <a:lnTo>
                      <a:pt x="903" y="503"/>
                    </a:lnTo>
                    <a:lnTo>
                      <a:pt x="918" y="485"/>
                    </a:lnTo>
                    <a:lnTo>
                      <a:pt x="944" y="448"/>
                    </a:lnTo>
                    <a:lnTo>
                      <a:pt x="968" y="410"/>
                    </a:lnTo>
                    <a:lnTo>
                      <a:pt x="990" y="371"/>
                    </a:lnTo>
                    <a:lnTo>
                      <a:pt x="1011" y="331"/>
                    </a:lnTo>
                    <a:lnTo>
                      <a:pt x="1031" y="291"/>
                    </a:lnTo>
                    <a:lnTo>
                      <a:pt x="1031" y="291"/>
                    </a:lnTo>
                    <a:lnTo>
                      <a:pt x="1058" y="235"/>
                    </a:lnTo>
                    <a:lnTo>
                      <a:pt x="1084" y="179"/>
                    </a:lnTo>
                    <a:lnTo>
                      <a:pt x="1137" y="71"/>
                    </a:lnTo>
                    <a:lnTo>
                      <a:pt x="1137" y="71"/>
                    </a:lnTo>
                    <a:lnTo>
                      <a:pt x="1142" y="61"/>
                    </a:lnTo>
                    <a:lnTo>
                      <a:pt x="1149" y="52"/>
                    </a:lnTo>
                    <a:lnTo>
                      <a:pt x="1155" y="43"/>
                    </a:lnTo>
                    <a:lnTo>
                      <a:pt x="1162" y="36"/>
                    </a:lnTo>
                    <a:lnTo>
                      <a:pt x="1169" y="29"/>
                    </a:lnTo>
                    <a:lnTo>
                      <a:pt x="1176" y="23"/>
                    </a:lnTo>
                    <a:lnTo>
                      <a:pt x="1183" y="17"/>
                    </a:lnTo>
                    <a:lnTo>
                      <a:pt x="1191" y="12"/>
                    </a:lnTo>
                    <a:lnTo>
                      <a:pt x="1200" y="9"/>
                    </a:lnTo>
                    <a:lnTo>
                      <a:pt x="1209" y="5"/>
                    </a:lnTo>
                    <a:lnTo>
                      <a:pt x="1218" y="3"/>
                    </a:lnTo>
                    <a:lnTo>
                      <a:pt x="1228" y="1"/>
                    </a:lnTo>
                    <a:lnTo>
                      <a:pt x="1238" y="0"/>
                    </a:lnTo>
                    <a:lnTo>
                      <a:pt x="1249" y="0"/>
                    </a:lnTo>
                    <a:lnTo>
                      <a:pt x="1261" y="0"/>
                    </a:lnTo>
                    <a:lnTo>
                      <a:pt x="1273" y="1"/>
                    </a:lnTo>
                    <a:lnTo>
                      <a:pt x="1273" y="1"/>
                    </a:lnTo>
                    <a:lnTo>
                      <a:pt x="1291" y="5"/>
                    </a:lnTo>
                    <a:lnTo>
                      <a:pt x="1308" y="10"/>
                    </a:lnTo>
                    <a:lnTo>
                      <a:pt x="1316" y="14"/>
                    </a:lnTo>
                    <a:lnTo>
                      <a:pt x="1324" y="18"/>
                    </a:lnTo>
                    <a:lnTo>
                      <a:pt x="1331" y="22"/>
                    </a:lnTo>
                    <a:lnTo>
                      <a:pt x="1338" y="27"/>
                    </a:lnTo>
                    <a:lnTo>
                      <a:pt x="1344" y="33"/>
                    </a:lnTo>
                    <a:lnTo>
                      <a:pt x="1350" y="39"/>
                    </a:lnTo>
                    <a:lnTo>
                      <a:pt x="1355" y="45"/>
                    </a:lnTo>
                    <a:lnTo>
                      <a:pt x="1360" y="52"/>
                    </a:lnTo>
                    <a:lnTo>
                      <a:pt x="1364" y="60"/>
                    </a:lnTo>
                    <a:lnTo>
                      <a:pt x="1367" y="68"/>
                    </a:lnTo>
                    <a:lnTo>
                      <a:pt x="1369" y="77"/>
                    </a:lnTo>
                    <a:lnTo>
                      <a:pt x="1371" y="86"/>
                    </a:lnTo>
                    <a:lnTo>
                      <a:pt x="1371" y="86"/>
                    </a:lnTo>
                    <a:lnTo>
                      <a:pt x="1374" y="100"/>
                    </a:lnTo>
                    <a:lnTo>
                      <a:pt x="1376" y="115"/>
                    </a:lnTo>
                    <a:lnTo>
                      <a:pt x="1377" y="130"/>
                    </a:lnTo>
                    <a:lnTo>
                      <a:pt x="1377" y="146"/>
                    </a:lnTo>
                    <a:lnTo>
                      <a:pt x="1375" y="162"/>
                    </a:lnTo>
                    <a:lnTo>
                      <a:pt x="1372" y="177"/>
                    </a:lnTo>
                    <a:lnTo>
                      <a:pt x="1369" y="192"/>
                    </a:lnTo>
                    <a:lnTo>
                      <a:pt x="1364" y="206"/>
                    </a:lnTo>
                    <a:lnTo>
                      <a:pt x="1364" y="206"/>
                    </a:lnTo>
                    <a:lnTo>
                      <a:pt x="1130" y="674"/>
                    </a:lnTo>
                    <a:lnTo>
                      <a:pt x="1130" y="674"/>
                    </a:lnTo>
                    <a:lnTo>
                      <a:pt x="1109" y="714"/>
                    </a:lnTo>
                    <a:lnTo>
                      <a:pt x="1089" y="754"/>
                    </a:lnTo>
                    <a:lnTo>
                      <a:pt x="1070" y="794"/>
                    </a:lnTo>
                    <a:lnTo>
                      <a:pt x="1053" y="835"/>
                    </a:lnTo>
                    <a:lnTo>
                      <a:pt x="1038" y="876"/>
                    </a:lnTo>
                    <a:lnTo>
                      <a:pt x="1023" y="918"/>
                    </a:lnTo>
                    <a:lnTo>
                      <a:pt x="1017" y="940"/>
                    </a:lnTo>
                    <a:lnTo>
                      <a:pt x="1011" y="961"/>
                    </a:lnTo>
                    <a:lnTo>
                      <a:pt x="1006" y="984"/>
                    </a:lnTo>
                    <a:lnTo>
                      <a:pt x="1002" y="1007"/>
                    </a:lnTo>
                    <a:lnTo>
                      <a:pt x="1002" y="1007"/>
                    </a:lnTo>
                    <a:lnTo>
                      <a:pt x="1000" y="1020"/>
                    </a:lnTo>
                    <a:lnTo>
                      <a:pt x="998" y="1034"/>
                    </a:lnTo>
                    <a:lnTo>
                      <a:pt x="995" y="1063"/>
                    </a:lnTo>
                    <a:lnTo>
                      <a:pt x="992" y="1092"/>
                    </a:lnTo>
                    <a:lnTo>
                      <a:pt x="990" y="1106"/>
                    </a:lnTo>
                    <a:lnTo>
                      <a:pt x="988" y="1120"/>
                    </a:lnTo>
                    <a:lnTo>
                      <a:pt x="988" y="1120"/>
                    </a:lnTo>
                    <a:lnTo>
                      <a:pt x="987" y="1188"/>
                    </a:lnTo>
                    <a:lnTo>
                      <a:pt x="984" y="1253"/>
                    </a:lnTo>
                    <a:lnTo>
                      <a:pt x="982" y="1318"/>
                    </a:lnTo>
                    <a:lnTo>
                      <a:pt x="981" y="1381"/>
                    </a:lnTo>
                    <a:lnTo>
                      <a:pt x="981" y="1381"/>
                    </a:lnTo>
                    <a:lnTo>
                      <a:pt x="980" y="1399"/>
                    </a:lnTo>
                    <a:lnTo>
                      <a:pt x="979" y="1416"/>
                    </a:lnTo>
                    <a:lnTo>
                      <a:pt x="976" y="1430"/>
                    </a:lnTo>
                    <a:lnTo>
                      <a:pt x="974" y="1436"/>
                    </a:lnTo>
                    <a:lnTo>
                      <a:pt x="971" y="1442"/>
                    </a:lnTo>
                    <a:lnTo>
                      <a:pt x="968" y="1448"/>
                    </a:lnTo>
                    <a:lnTo>
                      <a:pt x="964" y="1453"/>
                    </a:lnTo>
                    <a:lnTo>
                      <a:pt x="959" y="1459"/>
                    </a:lnTo>
                    <a:lnTo>
                      <a:pt x="954" y="1464"/>
                    </a:lnTo>
                    <a:lnTo>
                      <a:pt x="948" y="1468"/>
                    </a:lnTo>
                    <a:lnTo>
                      <a:pt x="941" y="1473"/>
                    </a:lnTo>
                    <a:lnTo>
                      <a:pt x="925" y="1481"/>
                    </a:lnTo>
                    <a:lnTo>
                      <a:pt x="341" y="148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1" name="Freeform 9"/>
              <p:cNvSpPr>
                <a:spLocks/>
              </p:cNvSpPr>
              <p:nvPr/>
            </p:nvSpPr>
            <p:spPr bwMode="auto">
              <a:xfrm>
                <a:off x="6718300" y="1768475"/>
                <a:ext cx="114300" cy="207963"/>
              </a:xfrm>
              <a:custGeom>
                <a:avLst/>
                <a:gdLst>
                  <a:gd name="T0" fmla="*/ 490 w 579"/>
                  <a:gd name="T1" fmla="*/ 17 h 1048"/>
                  <a:gd name="T2" fmla="*/ 513 w 579"/>
                  <a:gd name="T3" fmla="*/ 45 h 1048"/>
                  <a:gd name="T4" fmla="*/ 518 w 579"/>
                  <a:gd name="T5" fmla="*/ 65 h 1048"/>
                  <a:gd name="T6" fmla="*/ 515 w 579"/>
                  <a:gd name="T7" fmla="*/ 88 h 1048"/>
                  <a:gd name="T8" fmla="*/ 500 w 579"/>
                  <a:gd name="T9" fmla="*/ 128 h 1048"/>
                  <a:gd name="T10" fmla="*/ 418 w 579"/>
                  <a:gd name="T11" fmla="*/ 295 h 1048"/>
                  <a:gd name="T12" fmla="*/ 383 w 579"/>
                  <a:gd name="T13" fmla="*/ 355 h 1048"/>
                  <a:gd name="T14" fmla="*/ 381 w 579"/>
                  <a:gd name="T15" fmla="*/ 379 h 1048"/>
                  <a:gd name="T16" fmla="*/ 394 w 579"/>
                  <a:gd name="T17" fmla="*/ 399 h 1048"/>
                  <a:gd name="T18" fmla="*/ 418 w 579"/>
                  <a:gd name="T19" fmla="*/ 417 h 1048"/>
                  <a:gd name="T20" fmla="*/ 465 w 579"/>
                  <a:gd name="T21" fmla="*/ 454 h 1048"/>
                  <a:gd name="T22" fmla="*/ 484 w 579"/>
                  <a:gd name="T23" fmla="*/ 465 h 1048"/>
                  <a:gd name="T24" fmla="*/ 517 w 579"/>
                  <a:gd name="T25" fmla="*/ 491 h 1048"/>
                  <a:gd name="T26" fmla="*/ 555 w 579"/>
                  <a:gd name="T27" fmla="*/ 543 h 1048"/>
                  <a:gd name="T28" fmla="*/ 576 w 579"/>
                  <a:gd name="T29" fmla="*/ 605 h 1048"/>
                  <a:gd name="T30" fmla="*/ 578 w 579"/>
                  <a:gd name="T31" fmla="*/ 674 h 1048"/>
                  <a:gd name="T32" fmla="*/ 560 w 579"/>
                  <a:gd name="T33" fmla="*/ 744 h 1048"/>
                  <a:gd name="T34" fmla="*/ 539 w 579"/>
                  <a:gd name="T35" fmla="*/ 787 h 1048"/>
                  <a:gd name="T36" fmla="*/ 500 w 579"/>
                  <a:gd name="T37" fmla="*/ 846 h 1048"/>
                  <a:gd name="T38" fmla="*/ 455 w 579"/>
                  <a:gd name="T39" fmla="*/ 899 h 1048"/>
                  <a:gd name="T40" fmla="*/ 369 w 579"/>
                  <a:gd name="T41" fmla="*/ 980 h 1048"/>
                  <a:gd name="T42" fmla="*/ 292 w 579"/>
                  <a:gd name="T43" fmla="*/ 1045 h 1048"/>
                  <a:gd name="T44" fmla="*/ 278 w 579"/>
                  <a:gd name="T45" fmla="*/ 1048 h 1048"/>
                  <a:gd name="T46" fmla="*/ 264 w 579"/>
                  <a:gd name="T47" fmla="*/ 1045 h 1048"/>
                  <a:gd name="T48" fmla="*/ 199 w 579"/>
                  <a:gd name="T49" fmla="*/ 1011 h 1048"/>
                  <a:gd name="T50" fmla="*/ 21 w 579"/>
                  <a:gd name="T51" fmla="*/ 915 h 1048"/>
                  <a:gd name="T52" fmla="*/ 9 w 579"/>
                  <a:gd name="T53" fmla="*/ 905 h 1048"/>
                  <a:gd name="T54" fmla="*/ 0 w 579"/>
                  <a:gd name="T55" fmla="*/ 887 h 1048"/>
                  <a:gd name="T56" fmla="*/ 12 w 579"/>
                  <a:gd name="T57" fmla="*/ 796 h 1048"/>
                  <a:gd name="T58" fmla="*/ 56 w 579"/>
                  <a:gd name="T59" fmla="*/ 533 h 1048"/>
                  <a:gd name="T60" fmla="*/ 62 w 579"/>
                  <a:gd name="T61" fmla="*/ 512 h 1048"/>
                  <a:gd name="T62" fmla="*/ 76 w 579"/>
                  <a:gd name="T63" fmla="*/ 485 h 1048"/>
                  <a:gd name="T64" fmla="*/ 93 w 579"/>
                  <a:gd name="T65" fmla="*/ 463 h 1048"/>
                  <a:gd name="T66" fmla="*/ 113 w 579"/>
                  <a:gd name="T67" fmla="*/ 445 h 1048"/>
                  <a:gd name="T68" fmla="*/ 137 w 579"/>
                  <a:gd name="T69" fmla="*/ 432 h 1048"/>
                  <a:gd name="T70" fmla="*/ 167 w 579"/>
                  <a:gd name="T71" fmla="*/ 423 h 1048"/>
                  <a:gd name="T72" fmla="*/ 200 w 579"/>
                  <a:gd name="T73" fmla="*/ 406 h 1048"/>
                  <a:gd name="T74" fmla="*/ 225 w 579"/>
                  <a:gd name="T75" fmla="*/ 380 h 1048"/>
                  <a:gd name="T76" fmla="*/ 264 w 579"/>
                  <a:gd name="T77" fmla="*/ 301 h 1048"/>
                  <a:gd name="T78" fmla="*/ 366 w 579"/>
                  <a:gd name="T79" fmla="*/ 107 h 1048"/>
                  <a:gd name="T80" fmla="*/ 384 w 579"/>
                  <a:gd name="T81" fmla="*/ 78 h 1048"/>
                  <a:gd name="T82" fmla="*/ 426 w 579"/>
                  <a:gd name="T83" fmla="*/ 26 h 1048"/>
                  <a:gd name="T84" fmla="*/ 472 w 579"/>
                  <a:gd name="T85" fmla="*/ 0 h 10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79" h="1048">
                    <a:moveTo>
                      <a:pt x="472" y="0"/>
                    </a:moveTo>
                    <a:lnTo>
                      <a:pt x="472" y="0"/>
                    </a:lnTo>
                    <a:lnTo>
                      <a:pt x="490" y="17"/>
                    </a:lnTo>
                    <a:lnTo>
                      <a:pt x="504" y="32"/>
                    </a:lnTo>
                    <a:lnTo>
                      <a:pt x="509" y="39"/>
                    </a:lnTo>
                    <a:lnTo>
                      <a:pt x="513" y="45"/>
                    </a:lnTo>
                    <a:lnTo>
                      <a:pt x="516" y="52"/>
                    </a:lnTo>
                    <a:lnTo>
                      <a:pt x="517" y="58"/>
                    </a:lnTo>
                    <a:lnTo>
                      <a:pt x="518" y="65"/>
                    </a:lnTo>
                    <a:lnTo>
                      <a:pt x="518" y="72"/>
                    </a:lnTo>
                    <a:lnTo>
                      <a:pt x="517" y="81"/>
                    </a:lnTo>
                    <a:lnTo>
                      <a:pt x="515" y="88"/>
                    </a:lnTo>
                    <a:lnTo>
                      <a:pt x="509" y="107"/>
                    </a:lnTo>
                    <a:lnTo>
                      <a:pt x="500" y="128"/>
                    </a:lnTo>
                    <a:lnTo>
                      <a:pt x="500" y="128"/>
                    </a:lnTo>
                    <a:lnTo>
                      <a:pt x="474" y="185"/>
                    </a:lnTo>
                    <a:lnTo>
                      <a:pt x="447" y="241"/>
                    </a:lnTo>
                    <a:lnTo>
                      <a:pt x="418" y="295"/>
                    </a:lnTo>
                    <a:lnTo>
                      <a:pt x="387" y="348"/>
                    </a:lnTo>
                    <a:lnTo>
                      <a:pt x="387" y="348"/>
                    </a:lnTo>
                    <a:lnTo>
                      <a:pt x="383" y="355"/>
                    </a:lnTo>
                    <a:lnTo>
                      <a:pt x="381" y="363"/>
                    </a:lnTo>
                    <a:lnTo>
                      <a:pt x="380" y="372"/>
                    </a:lnTo>
                    <a:lnTo>
                      <a:pt x="381" y="379"/>
                    </a:lnTo>
                    <a:lnTo>
                      <a:pt x="384" y="386"/>
                    </a:lnTo>
                    <a:lnTo>
                      <a:pt x="388" y="393"/>
                    </a:lnTo>
                    <a:lnTo>
                      <a:pt x="394" y="399"/>
                    </a:lnTo>
                    <a:lnTo>
                      <a:pt x="401" y="405"/>
                    </a:lnTo>
                    <a:lnTo>
                      <a:pt x="401" y="405"/>
                    </a:lnTo>
                    <a:lnTo>
                      <a:pt x="418" y="417"/>
                    </a:lnTo>
                    <a:lnTo>
                      <a:pt x="434" y="430"/>
                    </a:lnTo>
                    <a:lnTo>
                      <a:pt x="449" y="443"/>
                    </a:lnTo>
                    <a:lnTo>
                      <a:pt x="465" y="454"/>
                    </a:lnTo>
                    <a:lnTo>
                      <a:pt x="465" y="454"/>
                    </a:lnTo>
                    <a:lnTo>
                      <a:pt x="475" y="459"/>
                    </a:lnTo>
                    <a:lnTo>
                      <a:pt x="484" y="465"/>
                    </a:lnTo>
                    <a:lnTo>
                      <a:pt x="493" y="470"/>
                    </a:lnTo>
                    <a:lnTo>
                      <a:pt x="501" y="477"/>
                    </a:lnTo>
                    <a:lnTo>
                      <a:pt x="517" y="491"/>
                    </a:lnTo>
                    <a:lnTo>
                      <a:pt x="532" y="507"/>
                    </a:lnTo>
                    <a:lnTo>
                      <a:pt x="544" y="525"/>
                    </a:lnTo>
                    <a:lnTo>
                      <a:pt x="555" y="543"/>
                    </a:lnTo>
                    <a:lnTo>
                      <a:pt x="564" y="563"/>
                    </a:lnTo>
                    <a:lnTo>
                      <a:pt x="571" y="584"/>
                    </a:lnTo>
                    <a:lnTo>
                      <a:pt x="576" y="605"/>
                    </a:lnTo>
                    <a:lnTo>
                      <a:pt x="578" y="628"/>
                    </a:lnTo>
                    <a:lnTo>
                      <a:pt x="579" y="650"/>
                    </a:lnTo>
                    <a:lnTo>
                      <a:pt x="578" y="674"/>
                    </a:lnTo>
                    <a:lnTo>
                      <a:pt x="574" y="697"/>
                    </a:lnTo>
                    <a:lnTo>
                      <a:pt x="568" y="721"/>
                    </a:lnTo>
                    <a:lnTo>
                      <a:pt x="560" y="744"/>
                    </a:lnTo>
                    <a:lnTo>
                      <a:pt x="550" y="766"/>
                    </a:lnTo>
                    <a:lnTo>
                      <a:pt x="550" y="766"/>
                    </a:lnTo>
                    <a:lnTo>
                      <a:pt x="539" y="787"/>
                    </a:lnTo>
                    <a:lnTo>
                      <a:pt x="527" y="807"/>
                    </a:lnTo>
                    <a:lnTo>
                      <a:pt x="513" y="827"/>
                    </a:lnTo>
                    <a:lnTo>
                      <a:pt x="500" y="846"/>
                    </a:lnTo>
                    <a:lnTo>
                      <a:pt x="485" y="864"/>
                    </a:lnTo>
                    <a:lnTo>
                      <a:pt x="470" y="882"/>
                    </a:lnTo>
                    <a:lnTo>
                      <a:pt x="455" y="899"/>
                    </a:lnTo>
                    <a:lnTo>
                      <a:pt x="439" y="915"/>
                    </a:lnTo>
                    <a:lnTo>
                      <a:pt x="404" y="948"/>
                    </a:lnTo>
                    <a:lnTo>
                      <a:pt x="369" y="980"/>
                    </a:lnTo>
                    <a:lnTo>
                      <a:pt x="296" y="1043"/>
                    </a:lnTo>
                    <a:lnTo>
                      <a:pt x="296" y="1043"/>
                    </a:lnTo>
                    <a:lnTo>
                      <a:pt x="292" y="1045"/>
                    </a:lnTo>
                    <a:lnTo>
                      <a:pt x="288" y="1047"/>
                    </a:lnTo>
                    <a:lnTo>
                      <a:pt x="283" y="1048"/>
                    </a:lnTo>
                    <a:lnTo>
                      <a:pt x="278" y="1048"/>
                    </a:lnTo>
                    <a:lnTo>
                      <a:pt x="273" y="1048"/>
                    </a:lnTo>
                    <a:lnTo>
                      <a:pt x="268" y="1047"/>
                    </a:lnTo>
                    <a:lnTo>
                      <a:pt x="264" y="1045"/>
                    </a:lnTo>
                    <a:lnTo>
                      <a:pt x="261" y="1043"/>
                    </a:lnTo>
                    <a:lnTo>
                      <a:pt x="261" y="1043"/>
                    </a:lnTo>
                    <a:lnTo>
                      <a:pt x="199" y="1011"/>
                    </a:lnTo>
                    <a:lnTo>
                      <a:pt x="138" y="980"/>
                    </a:lnTo>
                    <a:lnTo>
                      <a:pt x="21" y="915"/>
                    </a:lnTo>
                    <a:lnTo>
                      <a:pt x="21" y="915"/>
                    </a:lnTo>
                    <a:lnTo>
                      <a:pt x="16" y="912"/>
                    </a:lnTo>
                    <a:lnTo>
                      <a:pt x="12" y="909"/>
                    </a:lnTo>
                    <a:lnTo>
                      <a:pt x="9" y="905"/>
                    </a:lnTo>
                    <a:lnTo>
                      <a:pt x="6" y="901"/>
                    </a:lnTo>
                    <a:lnTo>
                      <a:pt x="2" y="893"/>
                    </a:lnTo>
                    <a:lnTo>
                      <a:pt x="0" y="887"/>
                    </a:lnTo>
                    <a:lnTo>
                      <a:pt x="0" y="887"/>
                    </a:lnTo>
                    <a:lnTo>
                      <a:pt x="6" y="842"/>
                    </a:lnTo>
                    <a:lnTo>
                      <a:pt x="12" y="796"/>
                    </a:lnTo>
                    <a:lnTo>
                      <a:pt x="26" y="707"/>
                    </a:lnTo>
                    <a:lnTo>
                      <a:pt x="41" y="619"/>
                    </a:lnTo>
                    <a:lnTo>
                      <a:pt x="56" y="533"/>
                    </a:lnTo>
                    <a:lnTo>
                      <a:pt x="56" y="533"/>
                    </a:lnTo>
                    <a:lnTo>
                      <a:pt x="59" y="522"/>
                    </a:lnTo>
                    <a:lnTo>
                      <a:pt x="62" y="512"/>
                    </a:lnTo>
                    <a:lnTo>
                      <a:pt x="67" y="502"/>
                    </a:lnTo>
                    <a:lnTo>
                      <a:pt x="72" y="493"/>
                    </a:lnTo>
                    <a:lnTo>
                      <a:pt x="76" y="485"/>
                    </a:lnTo>
                    <a:lnTo>
                      <a:pt x="81" y="477"/>
                    </a:lnTo>
                    <a:lnTo>
                      <a:pt x="87" y="470"/>
                    </a:lnTo>
                    <a:lnTo>
                      <a:pt x="93" y="463"/>
                    </a:lnTo>
                    <a:lnTo>
                      <a:pt x="99" y="457"/>
                    </a:lnTo>
                    <a:lnTo>
                      <a:pt x="106" y="451"/>
                    </a:lnTo>
                    <a:lnTo>
                      <a:pt x="113" y="445"/>
                    </a:lnTo>
                    <a:lnTo>
                      <a:pt x="121" y="441"/>
                    </a:lnTo>
                    <a:lnTo>
                      <a:pt x="129" y="436"/>
                    </a:lnTo>
                    <a:lnTo>
                      <a:pt x="137" y="432"/>
                    </a:lnTo>
                    <a:lnTo>
                      <a:pt x="155" y="426"/>
                    </a:lnTo>
                    <a:lnTo>
                      <a:pt x="155" y="426"/>
                    </a:lnTo>
                    <a:lnTo>
                      <a:pt x="167" y="423"/>
                    </a:lnTo>
                    <a:lnTo>
                      <a:pt x="180" y="418"/>
                    </a:lnTo>
                    <a:lnTo>
                      <a:pt x="190" y="413"/>
                    </a:lnTo>
                    <a:lnTo>
                      <a:pt x="200" y="406"/>
                    </a:lnTo>
                    <a:lnTo>
                      <a:pt x="208" y="398"/>
                    </a:lnTo>
                    <a:lnTo>
                      <a:pt x="217" y="389"/>
                    </a:lnTo>
                    <a:lnTo>
                      <a:pt x="225" y="380"/>
                    </a:lnTo>
                    <a:lnTo>
                      <a:pt x="233" y="369"/>
                    </a:lnTo>
                    <a:lnTo>
                      <a:pt x="233" y="369"/>
                    </a:lnTo>
                    <a:lnTo>
                      <a:pt x="264" y="301"/>
                    </a:lnTo>
                    <a:lnTo>
                      <a:pt x="297" y="236"/>
                    </a:lnTo>
                    <a:lnTo>
                      <a:pt x="331" y="171"/>
                    </a:lnTo>
                    <a:lnTo>
                      <a:pt x="366" y="107"/>
                    </a:lnTo>
                    <a:lnTo>
                      <a:pt x="366" y="107"/>
                    </a:lnTo>
                    <a:lnTo>
                      <a:pt x="375" y="92"/>
                    </a:lnTo>
                    <a:lnTo>
                      <a:pt x="384" y="78"/>
                    </a:lnTo>
                    <a:lnTo>
                      <a:pt x="394" y="63"/>
                    </a:lnTo>
                    <a:lnTo>
                      <a:pt x="405" y="50"/>
                    </a:lnTo>
                    <a:lnTo>
                      <a:pt x="426" y="26"/>
                    </a:lnTo>
                    <a:lnTo>
                      <a:pt x="436" y="13"/>
                    </a:lnTo>
                    <a:lnTo>
                      <a:pt x="444" y="0"/>
                    </a:lnTo>
                    <a:lnTo>
                      <a:pt x="47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5" name="Freeform 10"/>
              <p:cNvSpPr>
                <a:spLocks/>
              </p:cNvSpPr>
              <p:nvPr/>
            </p:nvSpPr>
            <p:spPr bwMode="auto">
              <a:xfrm>
                <a:off x="6537325" y="1960563"/>
                <a:ext cx="225425" cy="276225"/>
              </a:xfrm>
              <a:custGeom>
                <a:avLst/>
                <a:gdLst>
                  <a:gd name="T0" fmla="*/ 902 w 1143"/>
                  <a:gd name="T1" fmla="*/ 0 h 1394"/>
                  <a:gd name="T2" fmla="*/ 964 w 1143"/>
                  <a:gd name="T3" fmla="*/ 35 h 1394"/>
                  <a:gd name="T4" fmla="*/ 1084 w 1143"/>
                  <a:gd name="T5" fmla="*/ 96 h 1394"/>
                  <a:gd name="T6" fmla="*/ 1143 w 1143"/>
                  <a:gd name="T7" fmla="*/ 127 h 1394"/>
                  <a:gd name="T8" fmla="*/ 1132 w 1143"/>
                  <a:gd name="T9" fmla="*/ 155 h 1394"/>
                  <a:gd name="T10" fmla="*/ 1122 w 1143"/>
                  <a:gd name="T11" fmla="*/ 177 h 1394"/>
                  <a:gd name="T12" fmla="*/ 1004 w 1143"/>
                  <a:gd name="T13" fmla="*/ 399 h 1394"/>
                  <a:gd name="T14" fmla="*/ 881 w 1143"/>
                  <a:gd name="T15" fmla="*/ 623 h 1394"/>
                  <a:gd name="T16" fmla="*/ 862 w 1143"/>
                  <a:gd name="T17" fmla="*/ 661 h 1394"/>
                  <a:gd name="T18" fmla="*/ 828 w 1143"/>
                  <a:gd name="T19" fmla="*/ 740 h 1394"/>
                  <a:gd name="T20" fmla="*/ 800 w 1143"/>
                  <a:gd name="T21" fmla="*/ 818 h 1394"/>
                  <a:gd name="T22" fmla="*/ 777 w 1143"/>
                  <a:gd name="T23" fmla="*/ 898 h 1394"/>
                  <a:gd name="T24" fmla="*/ 760 w 1143"/>
                  <a:gd name="T25" fmla="*/ 978 h 1394"/>
                  <a:gd name="T26" fmla="*/ 748 w 1143"/>
                  <a:gd name="T27" fmla="*/ 1061 h 1394"/>
                  <a:gd name="T28" fmla="*/ 740 w 1143"/>
                  <a:gd name="T29" fmla="*/ 1145 h 1394"/>
                  <a:gd name="T30" fmla="*/ 738 w 1143"/>
                  <a:gd name="T31" fmla="*/ 1231 h 1394"/>
                  <a:gd name="T32" fmla="*/ 739 w 1143"/>
                  <a:gd name="T33" fmla="*/ 1274 h 1394"/>
                  <a:gd name="T34" fmla="*/ 738 w 1143"/>
                  <a:gd name="T35" fmla="*/ 1329 h 1394"/>
                  <a:gd name="T36" fmla="*/ 735 w 1143"/>
                  <a:gd name="T37" fmla="*/ 1356 h 1394"/>
                  <a:gd name="T38" fmla="*/ 729 w 1143"/>
                  <a:gd name="T39" fmla="*/ 1373 h 1394"/>
                  <a:gd name="T40" fmla="*/ 718 w 1143"/>
                  <a:gd name="T41" fmla="*/ 1384 h 1394"/>
                  <a:gd name="T42" fmla="*/ 700 w 1143"/>
                  <a:gd name="T43" fmla="*/ 1391 h 1394"/>
                  <a:gd name="T44" fmla="*/ 675 w 1143"/>
                  <a:gd name="T45" fmla="*/ 1394 h 1394"/>
                  <a:gd name="T46" fmla="*/ 619 w 1143"/>
                  <a:gd name="T47" fmla="*/ 1394 h 1394"/>
                  <a:gd name="T48" fmla="*/ 96 w 1143"/>
                  <a:gd name="T49" fmla="*/ 1394 h 1394"/>
                  <a:gd name="T50" fmla="*/ 81 w 1143"/>
                  <a:gd name="T51" fmla="*/ 1391 h 1394"/>
                  <a:gd name="T52" fmla="*/ 53 w 1143"/>
                  <a:gd name="T53" fmla="*/ 1383 h 1394"/>
                  <a:gd name="T54" fmla="*/ 31 w 1143"/>
                  <a:gd name="T55" fmla="*/ 1371 h 1394"/>
                  <a:gd name="T56" fmla="*/ 15 w 1143"/>
                  <a:gd name="T57" fmla="*/ 1356 h 1394"/>
                  <a:gd name="T58" fmla="*/ 4 w 1143"/>
                  <a:gd name="T59" fmla="*/ 1339 h 1394"/>
                  <a:gd name="T60" fmla="*/ 0 w 1143"/>
                  <a:gd name="T61" fmla="*/ 1317 h 1394"/>
                  <a:gd name="T62" fmla="*/ 2 w 1143"/>
                  <a:gd name="T63" fmla="*/ 1293 h 1394"/>
                  <a:gd name="T64" fmla="*/ 11 w 1143"/>
                  <a:gd name="T65" fmla="*/ 1267 h 1394"/>
                  <a:gd name="T66" fmla="*/ 18 w 1143"/>
                  <a:gd name="T67" fmla="*/ 1253 h 1394"/>
                  <a:gd name="T68" fmla="*/ 357 w 1143"/>
                  <a:gd name="T69" fmla="*/ 595 h 1394"/>
                  <a:gd name="T70" fmla="*/ 375 w 1143"/>
                  <a:gd name="T71" fmla="*/ 571 h 1394"/>
                  <a:gd name="T72" fmla="*/ 395 w 1143"/>
                  <a:gd name="T73" fmla="*/ 556 h 1394"/>
                  <a:gd name="T74" fmla="*/ 420 w 1143"/>
                  <a:gd name="T75" fmla="*/ 547 h 1394"/>
                  <a:gd name="T76" fmla="*/ 450 w 1143"/>
                  <a:gd name="T77" fmla="*/ 545 h 1394"/>
                  <a:gd name="T78" fmla="*/ 470 w 1143"/>
                  <a:gd name="T79" fmla="*/ 546 h 1394"/>
                  <a:gd name="T80" fmla="*/ 508 w 1143"/>
                  <a:gd name="T81" fmla="*/ 545 h 1394"/>
                  <a:gd name="T82" fmla="*/ 544 w 1143"/>
                  <a:gd name="T83" fmla="*/ 538 h 1394"/>
                  <a:gd name="T84" fmla="*/ 575 w 1143"/>
                  <a:gd name="T85" fmla="*/ 525 h 1394"/>
                  <a:gd name="T86" fmla="*/ 604 w 1143"/>
                  <a:gd name="T87" fmla="*/ 507 h 1394"/>
                  <a:gd name="T88" fmla="*/ 629 w 1143"/>
                  <a:gd name="T89" fmla="*/ 483 h 1394"/>
                  <a:gd name="T90" fmla="*/ 653 w 1143"/>
                  <a:gd name="T91" fmla="*/ 455 h 1394"/>
                  <a:gd name="T92" fmla="*/ 674 w 1143"/>
                  <a:gd name="T93" fmla="*/ 421 h 1394"/>
                  <a:gd name="T94" fmla="*/ 683 w 1143"/>
                  <a:gd name="T95" fmla="*/ 403 h 1394"/>
                  <a:gd name="T96" fmla="*/ 790 w 1143"/>
                  <a:gd name="T97" fmla="*/ 204 h 1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143" h="1394">
                    <a:moveTo>
                      <a:pt x="902" y="0"/>
                    </a:moveTo>
                    <a:lnTo>
                      <a:pt x="902" y="0"/>
                    </a:lnTo>
                    <a:lnTo>
                      <a:pt x="934" y="18"/>
                    </a:lnTo>
                    <a:lnTo>
                      <a:pt x="964" y="35"/>
                    </a:lnTo>
                    <a:lnTo>
                      <a:pt x="1025" y="66"/>
                    </a:lnTo>
                    <a:lnTo>
                      <a:pt x="1084" y="96"/>
                    </a:lnTo>
                    <a:lnTo>
                      <a:pt x="1143" y="127"/>
                    </a:lnTo>
                    <a:lnTo>
                      <a:pt x="1143" y="127"/>
                    </a:lnTo>
                    <a:lnTo>
                      <a:pt x="1137" y="141"/>
                    </a:lnTo>
                    <a:lnTo>
                      <a:pt x="1132" y="155"/>
                    </a:lnTo>
                    <a:lnTo>
                      <a:pt x="1122" y="177"/>
                    </a:lnTo>
                    <a:lnTo>
                      <a:pt x="1122" y="177"/>
                    </a:lnTo>
                    <a:lnTo>
                      <a:pt x="1063" y="288"/>
                    </a:lnTo>
                    <a:lnTo>
                      <a:pt x="1004" y="399"/>
                    </a:lnTo>
                    <a:lnTo>
                      <a:pt x="943" y="511"/>
                    </a:lnTo>
                    <a:lnTo>
                      <a:pt x="881" y="623"/>
                    </a:lnTo>
                    <a:lnTo>
                      <a:pt x="881" y="623"/>
                    </a:lnTo>
                    <a:lnTo>
                      <a:pt x="862" y="661"/>
                    </a:lnTo>
                    <a:lnTo>
                      <a:pt x="844" y="700"/>
                    </a:lnTo>
                    <a:lnTo>
                      <a:pt x="828" y="740"/>
                    </a:lnTo>
                    <a:lnTo>
                      <a:pt x="813" y="778"/>
                    </a:lnTo>
                    <a:lnTo>
                      <a:pt x="800" y="818"/>
                    </a:lnTo>
                    <a:lnTo>
                      <a:pt x="788" y="857"/>
                    </a:lnTo>
                    <a:lnTo>
                      <a:pt x="777" y="898"/>
                    </a:lnTo>
                    <a:lnTo>
                      <a:pt x="768" y="938"/>
                    </a:lnTo>
                    <a:lnTo>
                      <a:pt x="760" y="978"/>
                    </a:lnTo>
                    <a:lnTo>
                      <a:pt x="754" y="1019"/>
                    </a:lnTo>
                    <a:lnTo>
                      <a:pt x="748" y="1061"/>
                    </a:lnTo>
                    <a:lnTo>
                      <a:pt x="743" y="1103"/>
                    </a:lnTo>
                    <a:lnTo>
                      <a:pt x="740" y="1145"/>
                    </a:lnTo>
                    <a:lnTo>
                      <a:pt x="739" y="1188"/>
                    </a:lnTo>
                    <a:lnTo>
                      <a:pt x="738" y="1231"/>
                    </a:lnTo>
                    <a:lnTo>
                      <a:pt x="739" y="1274"/>
                    </a:lnTo>
                    <a:lnTo>
                      <a:pt x="739" y="1274"/>
                    </a:lnTo>
                    <a:lnTo>
                      <a:pt x="739" y="1313"/>
                    </a:lnTo>
                    <a:lnTo>
                      <a:pt x="738" y="1329"/>
                    </a:lnTo>
                    <a:lnTo>
                      <a:pt x="737" y="1344"/>
                    </a:lnTo>
                    <a:lnTo>
                      <a:pt x="735" y="1356"/>
                    </a:lnTo>
                    <a:lnTo>
                      <a:pt x="733" y="1365"/>
                    </a:lnTo>
                    <a:lnTo>
                      <a:pt x="729" y="1373"/>
                    </a:lnTo>
                    <a:lnTo>
                      <a:pt x="724" y="1380"/>
                    </a:lnTo>
                    <a:lnTo>
                      <a:pt x="718" y="1384"/>
                    </a:lnTo>
                    <a:lnTo>
                      <a:pt x="710" y="1388"/>
                    </a:lnTo>
                    <a:lnTo>
                      <a:pt x="700" y="1391"/>
                    </a:lnTo>
                    <a:lnTo>
                      <a:pt x="689" y="1393"/>
                    </a:lnTo>
                    <a:lnTo>
                      <a:pt x="675" y="1394"/>
                    </a:lnTo>
                    <a:lnTo>
                      <a:pt x="659" y="1394"/>
                    </a:lnTo>
                    <a:lnTo>
                      <a:pt x="619" y="1394"/>
                    </a:lnTo>
                    <a:lnTo>
                      <a:pt x="138" y="1394"/>
                    </a:lnTo>
                    <a:lnTo>
                      <a:pt x="96" y="1394"/>
                    </a:lnTo>
                    <a:lnTo>
                      <a:pt x="96" y="1394"/>
                    </a:lnTo>
                    <a:lnTo>
                      <a:pt x="81" y="1391"/>
                    </a:lnTo>
                    <a:lnTo>
                      <a:pt x="67" y="1388"/>
                    </a:lnTo>
                    <a:lnTo>
                      <a:pt x="53" y="1383"/>
                    </a:lnTo>
                    <a:lnTo>
                      <a:pt x="41" y="1377"/>
                    </a:lnTo>
                    <a:lnTo>
                      <a:pt x="31" y="1371"/>
                    </a:lnTo>
                    <a:lnTo>
                      <a:pt x="22" y="1364"/>
                    </a:lnTo>
                    <a:lnTo>
                      <a:pt x="15" y="1356"/>
                    </a:lnTo>
                    <a:lnTo>
                      <a:pt x="9" y="1348"/>
                    </a:lnTo>
                    <a:lnTo>
                      <a:pt x="4" y="1339"/>
                    </a:lnTo>
                    <a:lnTo>
                      <a:pt x="1" y="1328"/>
                    </a:lnTo>
                    <a:lnTo>
                      <a:pt x="0" y="1317"/>
                    </a:lnTo>
                    <a:lnTo>
                      <a:pt x="0" y="1305"/>
                    </a:lnTo>
                    <a:lnTo>
                      <a:pt x="2" y="1293"/>
                    </a:lnTo>
                    <a:lnTo>
                      <a:pt x="6" y="1281"/>
                    </a:lnTo>
                    <a:lnTo>
                      <a:pt x="11" y="1267"/>
                    </a:lnTo>
                    <a:lnTo>
                      <a:pt x="18" y="1253"/>
                    </a:lnTo>
                    <a:lnTo>
                      <a:pt x="18" y="1253"/>
                    </a:lnTo>
                    <a:lnTo>
                      <a:pt x="357" y="595"/>
                    </a:lnTo>
                    <a:lnTo>
                      <a:pt x="357" y="595"/>
                    </a:lnTo>
                    <a:lnTo>
                      <a:pt x="366" y="582"/>
                    </a:lnTo>
                    <a:lnTo>
                      <a:pt x="375" y="571"/>
                    </a:lnTo>
                    <a:lnTo>
                      <a:pt x="384" y="563"/>
                    </a:lnTo>
                    <a:lnTo>
                      <a:pt x="395" y="556"/>
                    </a:lnTo>
                    <a:lnTo>
                      <a:pt x="408" y="551"/>
                    </a:lnTo>
                    <a:lnTo>
                      <a:pt x="420" y="547"/>
                    </a:lnTo>
                    <a:lnTo>
                      <a:pt x="434" y="545"/>
                    </a:lnTo>
                    <a:lnTo>
                      <a:pt x="450" y="545"/>
                    </a:lnTo>
                    <a:lnTo>
                      <a:pt x="450" y="545"/>
                    </a:lnTo>
                    <a:lnTo>
                      <a:pt x="470" y="546"/>
                    </a:lnTo>
                    <a:lnTo>
                      <a:pt x="490" y="547"/>
                    </a:lnTo>
                    <a:lnTo>
                      <a:pt x="508" y="545"/>
                    </a:lnTo>
                    <a:lnTo>
                      <a:pt x="527" y="542"/>
                    </a:lnTo>
                    <a:lnTo>
                      <a:pt x="544" y="538"/>
                    </a:lnTo>
                    <a:lnTo>
                      <a:pt x="560" y="532"/>
                    </a:lnTo>
                    <a:lnTo>
                      <a:pt x="575" y="525"/>
                    </a:lnTo>
                    <a:lnTo>
                      <a:pt x="590" y="516"/>
                    </a:lnTo>
                    <a:lnTo>
                      <a:pt x="604" y="507"/>
                    </a:lnTo>
                    <a:lnTo>
                      <a:pt x="617" y="495"/>
                    </a:lnTo>
                    <a:lnTo>
                      <a:pt x="629" y="483"/>
                    </a:lnTo>
                    <a:lnTo>
                      <a:pt x="642" y="469"/>
                    </a:lnTo>
                    <a:lnTo>
                      <a:pt x="653" y="455"/>
                    </a:lnTo>
                    <a:lnTo>
                      <a:pt x="664" y="438"/>
                    </a:lnTo>
                    <a:lnTo>
                      <a:pt x="674" y="421"/>
                    </a:lnTo>
                    <a:lnTo>
                      <a:pt x="683" y="403"/>
                    </a:lnTo>
                    <a:lnTo>
                      <a:pt x="683" y="403"/>
                    </a:lnTo>
                    <a:lnTo>
                      <a:pt x="736" y="304"/>
                    </a:lnTo>
                    <a:lnTo>
                      <a:pt x="790" y="204"/>
                    </a:lnTo>
                    <a:lnTo>
                      <a:pt x="90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6" name="Freeform 11"/>
              <p:cNvSpPr>
                <a:spLocks/>
              </p:cNvSpPr>
              <p:nvPr/>
            </p:nvSpPr>
            <p:spPr bwMode="auto">
              <a:xfrm>
                <a:off x="6537325" y="1960563"/>
                <a:ext cx="225425" cy="276225"/>
              </a:xfrm>
              <a:custGeom>
                <a:avLst/>
                <a:gdLst>
                  <a:gd name="T0" fmla="*/ 902 w 1143"/>
                  <a:gd name="T1" fmla="*/ 0 h 1394"/>
                  <a:gd name="T2" fmla="*/ 964 w 1143"/>
                  <a:gd name="T3" fmla="*/ 35 h 1394"/>
                  <a:gd name="T4" fmla="*/ 1084 w 1143"/>
                  <a:gd name="T5" fmla="*/ 96 h 1394"/>
                  <a:gd name="T6" fmla="*/ 1143 w 1143"/>
                  <a:gd name="T7" fmla="*/ 127 h 1394"/>
                  <a:gd name="T8" fmla="*/ 1132 w 1143"/>
                  <a:gd name="T9" fmla="*/ 155 h 1394"/>
                  <a:gd name="T10" fmla="*/ 1122 w 1143"/>
                  <a:gd name="T11" fmla="*/ 177 h 1394"/>
                  <a:gd name="T12" fmla="*/ 1004 w 1143"/>
                  <a:gd name="T13" fmla="*/ 399 h 1394"/>
                  <a:gd name="T14" fmla="*/ 881 w 1143"/>
                  <a:gd name="T15" fmla="*/ 623 h 1394"/>
                  <a:gd name="T16" fmla="*/ 862 w 1143"/>
                  <a:gd name="T17" fmla="*/ 661 h 1394"/>
                  <a:gd name="T18" fmla="*/ 828 w 1143"/>
                  <a:gd name="T19" fmla="*/ 740 h 1394"/>
                  <a:gd name="T20" fmla="*/ 800 w 1143"/>
                  <a:gd name="T21" fmla="*/ 818 h 1394"/>
                  <a:gd name="T22" fmla="*/ 777 w 1143"/>
                  <a:gd name="T23" fmla="*/ 898 h 1394"/>
                  <a:gd name="T24" fmla="*/ 760 w 1143"/>
                  <a:gd name="T25" fmla="*/ 978 h 1394"/>
                  <a:gd name="T26" fmla="*/ 748 w 1143"/>
                  <a:gd name="T27" fmla="*/ 1061 h 1394"/>
                  <a:gd name="T28" fmla="*/ 740 w 1143"/>
                  <a:gd name="T29" fmla="*/ 1145 h 1394"/>
                  <a:gd name="T30" fmla="*/ 738 w 1143"/>
                  <a:gd name="T31" fmla="*/ 1231 h 1394"/>
                  <a:gd name="T32" fmla="*/ 739 w 1143"/>
                  <a:gd name="T33" fmla="*/ 1274 h 1394"/>
                  <a:gd name="T34" fmla="*/ 738 w 1143"/>
                  <a:gd name="T35" fmla="*/ 1329 h 1394"/>
                  <a:gd name="T36" fmla="*/ 735 w 1143"/>
                  <a:gd name="T37" fmla="*/ 1356 h 1394"/>
                  <a:gd name="T38" fmla="*/ 729 w 1143"/>
                  <a:gd name="T39" fmla="*/ 1373 h 1394"/>
                  <a:gd name="T40" fmla="*/ 718 w 1143"/>
                  <a:gd name="T41" fmla="*/ 1384 h 1394"/>
                  <a:gd name="T42" fmla="*/ 700 w 1143"/>
                  <a:gd name="T43" fmla="*/ 1391 h 1394"/>
                  <a:gd name="T44" fmla="*/ 675 w 1143"/>
                  <a:gd name="T45" fmla="*/ 1394 h 1394"/>
                  <a:gd name="T46" fmla="*/ 619 w 1143"/>
                  <a:gd name="T47" fmla="*/ 1394 h 1394"/>
                  <a:gd name="T48" fmla="*/ 96 w 1143"/>
                  <a:gd name="T49" fmla="*/ 1394 h 1394"/>
                  <a:gd name="T50" fmla="*/ 81 w 1143"/>
                  <a:gd name="T51" fmla="*/ 1391 h 1394"/>
                  <a:gd name="T52" fmla="*/ 53 w 1143"/>
                  <a:gd name="T53" fmla="*/ 1383 h 1394"/>
                  <a:gd name="T54" fmla="*/ 31 w 1143"/>
                  <a:gd name="T55" fmla="*/ 1371 h 1394"/>
                  <a:gd name="T56" fmla="*/ 15 w 1143"/>
                  <a:gd name="T57" fmla="*/ 1356 h 1394"/>
                  <a:gd name="T58" fmla="*/ 4 w 1143"/>
                  <a:gd name="T59" fmla="*/ 1339 h 1394"/>
                  <a:gd name="T60" fmla="*/ 0 w 1143"/>
                  <a:gd name="T61" fmla="*/ 1317 h 1394"/>
                  <a:gd name="T62" fmla="*/ 2 w 1143"/>
                  <a:gd name="T63" fmla="*/ 1293 h 1394"/>
                  <a:gd name="T64" fmla="*/ 11 w 1143"/>
                  <a:gd name="T65" fmla="*/ 1267 h 1394"/>
                  <a:gd name="T66" fmla="*/ 18 w 1143"/>
                  <a:gd name="T67" fmla="*/ 1253 h 1394"/>
                  <a:gd name="T68" fmla="*/ 357 w 1143"/>
                  <a:gd name="T69" fmla="*/ 595 h 1394"/>
                  <a:gd name="T70" fmla="*/ 375 w 1143"/>
                  <a:gd name="T71" fmla="*/ 571 h 1394"/>
                  <a:gd name="T72" fmla="*/ 395 w 1143"/>
                  <a:gd name="T73" fmla="*/ 556 h 1394"/>
                  <a:gd name="T74" fmla="*/ 420 w 1143"/>
                  <a:gd name="T75" fmla="*/ 547 h 1394"/>
                  <a:gd name="T76" fmla="*/ 450 w 1143"/>
                  <a:gd name="T77" fmla="*/ 545 h 1394"/>
                  <a:gd name="T78" fmla="*/ 470 w 1143"/>
                  <a:gd name="T79" fmla="*/ 546 h 1394"/>
                  <a:gd name="T80" fmla="*/ 508 w 1143"/>
                  <a:gd name="T81" fmla="*/ 545 h 1394"/>
                  <a:gd name="T82" fmla="*/ 544 w 1143"/>
                  <a:gd name="T83" fmla="*/ 538 h 1394"/>
                  <a:gd name="T84" fmla="*/ 575 w 1143"/>
                  <a:gd name="T85" fmla="*/ 525 h 1394"/>
                  <a:gd name="T86" fmla="*/ 604 w 1143"/>
                  <a:gd name="T87" fmla="*/ 507 h 1394"/>
                  <a:gd name="T88" fmla="*/ 629 w 1143"/>
                  <a:gd name="T89" fmla="*/ 483 h 1394"/>
                  <a:gd name="T90" fmla="*/ 653 w 1143"/>
                  <a:gd name="T91" fmla="*/ 455 h 1394"/>
                  <a:gd name="T92" fmla="*/ 674 w 1143"/>
                  <a:gd name="T93" fmla="*/ 421 h 1394"/>
                  <a:gd name="T94" fmla="*/ 683 w 1143"/>
                  <a:gd name="T95" fmla="*/ 403 h 1394"/>
                  <a:gd name="T96" fmla="*/ 790 w 1143"/>
                  <a:gd name="T97" fmla="*/ 204 h 1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143" h="1394">
                    <a:moveTo>
                      <a:pt x="902" y="0"/>
                    </a:moveTo>
                    <a:lnTo>
                      <a:pt x="902" y="0"/>
                    </a:lnTo>
                    <a:lnTo>
                      <a:pt x="934" y="18"/>
                    </a:lnTo>
                    <a:lnTo>
                      <a:pt x="964" y="35"/>
                    </a:lnTo>
                    <a:lnTo>
                      <a:pt x="1025" y="66"/>
                    </a:lnTo>
                    <a:lnTo>
                      <a:pt x="1084" y="96"/>
                    </a:lnTo>
                    <a:lnTo>
                      <a:pt x="1143" y="127"/>
                    </a:lnTo>
                    <a:lnTo>
                      <a:pt x="1143" y="127"/>
                    </a:lnTo>
                    <a:lnTo>
                      <a:pt x="1137" y="141"/>
                    </a:lnTo>
                    <a:lnTo>
                      <a:pt x="1132" y="155"/>
                    </a:lnTo>
                    <a:lnTo>
                      <a:pt x="1122" y="177"/>
                    </a:lnTo>
                    <a:lnTo>
                      <a:pt x="1122" y="177"/>
                    </a:lnTo>
                    <a:lnTo>
                      <a:pt x="1063" y="288"/>
                    </a:lnTo>
                    <a:lnTo>
                      <a:pt x="1004" y="399"/>
                    </a:lnTo>
                    <a:lnTo>
                      <a:pt x="943" y="511"/>
                    </a:lnTo>
                    <a:lnTo>
                      <a:pt x="881" y="623"/>
                    </a:lnTo>
                    <a:lnTo>
                      <a:pt x="881" y="623"/>
                    </a:lnTo>
                    <a:lnTo>
                      <a:pt x="862" y="661"/>
                    </a:lnTo>
                    <a:lnTo>
                      <a:pt x="844" y="700"/>
                    </a:lnTo>
                    <a:lnTo>
                      <a:pt x="828" y="740"/>
                    </a:lnTo>
                    <a:lnTo>
                      <a:pt x="813" y="778"/>
                    </a:lnTo>
                    <a:lnTo>
                      <a:pt x="800" y="818"/>
                    </a:lnTo>
                    <a:lnTo>
                      <a:pt x="788" y="857"/>
                    </a:lnTo>
                    <a:lnTo>
                      <a:pt x="777" y="898"/>
                    </a:lnTo>
                    <a:lnTo>
                      <a:pt x="768" y="938"/>
                    </a:lnTo>
                    <a:lnTo>
                      <a:pt x="760" y="978"/>
                    </a:lnTo>
                    <a:lnTo>
                      <a:pt x="754" y="1019"/>
                    </a:lnTo>
                    <a:lnTo>
                      <a:pt x="748" y="1061"/>
                    </a:lnTo>
                    <a:lnTo>
                      <a:pt x="743" y="1103"/>
                    </a:lnTo>
                    <a:lnTo>
                      <a:pt x="740" y="1145"/>
                    </a:lnTo>
                    <a:lnTo>
                      <a:pt x="739" y="1188"/>
                    </a:lnTo>
                    <a:lnTo>
                      <a:pt x="738" y="1231"/>
                    </a:lnTo>
                    <a:lnTo>
                      <a:pt x="739" y="1274"/>
                    </a:lnTo>
                    <a:lnTo>
                      <a:pt x="739" y="1274"/>
                    </a:lnTo>
                    <a:lnTo>
                      <a:pt x="739" y="1313"/>
                    </a:lnTo>
                    <a:lnTo>
                      <a:pt x="738" y="1329"/>
                    </a:lnTo>
                    <a:lnTo>
                      <a:pt x="737" y="1344"/>
                    </a:lnTo>
                    <a:lnTo>
                      <a:pt x="735" y="1356"/>
                    </a:lnTo>
                    <a:lnTo>
                      <a:pt x="733" y="1365"/>
                    </a:lnTo>
                    <a:lnTo>
                      <a:pt x="729" y="1373"/>
                    </a:lnTo>
                    <a:lnTo>
                      <a:pt x="724" y="1380"/>
                    </a:lnTo>
                    <a:lnTo>
                      <a:pt x="718" y="1384"/>
                    </a:lnTo>
                    <a:lnTo>
                      <a:pt x="710" y="1388"/>
                    </a:lnTo>
                    <a:lnTo>
                      <a:pt x="700" y="1391"/>
                    </a:lnTo>
                    <a:lnTo>
                      <a:pt x="689" y="1393"/>
                    </a:lnTo>
                    <a:lnTo>
                      <a:pt x="675" y="1394"/>
                    </a:lnTo>
                    <a:lnTo>
                      <a:pt x="659" y="1394"/>
                    </a:lnTo>
                    <a:lnTo>
                      <a:pt x="619" y="1394"/>
                    </a:lnTo>
                    <a:lnTo>
                      <a:pt x="138" y="1394"/>
                    </a:lnTo>
                    <a:lnTo>
                      <a:pt x="96" y="1394"/>
                    </a:lnTo>
                    <a:lnTo>
                      <a:pt x="96" y="1394"/>
                    </a:lnTo>
                    <a:lnTo>
                      <a:pt x="81" y="1391"/>
                    </a:lnTo>
                    <a:lnTo>
                      <a:pt x="67" y="1388"/>
                    </a:lnTo>
                    <a:lnTo>
                      <a:pt x="53" y="1383"/>
                    </a:lnTo>
                    <a:lnTo>
                      <a:pt x="41" y="1377"/>
                    </a:lnTo>
                    <a:lnTo>
                      <a:pt x="31" y="1371"/>
                    </a:lnTo>
                    <a:lnTo>
                      <a:pt x="22" y="1364"/>
                    </a:lnTo>
                    <a:lnTo>
                      <a:pt x="15" y="1356"/>
                    </a:lnTo>
                    <a:lnTo>
                      <a:pt x="9" y="1348"/>
                    </a:lnTo>
                    <a:lnTo>
                      <a:pt x="4" y="1339"/>
                    </a:lnTo>
                    <a:lnTo>
                      <a:pt x="1" y="1328"/>
                    </a:lnTo>
                    <a:lnTo>
                      <a:pt x="0" y="1317"/>
                    </a:lnTo>
                    <a:lnTo>
                      <a:pt x="0" y="1305"/>
                    </a:lnTo>
                    <a:lnTo>
                      <a:pt x="2" y="1293"/>
                    </a:lnTo>
                    <a:lnTo>
                      <a:pt x="6" y="1281"/>
                    </a:lnTo>
                    <a:lnTo>
                      <a:pt x="11" y="1267"/>
                    </a:lnTo>
                    <a:lnTo>
                      <a:pt x="18" y="1253"/>
                    </a:lnTo>
                    <a:lnTo>
                      <a:pt x="18" y="1253"/>
                    </a:lnTo>
                    <a:lnTo>
                      <a:pt x="357" y="595"/>
                    </a:lnTo>
                    <a:lnTo>
                      <a:pt x="357" y="595"/>
                    </a:lnTo>
                    <a:lnTo>
                      <a:pt x="366" y="582"/>
                    </a:lnTo>
                    <a:lnTo>
                      <a:pt x="375" y="571"/>
                    </a:lnTo>
                    <a:lnTo>
                      <a:pt x="384" y="563"/>
                    </a:lnTo>
                    <a:lnTo>
                      <a:pt x="395" y="556"/>
                    </a:lnTo>
                    <a:lnTo>
                      <a:pt x="408" y="551"/>
                    </a:lnTo>
                    <a:lnTo>
                      <a:pt x="420" y="547"/>
                    </a:lnTo>
                    <a:lnTo>
                      <a:pt x="434" y="545"/>
                    </a:lnTo>
                    <a:lnTo>
                      <a:pt x="450" y="545"/>
                    </a:lnTo>
                    <a:lnTo>
                      <a:pt x="450" y="545"/>
                    </a:lnTo>
                    <a:lnTo>
                      <a:pt x="470" y="546"/>
                    </a:lnTo>
                    <a:lnTo>
                      <a:pt x="490" y="547"/>
                    </a:lnTo>
                    <a:lnTo>
                      <a:pt x="508" y="545"/>
                    </a:lnTo>
                    <a:lnTo>
                      <a:pt x="527" y="542"/>
                    </a:lnTo>
                    <a:lnTo>
                      <a:pt x="544" y="538"/>
                    </a:lnTo>
                    <a:lnTo>
                      <a:pt x="560" y="532"/>
                    </a:lnTo>
                    <a:lnTo>
                      <a:pt x="575" y="525"/>
                    </a:lnTo>
                    <a:lnTo>
                      <a:pt x="590" y="516"/>
                    </a:lnTo>
                    <a:lnTo>
                      <a:pt x="604" y="507"/>
                    </a:lnTo>
                    <a:lnTo>
                      <a:pt x="617" y="495"/>
                    </a:lnTo>
                    <a:lnTo>
                      <a:pt x="629" y="483"/>
                    </a:lnTo>
                    <a:lnTo>
                      <a:pt x="642" y="469"/>
                    </a:lnTo>
                    <a:lnTo>
                      <a:pt x="653" y="455"/>
                    </a:lnTo>
                    <a:lnTo>
                      <a:pt x="664" y="438"/>
                    </a:lnTo>
                    <a:lnTo>
                      <a:pt x="674" y="421"/>
                    </a:lnTo>
                    <a:lnTo>
                      <a:pt x="683" y="403"/>
                    </a:lnTo>
                    <a:lnTo>
                      <a:pt x="683" y="403"/>
                    </a:lnTo>
                    <a:lnTo>
                      <a:pt x="736" y="304"/>
                    </a:lnTo>
                    <a:lnTo>
                      <a:pt x="790" y="204"/>
                    </a:lnTo>
                    <a:lnTo>
                      <a:pt x="902"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7" name="Freeform 12"/>
              <p:cNvSpPr>
                <a:spLocks/>
              </p:cNvSpPr>
              <p:nvPr/>
            </p:nvSpPr>
            <p:spPr bwMode="auto">
              <a:xfrm>
                <a:off x="6276975" y="1809750"/>
                <a:ext cx="230188" cy="274638"/>
              </a:xfrm>
              <a:custGeom>
                <a:avLst/>
                <a:gdLst>
                  <a:gd name="T0" fmla="*/ 1094 w 1160"/>
                  <a:gd name="T1" fmla="*/ 1376 h 1387"/>
                  <a:gd name="T2" fmla="*/ 1068 w 1160"/>
                  <a:gd name="T3" fmla="*/ 1337 h 1387"/>
                  <a:gd name="T4" fmla="*/ 1017 w 1160"/>
                  <a:gd name="T5" fmla="*/ 1282 h 1387"/>
                  <a:gd name="T6" fmla="*/ 957 w 1160"/>
                  <a:gd name="T7" fmla="*/ 1246 h 1387"/>
                  <a:gd name="T8" fmla="*/ 890 w 1160"/>
                  <a:gd name="T9" fmla="*/ 1229 h 1387"/>
                  <a:gd name="T10" fmla="*/ 820 w 1160"/>
                  <a:gd name="T11" fmla="*/ 1232 h 1387"/>
                  <a:gd name="T12" fmla="*/ 749 w 1160"/>
                  <a:gd name="T13" fmla="*/ 1254 h 1387"/>
                  <a:gd name="T14" fmla="*/ 705 w 1160"/>
                  <a:gd name="T15" fmla="*/ 1278 h 1387"/>
                  <a:gd name="T16" fmla="*/ 646 w 1160"/>
                  <a:gd name="T17" fmla="*/ 1310 h 1387"/>
                  <a:gd name="T18" fmla="*/ 624 w 1160"/>
                  <a:gd name="T19" fmla="*/ 1321 h 1387"/>
                  <a:gd name="T20" fmla="*/ 601 w 1160"/>
                  <a:gd name="T21" fmla="*/ 1333 h 1387"/>
                  <a:gd name="T22" fmla="*/ 582 w 1160"/>
                  <a:gd name="T23" fmla="*/ 1334 h 1387"/>
                  <a:gd name="T24" fmla="*/ 567 w 1160"/>
                  <a:gd name="T25" fmla="*/ 1325 h 1387"/>
                  <a:gd name="T26" fmla="*/ 553 w 1160"/>
                  <a:gd name="T27" fmla="*/ 1307 h 1387"/>
                  <a:gd name="T28" fmla="*/ 541 w 1160"/>
                  <a:gd name="T29" fmla="*/ 1280 h 1387"/>
                  <a:gd name="T30" fmla="*/ 531 w 1160"/>
                  <a:gd name="T31" fmla="*/ 1233 h 1387"/>
                  <a:gd name="T32" fmla="*/ 518 w 1160"/>
                  <a:gd name="T33" fmla="*/ 1195 h 1387"/>
                  <a:gd name="T34" fmla="*/ 480 w 1160"/>
                  <a:gd name="T35" fmla="*/ 1139 h 1387"/>
                  <a:gd name="T36" fmla="*/ 426 w 1160"/>
                  <a:gd name="T37" fmla="*/ 1094 h 1387"/>
                  <a:gd name="T38" fmla="*/ 397 w 1160"/>
                  <a:gd name="T39" fmla="*/ 1076 h 1387"/>
                  <a:gd name="T40" fmla="*/ 372 w 1160"/>
                  <a:gd name="T41" fmla="*/ 1052 h 1387"/>
                  <a:gd name="T42" fmla="*/ 353 w 1160"/>
                  <a:gd name="T43" fmla="*/ 1022 h 1387"/>
                  <a:gd name="T44" fmla="*/ 188 w 1160"/>
                  <a:gd name="T45" fmla="*/ 606 h 1387"/>
                  <a:gd name="T46" fmla="*/ 29 w 1160"/>
                  <a:gd name="T47" fmla="*/ 197 h 1387"/>
                  <a:gd name="T48" fmla="*/ 14 w 1160"/>
                  <a:gd name="T49" fmla="*/ 160 h 1387"/>
                  <a:gd name="T50" fmla="*/ 3 w 1160"/>
                  <a:gd name="T51" fmla="*/ 118 h 1387"/>
                  <a:gd name="T52" fmla="*/ 0 w 1160"/>
                  <a:gd name="T53" fmla="*/ 91 h 1387"/>
                  <a:gd name="T54" fmla="*/ 3 w 1160"/>
                  <a:gd name="T55" fmla="*/ 69 h 1387"/>
                  <a:gd name="T56" fmla="*/ 12 w 1160"/>
                  <a:gd name="T57" fmla="*/ 49 h 1387"/>
                  <a:gd name="T58" fmla="*/ 26 w 1160"/>
                  <a:gd name="T59" fmla="*/ 33 h 1387"/>
                  <a:gd name="T60" fmla="*/ 61 w 1160"/>
                  <a:gd name="T61" fmla="*/ 11 h 1387"/>
                  <a:gd name="T62" fmla="*/ 96 w 1160"/>
                  <a:gd name="T63" fmla="*/ 2 h 1387"/>
                  <a:gd name="T64" fmla="*/ 122 w 1160"/>
                  <a:gd name="T65" fmla="*/ 0 h 1387"/>
                  <a:gd name="T66" fmla="*/ 144 w 1160"/>
                  <a:gd name="T67" fmla="*/ 5 h 1387"/>
                  <a:gd name="T68" fmla="*/ 186 w 1160"/>
                  <a:gd name="T69" fmla="*/ 29 h 1387"/>
                  <a:gd name="T70" fmla="*/ 204 w 1160"/>
                  <a:gd name="T71" fmla="*/ 48 h 1387"/>
                  <a:gd name="T72" fmla="*/ 220 w 1160"/>
                  <a:gd name="T73" fmla="*/ 70 h 1387"/>
                  <a:gd name="T74" fmla="*/ 276 w 1160"/>
                  <a:gd name="T75" fmla="*/ 186 h 1387"/>
                  <a:gd name="T76" fmla="*/ 421 w 1160"/>
                  <a:gd name="T77" fmla="*/ 472 h 1387"/>
                  <a:gd name="T78" fmla="*/ 457 w 1160"/>
                  <a:gd name="T79" fmla="*/ 545 h 1387"/>
                  <a:gd name="T80" fmla="*/ 486 w 1160"/>
                  <a:gd name="T81" fmla="*/ 588 h 1387"/>
                  <a:gd name="T82" fmla="*/ 523 w 1160"/>
                  <a:gd name="T83" fmla="*/ 625 h 1387"/>
                  <a:gd name="T84" fmla="*/ 566 w 1160"/>
                  <a:gd name="T85" fmla="*/ 654 h 1387"/>
                  <a:gd name="T86" fmla="*/ 613 w 1160"/>
                  <a:gd name="T87" fmla="*/ 676 h 1387"/>
                  <a:gd name="T88" fmla="*/ 662 w 1160"/>
                  <a:gd name="T89" fmla="*/ 690 h 1387"/>
                  <a:gd name="T90" fmla="*/ 714 w 1160"/>
                  <a:gd name="T91" fmla="*/ 696 h 1387"/>
                  <a:gd name="T92" fmla="*/ 763 w 1160"/>
                  <a:gd name="T93" fmla="*/ 694 h 1387"/>
                  <a:gd name="T94" fmla="*/ 812 w 1160"/>
                  <a:gd name="T95" fmla="*/ 684 h 1387"/>
                  <a:gd name="T96" fmla="*/ 855 w 1160"/>
                  <a:gd name="T97" fmla="*/ 664 h 1387"/>
                  <a:gd name="T98" fmla="*/ 892 w 1160"/>
                  <a:gd name="T99" fmla="*/ 634 h 1387"/>
                  <a:gd name="T100" fmla="*/ 912 w 1160"/>
                  <a:gd name="T101" fmla="*/ 615 h 1387"/>
                  <a:gd name="T102" fmla="*/ 934 w 1160"/>
                  <a:gd name="T103" fmla="*/ 599 h 1387"/>
                  <a:gd name="T104" fmla="*/ 952 w 1160"/>
                  <a:gd name="T105" fmla="*/ 594 h 1387"/>
                  <a:gd name="T106" fmla="*/ 967 w 1160"/>
                  <a:gd name="T107" fmla="*/ 600 h 1387"/>
                  <a:gd name="T108" fmla="*/ 980 w 1160"/>
                  <a:gd name="T109" fmla="*/ 617 h 1387"/>
                  <a:gd name="T110" fmla="*/ 989 w 1160"/>
                  <a:gd name="T111" fmla="*/ 643 h 1387"/>
                  <a:gd name="T112" fmla="*/ 1074 w 1160"/>
                  <a:gd name="T113" fmla="*/ 961 h 1387"/>
                  <a:gd name="T114" fmla="*/ 1153 w 1160"/>
                  <a:gd name="T115" fmla="*/ 1273 h 1387"/>
                  <a:gd name="T116" fmla="*/ 1160 w 1160"/>
                  <a:gd name="T117" fmla="*/ 1304 h 1387"/>
                  <a:gd name="T118" fmla="*/ 1157 w 1160"/>
                  <a:gd name="T119" fmla="*/ 1325 h 1387"/>
                  <a:gd name="T120" fmla="*/ 1148 w 1160"/>
                  <a:gd name="T121" fmla="*/ 1346 h 1387"/>
                  <a:gd name="T122" fmla="*/ 1130 w 1160"/>
                  <a:gd name="T123" fmla="*/ 1367 h 1387"/>
                  <a:gd name="T124" fmla="*/ 1103 w 1160"/>
                  <a:gd name="T125" fmla="*/ 1387 h 1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160" h="1387">
                    <a:moveTo>
                      <a:pt x="1103" y="1387"/>
                    </a:moveTo>
                    <a:lnTo>
                      <a:pt x="1103" y="1387"/>
                    </a:lnTo>
                    <a:lnTo>
                      <a:pt x="1094" y="1376"/>
                    </a:lnTo>
                    <a:lnTo>
                      <a:pt x="1085" y="1365"/>
                    </a:lnTo>
                    <a:lnTo>
                      <a:pt x="1068" y="1337"/>
                    </a:lnTo>
                    <a:lnTo>
                      <a:pt x="1068" y="1337"/>
                    </a:lnTo>
                    <a:lnTo>
                      <a:pt x="1052" y="1316"/>
                    </a:lnTo>
                    <a:lnTo>
                      <a:pt x="1036" y="1298"/>
                    </a:lnTo>
                    <a:lnTo>
                      <a:pt x="1017" y="1282"/>
                    </a:lnTo>
                    <a:lnTo>
                      <a:pt x="998" y="1268"/>
                    </a:lnTo>
                    <a:lnTo>
                      <a:pt x="978" y="1256"/>
                    </a:lnTo>
                    <a:lnTo>
                      <a:pt x="957" y="1246"/>
                    </a:lnTo>
                    <a:lnTo>
                      <a:pt x="936" y="1239"/>
                    </a:lnTo>
                    <a:lnTo>
                      <a:pt x="913" y="1233"/>
                    </a:lnTo>
                    <a:lnTo>
                      <a:pt x="890" y="1229"/>
                    </a:lnTo>
                    <a:lnTo>
                      <a:pt x="867" y="1228"/>
                    </a:lnTo>
                    <a:lnTo>
                      <a:pt x="843" y="1229"/>
                    </a:lnTo>
                    <a:lnTo>
                      <a:pt x="820" y="1232"/>
                    </a:lnTo>
                    <a:lnTo>
                      <a:pt x="796" y="1237"/>
                    </a:lnTo>
                    <a:lnTo>
                      <a:pt x="772" y="1244"/>
                    </a:lnTo>
                    <a:lnTo>
                      <a:pt x="749" y="1254"/>
                    </a:lnTo>
                    <a:lnTo>
                      <a:pt x="726" y="1266"/>
                    </a:lnTo>
                    <a:lnTo>
                      <a:pt x="726" y="1266"/>
                    </a:lnTo>
                    <a:lnTo>
                      <a:pt x="705" y="1278"/>
                    </a:lnTo>
                    <a:lnTo>
                      <a:pt x="683" y="1291"/>
                    </a:lnTo>
                    <a:lnTo>
                      <a:pt x="659" y="1304"/>
                    </a:lnTo>
                    <a:lnTo>
                      <a:pt x="646" y="1310"/>
                    </a:lnTo>
                    <a:lnTo>
                      <a:pt x="633" y="1315"/>
                    </a:lnTo>
                    <a:lnTo>
                      <a:pt x="633" y="1315"/>
                    </a:lnTo>
                    <a:lnTo>
                      <a:pt x="624" y="1321"/>
                    </a:lnTo>
                    <a:lnTo>
                      <a:pt x="616" y="1326"/>
                    </a:lnTo>
                    <a:lnTo>
                      <a:pt x="608" y="1330"/>
                    </a:lnTo>
                    <a:lnTo>
                      <a:pt x="601" y="1333"/>
                    </a:lnTo>
                    <a:lnTo>
                      <a:pt x="595" y="1334"/>
                    </a:lnTo>
                    <a:lnTo>
                      <a:pt x="588" y="1335"/>
                    </a:lnTo>
                    <a:lnTo>
                      <a:pt x="582" y="1334"/>
                    </a:lnTo>
                    <a:lnTo>
                      <a:pt x="577" y="1332"/>
                    </a:lnTo>
                    <a:lnTo>
                      <a:pt x="572" y="1329"/>
                    </a:lnTo>
                    <a:lnTo>
                      <a:pt x="567" y="1325"/>
                    </a:lnTo>
                    <a:lnTo>
                      <a:pt x="561" y="1320"/>
                    </a:lnTo>
                    <a:lnTo>
                      <a:pt x="557" y="1314"/>
                    </a:lnTo>
                    <a:lnTo>
                      <a:pt x="553" y="1307"/>
                    </a:lnTo>
                    <a:lnTo>
                      <a:pt x="549" y="1299"/>
                    </a:lnTo>
                    <a:lnTo>
                      <a:pt x="541" y="1280"/>
                    </a:lnTo>
                    <a:lnTo>
                      <a:pt x="541" y="1280"/>
                    </a:lnTo>
                    <a:lnTo>
                      <a:pt x="536" y="1264"/>
                    </a:lnTo>
                    <a:lnTo>
                      <a:pt x="534" y="1249"/>
                    </a:lnTo>
                    <a:lnTo>
                      <a:pt x="531" y="1233"/>
                    </a:lnTo>
                    <a:lnTo>
                      <a:pt x="527" y="1217"/>
                    </a:lnTo>
                    <a:lnTo>
                      <a:pt x="527" y="1217"/>
                    </a:lnTo>
                    <a:lnTo>
                      <a:pt x="518" y="1195"/>
                    </a:lnTo>
                    <a:lnTo>
                      <a:pt x="507" y="1175"/>
                    </a:lnTo>
                    <a:lnTo>
                      <a:pt x="494" y="1156"/>
                    </a:lnTo>
                    <a:lnTo>
                      <a:pt x="480" y="1139"/>
                    </a:lnTo>
                    <a:lnTo>
                      <a:pt x="464" y="1122"/>
                    </a:lnTo>
                    <a:lnTo>
                      <a:pt x="445" y="1107"/>
                    </a:lnTo>
                    <a:lnTo>
                      <a:pt x="426" y="1094"/>
                    </a:lnTo>
                    <a:lnTo>
                      <a:pt x="406" y="1082"/>
                    </a:lnTo>
                    <a:lnTo>
                      <a:pt x="406" y="1082"/>
                    </a:lnTo>
                    <a:lnTo>
                      <a:pt x="397" y="1076"/>
                    </a:lnTo>
                    <a:lnTo>
                      <a:pt x="389" y="1069"/>
                    </a:lnTo>
                    <a:lnTo>
                      <a:pt x="380" y="1061"/>
                    </a:lnTo>
                    <a:lnTo>
                      <a:pt x="372" y="1052"/>
                    </a:lnTo>
                    <a:lnTo>
                      <a:pt x="365" y="1042"/>
                    </a:lnTo>
                    <a:lnTo>
                      <a:pt x="358" y="1032"/>
                    </a:lnTo>
                    <a:lnTo>
                      <a:pt x="353" y="1022"/>
                    </a:lnTo>
                    <a:lnTo>
                      <a:pt x="349" y="1011"/>
                    </a:lnTo>
                    <a:lnTo>
                      <a:pt x="349" y="1011"/>
                    </a:lnTo>
                    <a:lnTo>
                      <a:pt x="188" y="606"/>
                    </a:lnTo>
                    <a:lnTo>
                      <a:pt x="109" y="403"/>
                    </a:lnTo>
                    <a:lnTo>
                      <a:pt x="29" y="197"/>
                    </a:lnTo>
                    <a:lnTo>
                      <a:pt x="29" y="197"/>
                    </a:lnTo>
                    <a:lnTo>
                      <a:pt x="23" y="186"/>
                    </a:lnTo>
                    <a:lnTo>
                      <a:pt x="18" y="174"/>
                    </a:lnTo>
                    <a:lnTo>
                      <a:pt x="14" y="160"/>
                    </a:lnTo>
                    <a:lnTo>
                      <a:pt x="9" y="146"/>
                    </a:lnTo>
                    <a:lnTo>
                      <a:pt x="6" y="132"/>
                    </a:lnTo>
                    <a:lnTo>
                      <a:pt x="3" y="118"/>
                    </a:lnTo>
                    <a:lnTo>
                      <a:pt x="1" y="104"/>
                    </a:lnTo>
                    <a:lnTo>
                      <a:pt x="0" y="91"/>
                    </a:lnTo>
                    <a:lnTo>
                      <a:pt x="0" y="91"/>
                    </a:lnTo>
                    <a:lnTo>
                      <a:pt x="1" y="83"/>
                    </a:lnTo>
                    <a:lnTo>
                      <a:pt x="2" y="76"/>
                    </a:lnTo>
                    <a:lnTo>
                      <a:pt x="3" y="69"/>
                    </a:lnTo>
                    <a:lnTo>
                      <a:pt x="6" y="62"/>
                    </a:lnTo>
                    <a:lnTo>
                      <a:pt x="9" y="55"/>
                    </a:lnTo>
                    <a:lnTo>
                      <a:pt x="12" y="49"/>
                    </a:lnTo>
                    <a:lnTo>
                      <a:pt x="16" y="44"/>
                    </a:lnTo>
                    <a:lnTo>
                      <a:pt x="21" y="38"/>
                    </a:lnTo>
                    <a:lnTo>
                      <a:pt x="26" y="33"/>
                    </a:lnTo>
                    <a:lnTo>
                      <a:pt x="32" y="28"/>
                    </a:lnTo>
                    <a:lnTo>
                      <a:pt x="45" y="20"/>
                    </a:lnTo>
                    <a:lnTo>
                      <a:pt x="61" y="11"/>
                    </a:lnTo>
                    <a:lnTo>
                      <a:pt x="78" y="5"/>
                    </a:lnTo>
                    <a:lnTo>
                      <a:pt x="78" y="5"/>
                    </a:lnTo>
                    <a:lnTo>
                      <a:pt x="96" y="2"/>
                    </a:lnTo>
                    <a:lnTo>
                      <a:pt x="104" y="1"/>
                    </a:lnTo>
                    <a:lnTo>
                      <a:pt x="114" y="0"/>
                    </a:lnTo>
                    <a:lnTo>
                      <a:pt x="122" y="0"/>
                    </a:lnTo>
                    <a:lnTo>
                      <a:pt x="129" y="1"/>
                    </a:lnTo>
                    <a:lnTo>
                      <a:pt x="137" y="3"/>
                    </a:lnTo>
                    <a:lnTo>
                      <a:pt x="144" y="5"/>
                    </a:lnTo>
                    <a:lnTo>
                      <a:pt x="159" y="10"/>
                    </a:lnTo>
                    <a:lnTo>
                      <a:pt x="172" y="19"/>
                    </a:lnTo>
                    <a:lnTo>
                      <a:pt x="186" y="29"/>
                    </a:lnTo>
                    <a:lnTo>
                      <a:pt x="199" y="42"/>
                    </a:lnTo>
                    <a:lnTo>
                      <a:pt x="199" y="42"/>
                    </a:lnTo>
                    <a:lnTo>
                      <a:pt x="204" y="48"/>
                    </a:lnTo>
                    <a:lnTo>
                      <a:pt x="210" y="56"/>
                    </a:lnTo>
                    <a:lnTo>
                      <a:pt x="215" y="63"/>
                    </a:lnTo>
                    <a:lnTo>
                      <a:pt x="220" y="70"/>
                    </a:lnTo>
                    <a:lnTo>
                      <a:pt x="220" y="70"/>
                    </a:lnTo>
                    <a:lnTo>
                      <a:pt x="248" y="128"/>
                    </a:lnTo>
                    <a:lnTo>
                      <a:pt x="276" y="186"/>
                    </a:lnTo>
                    <a:lnTo>
                      <a:pt x="334" y="299"/>
                    </a:lnTo>
                    <a:lnTo>
                      <a:pt x="393" y="414"/>
                    </a:lnTo>
                    <a:lnTo>
                      <a:pt x="421" y="472"/>
                    </a:lnTo>
                    <a:lnTo>
                      <a:pt x="448" y="530"/>
                    </a:lnTo>
                    <a:lnTo>
                      <a:pt x="448" y="530"/>
                    </a:lnTo>
                    <a:lnTo>
                      <a:pt x="457" y="545"/>
                    </a:lnTo>
                    <a:lnTo>
                      <a:pt x="466" y="560"/>
                    </a:lnTo>
                    <a:lnTo>
                      <a:pt x="475" y="574"/>
                    </a:lnTo>
                    <a:lnTo>
                      <a:pt x="486" y="588"/>
                    </a:lnTo>
                    <a:lnTo>
                      <a:pt x="498" y="600"/>
                    </a:lnTo>
                    <a:lnTo>
                      <a:pt x="510" y="613"/>
                    </a:lnTo>
                    <a:lnTo>
                      <a:pt x="523" y="625"/>
                    </a:lnTo>
                    <a:lnTo>
                      <a:pt x="536" y="635"/>
                    </a:lnTo>
                    <a:lnTo>
                      <a:pt x="551" y="645"/>
                    </a:lnTo>
                    <a:lnTo>
                      <a:pt x="566" y="654"/>
                    </a:lnTo>
                    <a:lnTo>
                      <a:pt x="582" y="662"/>
                    </a:lnTo>
                    <a:lnTo>
                      <a:pt x="597" y="669"/>
                    </a:lnTo>
                    <a:lnTo>
                      <a:pt x="613" y="676"/>
                    </a:lnTo>
                    <a:lnTo>
                      <a:pt x="629" y="681"/>
                    </a:lnTo>
                    <a:lnTo>
                      <a:pt x="646" y="686"/>
                    </a:lnTo>
                    <a:lnTo>
                      <a:pt x="662" y="690"/>
                    </a:lnTo>
                    <a:lnTo>
                      <a:pt x="679" y="693"/>
                    </a:lnTo>
                    <a:lnTo>
                      <a:pt x="697" y="695"/>
                    </a:lnTo>
                    <a:lnTo>
                      <a:pt x="714" y="696"/>
                    </a:lnTo>
                    <a:lnTo>
                      <a:pt x="730" y="697"/>
                    </a:lnTo>
                    <a:lnTo>
                      <a:pt x="747" y="696"/>
                    </a:lnTo>
                    <a:lnTo>
                      <a:pt x="763" y="694"/>
                    </a:lnTo>
                    <a:lnTo>
                      <a:pt x="779" y="692"/>
                    </a:lnTo>
                    <a:lnTo>
                      <a:pt x="796" y="688"/>
                    </a:lnTo>
                    <a:lnTo>
                      <a:pt x="812" y="684"/>
                    </a:lnTo>
                    <a:lnTo>
                      <a:pt x="827" y="678"/>
                    </a:lnTo>
                    <a:lnTo>
                      <a:pt x="841" y="671"/>
                    </a:lnTo>
                    <a:lnTo>
                      <a:pt x="855" y="664"/>
                    </a:lnTo>
                    <a:lnTo>
                      <a:pt x="868" y="655"/>
                    </a:lnTo>
                    <a:lnTo>
                      <a:pt x="881" y="645"/>
                    </a:lnTo>
                    <a:lnTo>
                      <a:pt x="892" y="634"/>
                    </a:lnTo>
                    <a:lnTo>
                      <a:pt x="904" y="622"/>
                    </a:lnTo>
                    <a:lnTo>
                      <a:pt x="904" y="622"/>
                    </a:lnTo>
                    <a:lnTo>
                      <a:pt x="912" y="615"/>
                    </a:lnTo>
                    <a:lnTo>
                      <a:pt x="920" y="609"/>
                    </a:lnTo>
                    <a:lnTo>
                      <a:pt x="927" y="603"/>
                    </a:lnTo>
                    <a:lnTo>
                      <a:pt x="934" y="599"/>
                    </a:lnTo>
                    <a:lnTo>
                      <a:pt x="940" y="596"/>
                    </a:lnTo>
                    <a:lnTo>
                      <a:pt x="946" y="595"/>
                    </a:lnTo>
                    <a:lnTo>
                      <a:pt x="952" y="594"/>
                    </a:lnTo>
                    <a:lnTo>
                      <a:pt x="957" y="595"/>
                    </a:lnTo>
                    <a:lnTo>
                      <a:pt x="963" y="597"/>
                    </a:lnTo>
                    <a:lnTo>
                      <a:pt x="967" y="600"/>
                    </a:lnTo>
                    <a:lnTo>
                      <a:pt x="972" y="604"/>
                    </a:lnTo>
                    <a:lnTo>
                      <a:pt x="976" y="610"/>
                    </a:lnTo>
                    <a:lnTo>
                      <a:pt x="980" y="617"/>
                    </a:lnTo>
                    <a:lnTo>
                      <a:pt x="983" y="625"/>
                    </a:lnTo>
                    <a:lnTo>
                      <a:pt x="986" y="633"/>
                    </a:lnTo>
                    <a:lnTo>
                      <a:pt x="989" y="643"/>
                    </a:lnTo>
                    <a:lnTo>
                      <a:pt x="989" y="643"/>
                    </a:lnTo>
                    <a:lnTo>
                      <a:pt x="1032" y="803"/>
                    </a:lnTo>
                    <a:lnTo>
                      <a:pt x="1074" y="961"/>
                    </a:lnTo>
                    <a:lnTo>
                      <a:pt x="1114" y="1118"/>
                    </a:lnTo>
                    <a:lnTo>
                      <a:pt x="1153" y="1273"/>
                    </a:lnTo>
                    <a:lnTo>
                      <a:pt x="1153" y="1273"/>
                    </a:lnTo>
                    <a:lnTo>
                      <a:pt x="1158" y="1289"/>
                    </a:lnTo>
                    <a:lnTo>
                      <a:pt x="1159" y="1296"/>
                    </a:lnTo>
                    <a:lnTo>
                      <a:pt x="1160" y="1304"/>
                    </a:lnTo>
                    <a:lnTo>
                      <a:pt x="1160" y="1311"/>
                    </a:lnTo>
                    <a:lnTo>
                      <a:pt x="1159" y="1318"/>
                    </a:lnTo>
                    <a:lnTo>
                      <a:pt x="1157" y="1325"/>
                    </a:lnTo>
                    <a:lnTo>
                      <a:pt x="1155" y="1332"/>
                    </a:lnTo>
                    <a:lnTo>
                      <a:pt x="1152" y="1339"/>
                    </a:lnTo>
                    <a:lnTo>
                      <a:pt x="1148" y="1346"/>
                    </a:lnTo>
                    <a:lnTo>
                      <a:pt x="1143" y="1354"/>
                    </a:lnTo>
                    <a:lnTo>
                      <a:pt x="1137" y="1360"/>
                    </a:lnTo>
                    <a:lnTo>
                      <a:pt x="1130" y="1367"/>
                    </a:lnTo>
                    <a:lnTo>
                      <a:pt x="1122" y="1374"/>
                    </a:lnTo>
                    <a:lnTo>
                      <a:pt x="1113" y="1380"/>
                    </a:lnTo>
                    <a:lnTo>
                      <a:pt x="1103" y="13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8" name="Freeform 13"/>
              <p:cNvSpPr>
                <a:spLocks/>
              </p:cNvSpPr>
              <p:nvPr/>
            </p:nvSpPr>
            <p:spPr bwMode="auto">
              <a:xfrm>
                <a:off x="6276975" y="1809750"/>
                <a:ext cx="230188" cy="274638"/>
              </a:xfrm>
              <a:custGeom>
                <a:avLst/>
                <a:gdLst>
                  <a:gd name="T0" fmla="*/ 1094 w 1160"/>
                  <a:gd name="T1" fmla="*/ 1376 h 1387"/>
                  <a:gd name="T2" fmla="*/ 1068 w 1160"/>
                  <a:gd name="T3" fmla="*/ 1337 h 1387"/>
                  <a:gd name="T4" fmla="*/ 1017 w 1160"/>
                  <a:gd name="T5" fmla="*/ 1282 h 1387"/>
                  <a:gd name="T6" fmla="*/ 957 w 1160"/>
                  <a:gd name="T7" fmla="*/ 1246 h 1387"/>
                  <a:gd name="T8" fmla="*/ 890 w 1160"/>
                  <a:gd name="T9" fmla="*/ 1229 h 1387"/>
                  <a:gd name="T10" fmla="*/ 820 w 1160"/>
                  <a:gd name="T11" fmla="*/ 1232 h 1387"/>
                  <a:gd name="T12" fmla="*/ 749 w 1160"/>
                  <a:gd name="T13" fmla="*/ 1254 h 1387"/>
                  <a:gd name="T14" fmla="*/ 705 w 1160"/>
                  <a:gd name="T15" fmla="*/ 1278 h 1387"/>
                  <a:gd name="T16" fmla="*/ 646 w 1160"/>
                  <a:gd name="T17" fmla="*/ 1310 h 1387"/>
                  <a:gd name="T18" fmla="*/ 624 w 1160"/>
                  <a:gd name="T19" fmla="*/ 1321 h 1387"/>
                  <a:gd name="T20" fmla="*/ 601 w 1160"/>
                  <a:gd name="T21" fmla="*/ 1333 h 1387"/>
                  <a:gd name="T22" fmla="*/ 582 w 1160"/>
                  <a:gd name="T23" fmla="*/ 1334 h 1387"/>
                  <a:gd name="T24" fmla="*/ 567 w 1160"/>
                  <a:gd name="T25" fmla="*/ 1325 h 1387"/>
                  <a:gd name="T26" fmla="*/ 553 w 1160"/>
                  <a:gd name="T27" fmla="*/ 1307 h 1387"/>
                  <a:gd name="T28" fmla="*/ 541 w 1160"/>
                  <a:gd name="T29" fmla="*/ 1280 h 1387"/>
                  <a:gd name="T30" fmla="*/ 531 w 1160"/>
                  <a:gd name="T31" fmla="*/ 1233 h 1387"/>
                  <a:gd name="T32" fmla="*/ 518 w 1160"/>
                  <a:gd name="T33" fmla="*/ 1195 h 1387"/>
                  <a:gd name="T34" fmla="*/ 480 w 1160"/>
                  <a:gd name="T35" fmla="*/ 1139 h 1387"/>
                  <a:gd name="T36" fmla="*/ 426 w 1160"/>
                  <a:gd name="T37" fmla="*/ 1094 h 1387"/>
                  <a:gd name="T38" fmla="*/ 397 w 1160"/>
                  <a:gd name="T39" fmla="*/ 1076 h 1387"/>
                  <a:gd name="T40" fmla="*/ 372 w 1160"/>
                  <a:gd name="T41" fmla="*/ 1052 h 1387"/>
                  <a:gd name="T42" fmla="*/ 353 w 1160"/>
                  <a:gd name="T43" fmla="*/ 1022 h 1387"/>
                  <a:gd name="T44" fmla="*/ 188 w 1160"/>
                  <a:gd name="T45" fmla="*/ 606 h 1387"/>
                  <a:gd name="T46" fmla="*/ 29 w 1160"/>
                  <a:gd name="T47" fmla="*/ 197 h 1387"/>
                  <a:gd name="T48" fmla="*/ 14 w 1160"/>
                  <a:gd name="T49" fmla="*/ 160 h 1387"/>
                  <a:gd name="T50" fmla="*/ 3 w 1160"/>
                  <a:gd name="T51" fmla="*/ 118 h 1387"/>
                  <a:gd name="T52" fmla="*/ 0 w 1160"/>
                  <a:gd name="T53" fmla="*/ 91 h 1387"/>
                  <a:gd name="T54" fmla="*/ 3 w 1160"/>
                  <a:gd name="T55" fmla="*/ 69 h 1387"/>
                  <a:gd name="T56" fmla="*/ 12 w 1160"/>
                  <a:gd name="T57" fmla="*/ 49 h 1387"/>
                  <a:gd name="T58" fmla="*/ 26 w 1160"/>
                  <a:gd name="T59" fmla="*/ 33 h 1387"/>
                  <a:gd name="T60" fmla="*/ 61 w 1160"/>
                  <a:gd name="T61" fmla="*/ 11 h 1387"/>
                  <a:gd name="T62" fmla="*/ 96 w 1160"/>
                  <a:gd name="T63" fmla="*/ 2 h 1387"/>
                  <a:gd name="T64" fmla="*/ 122 w 1160"/>
                  <a:gd name="T65" fmla="*/ 0 h 1387"/>
                  <a:gd name="T66" fmla="*/ 144 w 1160"/>
                  <a:gd name="T67" fmla="*/ 5 h 1387"/>
                  <a:gd name="T68" fmla="*/ 186 w 1160"/>
                  <a:gd name="T69" fmla="*/ 29 h 1387"/>
                  <a:gd name="T70" fmla="*/ 204 w 1160"/>
                  <a:gd name="T71" fmla="*/ 48 h 1387"/>
                  <a:gd name="T72" fmla="*/ 220 w 1160"/>
                  <a:gd name="T73" fmla="*/ 70 h 1387"/>
                  <a:gd name="T74" fmla="*/ 276 w 1160"/>
                  <a:gd name="T75" fmla="*/ 186 h 1387"/>
                  <a:gd name="T76" fmla="*/ 421 w 1160"/>
                  <a:gd name="T77" fmla="*/ 472 h 1387"/>
                  <a:gd name="T78" fmla="*/ 457 w 1160"/>
                  <a:gd name="T79" fmla="*/ 545 h 1387"/>
                  <a:gd name="T80" fmla="*/ 486 w 1160"/>
                  <a:gd name="T81" fmla="*/ 588 h 1387"/>
                  <a:gd name="T82" fmla="*/ 523 w 1160"/>
                  <a:gd name="T83" fmla="*/ 625 h 1387"/>
                  <a:gd name="T84" fmla="*/ 566 w 1160"/>
                  <a:gd name="T85" fmla="*/ 654 h 1387"/>
                  <a:gd name="T86" fmla="*/ 613 w 1160"/>
                  <a:gd name="T87" fmla="*/ 676 h 1387"/>
                  <a:gd name="T88" fmla="*/ 662 w 1160"/>
                  <a:gd name="T89" fmla="*/ 690 h 1387"/>
                  <a:gd name="T90" fmla="*/ 714 w 1160"/>
                  <a:gd name="T91" fmla="*/ 696 h 1387"/>
                  <a:gd name="T92" fmla="*/ 763 w 1160"/>
                  <a:gd name="T93" fmla="*/ 694 h 1387"/>
                  <a:gd name="T94" fmla="*/ 812 w 1160"/>
                  <a:gd name="T95" fmla="*/ 684 h 1387"/>
                  <a:gd name="T96" fmla="*/ 855 w 1160"/>
                  <a:gd name="T97" fmla="*/ 664 h 1387"/>
                  <a:gd name="T98" fmla="*/ 892 w 1160"/>
                  <a:gd name="T99" fmla="*/ 634 h 1387"/>
                  <a:gd name="T100" fmla="*/ 912 w 1160"/>
                  <a:gd name="T101" fmla="*/ 615 h 1387"/>
                  <a:gd name="T102" fmla="*/ 934 w 1160"/>
                  <a:gd name="T103" fmla="*/ 599 h 1387"/>
                  <a:gd name="T104" fmla="*/ 952 w 1160"/>
                  <a:gd name="T105" fmla="*/ 594 h 1387"/>
                  <a:gd name="T106" fmla="*/ 967 w 1160"/>
                  <a:gd name="T107" fmla="*/ 600 h 1387"/>
                  <a:gd name="T108" fmla="*/ 980 w 1160"/>
                  <a:gd name="T109" fmla="*/ 617 h 1387"/>
                  <a:gd name="T110" fmla="*/ 989 w 1160"/>
                  <a:gd name="T111" fmla="*/ 643 h 1387"/>
                  <a:gd name="T112" fmla="*/ 1074 w 1160"/>
                  <a:gd name="T113" fmla="*/ 961 h 1387"/>
                  <a:gd name="T114" fmla="*/ 1153 w 1160"/>
                  <a:gd name="T115" fmla="*/ 1273 h 1387"/>
                  <a:gd name="T116" fmla="*/ 1160 w 1160"/>
                  <a:gd name="T117" fmla="*/ 1304 h 1387"/>
                  <a:gd name="T118" fmla="*/ 1157 w 1160"/>
                  <a:gd name="T119" fmla="*/ 1325 h 1387"/>
                  <a:gd name="T120" fmla="*/ 1148 w 1160"/>
                  <a:gd name="T121" fmla="*/ 1346 h 1387"/>
                  <a:gd name="T122" fmla="*/ 1130 w 1160"/>
                  <a:gd name="T123" fmla="*/ 1367 h 1387"/>
                  <a:gd name="T124" fmla="*/ 1103 w 1160"/>
                  <a:gd name="T125" fmla="*/ 1387 h 1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160" h="1387">
                    <a:moveTo>
                      <a:pt x="1103" y="1387"/>
                    </a:moveTo>
                    <a:lnTo>
                      <a:pt x="1103" y="1387"/>
                    </a:lnTo>
                    <a:lnTo>
                      <a:pt x="1094" y="1376"/>
                    </a:lnTo>
                    <a:lnTo>
                      <a:pt x="1085" y="1365"/>
                    </a:lnTo>
                    <a:lnTo>
                      <a:pt x="1068" y="1337"/>
                    </a:lnTo>
                    <a:lnTo>
                      <a:pt x="1068" y="1337"/>
                    </a:lnTo>
                    <a:lnTo>
                      <a:pt x="1052" y="1316"/>
                    </a:lnTo>
                    <a:lnTo>
                      <a:pt x="1036" y="1298"/>
                    </a:lnTo>
                    <a:lnTo>
                      <a:pt x="1017" y="1282"/>
                    </a:lnTo>
                    <a:lnTo>
                      <a:pt x="998" y="1268"/>
                    </a:lnTo>
                    <a:lnTo>
                      <a:pt x="978" y="1256"/>
                    </a:lnTo>
                    <a:lnTo>
                      <a:pt x="957" y="1246"/>
                    </a:lnTo>
                    <a:lnTo>
                      <a:pt x="936" y="1239"/>
                    </a:lnTo>
                    <a:lnTo>
                      <a:pt x="913" y="1233"/>
                    </a:lnTo>
                    <a:lnTo>
                      <a:pt x="890" y="1229"/>
                    </a:lnTo>
                    <a:lnTo>
                      <a:pt x="867" y="1228"/>
                    </a:lnTo>
                    <a:lnTo>
                      <a:pt x="843" y="1229"/>
                    </a:lnTo>
                    <a:lnTo>
                      <a:pt x="820" y="1232"/>
                    </a:lnTo>
                    <a:lnTo>
                      <a:pt x="796" y="1237"/>
                    </a:lnTo>
                    <a:lnTo>
                      <a:pt x="772" y="1244"/>
                    </a:lnTo>
                    <a:lnTo>
                      <a:pt x="749" y="1254"/>
                    </a:lnTo>
                    <a:lnTo>
                      <a:pt x="726" y="1266"/>
                    </a:lnTo>
                    <a:lnTo>
                      <a:pt x="726" y="1266"/>
                    </a:lnTo>
                    <a:lnTo>
                      <a:pt x="705" y="1278"/>
                    </a:lnTo>
                    <a:lnTo>
                      <a:pt x="683" y="1291"/>
                    </a:lnTo>
                    <a:lnTo>
                      <a:pt x="659" y="1304"/>
                    </a:lnTo>
                    <a:lnTo>
                      <a:pt x="646" y="1310"/>
                    </a:lnTo>
                    <a:lnTo>
                      <a:pt x="633" y="1315"/>
                    </a:lnTo>
                    <a:lnTo>
                      <a:pt x="633" y="1315"/>
                    </a:lnTo>
                    <a:lnTo>
                      <a:pt x="624" y="1321"/>
                    </a:lnTo>
                    <a:lnTo>
                      <a:pt x="616" y="1326"/>
                    </a:lnTo>
                    <a:lnTo>
                      <a:pt x="608" y="1330"/>
                    </a:lnTo>
                    <a:lnTo>
                      <a:pt x="601" y="1333"/>
                    </a:lnTo>
                    <a:lnTo>
                      <a:pt x="595" y="1334"/>
                    </a:lnTo>
                    <a:lnTo>
                      <a:pt x="588" y="1335"/>
                    </a:lnTo>
                    <a:lnTo>
                      <a:pt x="582" y="1334"/>
                    </a:lnTo>
                    <a:lnTo>
                      <a:pt x="577" y="1332"/>
                    </a:lnTo>
                    <a:lnTo>
                      <a:pt x="572" y="1329"/>
                    </a:lnTo>
                    <a:lnTo>
                      <a:pt x="567" y="1325"/>
                    </a:lnTo>
                    <a:lnTo>
                      <a:pt x="561" y="1320"/>
                    </a:lnTo>
                    <a:lnTo>
                      <a:pt x="557" y="1314"/>
                    </a:lnTo>
                    <a:lnTo>
                      <a:pt x="553" y="1307"/>
                    </a:lnTo>
                    <a:lnTo>
                      <a:pt x="549" y="1299"/>
                    </a:lnTo>
                    <a:lnTo>
                      <a:pt x="541" y="1280"/>
                    </a:lnTo>
                    <a:lnTo>
                      <a:pt x="541" y="1280"/>
                    </a:lnTo>
                    <a:lnTo>
                      <a:pt x="536" y="1264"/>
                    </a:lnTo>
                    <a:lnTo>
                      <a:pt x="534" y="1249"/>
                    </a:lnTo>
                    <a:lnTo>
                      <a:pt x="531" y="1233"/>
                    </a:lnTo>
                    <a:lnTo>
                      <a:pt x="527" y="1217"/>
                    </a:lnTo>
                    <a:lnTo>
                      <a:pt x="527" y="1217"/>
                    </a:lnTo>
                    <a:lnTo>
                      <a:pt x="518" y="1195"/>
                    </a:lnTo>
                    <a:lnTo>
                      <a:pt x="507" y="1175"/>
                    </a:lnTo>
                    <a:lnTo>
                      <a:pt x="494" y="1156"/>
                    </a:lnTo>
                    <a:lnTo>
                      <a:pt x="480" y="1139"/>
                    </a:lnTo>
                    <a:lnTo>
                      <a:pt x="464" y="1122"/>
                    </a:lnTo>
                    <a:lnTo>
                      <a:pt x="445" y="1107"/>
                    </a:lnTo>
                    <a:lnTo>
                      <a:pt x="426" y="1094"/>
                    </a:lnTo>
                    <a:lnTo>
                      <a:pt x="406" y="1082"/>
                    </a:lnTo>
                    <a:lnTo>
                      <a:pt x="406" y="1082"/>
                    </a:lnTo>
                    <a:lnTo>
                      <a:pt x="397" y="1076"/>
                    </a:lnTo>
                    <a:lnTo>
                      <a:pt x="389" y="1069"/>
                    </a:lnTo>
                    <a:lnTo>
                      <a:pt x="380" y="1061"/>
                    </a:lnTo>
                    <a:lnTo>
                      <a:pt x="372" y="1052"/>
                    </a:lnTo>
                    <a:lnTo>
                      <a:pt x="365" y="1042"/>
                    </a:lnTo>
                    <a:lnTo>
                      <a:pt x="358" y="1032"/>
                    </a:lnTo>
                    <a:lnTo>
                      <a:pt x="353" y="1022"/>
                    </a:lnTo>
                    <a:lnTo>
                      <a:pt x="349" y="1011"/>
                    </a:lnTo>
                    <a:lnTo>
                      <a:pt x="349" y="1011"/>
                    </a:lnTo>
                    <a:lnTo>
                      <a:pt x="188" y="606"/>
                    </a:lnTo>
                    <a:lnTo>
                      <a:pt x="109" y="403"/>
                    </a:lnTo>
                    <a:lnTo>
                      <a:pt x="29" y="197"/>
                    </a:lnTo>
                    <a:lnTo>
                      <a:pt x="29" y="197"/>
                    </a:lnTo>
                    <a:lnTo>
                      <a:pt x="23" y="186"/>
                    </a:lnTo>
                    <a:lnTo>
                      <a:pt x="18" y="174"/>
                    </a:lnTo>
                    <a:lnTo>
                      <a:pt x="14" y="160"/>
                    </a:lnTo>
                    <a:lnTo>
                      <a:pt x="9" y="146"/>
                    </a:lnTo>
                    <a:lnTo>
                      <a:pt x="6" y="132"/>
                    </a:lnTo>
                    <a:lnTo>
                      <a:pt x="3" y="118"/>
                    </a:lnTo>
                    <a:lnTo>
                      <a:pt x="1" y="104"/>
                    </a:lnTo>
                    <a:lnTo>
                      <a:pt x="0" y="91"/>
                    </a:lnTo>
                    <a:lnTo>
                      <a:pt x="0" y="91"/>
                    </a:lnTo>
                    <a:lnTo>
                      <a:pt x="1" y="83"/>
                    </a:lnTo>
                    <a:lnTo>
                      <a:pt x="2" y="76"/>
                    </a:lnTo>
                    <a:lnTo>
                      <a:pt x="3" y="69"/>
                    </a:lnTo>
                    <a:lnTo>
                      <a:pt x="6" y="62"/>
                    </a:lnTo>
                    <a:lnTo>
                      <a:pt x="9" y="55"/>
                    </a:lnTo>
                    <a:lnTo>
                      <a:pt x="12" y="49"/>
                    </a:lnTo>
                    <a:lnTo>
                      <a:pt x="16" y="44"/>
                    </a:lnTo>
                    <a:lnTo>
                      <a:pt x="21" y="38"/>
                    </a:lnTo>
                    <a:lnTo>
                      <a:pt x="26" y="33"/>
                    </a:lnTo>
                    <a:lnTo>
                      <a:pt x="32" y="28"/>
                    </a:lnTo>
                    <a:lnTo>
                      <a:pt x="45" y="20"/>
                    </a:lnTo>
                    <a:lnTo>
                      <a:pt x="61" y="11"/>
                    </a:lnTo>
                    <a:lnTo>
                      <a:pt x="78" y="5"/>
                    </a:lnTo>
                    <a:lnTo>
                      <a:pt x="78" y="5"/>
                    </a:lnTo>
                    <a:lnTo>
                      <a:pt x="96" y="2"/>
                    </a:lnTo>
                    <a:lnTo>
                      <a:pt x="104" y="1"/>
                    </a:lnTo>
                    <a:lnTo>
                      <a:pt x="114" y="0"/>
                    </a:lnTo>
                    <a:lnTo>
                      <a:pt x="122" y="0"/>
                    </a:lnTo>
                    <a:lnTo>
                      <a:pt x="129" y="1"/>
                    </a:lnTo>
                    <a:lnTo>
                      <a:pt x="137" y="3"/>
                    </a:lnTo>
                    <a:lnTo>
                      <a:pt x="144" y="5"/>
                    </a:lnTo>
                    <a:lnTo>
                      <a:pt x="159" y="10"/>
                    </a:lnTo>
                    <a:lnTo>
                      <a:pt x="172" y="19"/>
                    </a:lnTo>
                    <a:lnTo>
                      <a:pt x="186" y="29"/>
                    </a:lnTo>
                    <a:lnTo>
                      <a:pt x="199" y="42"/>
                    </a:lnTo>
                    <a:lnTo>
                      <a:pt x="199" y="42"/>
                    </a:lnTo>
                    <a:lnTo>
                      <a:pt x="204" y="48"/>
                    </a:lnTo>
                    <a:lnTo>
                      <a:pt x="210" y="56"/>
                    </a:lnTo>
                    <a:lnTo>
                      <a:pt x="215" y="63"/>
                    </a:lnTo>
                    <a:lnTo>
                      <a:pt x="220" y="70"/>
                    </a:lnTo>
                    <a:lnTo>
                      <a:pt x="220" y="70"/>
                    </a:lnTo>
                    <a:lnTo>
                      <a:pt x="248" y="128"/>
                    </a:lnTo>
                    <a:lnTo>
                      <a:pt x="276" y="186"/>
                    </a:lnTo>
                    <a:lnTo>
                      <a:pt x="334" y="299"/>
                    </a:lnTo>
                    <a:lnTo>
                      <a:pt x="393" y="414"/>
                    </a:lnTo>
                    <a:lnTo>
                      <a:pt x="421" y="472"/>
                    </a:lnTo>
                    <a:lnTo>
                      <a:pt x="448" y="530"/>
                    </a:lnTo>
                    <a:lnTo>
                      <a:pt x="448" y="530"/>
                    </a:lnTo>
                    <a:lnTo>
                      <a:pt x="457" y="545"/>
                    </a:lnTo>
                    <a:lnTo>
                      <a:pt x="466" y="560"/>
                    </a:lnTo>
                    <a:lnTo>
                      <a:pt x="475" y="574"/>
                    </a:lnTo>
                    <a:lnTo>
                      <a:pt x="486" y="588"/>
                    </a:lnTo>
                    <a:lnTo>
                      <a:pt x="498" y="600"/>
                    </a:lnTo>
                    <a:lnTo>
                      <a:pt x="510" y="613"/>
                    </a:lnTo>
                    <a:lnTo>
                      <a:pt x="523" y="625"/>
                    </a:lnTo>
                    <a:lnTo>
                      <a:pt x="536" y="635"/>
                    </a:lnTo>
                    <a:lnTo>
                      <a:pt x="551" y="645"/>
                    </a:lnTo>
                    <a:lnTo>
                      <a:pt x="566" y="654"/>
                    </a:lnTo>
                    <a:lnTo>
                      <a:pt x="582" y="662"/>
                    </a:lnTo>
                    <a:lnTo>
                      <a:pt x="597" y="669"/>
                    </a:lnTo>
                    <a:lnTo>
                      <a:pt x="613" y="676"/>
                    </a:lnTo>
                    <a:lnTo>
                      <a:pt x="629" y="681"/>
                    </a:lnTo>
                    <a:lnTo>
                      <a:pt x="646" y="686"/>
                    </a:lnTo>
                    <a:lnTo>
                      <a:pt x="662" y="690"/>
                    </a:lnTo>
                    <a:lnTo>
                      <a:pt x="679" y="693"/>
                    </a:lnTo>
                    <a:lnTo>
                      <a:pt x="697" y="695"/>
                    </a:lnTo>
                    <a:lnTo>
                      <a:pt x="714" y="696"/>
                    </a:lnTo>
                    <a:lnTo>
                      <a:pt x="730" y="697"/>
                    </a:lnTo>
                    <a:lnTo>
                      <a:pt x="747" y="696"/>
                    </a:lnTo>
                    <a:lnTo>
                      <a:pt x="763" y="694"/>
                    </a:lnTo>
                    <a:lnTo>
                      <a:pt x="779" y="692"/>
                    </a:lnTo>
                    <a:lnTo>
                      <a:pt x="796" y="688"/>
                    </a:lnTo>
                    <a:lnTo>
                      <a:pt x="812" y="684"/>
                    </a:lnTo>
                    <a:lnTo>
                      <a:pt x="827" y="678"/>
                    </a:lnTo>
                    <a:lnTo>
                      <a:pt x="841" y="671"/>
                    </a:lnTo>
                    <a:lnTo>
                      <a:pt x="855" y="664"/>
                    </a:lnTo>
                    <a:lnTo>
                      <a:pt x="868" y="655"/>
                    </a:lnTo>
                    <a:lnTo>
                      <a:pt x="881" y="645"/>
                    </a:lnTo>
                    <a:lnTo>
                      <a:pt x="892" y="634"/>
                    </a:lnTo>
                    <a:lnTo>
                      <a:pt x="904" y="622"/>
                    </a:lnTo>
                    <a:lnTo>
                      <a:pt x="904" y="622"/>
                    </a:lnTo>
                    <a:lnTo>
                      <a:pt x="912" y="615"/>
                    </a:lnTo>
                    <a:lnTo>
                      <a:pt x="920" y="609"/>
                    </a:lnTo>
                    <a:lnTo>
                      <a:pt x="927" y="603"/>
                    </a:lnTo>
                    <a:lnTo>
                      <a:pt x="934" y="599"/>
                    </a:lnTo>
                    <a:lnTo>
                      <a:pt x="940" y="596"/>
                    </a:lnTo>
                    <a:lnTo>
                      <a:pt x="946" y="595"/>
                    </a:lnTo>
                    <a:lnTo>
                      <a:pt x="952" y="594"/>
                    </a:lnTo>
                    <a:lnTo>
                      <a:pt x="957" y="595"/>
                    </a:lnTo>
                    <a:lnTo>
                      <a:pt x="963" y="597"/>
                    </a:lnTo>
                    <a:lnTo>
                      <a:pt x="967" y="600"/>
                    </a:lnTo>
                    <a:lnTo>
                      <a:pt x="972" y="604"/>
                    </a:lnTo>
                    <a:lnTo>
                      <a:pt x="976" y="610"/>
                    </a:lnTo>
                    <a:lnTo>
                      <a:pt x="980" y="617"/>
                    </a:lnTo>
                    <a:lnTo>
                      <a:pt x="983" y="625"/>
                    </a:lnTo>
                    <a:lnTo>
                      <a:pt x="986" y="633"/>
                    </a:lnTo>
                    <a:lnTo>
                      <a:pt x="989" y="643"/>
                    </a:lnTo>
                    <a:lnTo>
                      <a:pt x="989" y="643"/>
                    </a:lnTo>
                    <a:lnTo>
                      <a:pt x="1032" y="803"/>
                    </a:lnTo>
                    <a:lnTo>
                      <a:pt x="1074" y="961"/>
                    </a:lnTo>
                    <a:lnTo>
                      <a:pt x="1114" y="1118"/>
                    </a:lnTo>
                    <a:lnTo>
                      <a:pt x="1153" y="1273"/>
                    </a:lnTo>
                    <a:lnTo>
                      <a:pt x="1153" y="1273"/>
                    </a:lnTo>
                    <a:lnTo>
                      <a:pt x="1158" y="1289"/>
                    </a:lnTo>
                    <a:lnTo>
                      <a:pt x="1159" y="1296"/>
                    </a:lnTo>
                    <a:lnTo>
                      <a:pt x="1160" y="1304"/>
                    </a:lnTo>
                    <a:lnTo>
                      <a:pt x="1160" y="1311"/>
                    </a:lnTo>
                    <a:lnTo>
                      <a:pt x="1159" y="1318"/>
                    </a:lnTo>
                    <a:lnTo>
                      <a:pt x="1157" y="1325"/>
                    </a:lnTo>
                    <a:lnTo>
                      <a:pt x="1155" y="1332"/>
                    </a:lnTo>
                    <a:lnTo>
                      <a:pt x="1152" y="1339"/>
                    </a:lnTo>
                    <a:lnTo>
                      <a:pt x="1148" y="1346"/>
                    </a:lnTo>
                    <a:lnTo>
                      <a:pt x="1143" y="1354"/>
                    </a:lnTo>
                    <a:lnTo>
                      <a:pt x="1137" y="1360"/>
                    </a:lnTo>
                    <a:lnTo>
                      <a:pt x="1130" y="1367"/>
                    </a:lnTo>
                    <a:lnTo>
                      <a:pt x="1122" y="1374"/>
                    </a:lnTo>
                    <a:lnTo>
                      <a:pt x="1113" y="1380"/>
                    </a:lnTo>
                    <a:lnTo>
                      <a:pt x="1103" y="1387"/>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9" name="Freeform 14"/>
              <p:cNvSpPr>
                <a:spLocks/>
              </p:cNvSpPr>
              <p:nvPr/>
            </p:nvSpPr>
            <p:spPr bwMode="auto">
              <a:xfrm>
                <a:off x="6489700" y="1897063"/>
                <a:ext cx="66675" cy="160338"/>
              </a:xfrm>
              <a:custGeom>
                <a:avLst/>
                <a:gdLst>
                  <a:gd name="T0" fmla="*/ 160 w 330"/>
                  <a:gd name="T1" fmla="*/ 808 h 808"/>
                  <a:gd name="T2" fmla="*/ 160 w 330"/>
                  <a:gd name="T3" fmla="*/ 808 h 808"/>
                  <a:gd name="T4" fmla="*/ 129 w 330"/>
                  <a:gd name="T5" fmla="*/ 681 h 808"/>
                  <a:gd name="T6" fmla="*/ 98 w 330"/>
                  <a:gd name="T7" fmla="*/ 560 h 808"/>
                  <a:gd name="T8" fmla="*/ 98 w 330"/>
                  <a:gd name="T9" fmla="*/ 560 h 808"/>
                  <a:gd name="T10" fmla="*/ 87 w 330"/>
                  <a:gd name="T11" fmla="*/ 510 h 808"/>
                  <a:gd name="T12" fmla="*/ 76 w 330"/>
                  <a:gd name="T13" fmla="*/ 460 h 808"/>
                  <a:gd name="T14" fmla="*/ 52 w 330"/>
                  <a:gd name="T15" fmla="*/ 362 h 808"/>
                  <a:gd name="T16" fmla="*/ 29 w 330"/>
                  <a:gd name="T17" fmla="*/ 264 h 808"/>
                  <a:gd name="T18" fmla="*/ 18 w 330"/>
                  <a:gd name="T19" fmla="*/ 215 h 808"/>
                  <a:gd name="T20" fmla="*/ 7 w 330"/>
                  <a:gd name="T21" fmla="*/ 164 h 808"/>
                  <a:gd name="T22" fmla="*/ 7 w 330"/>
                  <a:gd name="T23" fmla="*/ 164 h 808"/>
                  <a:gd name="T24" fmla="*/ 4 w 330"/>
                  <a:gd name="T25" fmla="*/ 150 h 808"/>
                  <a:gd name="T26" fmla="*/ 1 w 330"/>
                  <a:gd name="T27" fmla="*/ 136 h 808"/>
                  <a:gd name="T28" fmla="*/ 0 w 330"/>
                  <a:gd name="T29" fmla="*/ 123 h 808"/>
                  <a:gd name="T30" fmla="*/ 0 w 330"/>
                  <a:gd name="T31" fmla="*/ 110 h 808"/>
                  <a:gd name="T32" fmla="*/ 0 w 330"/>
                  <a:gd name="T33" fmla="*/ 98 h 808"/>
                  <a:gd name="T34" fmla="*/ 2 w 330"/>
                  <a:gd name="T35" fmla="*/ 87 h 808"/>
                  <a:gd name="T36" fmla="*/ 4 w 330"/>
                  <a:gd name="T37" fmla="*/ 76 h 808"/>
                  <a:gd name="T38" fmla="*/ 7 w 330"/>
                  <a:gd name="T39" fmla="*/ 66 h 808"/>
                  <a:gd name="T40" fmla="*/ 12 w 330"/>
                  <a:gd name="T41" fmla="*/ 56 h 808"/>
                  <a:gd name="T42" fmla="*/ 17 w 330"/>
                  <a:gd name="T43" fmla="*/ 47 h 808"/>
                  <a:gd name="T44" fmla="*/ 23 w 330"/>
                  <a:gd name="T45" fmla="*/ 39 h 808"/>
                  <a:gd name="T46" fmla="*/ 31 w 330"/>
                  <a:gd name="T47" fmla="*/ 31 h 808"/>
                  <a:gd name="T48" fmla="*/ 39 w 330"/>
                  <a:gd name="T49" fmla="*/ 25 h 808"/>
                  <a:gd name="T50" fmla="*/ 48 w 330"/>
                  <a:gd name="T51" fmla="*/ 19 h 808"/>
                  <a:gd name="T52" fmla="*/ 58 w 330"/>
                  <a:gd name="T53" fmla="*/ 13 h 808"/>
                  <a:gd name="T54" fmla="*/ 70 w 330"/>
                  <a:gd name="T55" fmla="*/ 8 h 808"/>
                  <a:gd name="T56" fmla="*/ 70 w 330"/>
                  <a:gd name="T57" fmla="*/ 8 h 808"/>
                  <a:gd name="T58" fmla="*/ 82 w 330"/>
                  <a:gd name="T59" fmla="*/ 5 h 808"/>
                  <a:gd name="T60" fmla="*/ 93 w 330"/>
                  <a:gd name="T61" fmla="*/ 2 h 808"/>
                  <a:gd name="T62" fmla="*/ 104 w 330"/>
                  <a:gd name="T63" fmla="*/ 1 h 808"/>
                  <a:gd name="T64" fmla="*/ 114 w 330"/>
                  <a:gd name="T65" fmla="*/ 0 h 808"/>
                  <a:gd name="T66" fmla="*/ 124 w 330"/>
                  <a:gd name="T67" fmla="*/ 1 h 808"/>
                  <a:gd name="T68" fmla="*/ 134 w 330"/>
                  <a:gd name="T69" fmla="*/ 2 h 808"/>
                  <a:gd name="T70" fmla="*/ 143 w 330"/>
                  <a:gd name="T71" fmla="*/ 5 h 808"/>
                  <a:gd name="T72" fmla="*/ 151 w 330"/>
                  <a:gd name="T73" fmla="*/ 8 h 808"/>
                  <a:gd name="T74" fmla="*/ 159 w 330"/>
                  <a:gd name="T75" fmla="*/ 13 h 808"/>
                  <a:gd name="T76" fmla="*/ 167 w 330"/>
                  <a:gd name="T77" fmla="*/ 19 h 808"/>
                  <a:gd name="T78" fmla="*/ 174 w 330"/>
                  <a:gd name="T79" fmla="*/ 26 h 808"/>
                  <a:gd name="T80" fmla="*/ 182 w 330"/>
                  <a:gd name="T81" fmla="*/ 33 h 808"/>
                  <a:gd name="T82" fmla="*/ 188 w 330"/>
                  <a:gd name="T83" fmla="*/ 41 h 808"/>
                  <a:gd name="T84" fmla="*/ 193 w 330"/>
                  <a:gd name="T85" fmla="*/ 51 h 808"/>
                  <a:gd name="T86" fmla="*/ 198 w 330"/>
                  <a:gd name="T87" fmla="*/ 61 h 808"/>
                  <a:gd name="T88" fmla="*/ 202 w 330"/>
                  <a:gd name="T89" fmla="*/ 73 h 808"/>
                  <a:gd name="T90" fmla="*/ 202 w 330"/>
                  <a:gd name="T91" fmla="*/ 73 h 808"/>
                  <a:gd name="T92" fmla="*/ 264 w 330"/>
                  <a:gd name="T93" fmla="*/ 324 h 808"/>
                  <a:gd name="T94" fmla="*/ 327 w 330"/>
                  <a:gd name="T95" fmla="*/ 574 h 808"/>
                  <a:gd name="T96" fmla="*/ 327 w 330"/>
                  <a:gd name="T97" fmla="*/ 574 h 808"/>
                  <a:gd name="T98" fmla="*/ 329 w 330"/>
                  <a:gd name="T99" fmla="*/ 577 h 808"/>
                  <a:gd name="T100" fmla="*/ 330 w 330"/>
                  <a:gd name="T101" fmla="*/ 582 h 808"/>
                  <a:gd name="T102" fmla="*/ 330 w 330"/>
                  <a:gd name="T103" fmla="*/ 586 h 808"/>
                  <a:gd name="T104" fmla="*/ 329 w 330"/>
                  <a:gd name="T105" fmla="*/ 592 h 808"/>
                  <a:gd name="T106" fmla="*/ 325 w 330"/>
                  <a:gd name="T107" fmla="*/ 602 h 808"/>
                  <a:gd name="T108" fmla="*/ 323 w 330"/>
                  <a:gd name="T109" fmla="*/ 606 h 808"/>
                  <a:gd name="T110" fmla="*/ 320 w 330"/>
                  <a:gd name="T111" fmla="*/ 609 h 808"/>
                  <a:gd name="T112" fmla="*/ 320 w 330"/>
                  <a:gd name="T113" fmla="*/ 609 h 808"/>
                  <a:gd name="T114" fmla="*/ 282 w 330"/>
                  <a:gd name="T115" fmla="*/ 658 h 808"/>
                  <a:gd name="T116" fmla="*/ 243 w 330"/>
                  <a:gd name="T117" fmla="*/ 706 h 808"/>
                  <a:gd name="T118" fmla="*/ 202 w 330"/>
                  <a:gd name="T119" fmla="*/ 755 h 808"/>
                  <a:gd name="T120" fmla="*/ 160 w 330"/>
                  <a:gd name="T121" fmla="*/ 808 h 8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30" h="808">
                    <a:moveTo>
                      <a:pt x="160" y="808"/>
                    </a:moveTo>
                    <a:lnTo>
                      <a:pt x="160" y="808"/>
                    </a:lnTo>
                    <a:lnTo>
                      <a:pt x="129" y="681"/>
                    </a:lnTo>
                    <a:lnTo>
                      <a:pt x="98" y="560"/>
                    </a:lnTo>
                    <a:lnTo>
                      <a:pt x="98" y="560"/>
                    </a:lnTo>
                    <a:lnTo>
                      <a:pt x="87" y="510"/>
                    </a:lnTo>
                    <a:lnTo>
                      <a:pt x="76" y="460"/>
                    </a:lnTo>
                    <a:lnTo>
                      <a:pt x="52" y="362"/>
                    </a:lnTo>
                    <a:lnTo>
                      <a:pt x="29" y="264"/>
                    </a:lnTo>
                    <a:lnTo>
                      <a:pt x="18" y="215"/>
                    </a:lnTo>
                    <a:lnTo>
                      <a:pt x="7" y="164"/>
                    </a:lnTo>
                    <a:lnTo>
                      <a:pt x="7" y="164"/>
                    </a:lnTo>
                    <a:lnTo>
                      <a:pt x="4" y="150"/>
                    </a:lnTo>
                    <a:lnTo>
                      <a:pt x="1" y="136"/>
                    </a:lnTo>
                    <a:lnTo>
                      <a:pt x="0" y="123"/>
                    </a:lnTo>
                    <a:lnTo>
                      <a:pt x="0" y="110"/>
                    </a:lnTo>
                    <a:lnTo>
                      <a:pt x="0" y="98"/>
                    </a:lnTo>
                    <a:lnTo>
                      <a:pt x="2" y="87"/>
                    </a:lnTo>
                    <a:lnTo>
                      <a:pt x="4" y="76"/>
                    </a:lnTo>
                    <a:lnTo>
                      <a:pt x="7" y="66"/>
                    </a:lnTo>
                    <a:lnTo>
                      <a:pt x="12" y="56"/>
                    </a:lnTo>
                    <a:lnTo>
                      <a:pt x="17" y="47"/>
                    </a:lnTo>
                    <a:lnTo>
                      <a:pt x="23" y="39"/>
                    </a:lnTo>
                    <a:lnTo>
                      <a:pt x="31" y="31"/>
                    </a:lnTo>
                    <a:lnTo>
                      <a:pt x="39" y="25"/>
                    </a:lnTo>
                    <a:lnTo>
                      <a:pt x="48" y="19"/>
                    </a:lnTo>
                    <a:lnTo>
                      <a:pt x="58" y="13"/>
                    </a:lnTo>
                    <a:lnTo>
                      <a:pt x="70" y="8"/>
                    </a:lnTo>
                    <a:lnTo>
                      <a:pt x="70" y="8"/>
                    </a:lnTo>
                    <a:lnTo>
                      <a:pt x="82" y="5"/>
                    </a:lnTo>
                    <a:lnTo>
                      <a:pt x="93" y="2"/>
                    </a:lnTo>
                    <a:lnTo>
                      <a:pt x="104" y="1"/>
                    </a:lnTo>
                    <a:lnTo>
                      <a:pt x="114" y="0"/>
                    </a:lnTo>
                    <a:lnTo>
                      <a:pt x="124" y="1"/>
                    </a:lnTo>
                    <a:lnTo>
                      <a:pt x="134" y="2"/>
                    </a:lnTo>
                    <a:lnTo>
                      <a:pt x="143" y="5"/>
                    </a:lnTo>
                    <a:lnTo>
                      <a:pt x="151" y="8"/>
                    </a:lnTo>
                    <a:lnTo>
                      <a:pt x="159" y="13"/>
                    </a:lnTo>
                    <a:lnTo>
                      <a:pt x="167" y="19"/>
                    </a:lnTo>
                    <a:lnTo>
                      <a:pt x="174" y="26"/>
                    </a:lnTo>
                    <a:lnTo>
                      <a:pt x="182" y="33"/>
                    </a:lnTo>
                    <a:lnTo>
                      <a:pt x="188" y="41"/>
                    </a:lnTo>
                    <a:lnTo>
                      <a:pt x="193" y="51"/>
                    </a:lnTo>
                    <a:lnTo>
                      <a:pt x="198" y="61"/>
                    </a:lnTo>
                    <a:lnTo>
                      <a:pt x="202" y="73"/>
                    </a:lnTo>
                    <a:lnTo>
                      <a:pt x="202" y="73"/>
                    </a:lnTo>
                    <a:lnTo>
                      <a:pt x="264" y="324"/>
                    </a:lnTo>
                    <a:lnTo>
                      <a:pt x="327" y="574"/>
                    </a:lnTo>
                    <a:lnTo>
                      <a:pt x="327" y="574"/>
                    </a:lnTo>
                    <a:lnTo>
                      <a:pt x="329" y="577"/>
                    </a:lnTo>
                    <a:lnTo>
                      <a:pt x="330" y="582"/>
                    </a:lnTo>
                    <a:lnTo>
                      <a:pt x="330" y="586"/>
                    </a:lnTo>
                    <a:lnTo>
                      <a:pt x="329" y="592"/>
                    </a:lnTo>
                    <a:lnTo>
                      <a:pt x="325" y="602"/>
                    </a:lnTo>
                    <a:lnTo>
                      <a:pt x="323" y="606"/>
                    </a:lnTo>
                    <a:lnTo>
                      <a:pt x="320" y="609"/>
                    </a:lnTo>
                    <a:lnTo>
                      <a:pt x="320" y="609"/>
                    </a:lnTo>
                    <a:lnTo>
                      <a:pt x="282" y="658"/>
                    </a:lnTo>
                    <a:lnTo>
                      <a:pt x="243" y="706"/>
                    </a:lnTo>
                    <a:lnTo>
                      <a:pt x="202" y="755"/>
                    </a:lnTo>
                    <a:lnTo>
                      <a:pt x="160" y="80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0" name="Freeform 15"/>
              <p:cNvSpPr>
                <a:spLocks/>
              </p:cNvSpPr>
              <p:nvPr/>
            </p:nvSpPr>
            <p:spPr bwMode="auto">
              <a:xfrm>
                <a:off x="6489700" y="1897063"/>
                <a:ext cx="66675" cy="160338"/>
              </a:xfrm>
              <a:custGeom>
                <a:avLst/>
                <a:gdLst>
                  <a:gd name="T0" fmla="*/ 160 w 330"/>
                  <a:gd name="T1" fmla="*/ 808 h 808"/>
                  <a:gd name="T2" fmla="*/ 160 w 330"/>
                  <a:gd name="T3" fmla="*/ 808 h 808"/>
                  <a:gd name="T4" fmla="*/ 129 w 330"/>
                  <a:gd name="T5" fmla="*/ 681 h 808"/>
                  <a:gd name="T6" fmla="*/ 98 w 330"/>
                  <a:gd name="T7" fmla="*/ 560 h 808"/>
                  <a:gd name="T8" fmla="*/ 98 w 330"/>
                  <a:gd name="T9" fmla="*/ 560 h 808"/>
                  <a:gd name="T10" fmla="*/ 87 w 330"/>
                  <a:gd name="T11" fmla="*/ 510 h 808"/>
                  <a:gd name="T12" fmla="*/ 76 w 330"/>
                  <a:gd name="T13" fmla="*/ 460 h 808"/>
                  <a:gd name="T14" fmla="*/ 52 w 330"/>
                  <a:gd name="T15" fmla="*/ 362 h 808"/>
                  <a:gd name="T16" fmla="*/ 29 w 330"/>
                  <a:gd name="T17" fmla="*/ 264 h 808"/>
                  <a:gd name="T18" fmla="*/ 18 w 330"/>
                  <a:gd name="T19" fmla="*/ 215 h 808"/>
                  <a:gd name="T20" fmla="*/ 7 w 330"/>
                  <a:gd name="T21" fmla="*/ 164 h 808"/>
                  <a:gd name="T22" fmla="*/ 7 w 330"/>
                  <a:gd name="T23" fmla="*/ 164 h 808"/>
                  <a:gd name="T24" fmla="*/ 4 w 330"/>
                  <a:gd name="T25" fmla="*/ 150 h 808"/>
                  <a:gd name="T26" fmla="*/ 1 w 330"/>
                  <a:gd name="T27" fmla="*/ 136 h 808"/>
                  <a:gd name="T28" fmla="*/ 0 w 330"/>
                  <a:gd name="T29" fmla="*/ 123 h 808"/>
                  <a:gd name="T30" fmla="*/ 0 w 330"/>
                  <a:gd name="T31" fmla="*/ 110 h 808"/>
                  <a:gd name="T32" fmla="*/ 0 w 330"/>
                  <a:gd name="T33" fmla="*/ 98 h 808"/>
                  <a:gd name="T34" fmla="*/ 2 w 330"/>
                  <a:gd name="T35" fmla="*/ 87 h 808"/>
                  <a:gd name="T36" fmla="*/ 4 w 330"/>
                  <a:gd name="T37" fmla="*/ 76 h 808"/>
                  <a:gd name="T38" fmla="*/ 7 w 330"/>
                  <a:gd name="T39" fmla="*/ 66 h 808"/>
                  <a:gd name="T40" fmla="*/ 12 w 330"/>
                  <a:gd name="T41" fmla="*/ 56 h 808"/>
                  <a:gd name="T42" fmla="*/ 17 w 330"/>
                  <a:gd name="T43" fmla="*/ 47 h 808"/>
                  <a:gd name="T44" fmla="*/ 23 w 330"/>
                  <a:gd name="T45" fmla="*/ 39 h 808"/>
                  <a:gd name="T46" fmla="*/ 31 w 330"/>
                  <a:gd name="T47" fmla="*/ 31 h 808"/>
                  <a:gd name="T48" fmla="*/ 39 w 330"/>
                  <a:gd name="T49" fmla="*/ 25 h 808"/>
                  <a:gd name="T50" fmla="*/ 48 w 330"/>
                  <a:gd name="T51" fmla="*/ 19 h 808"/>
                  <a:gd name="T52" fmla="*/ 58 w 330"/>
                  <a:gd name="T53" fmla="*/ 13 h 808"/>
                  <a:gd name="T54" fmla="*/ 70 w 330"/>
                  <a:gd name="T55" fmla="*/ 8 h 808"/>
                  <a:gd name="T56" fmla="*/ 70 w 330"/>
                  <a:gd name="T57" fmla="*/ 8 h 808"/>
                  <a:gd name="T58" fmla="*/ 82 w 330"/>
                  <a:gd name="T59" fmla="*/ 5 h 808"/>
                  <a:gd name="T60" fmla="*/ 93 w 330"/>
                  <a:gd name="T61" fmla="*/ 2 h 808"/>
                  <a:gd name="T62" fmla="*/ 104 w 330"/>
                  <a:gd name="T63" fmla="*/ 1 h 808"/>
                  <a:gd name="T64" fmla="*/ 114 w 330"/>
                  <a:gd name="T65" fmla="*/ 0 h 808"/>
                  <a:gd name="T66" fmla="*/ 124 w 330"/>
                  <a:gd name="T67" fmla="*/ 1 h 808"/>
                  <a:gd name="T68" fmla="*/ 134 w 330"/>
                  <a:gd name="T69" fmla="*/ 2 h 808"/>
                  <a:gd name="T70" fmla="*/ 143 w 330"/>
                  <a:gd name="T71" fmla="*/ 5 h 808"/>
                  <a:gd name="T72" fmla="*/ 151 w 330"/>
                  <a:gd name="T73" fmla="*/ 8 h 808"/>
                  <a:gd name="T74" fmla="*/ 159 w 330"/>
                  <a:gd name="T75" fmla="*/ 13 h 808"/>
                  <a:gd name="T76" fmla="*/ 167 w 330"/>
                  <a:gd name="T77" fmla="*/ 19 h 808"/>
                  <a:gd name="T78" fmla="*/ 174 w 330"/>
                  <a:gd name="T79" fmla="*/ 26 h 808"/>
                  <a:gd name="T80" fmla="*/ 182 w 330"/>
                  <a:gd name="T81" fmla="*/ 33 h 808"/>
                  <a:gd name="T82" fmla="*/ 188 w 330"/>
                  <a:gd name="T83" fmla="*/ 41 h 808"/>
                  <a:gd name="T84" fmla="*/ 193 w 330"/>
                  <a:gd name="T85" fmla="*/ 51 h 808"/>
                  <a:gd name="T86" fmla="*/ 198 w 330"/>
                  <a:gd name="T87" fmla="*/ 61 h 808"/>
                  <a:gd name="T88" fmla="*/ 202 w 330"/>
                  <a:gd name="T89" fmla="*/ 73 h 808"/>
                  <a:gd name="T90" fmla="*/ 202 w 330"/>
                  <a:gd name="T91" fmla="*/ 73 h 808"/>
                  <a:gd name="T92" fmla="*/ 264 w 330"/>
                  <a:gd name="T93" fmla="*/ 324 h 808"/>
                  <a:gd name="T94" fmla="*/ 327 w 330"/>
                  <a:gd name="T95" fmla="*/ 574 h 808"/>
                  <a:gd name="T96" fmla="*/ 327 w 330"/>
                  <a:gd name="T97" fmla="*/ 574 h 808"/>
                  <a:gd name="T98" fmla="*/ 329 w 330"/>
                  <a:gd name="T99" fmla="*/ 577 h 808"/>
                  <a:gd name="T100" fmla="*/ 330 w 330"/>
                  <a:gd name="T101" fmla="*/ 582 h 808"/>
                  <a:gd name="T102" fmla="*/ 330 w 330"/>
                  <a:gd name="T103" fmla="*/ 586 h 808"/>
                  <a:gd name="T104" fmla="*/ 329 w 330"/>
                  <a:gd name="T105" fmla="*/ 592 h 808"/>
                  <a:gd name="T106" fmla="*/ 325 w 330"/>
                  <a:gd name="T107" fmla="*/ 602 h 808"/>
                  <a:gd name="T108" fmla="*/ 323 w 330"/>
                  <a:gd name="T109" fmla="*/ 606 h 808"/>
                  <a:gd name="T110" fmla="*/ 320 w 330"/>
                  <a:gd name="T111" fmla="*/ 609 h 808"/>
                  <a:gd name="T112" fmla="*/ 320 w 330"/>
                  <a:gd name="T113" fmla="*/ 609 h 808"/>
                  <a:gd name="T114" fmla="*/ 282 w 330"/>
                  <a:gd name="T115" fmla="*/ 658 h 808"/>
                  <a:gd name="T116" fmla="*/ 243 w 330"/>
                  <a:gd name="T117" fmla="*/ 706 h 808"/>
                  <a:gd name="T118" fmla="*/ 202 w 330"/>
                  <a:gd name="T119" fmla="*/ 755 h 808"/>
                  <a:gd name="T120" fmla="*/ 160 w 330"/>
                  <a:gd name="T121" fmla="*/ 808 h 8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30" h="808">
                    <a:moveTo>
                      <a:pt x="160" y="808"/>
                    </a:moveTo>
                    <a:lnTo>
                      <a:pt x="160" y="808"/>
                    </a:lnTo>
                    <a:lnTo>
                      <a:pt x="129" y="681"/>
                    </a:lnTo>
                    <a:lnTo>
                      <a:pt x="98" y="560"/>
                    </a:lnTo>
                    <a:lnTo>
                      <a:pt x="98" y="560"/>
                    </a:lnTo>
                    <a:lnTo>
                      <a:pt x="87" y="510"/>
                    </a:lnTo>
                    <a:lnTo>
                      <a:pt x="76" y="460"/>
                    </a:lnTo>
                    <a:lnTo>
                      <a:pt x="52" y="362"/>
                    </a:lnTo>
                    <a:lnTo>
                      <a:pt x="29" y="264"/>
                    </a:lnTo>
                    <a:lnTo>
                      <a:pt x="18" y="215"/>
                    </a:lnTo>
                    <a:lnTo>
                      <a:pt x="7" y="164"/>
                    </a:lnTo>
                    <a:lnTo>
                      <a:pt x="7" y="164"/>
                    </a:lnTo>
                    <a:lnTo>
                      <a:pt x="4" y="150"/>
                    </a:lnTo>
                    <a:lnTo>
                      <a:pt x="1" y="136"/>
                    </a:lnTo>
                    <a:lnTo>
                      <a:pt x="0" y="123"/>
                    </a:lnTo>
                    <a:lnTo>
                      <a:pt x="0" y="110"/>
                    </a:lnTo>
                    <a:lnTo>
                      <a:pt x="0" y="98"/>
                    </a:lnTo>
                    <a:lnTo>
                      <a:pt x="2" y="87"/>
                    </a:lnTo>
                    <a:lnTo>
                      <a:pt x="4" y="76"/>
                    </a:lnTo>
                    <a:lnTo>
                      <a:pt x="7" y="66"/>
                    </a:lnTo>
                    <a:lnTo>
                      <a:pt x="12" y="56"/>
                    </a:lnTo>
                    <a:lnTo>
                      <a:pt x="17" y="47"/>
                    </a:lnTo>
                    <a:lnTo>
                      <a:pt x="23" y="39"/>
                    </a:lnTo>
                    <a:lnTo>
                      <a:pt x="31" y="31"/>
                    </a:lnTo>
                    <a:lnTo>
                      <a:pt x="39" y="25"/>
                    </a:lnTo>
                    <a:lnTo>
                      <a:pt x="48" y="19"/>
                    </a:lnTo>
                    <a:lnTo>
                      <a:pt x="58" y="13"/>
                    </a:lnTo>
                    <a:lnTo>
                      <a:pt x="70" y="8"/>
                    </a:lnTo>
                    <a:lnTo>
                      <a:pt x="70" y="8"/>
                    </a:lnTo>
                    <a:lnTo>
                      <a:pt x="82" y="5"/>
                    </a:lnTo>
                    <a:lnTo>
                      <a:pt x="93" y="2"/>
                    </a:lnTo>
                    <a:lnTo>
                      <a:pt x="104" y="1"/>
                    </a:lnTo>
                    <a:lnTo>
                      <a:pt x="114" y="0"/>
                    </a:lnTo>
                    <a:lnTo>
                      <a:pt x="124" y="1"/>
                    </a:lnTo>
                    <a:lnTo>
                      <a:pt x="134" y="2"/>
                    </a:lnTo>
                    <a:lnTo>
                      <a:pt x="143" y="5"/>
                    </a:lnTo>
                    <a:lnTo>
                      <a:pt x="151" y="8"/>
                    </a:lnTo>
                    <a:lnTo>
                      <a:pt x="159" y="13"/>
                    </a:lnTo>
                    <a:lnTo>
                      <a:pt x="167" y="19"/>
                    </a:lnTo>
                    <a:lnTo>
                      <a:pt x="174" y="26"/>
                    </a:lnTo>
                    <a:lnTo>
                      <a:pt x="182" y="33"/>
                    </a:lnTo>
                    <a:lnTo>
                      <a:pt x="188" y="41"/>
                    </a:lnTo>
                    <a:lnTo>
                      <a:pt x="193" y="51"/>
                    </a:lnTo>
                    <a:lnTo>
                      <a:pt x="198" y="61"/>
                    </a:lnTo>
                    <a:lnTo>
                      <a:pt x="202" y="73"/>
                    </a:lnTo>
                    <a:lnTo>
                      <a:pt x="202" y="73"/>
                    </a:lnTo>
                    <a:lnTo>
                      <a:pt x="264" y="324"/>
                    </a:lnTo>
                    <a:lnTo>
                      <a:pt x="327" y="574"/>
                    </a:lnTo>
                    <a:lnTo>
                      <a:pt x="327" y="574"/>
                    </a:lnTo>
                    <a:lnTo>
                      <a:pt x="329" y="577"/>
                    </a:lnTo>
                    <a:lnTo>
                      <a:pt x="330" y="582"/>
                    </a:lnTo>
                    <a:lnTo>
                      <a:pt x="330" y="586"/>
                    </a:lnTo>
                    <a:lnTo>
                      <a:pt x="329" y="592"/>
                    </a:lnTo>
                    <a:lnTo>
                      <a:pt x="325" y="602"/>
                    </a:lnTo>
                    <a:lnTo>
                      <a:pt x="323" y="606"/>
                    </a:lnTo>
                    <a:lnTo>
                      <a:pt x="320" y="609"/>
                    </a:lnTo>
                    <a:lnTo>
                      <a:pt x="320" y="609"/>
                    </a:lnTo>
                    <a:lnTo>
                      <a:pt x="282" y="658"/>
                    </a:lnTo>
                    <a:lnTo>
                      <a:pt x="243" y="706"/>
                    </a:lnTo>
                    <a:lnTo>
                      <a:pt x="202" y="755"/>
                    </a:lnTo>
                    <a:lnTo>
                      <a:pt x="160" y="808"/>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1" name="Freeform 16"/>
              <p:cNvSpPr>
                <a:spLocks/>
              </p:cNvSpPr>
              <p:nvPr/>
            </p:nvSpPr>
            <p:spPr bwMode="auto">
              <a:xfrm>
                <a:off x="6405563" y="2068513"/>
                <a:ext cx="77788" cy="77788"/>
              </a:xfrm>
              <a:custGeom>
                <a:avLst/>
                <a:gdLst>
                  <a:gd name="T0" fmla="*/ 197 w 388"/>
                  <a:gd name="T1" fmla="*/ 392 h 392"/>
                  <a:gd name="T2" fmla="*/ 157 w 388"/>
                  <a:gd name="T3" fmla="*/ 388 h 392"/>
                  <a:gd name="T4" fmla="*/ 119 w 388"/>
                  <a:gd name="T5" fmla="*/ 377 h 392"/>
                  <a:gd name="T6" fmla="*/ 85 w 388"/>
                  <a:gd name="T7" fmla="*/ 359 h 392"/>
                  <a:gd name="T8" fmla="*/ 57 w 388"/>
                  <a:gd name="T9" fmla="*/ 335 h 392"/>
                  <a:gd name="T10" fmla="*/ 33 w 388"/>
                  <a:gd name="T11" fmla="*/ 307 h 392"/>
                  <a:gd name="T12" fmla="*/ 15 w 388"/>
                  <a:gd name="T13" fmla="*/ 275 h 392"/>
                  <a:gd name="T14" fmla="*/ 4 w 388"/>
                  <a:gd name="T15" fmla="*/ 239 h 392"/>
                  <a:gd name="T16" fmla="*/ 0 w 388"/>
                  <a:gd name="T17" fmla="*/ 200 h 392"/>
                  <a:gd name="T18" fmla="*/ 1 w 388"/>
                  <a:gd name="T19" fmla="*/ 178 h 392"/>
                  <a:gd name="T20" fmla="*/ 8 w 388"/>
                  <a:gd name="T21" fmla="*/ 139 h 392"/>
                  <a:gd name="T22" fmla="*/ 23 w 388"/>
                  <a:gd name="T23" fmla="*/ 103 h 392"/>
                  <a:gd name="T24" fmla="*/ 44 w 388"/>
                  <a:gd name="T25" fmla="*/ 71 h 392"/>
                  <a:gd name="T26" fmla="*/ 70 w 388"/>
                  <a:gd name="T27" fmla="*/ 44 h 392"/>
                  <a:gd name="T28" fmla="*/ 102 w 388"/>
                  <a:gd name="T29" fmla="*/ 23 h 392"/>
                  <a:gd name="T30" fmla="*/ 137 w 388"/>
                  <a:gd name="T31" fmla="*/ 8 h 392"/>
                  <a:gd name="T32" fmla="*/ 177 w 388"/>
                  <a:gd name="T33" fmla="*/ 1 h 392"/>
                  <a:gd name="T34" fmla="*/ 197 w 388"/>
                  <a:gd name="T35" fmla="*/ 0 h 392"/>
                  <a:gd name="T36" fmla="*/ 238 w 388"/>
                  <a:gd name="T37" fmla="*/ 4 h 392"/>
                  <a:gd name="T38" fmla="*/ 275 w 388"/>
                  <a:gd name="T39" fmla="*/ 15 h 392"/>
                  <a:gd name="T40" fmla="*/ 307 w 388"/>
                  <a:gd name="T41" fmla="*/ 32 h 392"/>
                  <a:gd name="T42" fmla="*/ 334 w 388"/>
                  <a:gd name="T43" fmla="*/ 56 h 392"/>
                  <a:gd name="T44" fmla="*/ 357 w 388"/>
                  <a:gd name="T45" fmla="*/ 85 h 392"/>
                  <a:gd name="T46" fmla="*/ 373 w 388"/>
                  <a:gd name="T47" fmla="*/ 117 h 392"/>
                  <a:gd name="T48" fmla="*/ 384 w 388"/>
                  <a:gd name="T49" fmla="*/ 153 h 392"/>
                  <a:gd name="T50" fmla="*/ 388 w 388"/>
                  <a:gd name="T51" fmla="*/ 192 h 392"/>
                  <a:gd name="T52" fmla="*/ 387 w 388"/>
                  <a:gd name="T53" fmla="*/ 214 h 392"/>
                  <a:gd name="T54" fmla="*/ 380 w 388"/>
                  <a:gd name="T55" fmla="*/ 253 h 392"/>
                  <a:gd name="T56" fmla="*/ 366 w 388"/>
                  <a:gd name="T57" fmla="*/ 289 h 392"/>
                  <a:gd name="T58" fmla="*/ 346 w 388"/>
                  <a:gd name="T59" fmla="*/ 320 h 392"/>
                  <a:gd name="T60" fmla="*/ 321 w 388"/>
                  <a:gd name="T61" fmla="*/ 348 h 392"/>
                  <a:gd name="T62" fmla="*/ 292 w 388"/>
                  <a:gd name="T63" fmla="*/ 369 h 392"/>
                  <a:gd name="T64" fmla="*/ 256 w 388"/>
                  <a:gd name="T65" fmla="*/ 383 h 392"/>
                  <a:gd name="T66" fmla="*/ 218 w 388"/>
                  <a:gd name="T67" fmla="*/ 391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88" h="392">
                    <a:moveTo>
                      <a:pt x="197" y="392"/>
                    </a:moveTo>
                    <a:lnTo>
                      <a:pt x="197" y="392"/>
                    </a:lnTo>
                    <a:lnTo>
                      <a:pt x="177" y="391"/>
                    </a:lnTo>
                    <a:lnTo>
                      <a:pt x="157" y="388"/>
                    </a:lnTo>
                    <a:lnTo>
                      <a:pt x="137" y="383"/>
                    </a:lnTo>
                    <a:lnTo>
                      <a:pt x="119" y="377"/>
                    </a:lnTo>
                    <a:lnTo>
                      <a:pt x="102" y="369"/>
                    </a:lnTo>
                    <a:lnTo>
                      <a:pt x="85" y="359"/>
                    </a:lnTo>
                    <a:lnTo>
                      <a:pt x="70" y="348"/>
                    </a:lnTo>
                    <a:lnTo>
                      <a:pt x="57" y="335"/>
                    </a:lnTo>
                    <a:lnTo>
                      <a:pt x="44" y="322"/>
                    </a:lnTo>
                    <a:lnTo>
                      <a:pt x="33" y="307"/>
                    </a:lnTo>
                    <a:lnTo>
                      <a:pt x="23" y="291"/>
                    </a:lnTo>
                    <a:lnTo>
                      <a:pt x="15" y="275"/>
                    </a:lnTo>
                    <a:lnTo>
                      <a:pt x="8" y="257"/>
                    </a:lnTo>
                    <a:lnTo>
                      <a:pt x="4" y="239"/>
                    </a:lnTo>
                    <a:lnTo>
                      <a:pt x="1" y="220"/>
                    </a:lnTo>
                    <a:lnTo>
                      <a:pt x="0" y="200"/>
                    </a:lnTo>
                    <a:lnTo>
                      <a:pt x="0" y="200"/>
                    </a:lnTo>
                    <a:lnTo>
                      <a:pt x="1" y="178"/>
                    </a:lnTo>
                    <a:lnTo>
                      <a:pt x="4" y="158"/>
                    </a:lnTo>
                    <a:lnTo>
                      <a:pt x="8" y="139"/>
                    </a:lnTo>
                    <a:lnTo>
                      <a:pt x="15" y="120"/>
                    </a:lnTo>
                    <a:lnTo>
                      <a:pt x="23" y="103"/>
                    </a:lnTo>
                    <a:lnTo>
                      <a:pt x="33" y="86"/>
                    </a:lnTo>
                    <a:lnTo>
                      <a:pt x="44" y="71"/>
                    </a:lnTo>
                    <a:lnTo>
                      <a:pt x="57" y="57"/>
                    </a:lnTo>
                    <a:lnTo>
                      <a:pt x="70" y="44"/>
                    </a:lnTo>
                    <a:lnTo>
                      <a:pt x="85" y="33"/>
                    </a:lnTo>
                    <a:lnTo>
                      <a:pt x="102" y="23"/>
                    </a:lnTo>
                    <a:lnTo>
                      <a:pt x="119" y="15"/>
                    </a:lnTo>
                    <a:lnTo>
                      <a:pt x="137" y="8"/>
                    </a:lnTo>
                    <a:lnTo>
                      <a:pt x="157" y="4"/>
                    </a:lnTo>
                    <a:lnTo>
                      <a:pt x="177" y="1"/>
                    </a:lnTo>
                    <a:lnTo>
                      <a:pt x="197" y="0"/>
                    </a:lnTo>
                    <a:lnTo>
                      <a:pt x="197" y="0"/>
                    </a:lnTo>
                    <a:lnTo>
                      <a:pt x="218" y="1"/>
                    </a:lnTo>
                    <a:lnTo>
                      <a:pt x="238" y="4"/>
                    </a:lnTo>
                    <a:lnTo>
                      <a:pt x="256" y="8"/>
                    </a:lnTo>
                    <a:lnTo>
                      <a:pt x="275" y="15"/>
                    </a:lnTo>
                    <a:lnTo>
                      <a:pt x="292" y="23"/>
                    </a:lnTo>
                    <a:lnTo>
                      <a:pt x="307" y="32"/>
                    </a:lnTo>
                    <a:lnTo>
                      <a:pt x="321" y="43"/>
                    </a:lnTo>
                    <a:lnTo>
                      <a:pt x="334" y="56"/>
                    </a:lnTo>
                    <a:lnTo>
                      <a:pt x="346" y="70"/>
                    </a:lnTo>
                    <a:lnTo>
                      <a:pt x="357" y="85"/>
                    </a:lnTo>
                    <a:lnTo>
                      <a:pt x="366" y="100"/>
                    </a:lnTo>
                    <a:lnTo>
                      <a:pt x="373" y="117"/>
                    </a:lnTo>
                    <a:lnTo>
                      <a:pt x="380" y="135"/>
                    </a:lnTo>
                    <a:lnTo>
                      <a:pt x="384" y="153"/>
                    </a:lnTo>
                    <a:lnTo>
                      <a:pt x="387" y="172"/>
                    </a:lnTo>
                    <a:lnTo>
                      <a:pt x="388" y="192"/>
                    </a:lnTo>
                    <a:lnTo>
                      <a:pt x="388" y="192"/>
                    </a:lnTo>
                    <a:lnTo>
                      <a:pt x="387" y="214"/>
                    </a:lnTo>
                    <a:lnTo>
                      <a:pt x="384" y="234"/>
                    </a:lnTo>
                    <a:lnTo>
                      <a:pt x="380" y="253"/>
                    </a:lnTo>
                    <a:lnTo>
                      <a:pt x="373" y="272"/>
                    </a:lnTo>
                    <a:lnTo>
                      <a:pt x="366" y="289"/>
                    </a:lnTo>
                    <a:lnTo>
                      <a:pt x="357" y="305"/>
                    </a:lnTo>
                    <a:lnTo>
                      <a:pt x="346" y="320"/>
                    </a:lnTo>
                    <a:lnTo>
                      <a:pt x="334" y="334"/>
                    </a:lnTo>
                    <a:lnTo>
                      <a:pt x="321" y="348"/>
                    </a:lnTo>
                    <a:lnTo>
                      <a:pt x="307" y="359"/>
                    </a:lnTo>
                    <a:lnTo>
                      <a:pt x="292" y="369"/>
                    </a:lnTo>
                    <a:lnTo>
                      <a:pt x="275" y="377"/>
                    </a:lnTo>
                    <a:lnTo>
                      <a:pt x="256" y="383"/>
                    </a:lnTo>
                    <a:lnTo>
                      <a:pt x="238" y="388"/>
                    </a:lnTo>
                    <a:lnTo>
                      <a:pt x="218" y="391"/>
                    </a:lnTo>
                    <a:lnTo>
                      <a:pt x="197" y="3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2" name="Freeform 17"/>
              <p:cNvSpPr>
                <a:spLocks/>
              </p:cNvSpPr>
              <p:nvPr/>
            </p:nvSpPr>
            <p:spPr bwMode="auto">
              <a:xfrm>
                <a:off x="6405563" y="2068513"/>
                <a:ext cx="77788" cy="77788"/>
              </a:xfrm>
              <a:custGeom>
                <a:avLst/>
                <a:gdLst>
                  <a:gd name="T0" fmla="*/ 197 w 388"/>
                  <a:gd name="T1" fmla="*/ 392 h 392"/>
                  <a:gd name="T2" fmla="*/ 157 w 388"/>
                  <a:gd name="T3" fmla="*/ 388 h 392"/>
                  <a:gd name="T4" fmla="*/ 119 w 388"/>
                  <a:gd name="T5" fmla="*/ 377 h 392"/>
                  <a:gd name="T6" fmla="*/ 85 w 388"/>
                  <a:gd name="T7" fmla="*/ 359 h 392"/>
                  <a:gd name="T8" fmla="*/ 57 w 388"/>
                  <a:gd name="T9" fmla="*/ 335 h 392"/>
                  <a:gd name="T10" fmla="*/ 33 w 388"/>
                  <a:gd name="T11" fmla="*/ 307 h 392"/>
                  <a:gd name="T12" fmla="*/ 15 w 388"/>
                  <a:gd name="T13" fmla="*/ 275 h 392"/>
                  <a:gd name="T14" fmla="*/ 4 w 388"/>
                  <a:gd name="T15" fmla="*/ 239 h 392"/>
                  <a:gd name="T16" fmla="*/ 0 w 388"/>
                  <a:gd name="T17" fmla="*/ 200 h 392"/>
                  <a:gd name="T18" fmla="*/ 1 w 388"/>
                  <a:gd name="T19" fmla="*/ 178 h 392"/>
                  <a:gd name="T20" fmla="*/ 8 w 388"/>
                  <a:gd name="T21" fmla="*/ 139 h 392"/>
                  <a:gd name="T22" fmla="*/ 23 w 388"/>
                  <a:gd name="T23" fmla="*/ 103 h 392"/>
                  <a:gd name="T24" fmla="*/ 44 w 388"/>
                  <a:gd name="T25" fmla="*/ 71 h 392"/>
                  <a:gd name="T26" fmla="*/ 70 w 388"/>
                  <a:gd name="T27" fmla="*/ 44 h 392"/>
                  <a:gd name="T28" fmla="*/ 102 w 388"/>
                  <a:gd name="T29" fmla="*/ 23 h 392"/>
                  <a:gd name="T30" fmla="*/ 137 w 388"/>
                  <a:gd name="T31" fmla="*/ 8 h 392"/>
                  <a:gd name="T32" fmla="*/ 177 w 388"/>
                  <a:gd name="T33" fmla="*/ 1 h 392"/>
                  <a:gd name="T34" fmla="*/ 197 w 388"/>
                  <a:gd name="T35" fmla="*/ 0 h 392"/>
                  <a:gd name="T36" fmla="*/ 238 w 388"/>
                  <a:gd name="T37" fmla="*/ 4 h 392"/>
                  <a:gd name="T38" fmla="*/ 275 w 388"/>
                  <a:gd name="T39" fmla="*/ 15 h 392"/>
                  <a:gd name="T40" fmla="*/ 307 w 388"/>
                  <a:gd name="T41" fmla="*/ 32 h 392"/>
                  <a:gd name="T42" fmla="*/ 334 w 388"/>
                  <a:gd name="T43" fmla="*/ 56 h 392"/>
                  <a:gd name="T44" fmla="*/ 357 w 388"/>
                  <a:gd name="T45" fmla="*/ 85 h 392"/>
                  <a:gd name="T46" fmla="*/ 373 w 388"/>
                  <a:gd name="T47" fmla="*/ 117 h 392"/>
                  <a:gd name="T48" fmla="*/ 384 w 388"/>
                  <a:gd name="T49" fmla="*/ 153 h 392"/>
                  <a:gd name="T50" fmla="*/ 388 w 388"/>
                  <a:gd name="T51" fmla="*/ 192 h 392"/>
                  <a:gd name="T52" fmla="*/ 387 w 388"/>
                  <a:gd name="T53" fmla="*/ 214 h 392"/>
                  <a:gd name="T54" fmla="*/ 380 w 388"/>
                  <a:gd name="T55" fmla="*/ 253 h 392"/>
                  <a:gd name="T56" fmla="*/ 366 w 388"/>
                  <a:gd name="T57" fmla="*/ 289 h 392"/>
                  <a:gd name="T58" fmla="*/ 346 w 388"/>
                  <a:gd name="T59" fmla="*/ 320 h 392"/>
                  <a:gd name="T60" fmla="*/ 321 w 388"/>
                  <a:gd name="T61" fmla="*/ 348 h 392"/>
                  <a:gd name="T62" fmla="*/ 292 w 388"/>
                  <a:gd name="T63" fmla="*/ 369 h 392"/>
                  <a:gd name="T64" fmla="*/ 256 w 388"/>
                  <a:gd name="T65" fmla="*/ 383 h 392"/>
                  <a:gd name="T66" fmla="*/ 218 w 388"/>
                  <a:gd name="T67" fmla="*/ 391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88" h="392">
                    <a:moveTo>
                      <a:pt x="197" y="392"/>
                    </a:moveTo>
                    <a:lnTo>
                      <a:pt x="197" y="392"/>
                    </a:lnTo>
                    <a:lnTo>
                      <a:pt x="177" y="391"/>
                    </a:lnTo>
                    <a:lnTo>
                      <a:pt x="157" y="388"/>
                    </a:lnTo>
                    <a:lnTo>
                      <a:pt x="137" y="383"/>
                    </a:lnTo>
                    <a:lnTo>
                      <a:pt x="119" y="377"/>
                    </a:lnTo>
                    <a:lnTo>
                      <a:pt x="102" y="369"/>
                    </a:lnTo>
                    <a:lnTo>
                      <a:pt x="85" y="359"/>
                    </a:lnTo>
                    <a:lnTo>
                      <a:pt x="70" y="348"/>
                    </a:lnTo>
                    <a:lnTo>
                      <a:pt x="57" y="335"/>
                    </a:lnTo>
                    <a:lnTo>
                      <a:pt x="44" y="322"/>
                    </a:lnTo>
                    <a:lnTo>
                      <a:pt x="33" y="307"/>
                    </a:lnTo>
                    <a:lnTo>
                      <a:pt x="23" y="291"/>
                    </a:lnTo>
                    <a:lnTo>
                      <a:pt x="15" y="275"/>
                    </a:lnTo>
                    <a:lnTo>
                      <a:pt x="8" y="257"/>
                    </a:lnTo>
                    <a:lnTo>
                      <a:pt x="4" y="239"/>
                    </a:lnTo>
                    <a:lnTo>
                      <a:pt x="1" y="220"/>
                    </a:lnTo>
                    <a:lnTo>
                      <a:pt x="0" y="200"/>
                    </a:lnTo>
                    <a:lnTo>
                      <a:pt x="0" y="200"/>
                    </a:lnTo>
                    <a:lnTo>
                      <a:pt x="1" y="178"/>
                    </a:lnTo>
                    <a:lnTo>
                      <a:pt x="4" y="158"/>
                    </a:lnTo>
                    <a:lnTo>
                      <a:pt x="8" y="139"/>
                    </a:lnTo>
                    <a:lnTo>
                      <a:pt x="15" y="120"/>
                    </a:lnTo>
                    <a:lnTo>
                      <a:pt x="23" y="103"/>
                    </a:lnTo>
                    <a:lnTo>
                      <a:pt x="33" y="86"/>
                    </a:lnTo>
                    <a:lnTo>
                      <a:pt x="44" y="71"/>
                    </a:lnTo>
                    <a:lnTo>
                      <a:pt x="57" y="57"/>
                    </a:lnTo>
                    <a:lnTo>
                      <a:pt x="70" y="44"/>
                    </a:lnTo>
                    <a:lnTo>
                      <a:pt x="85" y="33"/>
                    </a:lnTo>
                    <a:lnTo>
                      <a:pt x="102" y="23"/>
                    </a:lnTo>
                    <a:lnTo>
                      <a:pt x="119" y="15"/>
                    </a:lnTo>
                    <a:lnTo>
                      <a:pt x="137" y="8"/>
                    </a:lnTo>
                    <a:lnTo>
                      <a:pt x="157" y="4"/>
                    </a:lnTo>
                    <a:lnTo>
                      <a:pt x="177" y="1"/>
                    </a:lnTo>
                    <a:lnTo>
                      <a:pt x="197" y="0"/>
                    </a:lnTo>
                    <a:lnTo>
                      <a:pt x="197" y="0"/>
                    </a:lnTo>
                    <a:lnTo>
                      <a:pt x="218" y="1"/>
                    </a:lnTo>
                    <a:lnTo>
                      <a:pt x="238" y="4"/>
                    </a:lnTo>
                    <a:lnTo>
                      <a:pt x="256" y="8"/>
                    </a:lnTo>
                    <a:lnTo>
                      <a:pt x="275" y="15"/>
                    </a:lnTo>
                    <a:lnTo>
                      <a:pt x="292" y="23"/>
                    </a:lnTo>
                    <a:lnTo>
                      <a:pt x="307" y="32"/>
                    </a:lnTo>
                    <a:lnTo>
                      <a:pt x="321" y="43"/>
                    </a:lnTo>
                    <a:lnTo>
                      <a:pt x="334" y="56"/>
                    </a:lnTo>
                    <a:lnTo>
                      <a:pt x="346" y="70"/>
                    </a:lnTo>
                    <a:lnTo>
                      <a:pt x="357" y="85"/>
                    </a:lnTo>
                    <a:lnTo>
                      <a:pt x="366" y="100"/>
                    </a:lnTo>
                    <a:lnTo>
                      <a:pt x="373" y="117"/>
                    </a:lnTo>
                    <a:lnTo>
                      <a:pt x="380" y="135"/>
                    </a:lnTo>
                    <a:lnTo>
                      <a:pt x="384" y="153"/>
                    </a:lnTo>
                    <a:lnTo>
                      <a:pt x="387" y="172"/>
                    </a:lnTo>
                    <a:lnTo>
                      <a:pt x="388" y="192"/>
                    </a:lnTo>
                    <a:lnTo>
                      <a:pt x="388" y="192"/>
                    </a:lnTo>
                    <a:lnTo>
                      <a:pt x="387" y="214"/>
                    </a:lnTo>
                    <a:lnTo>
                      <a:pt x="384" y="234"/>
                    </a:lnTo>
                    <a:lnTo>
                      <a:pt x="380" y="253"/>
                    </a:lnTo>
                    <a:lnTo>
                      <a:pt x="373" y="272"/>
                    </a:lnTo>
                    <a:lnTo>
                      <a:pt x="366" y="289"/>
                    </a:lnTo>
                    <a:lnTo>
                      <a:pt x="357" y="305"/>
                    </a:lnTo>
                    <a:lnTo>
                      <a:pt x="346" y="320"/>
                    </a:lnTo>
                    <a:lnTo>
                      <a:pt x="334" y="334"/>
                    </a:lnTo>
                    <a:lnTo>
                      <a:pt x="321" y="348"/>
                    </a:lnTo>
                    <a:lnTo>
                      <a:pt x="307" y="359"/>
                    </a:lnTo>
                    <a:lnTo>
                      <a:pt x="292" y="369"/>
                    </a:lnTo>
                    <a:lnTo>
                      <a:pt x="275" y="377"/>
                    </a:lnTo>
                    <a:lnTo>
                      <a:pt x="256" y="383"/>
                    </a:lnTo>
                    <a:lnTo>
                      <a:pt x="238" y="388"/>
                    </a:lnTo>
                    <a:lnTo>
                      <a:pt x="218" y="391"/>
                    </a:lnTo>
                    <a:lnTo>
                      <a:pt x="197" y="392"/>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3" name="Freeform 18"/>
              <p:cNvSpPr>
                <a:spLocks/>
              </p:cNvSpPr>
              <p:nvPr/>
            </p:nvSpPr>
            <p:spPr bwMode="auto">
              <a:xfrm>
                <a:off x="6105525" y="1935163"/>
                <a:ext cx="244475" cy="293688"/>
              </a:xfrm>
              <a:custGeom>
                <a:avLst/>
                <a:gdLst>
                  <a:gd name="T0" fmla="*/ 1177 w 1233"/>
                  <a:gd name="T1" fmla="*/ 1475 h 1478"/>
                  <a:gd name="T2" fmla="*/ 1199 w 1233"/>
                  <a:gd name="T3" fmla="*/ 1464 h 1478"/>
                  <a:gd name="T4" fmla="*/ 1216 w 1233"/>
                  <a:gd name="T5" fmla="*/ 1447 h 1478"/>
                  <a:gd name="T6" fmla="*/ 1226 w 1233"/>
                  <a:gd name="T7" fmla="*/ 1427 h 1478"/>
                  <a:gd name="T8" fmla="*/ 1233 w 1233"/>
                  <a:gd name="T9" fmla="*/ 1378 h 1478"/>
                  <a:gd name="T10" fmla="*/ 1146 w 1233"/>
                  <a:gd name="T11" fmla="*/ 1103 h 1478"/>
                  <a:gd name="T12" fmla="*/ 1055 w 1233"/>
                  <a:gd name="T13" fmla="*/ 838 h 1478"/>
                  <a:gd name="T14" fmla="*/ 1039 w 1233"/>
                  <a:gd name="T15" fmla="*/ 795 h 1478"/>
                  <a:gd name="T16" fmla="*/ 1016 w 1233"/>
                  <a:gd name="T17" fmla="*/ 760 h 1478"/>
                  <a:gd name="T18" fmla="*/ 987 w 1233"/>
                  <a:gd name="T19" fmla="*/ 732 h 1478"/>
                  <a:gd name="T20" fmla="*/ 954 w 1233"/>
                  <a:gd name="T21" fmla="*/ 710 h 1478"/>
                  <a:gd name="T22" fmla="*/ 906 w 1233"/>
                  <a:gd name="T23" fmla="*/ 689 h 1478"/>
                  <a:gd name="T24" fmla="*/ 832 w 1233"/>
                  <a:gd name="T25" fmla="*/ 673 h 1478"/>
                  <a:gd name="T26" fmla="*/ 768 w 1233"/>
                  <a:gd name="T27" fmla="*/ 669 h 1478"/>
                  <a:gd name="T28" fmla="*/ 723 w 1233"/>
                  <a:gd name="T29" fmla="*/ 668 h 1478"/>
                  <a:gd name="T30" fmla="*/ 688 w 1233"/>
                  <a:gd name="T31" fmla="*/ 663 h 1478"/>
                  <a:gd name="T32" fmla="*/ 641 w 1233"/>
                  <a:gd name="T33" fmla="*/ 648 h 1478"/>
                  <a:gd name="T34" fmla="*/ 573 w 1233"/>
                  <a:gd name="T35" fmla="*/ 608 h 1478"/>
                  <a:gd name="T36" fmla="*/ 534 w 1233"/>
                  <a:gd name="T37" fmla="*/ 575 h 1478"/>
                  <a:gd name="T38" fmla="*/ 488 w 1233"/>
                  <a:gd name="T39" fmla="*/ 522 h 1478"/>
                  <a:gd name="T40" fmla="*/ 435 w 1233"/>
                  <a:gd name="T41" fmla="*/ 449 h 1478"/>
                  <a:gd name="T42" fmla="*/ 366 w 1233"/>
                  <a:gd name="T43" fmla="*/ 327 h 1478"/>
                  <a:gd name="T44" fmla="*/ 238 w 1233"/>
                  <a:gd name="T45" fmla="*/ 72 h 1478"/>
                  <a:gd name="T46" fmla="*/ 227 w 1233"/>
                  <a:gd name="T47" fmla="*/ 53 h 1478"/>
                  <a:gd name="T48" fmla="*/ 208 w 1233"/>
                  <a:gd name="T49" fmla="*/ 29 h 1478"/>
                  <a:gd name="T50" fmla="*/ 185 w 1233"/>
                  <a:gd name="T51" fmla="*/ 13 h 1478"/>
                  <a:gd name="T52" fmla="*/ 157 w 1233"/>
                  <a:gd name="T53" fmla="*/ 3 h 1478"/>
                  <a:gd name="T54" fmla="*/ 127 w 1233"/>
                  <a:gd name="T55" fmla="*/ 0 h 1478"/>
                  <a:gd name="T56" fmla="*/ 104 w 1233"/>
                  <a:gd name="T57" fmla="*/ 1 h 1478"/>
                  <a:gd name="T58" fmla="*/ 60 w 1233"/>
                  <a:gd name="T59" fmla="*/ 14 h 1478"/>
                  <a:gd name="T60" fmla="*/ 38 w 1233"/>
                  <a:gd name="T61" fmla="*/ 28 h 1478"/>
                  <a:gd name="T62" fmla="*/ 20 w 1233"/>
                  <a:gd name="T63" fmla="*/ 46 h 1478"/>
                  <a:gd name="T64" fmla="*/ 8 w 1233"/>
                  <a:gd name="T65" fmla="*/ 69 h 1478"/>
                  <a:gd name="T66" fmla="*/ 4 w 1233"/>
                  <a:gd name="T67" fmla="*/ 86 h 1478"/>
                  <a:gd name="T68" fmla="*/ 0 w 1233"/>
                  <a:gd name="T69" fmla="*/ 131 h 1478"/>
                  <a:gd name="T70" fmla="*/ 3 w 1233"/>
                  <a:gd name="T71" fmla="*/ 178 h 1478"/>
                  <a:gd name="T72" fmla="*/ 11 w 1233"/>
                  <a:gd name="T73" fmla="*/ 207 h 1478"/>
                  <a:gd name="T74" fmla="*/ 190 w 1233"/>
                  <a:gd name="T75" fmla="*/ 555 h 1478"/>
                  <a:gd name="T76" fmla="*/ 253 w 1233"/>
                  <a:gd name="T77" fmla="*/ 668 h 1478"/>
                  <a:gd name="T78" fmla="*/ 311 w 1233"/>
                  <a:gd name="T79" fmla="*/ 794 h 1478"/>
                  <a:gd name="T80" fmla="*/ 353 w 1233"/>
                  <a:gd name="T81" fmla="*/ 921 h 1478"/>
                  <a:gd name="T82" fmla="*/ 373 w 1233"/>
                  <a:gd name="T83" fmla="*/ 1009 h 1478"/>
                  <a:gd name="T84" fmla="*/ 386 w 1233"/>
                  <a:gd name="T85" fmla="*/ 1095 h 1478"/>
                  <a:gd name="T86" fmla="*/ 388 w 1233"/>
                  <a:gd name="T87" fmla="*/ 1188 h 1478"/>
                  <a:gd name="T88" fmla="*/ 394 w 1233"/>
                  <a:gd name="T89" fmla="*/ 1385 h 1478"/>
                  <a:gd name="T90" fmla="*/ 396 w 1233"/>
                  <a:gd name="T91" fmla="*/ 1416 h 1478"/>
                  <a:gd name="T92" fmla="*/ 405 w 1233"/>
                  <a:gd name="T93" fmla="*/ 1442 h 1478"/>
                  <a:gd name="T94" fmla="*/ 417 w 1233"/>
                  <a:gd name="T95" fmla="*/ 1459 h 1478"/>
                  <a:gd name="T96" fmla="*/ 435 w 1233"/>
                  <a:gd name="T97" fmla="*/ 1472 h 1478"/>
                  <a:gd name="T98" fmla="*/ 1168 w 1233"/>
                  <a:gd name="T99" fmla="*/ 1478 h 1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233" h="1478">
                    <a:moveTo>
                      <a:pt x="1168" y="1478"/>
                    </a:moveTo>
                    <a:lnTo>
                      <a:pt x="1168" y="1478"/>
                    </a:lnTo>
                    <a:lnTo>
                      <a:pt x="1177" y="1475"/>
                    </a:lnTo>
                    <a:lnTo>
                      <a:pt x="1185" y="1472"/>
                    </a:lnTo>
                    <a:lnTo>
                      <a:pt x="1193" y="1468"/>
                    </a:lnTo>
                    <a:lnTo>
                      <a:pt x="1199" y="1464"/>
                    </a:lnTo>
                    <a:lnTo>
                      <a:pt x="1206" y="1459"/>
                    </a:lnTo>
                    <a:lnTo>
                      <a:pt x="1211" y="1453"/>
                    </a:lnTo>
                    <a:lnTo>
                      <a:pt x="1216" y="1447"/>
                    </a:lnTo>
                    <a:lnTo>
                      <a:pt x="1220" y="1441"/>
                    </a:lnTo>
                    <a:lnTo>
                      <a:pt x="1223" y="1434"/>
                    </a:lnTo>
                    <a:lnTo>
                      <a:pt x="1226" y="1427"/>
                    </a:lnTo>
                    <a:lnTo>
                      <a:pt x="1230" y="1413"/>
                    </a:lnTo>
                    <a:lnTo>
                      <a:pt x="1232" y="1396"/>
                    </a:lnTo>
                    <a:lnTo>
                      <a:pt x="1233" y="1378"/>
                    </a:lnTo>
                    <a:lnTo>
                      <a:pt x="1233" y="1378"/>
                    </a:lnTo>
                    <a:lnTo>
                      <a:pt x="1181" y="1214"/>
                    </a:lnTo>
                    <a:lnTo>
                      <a:pt x="1146" y="1103"/>
                    </a:lnTo>
                    <a:lnTo>
                      <a:pt x="1110" y="995"/>
                    </a:lnTo>
                    <a:lnTo>
                      <a:pt x="1055" y="838"/>
                    </a:lnTo>
                    <a:lnTo>
                      <a:pt x="1055" y="838"/>
                    </a:lnTo>
                    <a:lnTo>
                      <a:pt x="1050" y="823"/>
                    </a:lnTo>
                    <a:lnTo>
                      <a:pt x="1045" y="809"/>
                    </a:lnTo>
                    <a:lnTo>
                      <a:pt x="1039" y="795"/>
                    </a:lnTo>
                    <a:lnTo>
                      <a:pt x="1032" y="783"/>
                    </a:lnTo>
                    <a:lnTo>
                      <a:pt x="1024" y="771"/>
                    </a:lnTo>
                    <a:lnTo>
                      <a:pt x="1016" y="760"/>
                    </a:lnTo>
                    <a:lnTo>
                      <a:pt x="1007" y="750"/>
                    </a:lnTo>
                    <a:lnTo>
                      <a:pt x="997" y="741"/>
                    </a:lnTo>
                    <a:lnTo>
                      <a:pt x="987" y="732"/>
                    </a:lnTo>
                    <a:lnTo>
                      <a:pt x="977" y="724"/>
                    </a:lnTo>
                    <a:lnTo>
                      <a:pt x="965" y="717"/>
                    </a:lnTo>
                    <a:lnTo>
                      <a:pt x="954" y="710"/>
                    </a:lnTo>
                    <a:lnTo>
                      <a:pt x="942" y="704"/>
                    </a:lnTo>
                    <a:lnTo>
                      <a:pt x="930" y="698"/>
                    </a:lnTo>
                    <a:lnTo>
                      <a:pt x="906" y="689"/>
                    </a:lnTo>
                    <a:lnTo>
                      <a:pt x="881" y="682"/>
                    </a:lnTo>
                    <a:lnTo>
                      <a:pt x="856" y="677"/>
                    </a:lnTo>
                    <a:lnTo>
                      <a:pt x="832" y="673"/>
                    </a:lnTo>
                    <a:lnTo>
                      <a:pt x="809" y="671"/>
                    </a:lnTo>
                    <a:lnTo>
                      <a:pt x="788" y="669"/>
                    </a:lnTo>
                    <a:lnTo>
                      <a:pt x="768" y="669"/>
                    </a:lnTo>
                    <a:lnTo>
                      <a:pt x="735" y="668"/>
                    </a:lnTo>
                    <a:lnTo>
                      <a:pt x="735" y="668"/>
                    </a:lnTo>
                    <a:lnTo>
                      <a:pt x="723" y="668"/>
                    </a:lnTo>
                    <a:lnTo>
                      <a:pt x="711" y="667"/>
                    </a:lnTo>
                    <a:lnTo>
                      <a:pt x="700" y="665"/>
                    </a:lnTo>
                    <a:lnTo>
                      <a:pt x="688" y="663"/>
                    </a:lnTo>
                    <a:lnTo>
                      <a:pt x="676" y="660"/>
                    </a:lnTo>
                    <a:lnTo>
                      <a:pt x="664" y="657"/>
                    </a:lnTo>
                    <a:lnTo>
                      <a:pt x="641" y="648"/>
                    </a:lnTo>
                    <a:lnTo>
                      <a:pt x="617" y="637"/>
                    </a:lnTo>
                    <a:lnTo>
                      <a:pt x="595" y="624"/>
                    </a:lnTo>
                    <a:lnTo>
                      <a:pt x="573" y="608"/>
                    </a:lnTo>
                    <a:lnTo>
                      <a:pt x="551" y="591"/>
                    </a:lnTo>
                    <a:lnTo>
                      <a:pt x="551" y="591"/>
                    </a:lnTo>
                    <a:lnTo>
                      <a:pt x="534" y="575"/>
                    </a:lnTo>
                    <a:lnTo>
                      <a:pt x="518" y="557"/>
                    </a:lnTo>
                    <a:lnTo>
                      <a:pt x="502" y="540"/>
                    </a:lnTo>
                    <a:lnTo>
                      <a:pt x="488" y="522"/>
                    </a:lnTo>
                    <a:lnTo>
                      <a:pt x="474" y="505"/>
                    </a:lnTo>
                    <a:lnTo>
                      <a:pt x="460" y="486"/>
                    </a:lnTo>
                    <a:lnTo>
                      <a:pt x="435" y="449"/>
                    </a:lnTo>
                    <a:lnTo>
                      <a:pt x="411" y="409"/>
                    </a:lnTo>
                    <a:lnTo>
                      <a:pt x="388" y="369"/>
                    </a:lnTo>
                    <a:lnTo>
                      <a:pt x="366" y="327"/>
                    </a:lnTo>
                    <a:lnTo>
                      <a:pt x="345" y="286"/>
                    </a:lnTo>
                    <a:lnTo>
                      <a:pt x="345" y="286"/>
                    </a:lnTo>
                    <a:lnTo>
                      <a:pt x="238" y="72"/>
                    </a:lnTo>
                    <a:lnTo>
                      <a:pt x="238" y="72"/>
                    </a:lnTo>
                    <a:lnTo>
                      <a:pt x="233" y="62"/>
                    </a:lnTo>
                    <a:lnTo>
                      <a:pt x="227" y="53"/>
                    </a:lnTo>
                    <a:lnTo>
                      <a:pt x="221" y="44"/>
                    </a:lnTo>
                    <a:lnTo>
                      <a:pt x="215" y="36"/>
                    </a:lnTo>
                    <a:lnTo>
                      <a:pt x="208" y="29"/>
                    </a:lnTo>
                    <a:lnTo>
                      <a:pt x="201" y="23"/>
                    </a:lnTo>
                    <a:lnTo>
                      <a:pt x="193" y="18"/>
                    </a:lnTo>
                    <a:lnTo>
                      <a:pt x="185" y="13"/>
                    </a:lnTo>
                    <a:lnTo>
                      <a:pt x="176" y="9"/>
                    </a:lnTo>
                    <a:lnTo>
                      <a:pt x="166" y="6"/>
                    </a:lnTo>
                    <a:lnTo>
                      <a:pt x="157" y="3"/>
                    </a:lnTo>
                    <a:lnTo>
                      <a:pt x="147" y="2"/>
                    </a:lnTo>
                    <a:lnTo>
                      <a:pt x="137" y="1"/>
                    </a:lnTo>
                    <a:lnTo>
                      <a:pt x="127" y="0"/>
                    </a:lnTo>
                    <a:lnTo>
                      <a:pt x="115" y="0"/>
                    </a:lnTo>
                    <a:lnTo>
                      <a:pt x="104" y="1"/>
                    </a:lnTo>
                    <a:lnTo>
                      <a:pt x="104" y="1"/>
                    </a:lnTo>
                    <a:lnTo>
                      <a:pt x="86" y="5"/>
                    </a:lnTo>
                    <a:lnTo>
                      <a:pt x="69" y="11"/>
                    </a:lnTo>
                    <a:lnTo>
                      <a:pt x="60" y="14"/>
                    </a:lnTo>
                    <a:lnTo>
                      <a:pt x="52" y="18"/>
                    </a:lnTo>
                    <a:lnTo>
                      <a:pt x="44" y="23"/>
                    </a:lnTo>
                    <a:lnTo>
                      <a:pt x="38" y="28"/>
                    </a:lnTo>
                    <a:lnTo>
                      <a:pt x="31" y="33"/>
                    </a:lnTo>
                    <a:lnTo>
                      <a:pt x="26" y="39"/>
                    </a:lnTo>
                    <a:lnTo>
                      <a:pt x="20" y="46"/>
                    </a:lnTo>
                    <a:lnTo>
                      <a:pt x="16" y="53"/>
                    </a:lnTo>
                    <a:lnTo>
                      <a:pt x="12" y="61"/>
                    </a:lnTo>
                    <a:lnTo>
                      <a:pt x="8" y="69"/>
                    </a:lnTo>
                    <a:lnTo>
                      <a:pt x="6" y="77"/>
                    </a:lnTo>
                    <a:lnTo>
                      <a:pt x="4" y="86"/>
                    </a:lnTo>
                    <a:lnTo>
                      <a:pt x="4" y="86"/>
                    </a:lnTo>
                    <a:lnTo>
                      <a:pt x="2" y="100"/>
                    </a:lnTo>
                    <a:lnTo>
                      <a:pt x="0" y="115"/>
                    </a:lnTo>
                    <a:lnTo>
                      <a:pt x="0" y="131"/>
                    </a:lnTo>
                    <a:lnTo>
                      <a:pt x="0" y="147"/>
                    </a:lnTo>
                    <a:lnTo>
                      <a:pt x="1" y="163"/>
                    </a:lnTo>
                    <a:lnTo>
                      <a:pt x="3" y="178"/>
                    </a:lnTo>
                    <a:lnTo>
                      <a:pt x="7" y="193"/>
                    </a:lnTo>
                    <a:lnTo>
                      <a:pt x="11" y="207"/>
                    </a:lnTo>
                    <a:lnTo>
                      <a:pt x="11" y="207"/>
                    </a:lnTo>
                    <a:lnTo>
                      <a:pt x="70" y="324"/>
                    </a:lnTo>
                    <a:lnTo>
                      <a:pt x="129" y="441"/>
                    </a:lnTo>
                    <a:lnTo>
                      <a:pt x="190" y="555"/>
                    </a:lnTo>
                    <a:lnTo>
                      <a:pt x="221" y="612"/>
                    </a:lnTo>
                    <a:lnTo>
                      <a:pt x="253" y="668"/>
                    </a:lnTo>
                    <a:lnTo>
                      <a:pt x="253" y="668"/>
                    </a:lnTo>
                    <a:lnTo>
                      <a:pt x="273" y="710"/>
                    </a:lnTo>
                    <a:lnTo>
                      <a:pt x="293" y="753"/>
                    </a:lnTo>
                    <a:lnTo>
                      <a:pt x="311" y="794"/>
                    </a:lnTo>
                    <a:lnTo>
                      <a:pt x="327" y="836"/>
                    </a:lnTo>
                    <a:lnTo>
                      <a:pt x="341" y="879"/>
                    </a:lnTo>
                    <a:lnTo>
                      <a:pt x="353" y="921"/>
                    </a:lnTo>
                    <a:lnTo>
                      <a:pt x="364" y="964"/>
                    </a:lnTo>
                    <a:lnTo>
                      <a:pt x="373" y="1009"/>
                    </a:lnTo>
                    <a:lnTo>
                      <a:pt x="373" y="1009"/>
                    </a:lnTo>
                    <a:lnTo>
                      <a:pt x="378" y="1037"/>
                    </a:lnTo>
                    <a:lnTo>
                      <a:pt x="383" y="1066"/>
                    </a:lnTo>
                    <a:lnTo>
                      <a:pt x="386" y="1095"/>
                    </a:lnTo>
                    <a:lnTo>
                      <a:pt x="387" y="1122"/>
                    </a:lnTo>
                    <a:lnTo>
                      <a:pt x="387" y="1122"/>
                    </a:lnTo>
                    <a:lnTo>
                      <a:pt x="388" y="1188"/>
                    </a:lnTo>
                    <a:lnTo>
                      <a:pt x="391" y="1254"/>
                    </a:lnTo>
                    <a:lnTo>
                      <a:pt x="393" y="1321"/>
                    </a:lnTo>
                    <a:lnTo>
                      <a:pt x="394" y="1385"/>
                    </a:lnTo>
                    <a:lnTo>
                      <a:pt x="394" y="1385"/>
                    </a:lnTo>
                    <a:lnTo>
                      <a:pt x="395" y="1401"/>
                    </a:lnTo>
                    <a:lnTo>
                      <a:pt x="396" y="1416"/>
                    </a:lnTo>
                    <a:lnTo>
                      <a:pt x="399" y="1429"/>
                    </a:lnTo>
                    <a:lnTo>
                      <a:pt x="402" y="1436"/>
                    </a:lnTo>
                    <a:lnTo>
                      <a:pt x="405" y="1442"/>
                    </a:lnTo>
                    <a:lnTo>
                      <a:pt x="408" y="1448"/>
                    </a:lnTo>
                    <a:lnTo>
                      <a:pt x="412" y="1453"/>
                    </a:lnTo>
                    <a:lnTo>
                      <a:pt x="417" y="1459"/>
                    </a:lnTo>
                    <a:lnTo>
                      <a:pt x="422" y="1464"/>
                    </a:lnTo>
                    <a:lnTo>
                      <a:pt x="428" y="1468"/>
                    </a:lnTo>
                    <a:lnTo>
                      <a:pt x="435" y="1472"/>
                    </a:lnTo>
                    <a:lnTo>
                      <a:pt x="443" y="1475"/>
                    </a:lnTo>
                    <a:lnTo>
                      <a:pt x="452" y="1478"/>
                    </a:lnTo>
                    <a:lnTo>
                      <a:pt x="1168" y="147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4" name="Freeform 19"/>
              <p:cNvSpPr>
                <a:spLocks/>
              </p:cNvSpPr>
              <p:nvPr/>
            </p:nvSpPr>
            <p:spPr bwMode="auto">
              <a:xfrm>
                <a:off x="6216650" y="1971675"/>
                <a:ext cx="77788" cy="76200"/>
              </a:xfrm>
              <a:custGeom>
                <a:avLst/>
                <a:gdLst>
                  <a:gd name="T0" fmla="*/ 193 w 392"/>
                  <a:gd name="T1" fmla="*/ 387 h 387"/>
                  <a:gd name="T2" fmla="*/ 234 w 392"/>
                  <a:gd name="T3" fmla="*/ 382 h 387"/>
                  <a:gd name="T4" fmla="*/ 272 w 392"/>
                  <a:gd name="T5" fmla="*/ 371 h 387"/>
                  <a:gd name="T6" fmla="*/ 307 w 392"/>
                  <a:gd name="T7" fmla="*/ 354 h 387"/>
                  <a:gd name="T8" fmla="*/ 336 w 392"/>
                  <a:gd name="T9" fmla="*/ 331 h 387"/>
                  <a:gd name="T10" fmla="*/ 360 w 392"/>
                  <a:gd name="T11" fmla="*/ 303 h 387"/>
                  <a:gd name="T12" fmla="*/ 377 w 392"/>
                  <a:gd name="T13" fmla="*/ 271 h 387"/>
                  <a:gd name="T14" fmla="*/ 389 w 392"/>
                  <a:gd name="T15" fmla="*/ 235 h 387"/>
                  <a:gd name="T16" fmla="*/ 392 w 392"/>
                  <a:gd name="T17" fmla="*/ 197 h 387"/>
                  <a:gd name="T18" fmla="*/ 392 w 392"/>
                  <a:gd name="T19" fmla="*/ 176 h 387"/>
                  <a:gd name="T20" fmla="*/ 384 w 392"/>
                  <a:gd name="T21" fmla="*/ 137 h 387"/>
                  <a:gd name="T22" fmla="*/ 369 w 392"/>
                  <a:gd name="T23" fmla="*/ 102 h 387"/>
                  <a:gd name="T24" fmla="*/ 348 w 392"/>
                  <a:gd name="T25" fmla="*/ 70 h 387"/>
                  <a:gd name="T26" fmla="*/ 322 w 392"/>
                  <a:gd name="T27" fmla="*/ 44 h 387"/>
                  <a:gd name="T28" fmla="*/ 290 w 392"/>
                  <a:gd name="T29" fmla="*/ 23 h 387"/>
                  <a:gd name="T30" fmla="*/ 254 w 392"/>
                  <a:gd name="T31" fmla="*/ 9 h 387"/>
                  <a:gd name="T32" fmla="*/ 214 w 392"/>
                  <a:gd name="T33" fmla="*/ 1 h 387"/>
                  <a:gd name="T34" fmla="*/ 193 w 392"/>
                  <a:gd name="T35" fmla="*/ 0 h 387"/>
                  <a:gd name="T36" fmla="*/ 154 w 392"/>
                  <a:gd name="T37" fmla="*/ 4 h 387"/>
                  <a:gd name="T38" fmla="*/ 118 w 392"/>
                  <a:gd name="T39" fmla="*/ 15 h 387"/>
                  <a:gd name="T40" fmla="*/ 85 w 392"/>
                  <a:gd name="T41" fmla="*/ 32 h 387"/>
                  <a:gd name="T42" fmla="*/ 56 w 392"/>
                  <a:gd name="T43" fmla="*/ 55 h 387"/>
                  <a:gd name="T44" fmla="*/ 33 w 392"/>
                  <a:gd name="T45" fmla="*/ 83 h 387"/>
                  <a:gd name="T46" fmla="*/ 15 w 392"/>
                  <a:gd name="T47" fmla="*/ 116 h 387"/>
                  <a:gd name="T48" fmla="*/ 4 w 392"/>
                  <a:gd name="T49" fmla="*/ 152 h 387"/>
                  <a:gd name="T50" fmla="*/ 0 w 392"/>
                  <a:gd name="T51" fmla="*/ 190 h 387"/>
                  <a:gd name="T52" fmla="*/ 1 w 392"/>
                  <a:gd name="T53" fmla="*/ 210 h 387"/>
                  <a:gd name="T54" fmla="*/ 8 w 392"/>
                  <a:gd name="T55" fmla="*/ 250 h 387"/>
                  <a:gd name="T56" fmla="*/ 22 w 392"/>
                  <a:gd name="T57" fmla="*/ 286 h 387"/>
                  <a:gd name="T58" fmla="*/ 42 w 392"/>
                  <a:gd name="T59" fmla="*/ 317 h 387"/>
                  <a:gd name="T60" fmla="*/ 67 w 392"/>
                  <a:gd name="T61" fmla="*/ 343 h 387"/>
                  <a:gd name="T62" fmla="*/ 98 w 392"/>
                  <a:gd name="T63" fmla="*/ 363 h 387"/>
                  <a:gd name="T64" fmla="*/ 133 w 392"/>
                  <a:gd name="T65" fmla="*/ 378 h 387"/>
                  <a:gd name="T66" fmla="*/ 172 w 392"/>
                  <a:gd name="T67" fmla="*/ 386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92" h="387">
                    <a:moveTo>
                      <a:pt x="193" y="387"/>
                    </a:moveTo>
                    <a:lnTo>
                      <a:pt x="193" y="387"/>
                    </a:lnTo>
                    <a:lnTo>
                      <a:pt x="214" y="386"/>
                    </a:lnTo>
                    <a:lnTo>
                      <a:pt x="234" y="382"/>
                    </a:lnTo>
                    <a:lnTo>
                      <a:pt x="254" y="378"/>
                    </a:lnTo>
                    <a:lnTo>
                      <a:pt x="272" y="371"/>
                    </a:lnTo>
                    <a:lnTo>
                      <a:pt x="290" y="364"/>
                    </a:lnTo>
                    <a:lnTo>
                      <a:pt x="307" y="354"/>
                    </a:lnTo>
                    <a:lnTo>
                      <a:pt x="322" y="343"/>
                    </a:lnTo>
                    <a:lnTo>
                      <a:pt x="336" y="331"/>
                    </a:lnTo>
                    <a:lnTo>
                      <a:pt x="348" y="318"/>
                    </a:lnTo>
                    <a:lnTo>
                      <a:pt x="360" y="303"/>
                    </a:lnTo>
                    <a:lnTo>
                      <a:pt x="369" y="288"/>
                    </a:lnTo>
                    <a:lnTo>
                      <a:pt x="377" y="271"/>
                    </a:lnTo>
                    <a:lnTo>
                      <a:pt x="384" y="254"/>
                    </a:lnTo>
                    <a:lnTo>
                      <a:pt x="389" y="235"/>
                    </a:lnTo>
                    <a:lnTo>
                      <a:pt x="392" y="216"/>
                    </a:lnTo>
                    <a:lnTo>
                      <a:pt x="392" y="197"/>
                    </a:lnTo>
                    <a:lnTo>
                      <a:pt x="392" y="197"/>
                    </a:lnTo>
                    <a:lnTo>
                      <a:pt x="392" y="176"/>
                    </a:lnTo>
                    <a:lnTo>
                      <a:pt x="389" y="156"/>
                    </a:lnTo>
                    <a:lnTo>
                      <a:pt x="384" y="137"/>
                    </a:lnTo>
                    <a:lnTo>
                      <a:pt x="377" y="119"/>
                    </a:lnTo>
                    <a:lnTo>
                      <a:pt x="369" y="102"/>
                    </a:lnTo>
                    <a:lnTo>
                      <a:pt x="360" y="85"/>
                    </a:lnTo>
                    <a:lnTo>
                      <a:pt x="348" y="70"/>
                    </a:lnTo>
                    <a:lnTo>
                      <a:pt x="336" y="56"/>
                    </a:lnTo>
                    <a:lnTo>
                      <a:pt x="322" y="44"/>
                    </a:lnTo>
                    <a:lnTo>
                      <a:pt x="307" y="33"/>
                    </a:lnTo>
                    <a:lnTo>
                      <a:pt x="290" y="23"/>
                    </a:lnTo>
                    <a:lnTo>
                      <a:pt x="272" y="15"/>
                    </a:lnTo>
                    <a:lnTo>
                      <a:pt x="254" y="9"/>
                    </a:lnTo>
                    <a:lnTo>
                      <a:pt x="234" y="4"/>
                    </a:lnTo>
                    <a:lnTo>
                      <a:pt x="214" y="1"/>
                    </a:lnTo>
                    <a:lnTo>
                      <a:pt x="193" y="0"/>
                    </a:lnTo>
                    <a:lnTo>
                      <a:pt x="193" y="0"/>
                    </a:lnTo>
                    <a:lnTo>
                      <a:pt x="173" y="1"/>
                    </a:lnTo>
                    <a:lnTo>
                      <a:pt x="154" y="4"/>
                    </a:lnTo>
                    <a:lnTo>
                      <a:pt x="135" y="9"/>
                    </a:lnTo>
                    <a:lnTo>
                      <a:pt x="118" y="15"/>
                    </a:lnTo>
                    <a:lnTo>
                      <a:pt x="101" y="23"/>
                    </a:lnTo>
                    <a:lnTo>
                      <a:pt x="85" y="32"/>
                    </a:lnTo>
                    <a:lnTo>
                      <a:pt x="70" y="43"/>
                    </a:lnTo>
                    <a:lnTo>
                      <a:pt x="56" y="55"/>
                    </a:lnTo>
                    <a:lnTo>
                      <a:pt x="44" y="69"/>
                    </a:lnTo>
                    <a:lnTo>
                      <a:pt x="33" y="83"/>
                    </a:lnTo>
                    <a:lnTo>
                      <a:pt x="23" y="100"/>
                    </a:lnTo>
                    <a:lnTo>
                      <a:pt x="15" y="116"/>
                    </a:lnTo>
                    <a:lnTo>
                      <a:pt x="9" y="133"/>
                    </a:lnTo>
                    <a:lnTo>
                      <a:pt x="4" y="152"/>
                    </a:lnTo>
                    <a:lnTo>
                      <a:pt x="1" y="170"/>
                    </a:lnTo>
                    <a:lnTo>
                      <a:pt x="0" y="190"/>
                    </a:lnTo>
                    <a:lnTo>
                      <a:pt x="0" y="190"/>
                    </a:lnTo>
                    <a:lnTo>
                      <a:pt x="1" y="210"/>
                    </a:lnTo>
                    <a:lnTo>
                      <a:pt x="4" y="230"/>
                    </a:lnTo>
                    <a:lnTo>
                      <a:pt x="8" y="250"/>
                    </a:lnTo>
                    <a:lnTo>
                      <a:pt x="14" y="268"/>
                    </a:lnTo>
                    <a:lnTo>
                      <a:pt x="22" y="286"/>
                    </a:lnTo>
                    <a:lnTo>
                      <a:pt x="31" y="302"/>
                    </a:lnTo>
                    <a:lnTo>
                      <a:pt x="42" y="317"/>
                    </a:lnTo>
                    <a:lnTo>
                      <a:pt x="53" y="330"/>
                    </a:lnTo>
                    <a:lnTo>
                      <a:pt x="67" y="343"/>
                    </a:lnTo>
                    <a:lnTo>
                      <a:pt x="82" y="354"/>
                    </a:lnTo>
                    <a:lnTo>
                      <a:pt x="98" y="363"/>
                    </a:lnTo>
                    <a:lnTo>
                      <a:pt x="115" y="371"/>
                    </a:lnTo>
                    <a:lnTo>
                      <a:pt x="133" y="378"/>
                    </a:lnTo>
                    <a:lnTo>
                      <a:pt x="152" y="382"/>
                    </a:lnTo>
                    <a:lnTo>
                      <a:pt x="172" y="386"/>
                    </a:lnTo>
                    <a:lnTo>
                      <a:pt x="193" y="3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5" name="Freeform 20"/>
              <p:cNvSpPr>
                <a:spLocks/>
              </p:cNvSpPr>
              <p:nvPr/>
            </p:nvSpPr>
            <p:spPr bwMode="auto">
              <a:xfrm>
                <a:off x="6216650" y="1971675"/>
                <a:ext cx="77788" cy="76200"/>
              </a:xfrm>
              <a:custGeom>
                <a:avLst/>
                <a:gdLst>
                  <a:gd name="T0" fmla="*/ 193 w 392"/>
                  <a:gd name="T1" fmla="*/ 387 h 387"/>
                  <a:gd name="T2" fmla="*/ 234 w 392"/>
                  <a:gd name="T3" fmla="*/ 382 h 387"/>
                  <a:gd name="T4" fmla="*/ 272 w 392"/>
                  <a:gd name="T5" fmla="*/ 371 h 387"/>
                  <a:gd name="T6" fmla="*/ 307 w 392"/>
                  <a:gd name="T7" fmla="*/ 354 h 387"/>
                  <a:gd name="T8" fmla="*/ 336 w 392"/>
                  <a:gd name="T9" fmla="*/ 331 h 387"/>
                  <a:gd name="T10" fmla="*/ 360 w 392"/>
                  <a:gd name="T11" fmla="*/ 303 h 387"/>
                  <a:gd name="T12" fmla="*/ 377 w 392"/>
                  <a:gd name="T13" fmla="*/ 271 h 387"/>
                  <a:gd name="T14" fmla="*/ 389 w 392"/>
                  <a:gd name="T15" fmla="*/ 235 h 387"/>
                  <a:gd name="T16" fmla="*/ 392 w 392"/>
                  <a:gd name="T17" fmla="*/ 197 h 387"/>
                  <a:gd name="T18" fmla="*/ 392 w 392"/>
                  <a:gd name="T19" fmla="*/ 176 h 387"/>
                  <a:gd name="T20" fmla="*/ 384 w 392"/>
                  <a:gd name="T21" fmla="*/ 137 h 387"/>
                  <a:gd name="T22" fmla="*/ 369 w 392"/>
                  <a:gd name="T23" fmla="*/ 102 h 387"/>
                  <a:gd name="T24" fmla="*/ 348 w 392"/>
                  <a:gd name="T25" fmla="*/ 70 h 387"/>
                  <a:gd name="T26" fmla="*/ 322 w 392"/>
                  <a:gd name="T27" fmla="*/ 44 h 387"/>
                  <a:gd name="T28" fmla="*/ 290 w 392"/>
                  <a:gd name="T29" fmla="*/ 23 h 387"/>
                  <a:gd name="T30" fmla="*/ 254 w 392"/>
                  <a:gd name="T31" fmla="*/ 9 h 387"/>
                  <a:gd name="T32" fmla="*/ 214 w 392"/>
                  <a:gd name="T33" fmla="*/ 1 h 387"/>
                  <a:gd name="T34" fmla="*/ 193 w 392"/>
                  <a:gd name="T35" fmla="*/ 0 h 387"/>
                  <a:gd name="T36" fmla="*/ 154 w 392"/>
                  <a:gd name="T37" fmla="*/ 4 h 387"/>
                  <a:gd name="T38" fmla="*/ 118 w 392"/>
                  <a:gd name="T39" fmla="*/ 15 h 387"/>
                  <a:gd name="T40" fmla="*/ 85 w 392"/>
                  <a:gd name="T41" fmla="*/ 32 h 387"/>
                  <a:gd name="T42" fmla="*/ 56 w 392"/>
                  <a:gd name="T43" fmla="*/ 55 h 387"/>
                  <a:gd name="T44" fmla="*/ 33 w 392"/>
                  <a:gd name="T45" fmla="*/ 83 h 387"/>
                  <a:gd name="T46" fmla="*/ 15 w 392"/>
                  <a:gd name="T47" fmla="*/ 116 h 387"/>
                  <a:gd name="T48" fmla="*/ 4 w 392"/>
                  <a:gd name="T49" fmla="*/ 152 h 387"/>
                  <a:gd name="T50" fmla="*/ 0 w 392"/>
                  <a:gd name="T51" fmla="*/ 190 h 387"/>
                  <a:gd name="T52" fmla="*/ 1 w 392"/>
                  <a:gd name="T53" fmla="*/ 210 h 387"/>
                  <a:gd name="T54" fmla="*/ 8 w 392"/>
                  <a:gd name="T55" fmla="*/ 250 h 387"/>
                  <a:gd name="T56" fmla="*/ 22 w 392"/>
                  <a:gd name="T57" fmla="*/ 286 h 387"/>
                  <a:gd name="T58" fmla="*/ 42 w 392"/>
                  <a:gd name="T59" fmla="*/ 317 h 387"/>
                  <a:gd name="T60" fmla="*/ 67 w 392"/>
                  <a:gd name="T61" fmla="*/ 343 h 387"/>
                  <a:gd name="T62" fmla="*/ 98 w 392"/>
                  <a:gd name="T63" fmla="*/ 363 h 387"/>
                  <a:gd name="T64" fmla="*/ 133 w 392"/>
                  <a:gd name="T65" fmla="*/ 378 h 387"/>
                  <a:gd name="T66" fmla="*/ 172 w 392"/>
                  <a:gd name="T67" fmla="*/ 386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92" h="387">
                    <a:moveTo>
                      <a:pt x="193" y="387"/>
                    </a:moveTo>
                    <a:lnTo>
                      <a:pt x="193" y="387"/>
                    </a:lnTo>
                    <a:lnTo>
                      <a:pt x="214" y="386"/>
                    </a:lnTo>
                    <a:lnTo>
                      <a:pt x="234" y="382"/>
                    </a:lnTo>
                    <a:lnTo>
                      <a:pt x="254" y="378"/>
                    </a:lnTo>
                    <a:lnTo>
                      <a:pt x="272" y="371"/>
                    </a:lnTo>
                    <a:lnTo>
                      <a:pt x="290" y="364"/>
                    </a:lnTo>
                    <a:lnTo>
                      <a:pt x="307" y="354"/>
                    </a:lnTo>
                    <a:lnTo>
                      <a:pt x="322" y="343"/>
                    </a:lnTo>
                    <a:lnTo>
                      <a:pt x="336" y="331"/>
                    </a:lnTo>
                    <a:lnTo>
                      <a:pt x="348" y="318"/>
                    </a:lnTo>
                    <a:lnTo>
                      <a:pt x="360" y="303"/>
                    </a:lnTo>
                    <a:lnTo>
                      <a:pt x="369" y="288"/>
                    </a:lnTo>
                    <a:lnTo>
                      <a:pt x="377" y="271"/>
                    </a:lnTo>
                    <a:lnTo>
                      <a:pt x="384" y="254"/>
                    </a:lnTo>
                    <a:lnTo>
                      <a:pt x="389" y="235"/>
                    </a:lnTo>
                    <a:lnTo>
                      <a:pt x="392" y="216"/>
                    </a:lnTo>
                    <a:lnTo>
                      <a:pt x="392" y="197"/>
                    </a:lnTo>
                    <a:lnTo>
                      <a:pt x="392" y="197"/>
                    </a:lnTo>
                    <a:lnTo>
                      <a:pt x="392" y="176"/>
                    </a:lnTo>
                    <a:lnTo>
                      <a:pt x="389" y="156"/>
                    </a:lnTo>
                    <a:lnTo>
                      <a:pt x="384" y="137"/>
                    </a:lnTo>
                    <a:lnTo>
                      <a:pt x="377" y="119"/>
                    </a:lnTo>
                    <a:lnTo>
                      <a:pt x="369" y="102"/>
                    </a:lnTo>
                    <a:lnTo>
                      <a:pt x="360" y="85"/>
                    </a:lnTo>
                    <a:lnTo>
                      <a:pt x="348" y="70"/>
                    </a:lnTo>
                    <a:lnTo>
                      <a:pt x="336" y="56"/>
                    </a:lnTo>
                    <a:lnTo>
                      <a:pt x="322" y="44"/>
                    </a:lnTo>
                    <a:lnTo>
                      <a:pt x="307" y="33"/>
                    </a:lnTo>
                    <a:lnTo>
                      <a:pt x="290" y="23"/>
                    </a:lnTo>
                    <a:lnTo>
                      <a:pt x="272" y="15"/>
                    </a:lnTo>
                    <a:lnTo>
                      <a:pt x="254" y="9"/>
                    </a:lnTo>
                    <a:lnTo>
                      <a:pt x="234" y="4"/>
                    </a:lnTo>
                    <a:lnTo>
                      <a:pt x="214" y="1"/>
                    </a:lnTo>
                    <a:lnTo>
                      <a:pt x="193" y="0"/>
                    </a:lnTo>
                    <a:lnTo>
                      <a:pt x="193" y="0"/>
                    </a:lnTo>
                    <a:lnTo>
                      <a:pt x="173" y="1"/>
                    </a:lnTo>
                    <a:lnTo>
                      <a:pt x="154" y="4"/>
                    </a:lnTo>
                    <a:lnTo>
                      <a:pt x="135" y="9"/>
                    </a:lnTo>
                    <a:lnTo>
                      <a:pt x="118" y="15"/>
                    </a:lnTo>
                    <a:lnTo>
                      <a:pt x="101" y="23"/>
                    </a:lnTo>
                    <a:lnTo>
                      <a:pt x="85" y="32"/>
                    </a:lnTo>
                    <a:lnTo>
                      <a:pt x="70" y="43"/>
                    </a:lnTo>
                    <a:lnTo>
                      <a:pt x="56" y="55"/>
                    </a:lnTo>
                    <a:lnTo>
                      <a:pt x="44" y="69"/>
                    </a:lnTo>
                    <a:lnTo>
                      <a:pt x="33" y="83"/>
                    </a:lnTo>
                    <a:lnTo>
                      <a:pt x="23" y="100"/>
                    </a:lnTo>
                    <a:lnTo>
                      <a:pt x="15" y="116"/>
                    </a:lnTo>
                    <a:lnTo>
                      <a:pt x="9" y="133"/>
                    </a:lnTo>
                    <a:lnTo>
                      <a:pt x="4" y="152"/>
                    </a:lnTo>
                    <a:lnTo>
                      <a:pt x="1" y="170"/>
                    </a:lnTo>
                    <a:lnTo>
                      <a:pt x="0" y="190"/>
                    </a:lnTo>
                    <a:lnTo>
                      <a:pt x="0" y="190"/>
                    </a:lnTo>
                    <a:lnTo>
                      <a:pt x="1" y="210"/>
                    </a:lnTo>
                    <a:lnTo>
                      <a:pt x="4" y="230"/>
                    </a:lnTo>
                    <a:lnTo>
                      <a:pt x="8" y="250"/>
                    </a:lnTo>
                    <a:lnTo>
                      <a:pt x="14" y="268"/>
                    </a:lnTo>
                    <a:lnTo>
                      <a:pt x="22" y="286"/>
                    </a:lnTo>
                    <a:lnTo>
                      <a:pt x="31" y="302"/>
                    </a:lnTo>
                    <a:lnTo>
                      <a:pt x="42" y="317"/>
                    </a:lnTo>
                    <a:lnTo>
                      <a:pt x="53" y="330"/>
                    </a:lnTo>
                    <a:lnTo>
                      <a:pt x="67" y="343"/>
                    </a:lnTo>
                    <a:lnTo>
                      <a:pt x="82" y="354"/>
                    </a:lnTo>
                    <a:lnTo>
                      <a:pt x="98" y="363"/>
                    </a:lnTo>
                    <a:lnTo>
                      <a:pt x="115" y="371"/>
                    </a:lnTo>
                    <a:lnTo>
                      <a:pt x="133" y="378"/>
                    </a:lnTo>
                    <a:lnTo>
                      <a:pt x="152" y="382"/>
                    </a:lnTo>
                    <a:lnTo>
                      <a:pt x="172" y="386"/>
                    </a:lnTo>
                    <a:lnTo>
                      <a:pt x="193" y="387"/>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6" name="Freeform 21"/>
              <p:cNvSpPr>
                <a:spLocks/>
              </p:cNvSpPr>
              <p:nvPr/>
            </p:nvSpPr>
            <p:spPr bwMode="auto">
              <a:xfrm>
                <a:off x="6586538" y="1971675"/>
                <a:ext cx="76200" cy="76200"/>
              </a:xfrm>
              <a:custGeom>
                <a:avLst/>
                <a:gdLst>
                  <a:gd name="T0" fmla="*/ 191 w 382"/>
                  <a:gd name="T1" fmla="*/ 387 h 387"/>
                  <a:gd name="T2" fmla="*/ 153 w 382"/>
                  <a:gd name="T3" fmla="*/ 382 h 387"/>
                  <a:gd name="T4" fmla="*/ 116 w 382"/>
                  <a:gd name="T5" fmla="*/ 371 h 387"/>
                  <a:gd name="T6" fmla="*/ 84 w 382"/>
                  <a:gd name="T7" fmla="*/ 354 h 387"/>
                  <a:gd name="T8" fmla="*/ 56 w 382"/>
                  <a:gd name="T9" fmla="*/ 330 h 387"/>
                  <a:gd name="T10" fmla="*/ 32 w 382"/>
                  <a:gd name="T11" fmla="*/ 302 h 387"/>
                  <a:gd name="T12" fmla="*/ 14 w 382"/>
                  <a:gd name="T13" fmla="*/ 268 h 387"/>
                  <a:gd name="T14" fmla="*/ 4 w 382"/>
                  <a:gd name="T15" fmla="*/ 230 h 387"/>
                  <a:gd name="T16" fmla="*/ 0 w 382"/>
                  <a:gd name="T17" fmla="*/ 190 h 387"/>
                  <a:gd name="T18" fmla="*/ 1 w 382"/>
                  <a:gd name="T19" fmla="*/ 170 h 387"/>
                  <a:gd name="T20" fmla="*/ 8 w 382"/>
                  <a:gd name="T21" fmla="*/ 133 h 387"/>
                  <a:gd name="T22" fmla="*/ 21 w 382"/>
                  <a:gd name="T23" fmla="*/ 100 h 387"/>
                  <a:gd name="T24" fmla="*/ 41 w 382"/>
                  <a:gd name="T25" fmla="*/ 69 h 387"/>
                  <a:gd name="T26" fmla="*/ 66 w 382"/>
                  <a:gd name="T27" fmla="*/ 43 h 387"/>
                  <a:gd name="T28" fmla="*/ 96 w 382"/>
                  <a:gd name="T29" fmla="*/ 23 h 387"/>
                  <a:gd name="T30" fmla="*/ 131 w 382"/>
                  <a:gd name="T31" fmla="*/ 9 h 387"/>
                  <a:gd name="T32" fmla="*/ 170 w 382"/>
                  <a:gd name="T33" fmla="*/ 1 h 387"/>
                  <a:gd name="T34" fmla="*/ 191 w 382"/>
                  <a:gd name="T35" fmla="*/ 0 h 387"/>
                  <a:gd name="T36" fmla="*/ 231 w 382"/>
                  <a:gd name="T37" fmla="*/ 4 h 387"/>
                  <a:gd name="T38" fmla="*/ 269 w 382"/>
                  <a:gd name="T39" fmla="*/ 15 h 387"/>
                  <a:gd name="T40" fmla="*/ 301 w 382"/>
                  <a:gd name="T41" fmla="*/ 32 h 387"/>
                  <a:gd name="T42" fmla="*/ 329 w 382"/>
                  <a:gd name="T43" fmla="*/ 55 h 387"/>
                  <a:gd name="T44" fmla="*/ 351 w 382"/>
                  <a:gd name="T45" fmla="*/ 83 h 387"/>
                  <a:gd name="T46" fmla="*/ 368 w 382"/>
                  <a:gd name="T47" fmla="*/ 116 h 387"/>
                  <a:gd name="T48" fmla="*/ 378 w 382"/>
                  <a:gd name="T49" fmla="*/ 152 h 387"/>
                  <a:gd name="T50" fmla="*/ 382 w 382"/>
                  <a:gd name="T51" fmla="*/ 190 h 387"/>
                  <a:gd name="T52" fmla="*/ 382 w 382"/>
                  <a:gd name="T53" fmla="*/ 210 h 387"/>
                  <a:gd name="T54" fmla="*/ 374 w 382"/>
                  <a:gd name="T55" fmla="*/ 250 h 387"/>
                  <a:gd name="T56" fmla="*/ 360 w 382"/>
                  <a:gd name="T57" fmla="*/ 286 h 387"/>
                  <a:gd name="T58" fmla="*/ 341 w 382"/>
                  <a:gd name="T59" fmla="*/ 317 h 387"/>
                  <a:gd name="T60" fmla="*/ 316 w 382"/>
                  <a:gd name="T61" fmla="*/ 343 h 387"/>
                  <a:gd name="T62" fmla="*/ 286 w 382"/>
                  <a:gd name="T63" fmla="*/ 363 h 387"/>
                  <a:gd name="T64" fmla="*/ 250 w 382"/>
                  <a:gd name="T65" fmla="*/ 378 h 387"/>
                  <a:gd name="T66" fmla="*/ 212 w 382"/>
                  <a:gd name="T67" fmla="*/ 386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82" h="387">
                    <a:moveTo>
                      <a:pt x="191" y="387"/>
                    </a:moveTo>
                    <a:lnTo>
                      <a:pt x="191" y="387"/>
                    </a:lnTo>
                    <a:lnTo>
                      <a:pt x="172" y="386"/>
                    </a:lnTo>
                    <a:lnTo>
                      <a:pt x="153" y="382"/>
                    </a:lnTo>
                    <a:lnTo>
                      <a:pt x="134" y="378"/>
                    </a:lnTo>
                    <a:lnTo>
                      <a:pt x="116" y="371"/>
                    </a:lnTo>
                    <a:lnTo>
                      <a:pt x="100" y="363"/>
                    </a:lnTo>
                    <a:lnTo>
                      <a:pt x="84" y="354"/>
                    </a:lnTo>
                    <a:lnTo>
                      <a:pt x="69" y="343"/>
                    </a:lnTo>
                    <a:lnTo>
                      <a:pt x="56" y="330"/>
                    </a:lnTo>
                    <a:lnTo>
                      <a:pt x="44" y="317"/>
                    </a:lnTo>
                    <a:lnTo>
                      <a:pt x="32" y="302"/>
                    </a:lnTo>
                    <a:lnTo>
                      <a:pt x="22" y="286"/>
                    </a:lnTo>
                    <a:lnTo>
                      <a:pt x="14" y="268"/>
                    </a:lnTo>
                    <a:lnTo>
                      <a:pt x="8" y="250"/>
                    </a:lnTo>
                    <a:lnTo>
                      <a:pt x="4" y="230"/>
                    </a:lnTo>
                    <a:lnTo>
                      <a:pt x="1" y="210"/>
                    </a:lnTo>
                    <a:lnTo>
                      <a:pt x="0" y="190"/>
                    </a:lnTo>
                    <a:lnTo>
                      <a:pt x="0" y="190"/>
                    </a:lnTo>
                    <a:lnTo>
                      <a:pt x="1" y="170"/>
                    </a:lnTo>
                    <a:lnTo>
                      <a:pt x="3" y="152"/>
                    </a:lnTo>
                    <a:lnTo>
                      <a:pt x="8" y="133"/>
                    </a:lnTo>
                    <a:lnTo>
                      <a:pt x="14" y="116"/>
                    </a:lnTo>
                    <a:lnTo>
                      <a:pt x="21" y="100"/>
                    </a:lnTo>
                    <a:lnTo>
                      <a:pt x="30" y="83"/>
                    </a:lnTo>
                    <a:lnTo>
                      <a:pt x="41" y="69"/>
                    </a:lnTo>
                    <a:lnTo>
                      <a:pt x="53" y="55"/>
                    </a:lnTo>
                    <a:lnTo>
                      <a:pt x="66" y="43"/>
                    </a:lnTo>
                    <a:lnTo>
                      <a:pt x="81" y="32"/>
                    </a:lnTo>
                    <a:lnTo>
                      <a:pt x="96" y="23"/>
                    </a:lnTo>
                    <a:lnTo>
                      <a:pt x="113" y="15"/>
                    </a:lnTo>
                    <a:lnTo>
                      <a:pt x="131" y="9"/>
                    </a:lnTo>
                    <a:lnTo>
                      <a:pt x="151" y="4"/>
                    </a:lnTo>
                    <a:lnTo>
                      <a:pt x="170" y="1"/>
                    </a:lnTo>
                    <a:lnTo>
                      <a:pt x="191" y="0"/>
                    </a:lnTo>
                    <a:lnTo>
                      <a:pt x="191" y="0"/>
                    </a:lnTo>
                    <a:lnTo>
                      <a:pt x="212" y="1"/>
                    </a:lnTo>
                    <a:lnTo>
                      <a:pt x="231" y="4"/>
                    </a:lnTo>
                    <a:lnTo>
                      <a:pt x="250" y="9"/>
                    </a:lnTo>
                    <a:lnTo>
                      <a:pt x="269" y="15"/>
                    </a:lnTo>
                    <a:lnTo>
                      <a:pt x="286" y="23"/>
                    </a:lnTo>
                    <a:lnTo>
                      <a:pt x="301" y="32"/>
                    </a:lnTo>
                    <a:lnTo>
                      <a:pt x="316" y="43"/>
                    </a:lnTo>
                    <a:lnTo>
                      <a:pt x="329" y="55"/>
                    </a:lnTo>
                    <a:lnTo>
                      <a:pt x="341" y="69"/>
                    </a:lnTo>
                    <a:lnTo>
                      <a:pt x="351" y="83"/>
                    </a:lnTo>
                    <a:lnTo>
                      <a:pt x="360" y="100"/>
                    </a:lnTo>
                    <a:lnTo>
                      <a:pt x="368" y="116"/>
                    </a:lnTo>
                    <a:lnTo>
                      <a:pt x="374" y="133"/>
                    </a:lnTo>
                    <a:lnTo>
                      <a:pt x="378" y="152"/>
                    </a:lnTo>
                    <a:lnTo>
                      <a:pt x="382" y="170"/>
                    </a:lnTo>
                    <a:lnTo>
                      <a:pt x="382" y="190"/>
                    </a:lnTo>
                    <a:lnTo>
                      <a:pt x="382" y="190"/>
                    </a:lnTo>
                    <a:lnTo>
                      <a:pt x="382" y="210"/>
                    </a:lnTo>
                    <a:lnTo>
                      <a:pt x="378" y="230"/>
                    </a:lnTo>
                    <a:lnTo>
                      <a:pt x="374" y="250"/>
                    </a:lnTo>
                    <a:lnTo>
                      <a:pt x="368" y="268"/>
                    </a:lnTo>
                    <a:lnTo>
                      <a:pt x="360" y="286"/>
                    </a:lnTo>
                    <a:lnTo>
                      <a:pt x="351" y="302"/>
                    </a:lnTo>
                    <a:lnTo>
                      <a:pt x="341" y="317"/>
                    </a:lnTo>
                    <a:lnTo>
                      <a:pt x="329" y="330"/>
                    </a:lnTo>
                    <a:lnTo>
                      <a:pt x="316" y="343"/>
                    </a:lnTo>
                    <a:lnTo>
                      <a:pt x="301" y="354"/>
                    </a:lnTo>
                    <a:lnTo>
                      <a:pt x="286" y="363"/>
                    </a:lnTo>
                    <a:lnTo>
                      <a:pt x="269" y="371"/>
                    </a:lnTo>
                    <a:lnTo>
                      <a:pt x="250" y="378"/>
                    </a:lnTo>
                    <a:lnTo>
                      <a:pt x="231" y="382"/>
                    </a:lnTo>
                    <a:lnTo>
                      <a:pt x="212" y="386"/>
                    </a:lnTo>
                    <a:lnTo>
                      <a:pt x="191" y="3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7" name="Freeform 22"/>
              <p:cNvSpPr>
                <a:spLocks/>
              </p:cNvSpPr>
              <p:nvPr/>
            </p:nvSpPr>
            <p:spPr bwMode="auto">
              <a:xfrm>
                <a:off x="6586538" y="1971675"/>
                <a:ext cx="76200" cy="76200"/>
              </a:xfrm>
              <a:custGeom>
                <a:avLst/>
                <a:gdLst>
                  <a:gd name="T0" fmla="*/ 191 w 382"/>
                  <a:gd name="T1" fmla="*/ 387 h 387"/>
                  <a:gd name="T2" fmla="*/ 153 w 382"/>
                  <a:gd name="T3" fmla="*/ 382 h 387"/>
                  <a:gd name="T4" fmla="*/ 116 w 382"/>
                  <a:gd name="T5" fmla="*/ 371 h 387"/>
                  <a:gd name="T6" fmla="*/ 84 w 382"/>
                  <a:gd name="T7" fmla="*/ 354 h 387"/>
                  <a:gd name="T8" fmla="*/ 56 w 382"/>
                  <a:gd name="T9" fmla="*/ 330 h 387"/>
                  <a:gd name="T10" fmla="*/ 32 w 382"/>
                  <a:gd name="T11" fmla="*/ 302 h 387"/>
                  <a:gd name="T12" fmla="*/ 14 w 382"/>
                  <a:gd name="T13" fmla="*/ 268 h 387"/>
                  <a:gd name="T14" fmla="*/ 4 w 382"/>
                  <a:gd name="T15" fmla="*/ 230 h 387"/>
                  <a:gd name="T16" fmla="*/ 0 w 382"/>
                  <a:gd name="T17" fmla="*/ 190 h 387"/>
                  <a:gd name="T18" fmla="*/ 1 w 382"/>
                  <a:gd name="T19" fmla="*/ 170 h 387"/>
                  <a:gd name="T20" fmla="*/ 8 w 382"/>
                  <a:gd name="T21" fmla="*/ 133 h 387"/>
                  <a:gd name="T22" fmla="*/ 21 w 382"/>
                  <a:gd name="T23" fmla="*/ 100 h 387"/>
                  <a:gd name="T24" fmla="*/ 41 w 382"/>
                  <a:gd name="T25" fmla="*/ 69 h 387"/>
                  <a:gd name="T26" fmla="*/ 66 w 382"/>
                  <a:gd name="T27" fmla="*/ 43 h 387"/>
                  <a:gd name="T28" fmla="*/ 96 w 382"/>
                  <a:gd name="T29" fmla="*/ 23 h 387"/>
                  <a:gd name="T30" fmla="*/ 131 w 382"/>
                  <a:gd name="T31" fmla="*/ 9 h 387"/>
                  <a:gd name="T32" fmla="*/ 170 w 382"/>
                  <a:gd name="T33" fmla="*/ 1 h 387"/>
                  <a:gd name="T34" fmla="*/ 191 w 382"/>
                  <a:gd name="T35" fmla="*/ 0 h 387"/>
                  <a:gd name="T36" fmla="*/ 231 w 382"/>
                  <a:gd name="T37" fmla="*/ 4 h 387"/>
                  <a:gd name="T38" fmla="*/ 269 w 382"/>
                  <a:gd name="T39" fmla="*/ 15 h 387"/>
                  <a:gd name="T40" fmla="*/ 301 w 382"/>
                  <a:gd name="T41" fmla="*/ 32 h 387"/>
                  <a:gd name="T42" fmla="*/ 329 w 382"/>
                  <a:gd name="T43" fmla="*/ 55 h 387"/>
                  <a:gd name="T44" fmla="*/ 351 w 382"/>
                  <a:gd name="T45" fmla="*/ 83 h 387"/>
                  <a:gd name="T46" fmla="*/ 368 w 382"/>
                  <a:gd name="T47" fmla="*/ 116 h 387"/>
                  <a:gd name="T48" fmla="*/ 378 w 382"/>
                  <a:gd name="T49" fmla="*/ 152 h 387"/>
                  <a:gd name="T50" fmla="*/ 382 w 382"/>
                  <a:gd name="T51" fmla="*/ 190 h 387"/>
                  <a:gd name="T52" fmla="*/ 382 w 382"/>
                  <a:gd name="T53" fmla="*/ 210 h 387"/>
                  <a:gd name="T54" fmla="*/ 374 w 382"/>
                  <a:gd name="T55" fmla="*/ 250 h 387"/>
                  <a:gd name="T56" fmla="*/ 360 w 382"/>
                  <a:gd name="T57" fmla="*/ 286 h 387"/>
                  <a:gd name="T58" fmla="*/ 341 w 382"/>
                  <a:gd name="T59" fmla="*/ 317 h 387"/>
                  <a:gd name="T60" fmla="*/ 316 w 382"/>
                  <a:gd name="T61" fmla="*/ 343 h 387"/>
                  <a:gd name="T62" fmla="*/ 286 w 382"/>
                  <a:gd name="T63" fmla="*/ 363 h 387"/>
                  <a:gd name="T64" fmla="*/ 250 w 382"/>
                  <a:gd name="T65" fmla="*/ 378 h 387"/>
                  <a:gd name="T66" fmla="*/ 212 w 382"/>
                  <a:gd name="T67" fmla="*/ 386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82" h="387">
                    <a:moveTo>
                      <a:pt x="191" y="387"/>
                    </a:moveTo>
                    <a:lnTo>
                      <a:pt x="191" y="387"/>
                    </a:lnTo>
                    <a:lnTo>
                      <a:pt x="172" y="386"/>
                    </a:lnTo>
                    <a:lnTo>
                      <a:pt x="153" y="382"/>
                    </a:lnTo>
                    <a:lnTo>
                      <a:pt x="134" y="378"/>
                    </a:lnTo>
                    <a:lnTo>
                      <a:pt x="116" y="371"/>
                    </a:lnTo>
                    <a:lnTo>
                      <a:pt x="100" y="363"/>
                    </a:lnTo>
                    <a:lnTo>
                      <a:pt x="84" y="354"/>
                    </a:lnTo>
                    <a:lnTo>
                      <a:pt x="69" y="343"/>
                    </a:lnTo>
                    <a:lnTo>
                      <a:pt x="56" y="330"/>
                    </a:lnTo>
                    <a:lnTo>
                      <a:pt x="44" y="317"/>
                    </a:lnTo>
                    <a:lnTo>
                      <a:pt x="32" y="302"/>
                    </a:lnTo>
                    <a:lnTo>
                      <a:pt x="22" y="286"/>
                    </a:lnTo>
                    <a:lnTo>
                      <a:pt x="14" y="268"/>
                    </a:lnTo>
                    <a:lnTo>
                      <a:pt x="8" y="250"/>
                    </a:lnTo>
                    <a:lnTo>
                      <a:pt x="4" y="230"/>
                    </a:lnTo>
                    <a:lnTo>
                      <a:pt x="1" y="210"/>
                    </a:lnTo>
                    <a:lnTo>
                      <a:pt x="0" y="190"/>
                    </a:lnTo>
                    <a:lnTo>
                      <a:pt x="0" y="190"/>
                    </a:lnTo>
                    <a:lnTo>
                      <a:pt x="1" y="170"/>
                    </a:lnTo>
                    <a:lnTo>
                      <a:pt x="3" y="152"/>
                    </a:lnTo>
                    <a:lnTo>
                      <a:pt x="8" y="133"/>
                    </a:lnTo>
                    <a:lnTo>
                      <a:pt x="14" y="116"/>
                    </a:lnTo>
                    <a:lnTo>
                      <a:pt x="21" y="100"/>
                    </a:lnTo>
                    <a:lnTo>
                      <a:pt x="30" y="83"/>
                    </a:lnTo>
                    <a:lnTo>
                      <a:pt x="41" y="69"/>
                    </a:lnTo>
                    <a:lnTo>
                      <a:pt x="53" y="55"/>
                    </a:lnTo>
                    <a:lnTo>
                      <a:pt x="66" y="43"/>
                    </a:lnTo>
                    <a:lnTo>
                      <a:pt x="81" y="32"/>
                    </a:lnTo>
                    <a:lnTo>
                      <a:pt x="96" y="23"/>
                    </a:lnTo>
                    <a:lnTo>
                      <a:pt x="113" y="15"/>
                    </a:lnTo>
                    <a:lnTo>
                      <a:pt x="131" y="9"/>
                    </a:lnTo>
                    <a:lnTo>
                      <a:pt x="151" y="4"/>
                    </a:lnTo>
                    <a:lnTo>
                      <a:pt x="170" y="1"/>
                    </a:lnTo>
                    <a:lnTo>
                      <a:pt x="191" y="0"/>
                    </a:lnTo>
                    <a:lnTo>
                      <a:pt x="191" y="0"/>
                    </a:lnTo>
                    <a:lnTo>
                      <a:pt x="212" y="1"/>
                    </a:lnTo>
                    <a:lnTo>
                      <a:pt x="231" y="4"/>
                    </a:lnTo>
                    <a:lnTo>
                      <a:pt x="250" y="9"/>
                    </a:lnTo>
                    <a:lnTo>
                      <a:pt x="269" y="15"/>
                    </a:lnTo>
                    <a:lnTo>
                      <a:pt x="286" y="23"/>
                    </a:lnTo>
                    <a:lnTo>
                      <a:pt x="301" y="32"/>
                    </a:lnTo>
                    <a:lnTo>
                      <a:pt x="316" y="43"/>
                    </a:lnTo>
                    <a:lnTo>
                      <a:pt x="329" y="55"/>
                    </a:lnTo>
                    <a:lnTo>
                      <a:pt x="341" y="69"/>
                    </a:lnTo>
                    <a:lnTo>
                      <a:pt x="351" y="83"/>
                    </a:lnTo>
                    <a:lnTo>
                      <a:pt x="360" y="100"/>
                    </a:lnTo>
                    <a:lnTo>
                      <a:pt x="368" y="116"/>
                    </a:lnTo>
                    <a:lnTo>
                      <a:pt x="374" y="133"/>
                    </a:lnTo>
                    <a:lnTo>
                      <a:pt x="378" y="152"/>
                    </a:lnTo>
                    <a:lnTo>
                      <a:pt x="382" y="170"/>
                    </a:lnTo>
                    <a:lnTo>
                      <a:pt x="382" y="190"/>
                    </a:lnTo>
                    <a:lnTo>
                      <a:pt x="382" y="190"/>
                    </a:lnTo>
                    <a:lnTo>
                      <a:pt x="382" y="210"/>
                    </a:lnTo>
                    <a:lnTo>
                      <a:pt x="378" y="230"/>
                    </a:lnTo>
                    <a:lnTo>
                      <a:pt x="374" y="250"/>
                    </a:lnTo>
                    <a:lnTo>
                      <a:pt x="368" y="268"/>
                    </a:lnTo>
                    <a:lnTo>
                      <a:pt x="360" y="286"/>
                    </a:lnTo>
                    <a:lnTo>
                      <a:pt x="351" y="302"/>
                    </a:lnTo>
                    <a:lnTo>
                      <a:pt x="341" y="317"/>
                    </a:lnTo>
                    <a:lnTo>
                      <a:pt x="329" y="330"/>
                    </a:lnTo>
                    <a:lnTo>
                      <a:pt x="316" y="343"/>
                    </a:lnTo>
                    <a:lnTo>
                      <a:pt x="301" y="354"/>
                    </a:lnTo>
                    <a:lnTo>
                      <a:pt x="286" y="363"/>
                    </a:lnTo>
                    <a:lnTo>
                      <a:pt x="269" y="371"/>
                    </a:lnTo>
                    <a:lnTo>
                      <a:pt x="250" y="378"/>
                    </a:lnTo>
                    <a:lnTo>
                      <a:pt x="231" y="382"/>
                    </a:lnTo>
                    <a:lnTo>
                      <a:pt x="212" y="386"/>
                    </a:lnTo>
                    <a:lnTo>
                      <a:pt x="191" y="387"/>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8" name="Freeform 23"/>
              <p:cNvSpPr>
                <a:spLocks/>
              </p:cNvSpPr>
              <p:nvPr/>
            </p:nvSpPr>
            <p:spPr bwMode="auto">
              <a:xfrm>
                <a:off x="6489700" y="1792288"/>
                <a:ext cx="87313" cy="100013"/>
              </a:xfrm>
              <a:custGeom>
                <a:avLst/>
                <a:gdLst>
                  <a:gd name="T0" fmla="*/ 0 w 440"/>
                  <a:gd name="T1" fmla="*/ 499 h 508"/>
                  <a:gd name="T2" fmla="*/ 8 w 440"/>
                  <a:gd name="T3" fmla="*/ 479 h 508"/>
                  <a:gd name="T4" fmla="*/ 17 w 440"/>
                  <a:gd name="T5" fmla="*/ 454 h 508"/>
                  <a:gd name="T6" fmla="*/ 24 w 440"/>
                  <a:gd name="T7" fmla="*/ 441 h 508"/>
                  <a:gd name="T8" fmla="*/ 28 w 440"/>
                  <a:gd name="T9" fmla="*/ 436 h 508"/>
                  <a:gd name="T10" fmla="*/ 119 w 440"/>
                  <a:gd name="T11" fmla="*/ 265 h 508"/>
                  <a:gd name="T12" fmla="*/ 214 w 440"/>
                  <a:gd name="T13" fmla="*/ 94 h 508"/>
                  <a:gd name="T14" fmla="*/ 220 w 440"/>
                  <a:gd name="T15" fmla="*/ 83 h 508"/>
                  <a:gd name="T16" fmla="*/ 235 w 440"/>
                  <a:gd name="T17" fmla="*/ 63 h 508"/>
                  <a:gd name="T18" fmla="*/ 252 w 440"/>
                  <a:gd name="T19" fmla="*/ 44 h 508"/>
                  <a:gd name="T20" fmla="*/ 270 w 440"/>
                  <a:gd name="T21" fmla="*/ 29 h 508"/>
                  <a:gd name="T22" fmla="*/ 278 w 440"/>
                  <a:gd name="T23" fmla="*/ 23 h 508"/>
                  <a:gd name="T24" fmla="*/ 292 w 440"/>
                  <a:gd name="T25" fmla="*/ 12 h 508"/>
                  <a:gd name="T26" fmla="*/ 309 w 440"/>
                  <a:gd name="T27" fmla="*/ 4 h 508"/>
                  <a:gd name="T28" fmla="*/ 326 w 440"/>
                  <a:gd name="T29" fmla="*/ 0 h 508"/>
                  <a:gd name="T30" fmla="*/ 343 w 440"/>
                  <a:gd name="T31" fmla="*/ 0 h 508"/>
                  <a:gd name="T32" fmla="*/ 360 w 440"/>
                  <a:gd name="T33" fmla="*/ 2 h 508"/>
                  <a:gd name="T34" fmla="*/ 377 w 440"/>
                  <a:gd name="T35" fmla="*/ 6 h 508"/>
                  <a:gd name="T36" fmla="*/ 392 w 440"/>
                  <a:gd name="T37" fmla="*/ 14 h 508"/>
                  <a:gd name="T38" fmla="*/ 407 w 440"/>
                  <a:gd name="T39" fmla="*/ 23 h 508"/>
                  <a:gd name="T40" fmla="*/ 415 w 440"/>
                  <a:gd name="T41" fmla="*/ 29 h 508"/>
                  <a:gd name="T42" fmla="*/ 427 w 440"/>
                  <a:gd name="T43" fmla="*/ 41 h 508"/>
                  <a:gd name="T44" fmla="*/ 434 w 440"/>
                  <a:gd name="T45" fmla="*/ 53 h 508"/>
                  <a:gd name="T46" fmla="*/ 439 w 440"/>
                  <a:gd name="T47" fmla="*/ 67 h 508"/>
                  <a:gd name="T48" fmla="*/ 440 w 440"/>
                  <a:gd name="T49" fmla="*/ 82 h 508"/>
                  <a:gd name="T50" fmla="*/ 438 w 440"/>
                  <a:gd name="T51" fmla="*/ 106 h 508"/>
                  <a:gd name="T52" fmla="*/ 429 w 440"/>
                  <a:gd name="T53" fmla="*/ 137 h 508"/>
                  <a:gd name="T54" fmla="*/ 390 w 440"/>
                  <a:gd name="T55" fmla="*/ 222 h 508"/>
                  <a:gd name="T56" fmla="*/ 310 w 440"/>
                  <a:gd name="T57" fmla="*/ 392 h 508"/>
                  <a:gd name="T58" fmla="*/ 271 w 440"/>
                  <a:gd name="T59" fmla="*/ 478 h 508"/>
                  <a:gd name="T60" fmla="*/ 255 w 440"/>
                  <a:gd name="T61" fmla="*/ 500 h 508"/>
                  <a:gd name="T62" fmla="*/ 243 w 440"/>
                  <a:gd name="T63" fmla="*/ 507 h 508"/>
                  <a:gd name="T64" fmla="*/ 236 w 440"/>
                  <a:gd name="T65" fmla="*/ 508 h 508"/>
                  <a:gd name="T66" fmla="*/ 229 w 440"/>
                  <a:gd name="T67" fmla="*/ 505 h 508"/>
                  <a:gd name="T68" fmla="*/ 222 w 440"/>
                  <a:gd name="T69" fmla="*/ 499 h 508"/>
                  <a:gd name="T70" fmla="*/ 212 w 440"/>
                  <a:gd name="T71" fmla="*/ 490 h 508"/>
                  <a:gd name="T72" fmla="*/ 193 w 440"/>
                  <a:gd name="T73" fmla="*/ 477 h 508"/>
                  <a:gd name="T74" fmla="*/ 172 w 440"/>
                  <a:gd name="T75" fmla="*/ 468 h 508"/>
                  <a:gd name="T76" fmla="*/ 152 w 440"/>
                  <a:gd name="T77" fmla="*/ 464 h 508"/>
                  <a:gd name="T78" fmla="*/ 131 w 440"/>
                  <a:gd name="T79" fmla="*/ 463 h 508"/>
                  <a:gd name="T80" fmla="*/ 111 w 440"/>
                  <a:gd name="T81" fmla="*/ 466 h 508"/>
                  <a:gd name="T82" fmla="*/ 89 w 440"/>
                  <a:gd name="T83" fmla="*/ 472 h 508"/>
                  <a:gd name="T84" fmla="*/ 57 w 440"/>
                  <a:gd name="T85" fmla="*/ 485 h 508"/>
                  <a:gd name="T86" fmla="*/ 46 w 440"/>
                  <a:gd name="T87" fmla="*/ 486 h 508"/>
                  <a:gd name="T88" fmla="*/ 19 w 440"/>
                  <a:gd name="T89" fmla="*/ 494 h 5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40" h="508">
                    <a:moveTo>
                      <a:pt x="0" y="499"/>
                    </a:moveTo>
                    <a:lnTo>
                      <a:pt x="0" y="499"/>
                    </a:lnTo>
                    <a:lnTo>
                      <a:pt x="5" y="489"/>
                    </a:lnTo>
                    <a:lnTo>
                      <a:pt x="8" y="479"/>
                    </a:lnTo>
                    <a:lnTo>
                      <a:pt x="14" y="462"/>
                    </a:lnTo>
                    <a:lnTo>
                      <a:pt x="17" y="454"/>
                    </a:lnTo>
                    <a:lnTo>
                      <a:pt x="20" y="448"/>
                    </a:lnTo>
                    <a:lnTo>
                      <a:pt x="24" y="441"/>
                    </a:lnTo>
                    <a:lnTo>
                      <a:pt x="28" y="436"/>
                    </a:lnTo>
                    <a:lnTo>
                      <a:pt x="28" y="436"/>
                    </a:lnTo>
                    <a:lnTo>
                      <a:pt x="73" y="350"/>
                    </a:lnTo>
                    <a:lnTo>
                      <a:pt x="119" y="265"/>
                    </a:lnTo>
                    <a:lnTo>
                      <a:pt x="166" y="180"/>
                    </a:lnTo>
                    <a:lnTo>
                      <a:pt x="214" y="94"/>
                    </a:lnTo>
                    <a:lnTo>
                      <a:pt x="214" y="94"/>
                    </a:lnTo>
                    <a:lnTo>
                      <a:pt x="220" y="83"/>
                    </a:lnTo>
                    <a:lnTo>
                      <a:pt x="227" y="73"/>
                    </a:lnTo>
                    <a:lnTo>
                      <a:pt x="235" y="63"/>
                    </a:lnTo>
                    <a:lnTo>
                      <a:pt x="244" y="53"/>
                    </a:lnTo>
                    <a:lnTo>
                      <a:pt x="252" y="44"/>
                    </a:lnTo>
                    <a:lnTo>
                      <a:pt x="261" y="36"/>
                    </a:lnTo>
                    <a:lnTo>
                      <a:pt x="270" y="29"/>
                    </a:lnTo>
                    <a:lnTo>
                      <a:pt x="278" y="23"/>
                    </a:lnTo>
                    <a:lnTo>
                      <a:pt x="278" y="23"/>
                    </a:lnTo>
                    <a:lnTo>
                      <a:pt x="285" y="17"/>
                    </a:lnTo>
                    <a:lnTo>
                      <a:pt x="292" y="12"/>
                    </a:lnTo>
                    <a:lnTo>
                      <a:pt x="301" y="8"/>
                    </a:lnTo>
                    <a:lnTo>
                      <a:pt x="309" y="4"/>
                    </a:lnTo>
                    <a:lnTo>
                      <a:pt x="317" y="2"/>
                    </a:lnTo>
                    <a:lnTo>
                      <a:pt x="326" y="0"/>
                    </a:lnTo>
                    <a:lnTo>
                      <a:pt x="334" y="0"/>
                    </a:lnTo>
                    <a:lnTo>
                      <a:pt x="343" y="0"/>
                    </a:lnTo>
                    <a:lnTo>
                      <a:pt x="352" y="0"/>
                    </a:lnTo>
                    <a:lnTo>
                      <a:pt x="360" y="2"/>
                    </a:lnTo>
                    <a:lnTo>
                      <a:pt x="369" y="4"/>
                    </a:lnTo>
                    <a:lnTo>
                      <a:pt x="377" y="6"/>
                    </a:lnTo>
                    <a:lnTo>
                      <a:pt x="385" y="10"/>
                    </a:lnTo>
                    <a:lnTo>
                      <a:pt x="392" y="14"/>
                    </a:lnTo>
                    <a:lnTo>
                      <a:pt x="400" y="18"/>
                    </a:lnTo>
                    <a:lnTo>
                      <a:pt x="407" y="23"/>
                    </a:lnTo>
                    <a:lnTo>
                      <a:pt x="407" y="23"/>
                    </a:lnTo>
                    <a:lnTo>
                      <a:pt x="415" y="29"/>
                    </a:lnTo>
                    <a:lnTo>
                      <a:pt x="421" y="35"/>
                    </a:lnTo>
                    <a:lnTo>
                      <a:pt x="427" y="41"/>
                    </a:lnTo>
                    <a:lnTo>
                      <a:pt x="431" y="47"/>
                    </a:lnTo>
                    <a:lnTo>
                      <a:pt x="434" y="53"/>
                    </a:lnTo>
                    <a:lnTo>
                      <a:pt x="437" y="60"/>
                    </a:lnTo>
                    <a:lnTo>
                      <a:pt x="439" y="67"/>
                    </a:lnTo>
                    <a:lnTo>
                      <a:pt x="440" y="74"/>
                    </a:lnTo>
                    <a:lnTo>
                      <a:pt x="440" y="82"/>
                    </a:lnTo>
                    <a:lnTo>
                      <a:pt x="440" y="89"/>
                    </a:lnTo>
                    <a:lnTo>
                      <a:pt x="438" y="106"/>
                    </a:lnTo>
                    <a:lnTo>
                      <a:pt x="434" y="121"/>
                    </a:lnTo>
                    <a:lnTo>
                      <a:pt x="429" y="137"/>
                    </a:lnTo>
                    <a:lnTo>
                      <a:pt x="429" y="137"/>
                    </a:lnTo>
                    <a:lnTo>
                      <a:pt x="390" y="222"/>
                    </a:lnTo>
                    <a:lnTo>
                      <a:pt x="350" y="308"/>
                    </a:lnTo>
                    <a:lnTo>
                      <a:pt x="310" y="392"/>
                    </a:lnTo>
                    <a:lnTo>
                      <a:pt x="271" y="478"/>
                    </a:lnTo>
                    <a:lnTo>
                      <a:pt x="271" y="478"/>
                    </a:lnTo>
                    <a:lnTo>
                      <a:pt x="260" y="493"/>
                    </a:lnTo>
                    <a:lnTo>
                      <a:pt x="255" y="500"/>
                    </a:lnTo>
                    <a:lnTo>
                      <a:pt x="249" y="504"/>
                    </a:lnTo>
                    <a:lnTo>
                      <a:pt x="243" y="507"/>
                    </a:lnTo>
                    <a:lnTo>
                      <a:pt x="240" y="508"/>
                    </a:lnTo>
                    <a:lnTo>
                      <a:pt x="236" y="508"/>
                    </a:lnTo>
                    <a:lnTo>
                      <a:pt x="233" y="507"/>
                    </a:lnTo>
                    <a:lnTo>
                      <a:pt x="229" y="505"/>
                    </a:lnTo>
                    <a:lnTo>
                      <a:pt x="225" y="503"/>
                    </a:lnTo>
                    <a:lnTo>
                      <a:pt x="222" y="499"/>
                    </a:lnTo>
                    <a:lnTo>
                      <a:pt x="222" y="499"/>
                    </a:lnTo>
                    <a:lnTo>
                      <a:pt x="212" y="490"/>
                    </a:lnTo>
                    <a:lnTo>
                      <a:pt x="203" y="483"/>
                    </a:lnTo>
                    <a:lnTo>
                      <a:pt x="193" y="477"/>
                    </a:lnTo>
                    <a:lnTo>
                      <a:pt x="182" y="472"/>
                    </a:lnTo>
                    <a:lnTo>
                      <a:pt x="172" y="468"/>
                    </a:lnTo>
                    <a:lnTo>
                      <a:pt x="162" y="465"/>
                    </a:lnTo>
                    <a:lnTo>
                      <a:pt x="152" y="464"/>
                    </a:lnTo>
                    <a:lnTo>
                      <a:pt x="142" y="463"/>
                    </a:lnTo>
                    <a:lnTo>
                      <a:pt x="131" y="463"/>
                    </a:lnTo>
                    <a:lnTo>
                      <a:pt x="121" y="464"/>
                    </a:lnTo>
                    <a:lnTo>
                      <a:pt x="111" y="466"/>
                    </a:lnTo>
                    <a:lnTo>
                      <a:pt x="100" y="468"/>
                    </a:lnTo>
                    <a:lnTo>
                      <a:pt x="89" y="472"/>
                    </a:lnTo>
                    <a:lnTo>
                      <a:pt x="79" y="475"/>
                    </a:lnTo>
                    <a:lnTo>
                      <a:pt x="57" y="485"/>
                    </a:lnTo>
                    <a:lnTo>
                      <a:pt x="57" y="485"/>
                    </a:lnTo>
                    <a:lnTo>
                      <a:pt x="46" y="486"/>
                    </a:lnTo>
                    <a:lnTo>
                      <a:pt x="34" y="489"/>
                    </a:lnTo>
                    <a:lnTo>
                      <a:pt x="19" y="494"/>
                    </a:lnTo>
                    <a:lnTo>
                      <a:pt x="0" y="49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9" name="Freeform 24"/>
              <p:cNvSpPr>
                <a:spLocks/>
              </p:cNvSpPr>
              <p:nvPr/>
            </p:nvSpPr>
            <p:spPr bwMode="auto">
              <a:xfrm>
                <a:off x="6489700" y="1792288"/>
                <a:ext cx="87313" cy="100013"/>
              </a:xfrm>
              <a:custGeom>
                <a:avLst/>
                <a:gdLst>
                  <a:gd name="T0" fmla="*/ 0 w 440"/>
                  <a:gd name="T1" fmla="*/ 499 h 508"/>
                  <a:gd name="T2" fmla="*/ 8 w 440"/>
                  <a:gd name="T3" fmla="*/ 479 h 508"/>
                  <a:gd name="T4" fmla="*/ 17 w 440"/>
                  <a:gd name="T5" fmla="*/ 454 h 508"/>
                  <a:gd name="T6" fmla="*/ 24 w 440"/>
                  <a:gd name="T7" fmla="*/ 441 h 508"/>
                  <a:gd name="T8" fmla="*/ 28 w 440"/>
                  <a:gd name="T9" fmla="*/ 436 h 508"/>
                  <a:gd name="T10" fmla="*/ 119 w 440"/>
                  <a:gd name="T11" fmla="*/ 265 h 508"/>
                  <a:gd name="T12" fmla="*/ 214 w 440"/>
                  <a:gd name="T13" fmla="*/ 94 h 508"/>
                  <a:gd name="T14" fmla="*/ 220 w 440"/>
                  <a:gd name="T15" fmla="*/ 83 h 508"/>
                  <a:gd name="T16" fmla="*/ 235 w 440"/>
                  <a:gd name="T17" fmla="*/ 63 h 508"/>
                  <a:gd name="T18" fmla="*/ 252 w 440"/>
                  <a:gd name="T19" fmla="*/ 44 h 508"/>
                  <a:gd name="T20" fmla="*/ 270 w 440"/>
                  <a:gd name="T21" fmla="*/ 29 h 508"/>
                  <a:gd name="T22" fmla="*/ 278 w 440"/>
                  <a:gd name="T23" fmla="*/ 23 h 508"/>
                  <a:gd name="T24" fmla="*/ 292 w 440"/>
                  <a:gd name="T25" fmla="*/ 12 h 508"/>
                  <a:gd name="T26" fmla="*/ 309 w 440"/>
                  <a:gd name="T27" fmla="*/ 4 h 508"/>
                  <a:gd name="T28" fmla="*/ 326 w 440"/>
                  <a:gd name="T29" fmla="*/ 0 h 508"/>
                  <a:gd name="T30" fmla="*/ 343 w 440"/>
                  <a:gd name="T31" fmla="*/ 0 h 508"/>
                  <a:gd name="T32" fmla="*/ 360 w 440"/>
                  <a:gd name="T33" fmla="*/ 2 h 508"/>
                  <a:gd name="T34" fmla="*/ 377 w 440"/>
                  <a:gd name="T35" fmla="*/ 6 h 508"/>
                  <a:gd name="T36" fmla="*/ 392 w 440"/>
                  <a:gd name="T37" fmla="*/ 14 h 508"/>
                  <a:gd name="T38" fmla="*/ 407 w 440"/>
                  <a:gd name="T39" fmla="*/ 23 h 508"/>
                  <a:gd name="T40" fmla="*/ 415 w 440"/>
                  <a:gd name="T41" fmla="*/ 29 h 508"/>
                  <a:gd name="T42" fmla="*/ 427 w 440"/>
                  <a:gd name="T43" fmla="*/ 41 h 508"/>
                  <a:gd name="T44" fmla="*/ 434 w 440"/>
                  <a:gd name="T45" fmla="*/ 53 h 508"/>
                  <a:gd name="T46" fmla="*/ 439 w 440"/>
                  <a:gd name="T47" fmla="*/ 67 h 508"/>
                  <a:gd name="T48" fmla="*/ 440 w 440"/>
                  <a:gd name="T49" fmla="*/ 82 h 508"/>
                  <a:gd name="T50" fmla="*/ 438 w 440"/>
                  <a:gd name="T51" fmla="*/ 106 h 508"/>
                  <a:gd name="T52" fmla="*/ 429 w 440"/>
                  <a:gd name="T53" fmla="*/ 137 h 508"/>
                  <a:gd name="T54" fmla="*/ 390 w 440"/>
                  <a:gd name="T55" fmla="*/ 222 h 508"/>
                  <a:gd name="T56" fmla="*/ 310 w 440"/>
                  <a:gd name="T57" fmla="*/ 392 h 508"/>
                  <a:gd name="T58" fmla="*/ 271 w 440"/>
                  <a:gd name="T59" fmla="*/ 478 h 508"/>
                  <a:gd name="T60" fmla="*/ 255 w 440"/>
                  <a:gd name="T61" fmla="*/ 500 h 508"/>
                  <a:gd name="T62" fmla="*/ 243 w 440"/>
                  <a:gd name="T63" fmla="*/ 507 h 508"/>
                  <a:gd name="T64" fmla="*/ 236 w 440"/>
                  <a:gd name="T65" fmla="*/ 508 h 508"/>
                  <a:gd name="T66" fmla="*/ 229 w 440"/>
                  <a:gd name="T67" fmla="*/ 505 h 508"/>
                  <a:gd name="T68" fmla="*/ 222 w 440"/>
                  <a:gd name="T69" fmla="*/ 499 h 508"/>
                  <a:gd name="T70" fmla="*/ 212 w 440"/>
                  <a:gd name="T71" fmla="*/ 490 h 508"/>
                  <a:gd name="T72" fmla="*/ 193 w 440"/>
                  <a:gd name="T73" fmla="*/ 477 h 508"/>
                  <a:gd name="T74" fmla="*/ 172 w 440"/>
                  <a:gd name="T75" fmla="*/ 468 h 508"/>
                  <a:gd name="T76" fmla="*/ 152 w 440"/>
                  <a:gd name="T77" fmla="*/ 464 h 508"/>
                  <a:gd name="T78" fmla="*/ 131 w 440"/>
                  <a:gd name="T79" fmla="*/ 463 h 508"/>
                  <a:gd name="T80" fmla="*/ 111 w 440"/>
                  <a:gd name="T81" fmla="*/ 466 h 508"/>
                  <a:gd name="T82" fmla="*/ 89 w 440"/>
                  <a:gd name="T83" fmla="*/ 472 h 508"/>
                  <a:gd name="T84" fmla="*/ 57 w 440"/>
                  <a:gd name="T85" fmla="*/ 485 h 508"/>
                  <a:gd name="T86" fmla="*/ 46 w 440"/>
                  <a:gd name="T87" fmla="*/ 486 h 508"/>
                  <a:gd name="T88" fmla="*/ 19 w 440"/>
                  <a:gd name="T89" fmla="*/ 494 h 5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40" h="508">
                    <a:moveTo>
                      <a:pt x="0" y="499"/>
                    </a:moveTo>
                    <a:lnTo>
                      <a:pt x="0" y="499"/>
                    </a:lnTo>
                    <a:lnTo>
                      <a:pt x="5" y="489"/>
                    </a:lnTo>
                    <a:lnTo>
                      <a:pt x="8" y="479"/>
                    </a:lnTo>
                    <a:lnTo>
                      <a:pt x="14" y="462"/>
                    </a:lnTo>
                    <a:lnTo>
                      <a:pt x="17" y="454"/>
                    </a:lnTo>
                    <a:lnTo>
                      <a:pt x="20" y="448"/>
                    </a:lnTo>
                    <a:lnTo>
                      <a:pt x="24" y="441"/>
                    </a:lnTo>
                    <a:lnTo>
                      <a:pt x="28" y="436"/>
                    </a:lnTo>
                    <a:lnTo>
                      <a:pt x="28" y="436"/>
                    </a:lnTo>
                    <a:lnTo>
                      <a:pt x="73" y="350"/>
                    </a:lnTo>
                    <a:lnTo>
                      <a:pt x="119" y="265"/>
                    </a:lnTo>
                    <a:lnTo>
                      <a:pt x="166" y="180"/>
                    </a:lnTo>
                    <a:lnTo>
                      <a:pt x="214" y="94"/>
                    </a:lnTo>
                    <a:lnTo>
                      <a:pt x="214" y="94"/>
                    </a:lnTo>
                    <a:lnTo>
                      <a:pt x="220" y="83"/>
                    </a:lnTo>
                    <a:lnTo>
                      <a:pt x="227" y="73"/>
                    </a:lnTo>
                    <a:lnTo>
                      <a:pt x="235" y="63"/>
                    </a:lnTo>
                    <a:lnTo>
                      <a:pt x="244" y="53"/>
                    </a:lnTo>
                    <a:lnTo>
                      <a:pt x="252" y="44"/>
                    </a:lnTo>
                    <a:lnTo>
                      <a:pt x="261" y="36"/>
                    </a:lnTo>
                    <a:lnTo>
                      <a:pt x="270" y="29"/>
                    </a:lnTo>
                    <a:lnTo>
                      <a:pt x="278" y="23"/>
                    </a:lnTo>
                    <a:lnTo>
                      <a:pt x="278" y="23"/>
                    </a:lnTo>
                    <a:lnTo>
                      <a:pt x="285" y="17"/>
                    </a:lnTo>
                    <a:lnTo>
                      <a:pt x="292" y="12"/>
                    </a:lnTo>
                    <a:lnTo>
                      <a:pt x="301" y="8"/>
                    </a:lnTo>
                    <a:lnTo>
                      <a:pt x="309" y="4"/>
                    </a:lnTo>
                    <a:lnTo>
                      <a:pt x="317" y="2"/>
                    </a:lnTo>
                    <a:lnTo>
                      <a:pt x="326" y="0"/>
                    </a:lnTo>
                    <a:lnTo>
                      <a:pt x="334" y="0"/>
                    </a:lnTo>
                    <a:lnTo>
                      <a:pt x="343" y="0"/>
                    </a:lnTo>
                    <a:lnTo>
                      <a:pt x="352" y="0"/>
                    </a:lnTo>
                    <a:lnTo>
                      <a:pt x="360" y="2"/>
                    </a:lnTo>
                    <a:lnTo>
                      <a:pt x="369" y="4"/>
                    </a:lnTo>
                    <a:lnTo>
                      <a:pt x="377" y="6"/>
                    </a:lnTo>
                    <a:lnTo>
                      <a:pt x="385" y="10"/>
                    </a:lnTo>
                    <a:lnTo>
                      <a:pt x="392" y="14"/>
                    </a:lnTo>
                    <a:lnTo>
                      <a:pt x="400" y="18"/>
                    </a:lnTo>
                    <a:lnTo>
                      <a:pt x="407" y="23"/>
                    </a:lnTo>
                    <a:lnTo>
                      <a:pt x="407" y="23"/>
                    </a:lnTo>
                    <a:lnTo>
                      <a:pt x="415" y="29"/>
                    </a:lnTo>
                    <a:lnTo>
                      <a:pt x="421" y="35"/>
                    </a:lnTo>
                    <a:lnTo>
                      <a:pt x="427" y="41"/>
                    </a:lnTo>
                    <a:lnTo>
                      <a:pt x="431" y="47"/>
                    </a:lnTo>
                    <a:lnTo>
                      <a:pt x="434" y="53"/>
                    </a:lnTo>
                    <a:lnTo>
                      <a:pt x="437" y="60"/>
                    </a:lnTo>
                    <a:lnTo>
                      <a:pt x="439" y="67"/>
                    </a:lnTo>
                    <a:lnTo>
                      <a:pt x="440" y="74"/>
                    </a:lnTo>
                    <a:lnTo>
                      <a:pt x="440" y="82"/>
                    </a:lnTo>
                    <a:lnTo>
                      <a:pt x="440" y="89"/>
                    </a:lnTo>
                    <a:lnTo>
                      <a:pt x="438" y="106"/>
                    </a:lnTo>
                    <a:lnTo>
                      <a:pt x="434" y="121"/>
                    </a:lnTo>
                    <a:lnTo>
                      <a:pt x="429" y="137"/>
                    </a:lnTo>
                    <a:lnTo>
                      <a:pt x="429" y="137"/>
                    </a:lnTo>
                    <a:lnTo>
                      <a:pt x="390" y="222"/>
                    </a:lnTo>
                    <a:lnTo>
                      <a:pt x="350" y="308"/>
                    </a:lnTo>
                    <a:lnTo>
                      <a:pt x="310" y="392"/>
                    </a:lnTo>
                    <a:lnTo>
                      <a:pt x="271" y="478"/>
                    </a:lnTo>
                    <a:lnTo>
                      <a:pt x="271" y="478"/>
                    </a:lnTo>
                    <a:lnTo>
                      <a:pt x="260" y="493"/>
                    </a:lnTo>
                    <a:lnTo>
                      <a:pt x="255" y="500"/>
                    </a:lnTo>
                    <a:lnTo>
                      <a:pt x="249" y="504"/>
                    </a:lnTo>
                    <a:lnTo>
                      <a:pt x="243" y="507"/>
                    </a:lnTo>
                    <a:lnTo>
                      <a:pt x="240" y="508"/>
                    </a:lnTo>
                    <a:lnTo>
                      <a:pt x="236" y="508"/>
                    </a:lnTo>
                    <a:lnTo>
                      <a:pt x="233" y="507"/>
                    </a:lnTo>
                    <a:lnTo>
                      <a:pt x="229" y="505"/>
                    </a:lnTo>
                    <a:lnTo>
                      <a:pt x="225" y="503"/>
                    </a:lnTo>
                    <a:lnTo>
                      <a:pt x="222" y="499"/>
                    </a:lnTo>
                    <a:lnTo>
                      <a:pt x="222" y="499"/>
                    </a:lnTo>
                    <a:lnTo>
                      <a:pt x="212" y="490"/>
                    </a:lnTo>
                    <a:lnTo>
                      <a:pt x="203" y="483"/>
                    </a:lnTo>
                    <a:lnTo>
                      <a:pt x="193" y="477"/>
                    </a:lnTo>
                    <a:lnTo>
                      <a:pt x="182" y="472"/>
                    </a:lnTo>
                    <a:lnTo>
                      <a:pt x="172" y="468"/>
                    </a:lnTo>
                    <a:lnTo>
                      <a:pt x="162" y="465"/>
                    </a:lnTo>
                    <a:lnTo>
                      <a:pt x="152" y="464"/>
                    </a:lnTo>
                    <a:lnTo>
                      <a:pt x="142" y="463"/>
                    </a:lnTo>
                    <a:lnTo>
                      <a:pt x="131" y="463"/>
                    </a:lnTo>
                    <a:lnTo>
                      <a:pt x="121" y="464"/>
                    </a:lnTo>
                    <a:lnTo>
                      <a:pt x="111" y="466"/>
                    </a:lnTo>
                    <a:lnTo>
                      <a:pt x="100" y="468"/>
                    </a:lnTo>
                    <a:lnTo>
                      <a:pt x="89" y="472"/>
                    </a:lnTo>
                    <a:lnTo>
                      <a:pt x="79" y="475"/>
                    </a:lnTo>
                    <a:lnTo>
                      <a:pt x="57" y="485"/>
                    </a:lnTo>
                    <a:lnTo>
                      <a:pt x="57" y="485"/>
                    </a:lnTo>
                    <a:lnTo>
                      <a:pt x="46" y="486"/>
                    </a:lnTo>
                    <a:lnTo>
                      <a:pt x="34" y="489"/>
                    </a:lnTo>
                    <a:lnTo>
                      <a:pt x="19" y="494"/>
                    </a:lnTo>
                    <a:lnTo>
                      <a:pt x="0" y="499"/>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60" name="Freeform 25"/>
              <p:cNvSpPr>
                <a:spLocks/>
              </p:cNvSpPr>
              <p:nvPr/>
            </p:nvSpPr>
            <p:spPr bwMode="auto">
              <a:xfrm>
                <a:off x="6384925" y="1862138"/>
                <a:ext cx="71438" cy="71438"/>
              </a:xfrm>
              <a:custGeom>
                <a:avLst/>
                <a:gdLst>
                  <a:gd name="T0" fmla="*/ 184 w 359"/>
                  <a:gd name="T1" fmla="*/ 0 h 356"/>
                  <a:gd name="T2" fmla="*/ 219 w 359"/>
                  <a:gd name="T3" fmla="*/ 4 h 356"/>
                  <a:gd name="T4" fmla="*/ 253 w 359"/>
                  <a:gd name="T5" fmla="*/ 14 h 356"/>
                  <a:gd name="T6" fmla="*/ 285 w 359"/>
                  <a:gd name="T7" fmla="*/ 30 h 356"/>
                  <a:gd name="T8" fmla="*/ 311 w 359"/>
                  <a:gd name="T9" fmla="*/ 53 h 356"/>
                  <a:gd name="T10" fmla="*/ 333 w 359"/>
                  <a:gd name="T11" fmla="*/ 79 h 356"/>
                  <a:gd name="T12" fmla="*/ 349 w 359"/>
                  <a:gd name="T13" fmla="*/ 109 h 356"/>
                  <a:gd name="T14" fmla="*/ 358 w 359"/>
                  <a:gd name="T15" fmla="*/ 142 h 356"/>
                  <a:gd name="T16" fmla="*/ 359 w 359"/>
                  <a:gd name="T17" fmla="*/ 178 h 356"/>
                  <a:gd name="T18" fmla="*/ 358 w 359"/>
                  <a:gd name="T19" fmla="*/ 197 h 356"/>
                  <a:gd name="T20" fmla="*/ 351 w 359"/>
                  <a:gd name="T21" fmla="*/ 232 h 356"/>
                  <a:gd name="T22" fmla="*/ 338 w 359"/>
                  <a:gd name="T23" fmla="*/ 264 h 356"/>
                  <a:gd name="T24" fmla="*/ 320 w 359"/>
                  <a:gd name="T25" fmla="*/ 292 h 356"/>
                  <a:gd name="T26" fmla="*/ 296 w 359"/>
                  <a:gd name="T27" fmla="*/ 315 h 356"/>
                  <a:gd name="T28" fmla="*/ 268 w 359"/>
                  <a:gd name="T29" fmla="*/ 334 h 356"/>
                  <a:gd name="T30" fmla="*/ 236 w 359"/>
                  <a:gd name="T31" fmla="*/ 348 h 356"/>
                  <a:gd name="T32" fmla="*/ 202 w 359"/>
                  <a:gd name="T33" fmla="*/ 355 h 356"/>
                  <a:gd name="T34" fmla="*/ 184 w 359"/>
                  <a:gd name="T35" fmla="*/ 356 h 356"/>
                  <a:gd name="T36" fmla="*/ 148 w 359"/>
                  <a:gd name="T37" fmla="*/ 353 h 356"/>
                  <a:gd name="T38" fmla="*/ 113 w 359"/>
                  <a:gd name="T39" fmla="*/ 343 h 356"/>
                  <a:gd name="T40" fmla="*/ 82 w 359"/>
                  <a:gd name="T41" fmla="*/ 325 h 356"/>
                  <a:gd name="T42" fmla="*/ 55 w 359"/>
                  <a:gd name="T43" fmla="*/ 304 h 356"/>
                  <a:gd name="T44" fmla="*/ 33 w 359"/>
                  <a:gd name="T45" fmla="*/ 278 h 356"/>
                  <a:gd name="T46" fmla="*/ 15 w 359"/>
                  <a:gd name="T47" fmla="*/ 248 h 356"/>
                  <a:gd name="T48" fmla="*/ 4 w 359"/>
                  <a:gd name="T49" fmla="*/ 215 h 356"/>
                  <a:gd name="T50" fmla="*/ 0 w 359"/>
                  <a:gd name="T51" fmla="*/ 178 h 356"/>
                  <a:gd name="T52" fmla="*/ 1 w 359"/>
                  <a:gd name="T53" fmla="*/ 160 h 356"/>
                  <a:gd name="T54" fmla="*/ 8 w 359"/>
                  <a:gd name="T55" fmla="*/ 125 h 356"/>
                  <a:gd name="T56" fmla="*/ 22 w 359"/>
                  <a:gd name="T57" fmla="*/ 93 h 356"/>
                  <a:gd name="T58" fmla="*/ 43 w 359"/>
                  <a:gd name="T59" fmla="*/ 65 h 356"/>
                  <a:gd name="T60" fmla="*/ 68 w 359"/>
                  <a:gd name="T61" fmla="*/ 40 h 356"/>
                  <a:gd name="T62" fmla="*/ 97 w 359"/>
                  <a:gd name="T63" fmla="*/ 21 h 356"/>
                  <a:gd name="T64" fmla="*/ 129 w 359"/>
                  <a:gd name="T65" fmla="*/ 8 h 356"/>
                  <a:gd name="T66" fmla="*/ 165 w 359"/>
                  <a:gd name="T67" fmla="*/ 1 h 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9" h="356">
                    <a:moveTo>
                      <a:pt x="184" y="0"/>
                    </a:moveTo>
                    <a:lnTo>
                      <a:pt x="184" y="0"/>
                    </a:lnTo>
                    <a:lnTo>
                      <a:pt x="202" y="1"/>
                    </a:lnTo>
                    <a:lnTo>
                      <a:pt x="219" y="4"/>
                    </a:lnTo>
                    <a:lnTo>
                      <a:pt x="237" y="8"/>
                    </a:lnTo>
                    <a:lnTo>
                      <a:pt x="253" y="14"/>
                    </a:lnTo>
                    <a:lnTo>
                      <a:pt x="270" y="21"/>
                    </a:lnTo>
                    <a:lnTo>
                      <a:pt x="285" y="30"/>
                    </a:lnTo>
                    <a:lnTo>
                      <a:pt x="298" y="40"/>
                    </a:lnTo>
                    <a:lnTo>
                      <a:pt x="311" y="53"/>
                    </a:lnTo>
                    <a:lnTo>
                      <a:pt x="323" y="65"/>
                    </a:lnTo>
                    <a:lnTo>
                      <a:pt x="333" y="79"/>
                    </a:lnTo>
                    <a:lnTo>
                      <a:pt x="341" y="93"/>
                    </a:lnTo>
                    <a:lnTo>
                      <a:pt x="349" y="109"/>
                    </a:lnTo>
                    <a:lnTo>
                      <a:pt x="354" y="125"/>
                    </a:lnTo>
                    <a:lnTo>
                      <a:pt x="358" y="142"/>
                    </a:lnTo>
                    <a:lnTo>
                      <a:pt x="359" y="160"/>
                    </a:lnTo>
                    <a:lnTo>
                      <a:pt x="359" y="178"/>
                    </a:lnTo>
                    <a:lnTo>
                      <a:pt x="359" y="178"/>
                    </a:lnTo>
                    <a:lnTo>
                      <a:pt x="358" y="197"/>
                    </a:lnTo>
                    <a:lnTo>
                      <a:pt x="356" y="215"/>
                    </a:lnTo>
                    <a:lnTo>
                      <a:pt x="351" y="232"/>
                    </a:lnTo>
                    <a:lnTo>
                      <a:pt x="346" y="248"/>
                    </a:lnTo>
                    <a:lnTo>
                      <a:pt x="338" y="264"/>
                    </a:lnTo>
                    <a:lnTo>
                      <a:pt x="330" y="278"/>
                    </a:lnTo>
                    <a:lnTo>
                      <a:pt x="320" y="292"/>
                    </a:lnTo>
                    <a:lnTo>
                      <a:pt x="308" y="304"/>
                    </a:lnTo>
                    <a:lnTo>
                      <a:pt x="296" y="315"/>
                    </a:lnTo>
                    <a:lnTo>
                      <a:pt x="283" y="325"/>
                    </a:lnTo>
                    <a:lnTo>
                      <a:pt x="268" y="334"/>
                    </a:lnTo>
                    <a:lnTo>
                      <a:pt x="252" y="343"/>
                    </a:lnTo>
                    <a:lnTo>
                      <a:pt x="236" y="348"/>
                    </a:lnTo>
                    <a:lnTo>
                      <a:pt x="219" y="353"/>
                    </a:lnTo>
                    <a:lnTo>
                      <a:pt x="202" y="355"/>
                    </a:lnTo>
                    <a:lnTo>
                      <a:pt x="184" y="356"/>
                    </a:lnTo>
                    <a:lnTo>
                      <a:pt x="184" y="356"/>
                    </a:lnTo>
                    <a:lnTo>
                      <a:pt x="165" y="355"/>
                    </a:lnTo>
                    <a:lnTo>
                      <a:pt x="148" y="353"/>
                    </a:lnTo>
                    <a:lnTo>
                      <a:pt x="129" y="348"/>
                    </a:lnTo>
                    <a:lnTo>
                      <a:pt x="113" y="343"/>
                    </a:lnTo>
                    <a:lnTo>
                      <a:pt x="97" y="334"/>
                    </a:lnTo>
                    <a:lnTo>
                      <a:pt x="82" y="325"/>
                    </a:lnTo>
                    <a:lnTo>
                      <a:pt x="68" y="315"/>
                    </a:lnTo>
                    <a:lnTo>
                      <a:pt x="55" y="304"/>
                    </a:lnTo>
                    <a:lnTo>
                      <a:pt x="43" y="292"/>
                    </a:lnTo>
                    <a:lnTo>
                      <a:pt x="33" y="278"/>
                    </a:lnTo>
                    <a:lnTo>
                      <a:pt x="22" y="264"/>
                    </a:lnTo>
                    <a:lnTo>
                      <a:pt x="15" y="248"/>
                    </a:lnTo>
                    <a:lnTo>
                      <a:pt x="8" y="232"/>
                    </a:lnTo>
                    <a:lnTo>
                      <a:pt x="4" y="215"/>
                    </a:lnTo>
                    <a:lnTo>
                      <a:pt x="1" y="197"/>
                    </a:lnTo>
                    <a:lnTo>
                      <a:pt x="0" y="178"/>
                    </a:lnTo>
                    <a:lnTo>
                      <a:pt x="0" y="178"/>
                    </a:lnTo>
                    <a:lnTo>
                      <a:pt x="1" y="160"/>
                    </a:lnTo>
                    <a:lnTo>
                      <a:pt x="4" y="142"/>
                    </a:lnTo>
                    <a:lnTo>
                      <a:pt x="8" y="125"/>
                    </a:lnTo>
                    <a:lnTo>
                      <a:pt x="15" y="109"/>
                    </a:lnTo>
                    <a:lnTo>
                      <a:pt x="22" y="93"/>
                    </a:lnTo>
                    <a:lnTo>
                      <a:pt x="33" y="79"/>
                    </a:lnTo>
                    <a:lnTo>
                      <a:pt x="43" y="65"/>
                    </a:lnTo>
                    <a:lnTo>
                      <a:pt x="55" y="53"/>
                    </a:lnTo>
                    <a:lnTo>
                      <a:pt x="68" y="40"/>
                    </a:lnTo>
                    <a:lnTo>
                      <a:pt x="82" y="30"/>
                    </a:lnTo>
                    <a:lnTo>
                      <a:pt x="97" y="21"/>
                    </a:lnTo>
                    <a:lnTo>
                      <a:pt x="113" y="14"/>
                    </a:lnTo>
                    <a:lnTo>
                      <a:pt x="129" y="8"/>
                    </a:lnTo>
                    <a:lnTo>
                      <a:pt x="148" y="4"/>
                    </a:lnTo>
                    <a:lnTo>
                      <a:pt x="165" y="1"/>
                    </a:lnTo>
                    <a:lnTo>
                      <a:pt x="18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61" name="Freeform 26"/>
              <p:cNvSpPr>
                <a:spLocks/>
              </p:cNvSpPr>
              <p:nvPr/>
            </p:nvSpPr>
            <p:spPr bwMode="auto">
              <a:xfrm>
                <a:off x="6384925" y="1862138"/>
                <a:ext cx="71438" cy="71438"/>
              </a:xfrm>
              <a:custGeom>
                <a:avLst/>
                <a:gdLst>
                  <a:gd name="T0" fmla="*/ 184 w 359"/>
                  <a:gd name="T1" fmla="*/ 0 h 356"/>
                  <a:gd name="T2" fmla="*/ 219 w 359"/>
                  <a:gd name="T3" fmla="*/ 4 h 356"/>
                  <a:gd name="T4" fmla="*/ 253 w 359"/>
                  <a:gd name="T5" fmla="*/ 14 h 356"/>
                  <a:gd name="T6" fmla="*/ 285 w 359"/>
                  <a:gd name="T7" fmla="*/ 30 h 356"/>
                  <a:gd name="T8" fmla="*/ 311 w 359"/>
                  <a:gd name="T9" fmla="*/ 53 h 356"/>
                  <a:gd name="T10" fmla="*/ 333 w 359"/>
                  <a:gd name="T11" fmla="*/ 79 h 356"/>
                  <a:gd name="T12" fmla="*/ 349 w 359"/>
                  <a:gd name="T13" fmla="*/ 109 h 356"/>
                  <a:gd name="T14" fmla="*/ 358 w 359"/>
                  <a:gd name="T15" fmla="*/ 142 h 356"/>
                  <a:gd name="T16" fmla="*/ 359 w 359"/>
                  <a:gd name="T17" fmla="*/ 178 h 356"/>
                  <a:gd name="T18" fmla="*/ 358 w 359"/>
                  <a:gd name="T19" fmla="*/ 197 h 356"/>
                  <a:gd name="T20" fmla="*/ 351 w 359"/>
                  <a:gd name="T21" fmla="*/ 232 h 356"/>
                  <a:gd name="T22" fmla="*/ 338 w 359"/>
                  <a:gd name="T23" fmla="*/ 264 h 356"/>
                  <a:gd name="T24" fmla="*/ 320 w 359"/>
                  <a:gd name="T25" fmla="*/ 292 h 356"/>
                  <a:gd name="T26" fmla="*/ 296 w 359"/>
                  <a:gd name="T27" fmla="*/ 315 h 356"/>
                  <a:gd name="T28" fmla="*/ 268 w 359"/>
                  <a:gd name="T29" fmla="*/ 334 h 356"/>
                  <a:gd name="T30" fmla="*/ 236 w 359"/>
                  <a:gd name="T31" fmla="*/ 348 h 356"/>
                  <a:gd name="T32" fmla="*/ 202 w 359"/>
                  <a:gd name="T33" fmla="*/ 355 h 356"/>
                  <a:gd name="T34" fmla="*/ 184 w 359"/>
                  <a:gd name="T35" fmla="*/ 356 h 356"/>
                  <a:gd name="T36" fmla="*/ 148 w 359"/>
                  <a:gd name="T37" fmla="*/ 353 h 356"/>
                  <a:gd name="T38" fmla="*/ 113 w 359"/>
                  <a:gd name="T39" fmla="*/ 343 h 356"/>
                  <a:gd name="T40" fmla="*/ 82 w 359"/>
                  <a:gd name="T41" fmla="*/ 325 h 356"/>
                  <a:gd name="T42" fmla="*/ 55 w 359"/>
                  <a:gd name="T43" fmla="*/ 304 h 356"/>
                  <a:gd name="T44" fmla="*/ 33 w 359"/>
                  <a:gd name="T45" fmla="*/ 278 h 356"/>
                  <a:gd name="T46" fmla="*/ 15 w 359"/>
                  <a:gd name="T47" fmla="*/ 248 h 356"/>
                  <a:gd name="T48" fmla="*/ 4 w 359"/>
                  <a:gd name="T49" fmla="*/ 215 h 356"/>
                  <a:gd name="T50" fmla="*/ 0 w 359"/>
                  <a:gd name="T51" fmla="*/ 178 h 356"/>
                  <a:gd name="T52" fmla="*/ 1 w 359"/>
                  <a:gd name="T53" fmla="*/ 160 h 356"/>
                  <a:gd name="T54" fmla="*/ 8 w 359"/>
                  <a:gd name="T55" fmla="*/ 125 h 356"/>
                  <a:gd name="T56" fmla="*/ 22 w 359"/>
                  <a:gd name="T57" fmla="*/ 93 h 356"/>
                  <a:gd name="T58" fmla="*/ 43 w 359"/>
                  <a:gd name="T59" fmla="*/ 65 h 356"/>
                  <a:gd name="T60" fmla="*/ 68 w 359"/>
                  <a:gd name="T61" fmla="*/ 40 h 356"/>
                  <a:gd name="T62" fmla="*/ 97 w 359"/>
                  <a:gd name="T63" fmla="*/ 21 h 356"/>
                  <a:gd name="T64" fmla="*/ 129 w 359"/>
                  <a:gd name="T65" fmla="*/ 8 h 356"/>
                  <a:gd name="T66" fmla="*/ 165 w 359"/>
                  <a:gd name="T67" fmla="*/ 1 h 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9" h="356">
                    <a:moveTo>
                      <a:pt x="184" y="0"/>
                    </a:moveTo>
                    <a:lnTo>
                      <a:pt x="184" y="0"/>
                    </a:lnTo>
                    <a:lnTo>
                      <a:pt x="202" y="1"/>
                    </a:lnTo>
                    <a:lnTo>
                      <a:pt x="219" y="4"/>
                    </a:lnTo>
                    <a:lnTo>
                      <a:pt x="237" y="8"/>
                    </a:lnTo>
                    <a:lnTo>
                      <a:pt x="253" y="14"/>
                    </a:lnTo>
                    <a:lnTo>
                      <a:pt x="270" y="21"/>
                    </a:lnTo>
                    <a:lnTo>
                      <a:pt x="285" y="30"/>
                    </a:lnTo>
                    <a:lnTo>
                      <a:pt x="298" y="40"/>
                    </a:lnTo>
                    <a:lnTo>
                      <a:pt x="311" y="53"/>
                    </a:lnTo>
                    <a:lnTo>
                      <a:pt x="323" y="65"/>
                    </a:lnTo>
                    <a:lnTo>
                      <a:pt x="333" y="79"/>
                    </a:lnTo>
                    <a:lnTo>
                      <a:pt x="341" y="93"/>
                    </a:lnTo>
                    <a:lnTo>
                      <a:pt x="349" y="109"/>
                    </a:lnTo>
                    <a:lnTo>
                      <a:pt x="354" y="125"/>
                    </a:lnTo>
                    <a:lnTo>
                      <a:pt x="358" y="142"/>
                    </a:lnTo>
                    <a:lnTo>
                      <a:pt x="359" y="160"/>
                    </a:lnTo>
                    <a:lnTo>
                      <a:pt x="359" y="178"/>
                    </a:lnTo>
                    <a:lnTo>
                      <a:pt x="359" y="178"/>
                    </a:lnTo>
                    <a:lnTo>
                      <a:pt x="358" y="197"/>
                    </a:lnTo>
                    <a:lnTo>
                      <a:pt x="356" y="215"/>
                    </a:lnTo>
                    <a:lnTo>
                      <a:pt x="351" y="232"/>
                    </a:lnTo>
                    <a:lnTo>
                      <a:pt x="346" y="248"/>
                    </a:lnTo>
                    <a:lnTo>
                      <a:pt x="338" y="264"/>
                    </a:lnTo>
                    <a:lnTo>
                      <a:pt x="330" y="278"/>
                    </a:lnTo>
                    <a:lnTo>
                      <a:pt x="320" y="292"/>
                    </a:lnTo>
                    <a:lnTo>
                      <a:pt x="308" y="304"/>
                    </a:lnTo>
                    <a:lnTo>
                      <a:pt x="296" y="315"/>
                    </a:lnTo>
                    <a:lnTo>
                      <a:pt x="283" y="325"/>
                    </a:lnTo>
                    <a:lnTo>
                      <a:pt x="268" y="334"/>
                    </a:lnTo>
                    <a:lnTo>
                      <a:pt x="252" y="343"/>
                    </a:lnTo>
                    <a:lnTo>
                      <a:pt x="236" y="348"/>
                    </a:lnTo>
                    <a:lnTo>
                      <a:pt x="219" y="353"/>
                    </a:lnTo>
                    <a:lnTo>
                      <a:pt x="202" y="355"/>
                    </a:lnTo>
                    <a:lnTo>
                      <a:pt x="184" y="356"/>
                    </a:lnTo>
                    <a:lnTo>
                      <a:pt x="184" y="356"/>
                    </a:lnTo>
                    <a:lnTo>
                      <a:pt x="165" y="355"/>
                    </a:lnTo>
                    <a:lnTo>
                      <a:pt x="148" y="353"/>
                    </a:lnTo>
                    <a:lnTo>
                      <a:pt x="129" y="348"/>
                    </a:lnTo>
                    <a:lnTo>
                      <a:pt x="113" y="343"/>
                    </a:lnTo>
                    <a:lnTo>
                      <a:pt x="97" y="334"/>
                    </a:lnTo>
                    <a:lnTo>
                      <a:pt x="82" y="325"/>
                    </a:lnTo>
                    <a:lnTo>
                      <a:pt x="68" y="315"/>
                    </a:lnTo>
                    <a:lnTo>
                      <a:pt x="55" y="304"/>
                    </a:lnTo>
                    <a:lnTo>
                      <a:pt x="43" y="292"/>
                    </a:lnTo>
                    <a:lnTo>
                      <a:pt x="33" y="278"/>
                    </a:lnTo>
                    <a:lnTo>
                      <a:pt x="22" y="264"/>
                    </a:lnTo>
                    <a:lnTo>
                      <a:pt x="15" y="248"/>
                    </a:lnTo>
                    <a:lnTo>
                      <a:pt x="8" y="232"/>
                    </a:lnTo>
                    <a:lnTo>
                      <a:pt x="4" y="215"/>
                    </a:lnTo>
                    <a:lnTo>
                      <a:pt x="1" y="197"/>
                    </a:lnTo>
                    <a:lnTo>
                      <a:pt x="0" y="178"/>
                    </a:lnTo>
                    <a:lnTo>
                      <a:pt x="0" y="178"/>
                    </a:lnTo>
                    <a:lnTo>
                      <a:pt x="1" y="160"/>
                    </a:lnTo>
                    <a:lnTo>
                      <a:pt x="4" y="142"/>
                    </a:lnTo>
                    <a:lnTo>
                      <a:pt x="8" y="125"/>
                    </a:lnTo>
                    <a:lnTo>
                      <a:pt x="15" y="109"/>
                    </a:lnTo>
                    <a:lnTo>
                      <a:pt x="22" y="93"/>
                    </a:lnTo>
                    <a:lnTo>
                      <a:pt x="33" y="79"/>
                    </a:lnTo>
                    <a:lnTo>
                      <a:pt x="43" y="65"/>
                    </a:lnTo>
                    <a:lnTo>
                      <a:pt x="55" y="53"/>
                    </a:lnTo>
                    <a:lnTo>
                      <a:pt x="68" y="40"/>
                    </a:lnTo>
                    <a:lnTo>
                      <a:pt x="82" y="30"/>
                    </a:lnTo>
                    <a:lnTo>
                      <a:pt x="97" y="21"/>
                    </a:lnTo>
                    <a:lnTo>
                      <a:pt x="113" y="14"/>
                    </a:lnTo>
                    <a:lnTo>
                      <a:pt x="129" y="8"/>
                    </a:lnTo>
                    <a:lnTo>
                      <a:pt x="148" y="4"/>
                    </a:lnTo>
                    <a:lnTo>
                      <a:pt x="165" y="1"/>
                    </a:lnTo>
                    <a:lnTo>
                      <a:pt x="184"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grpSp>
      <p:sp>
        <p:nvSpPr>
          <p:cNvPr id="62" name="Gleichschenkliges Dreieck 61"/>
          <p:cNvSpPr/>
          <p:nvPr/>
        </p:nvSpPr>
        <p:spPr>
          <a:xfrm rot="16200000" flipV="1">
            <a:off x="3810875" y="1924953"/>
            <a:ext cx="334117" cy="288032"/>
          </a:xfrm>
          <a:prstGeom prst="triangle">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sp>
        <p:nvSpPr>
          <p:cNvPr id="63" name="Gleichschenkliges Dreieck 62"/>
          <p:cNvSpPr/>
          <p:nvPr/>
        </p:nvSpPr>
        <p:spPr>
          <a:xfrm rot="16200000" flipV="1">
            <a:off x="6754202" y="1924952"/>
            <a:ext cx="334117" cy="288032"/>
          </a:xfrm>
          <a:prstGeom prst="triangle">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cxnSp>
        <p:nvCxnSpPr>
          <p:cNvPr id="64" name="Straight Connector 38"/>
          <p:cNvCxnSpPr/>
          <p:nvPr/>
        </p:nvCxnSpPr>
        <p:spPr>
          <a:xfrm flipH="1" flipV="1">
            <a:off x="2366757" y="2070681"/>
            <a:ext cx="1350148" cy="3880"/>
          </a:xfrm>
          <a:prstGeom prst="line">
            <a:avLst/>
          </a:prstGeom>
          <a:ln w="12700">
            <a:solidFill>
              <a:schemeClr val="accent2"/>
            </a:solidFill>
            <a:prstDash val="sysDash"/>
          </a:ln>
        </p:spPr>
        <p:style>
          <a:lnRef idx="2">
            <a:schemeClr val="accent1"/>
          </a:lnRef>
          <a:fillRef idx="0">
            <a:schemeClr val="accent1"/>
          </a:fillRef>
          <a:effectRef idx="1">
            <a:schemeClr val="accent1"/>
          </a:effectRef>
          <a:fontRef idx="minor">
            <a:schemeClr val="tx1"/>
          </a:fontRef>
        </p:style>
      </p:cxnSp>
      <p:cxnSp>
        <p:nvCxnSpPr>
          <p:cNvPr id="65" name="Straight Connector 38"/>
          <p:cNvCxnSpPr/>
          <p:nvPr/>
        </p:nvCxnSpPr>
        <p:spPr>
          <a:xfrm flipH="1">
            <a:off x="5249999" y="2065304"/>
            <a:ext cx="1392231" cy="0"/>
          </a:xfrm>
          <a:prstGeom prst="line">
            <a:avLst/>
          </a:prstGeom>
          <a:ln w="12700">
            <a:solidFill>
              <a:schemeClr val="accent2"/>
            </a:solidFill>
            <a:prstDash val="sysDash"/>
          </a:ln>
        </p:spPr>
        <p:style>
          <a:lnRef idx="2">
            <a:schemeClr val="accent1"/>
          </a:lnRef>
          <a:fillRef idx="0">
            <a:schemeClr val="accent1"/>
          </a:fillRef>
          <a:effectRef idx="1">
            <a:schemeClr val="accent1"/>
          </a:effectRef>
          <a:fontRef idx="minor">
            <a:schemeClr val="tx1"/>
          </a:fontRef>
        </p:style>
      </p:cxnSp>
      <p:sp>
        <p:nvSpPr>
          <p:cNvPr id="68" name="Rectangle 67"/>
          <p:cNvSpPr/>
          <p:nvPr/>
        </p:nvSpPr>
        <p:spPr>
          <a:xfrm>
            <a:off x="3396991" y="3111810"/>
            <a:ext cx="2411936" cy="1705808"/>
          </a:xfrm>
          <a:prstGeom prst="rect">
            <a:avLst/>
          </a:prstGeom>
          <a:noFill/>
          <a:ln w="12700">
            <a:solidFill>
              <a:schemeClr val="accent2"/>
            </a:solidFill>
            <a:prstDash val="sysDash"/>
          </a:ln>
        </p:spPr>
        <p:style>
          <a:lnRef idx="2">
            <a:schemeClr val="accent1"/>
          </a:lnRef>
          <a:fillRef idx="1">
            <a:schemeClr val="lt1"/>
          </a:fillRef>
          <a:effectRef idx="0">
            <a:schemeClr val="accent1"/>
          </a:effectRef>
          <a:fontRef idx="minor">
            <a:schemeClr val="dk1"/>
          </a:fontRef>
        </p:style>
        <p:txBody>
          <a:bodyPr tIns="360000" rtlCol="0" anchor="b"/>
          <a:lstStyle/>
          <a:p>
            <a:pPr algn="ctr">
              <a:lnSpc>
                <a:spcPts val="2100"/>
              </a:lnSpc>
            </a:pPr>
            <a:r>
              <a:rPr lang="ru-RU" sz="1600" dirty="0">
                <a:solidFill>
                  <a:srgbClr val="5F5F5F"/>
                </a:solidFill>
              </a:rPr>
              <a:t>Большинство фокусируется на </a:t>
            </a:r>
            <a:r>
              <a:rPr lang="ru-RU" sz="1600" dirty="0" smtClean="0">
                <a:solidFill>
                  <a:srgbClr val="5F5F5F"/>
                </a:solidFill>
              </a:rPr>
              <a:t>вовлечении существующих болельщиков, </a:t>
            </a:r>
            <a:r>
              <a:rPr lang="ru-RU" sz="1600" dirty="0">
                <a:solidFill>
                  <a:srgbClr val="5F5F5F"/>
                </a:solidFill>
              </a:rPr>
              <a:t>а не на </a:t>
            </a:r>
            <a:r>
              <a:rPr lang="ru-RU" sz="1600" dirty="0" smtClean="0">
                <a:solidFill>
                  <a:srgbClr val="5F5F5F"/>
                </a:solidFill>
              </a:rPr>
              <a:t>привлечении новых</a:t>
            </a:r>
            <a:r>
              <a:rPr lang="en-GB" sz="1600" b="1" dirty="0" smtClean="0">
                <a:solidFill>
                  <a:schemeClr val="accent2"/>
                </a:solidFill>
              </a:rPr>
              <a:t>~60%</a:t>
            </a:r>
            <a:endParaRPr lang="en-GB" sz="1050" dirty="0">
              <a:solidFill>
                <a:srgbClr val="5F5F5F"/>
              </a:solidFill>
            </a:endParaRPr>
          </a:p>
        </p:txBody>
      </p:sp>
    </p:spTree>
    <p:extLst>
      <p:ext uri="{BB962C8B-B14F-4D97-AF65-F5344CB8AC3E}">
        <p14:creationId xmlns:p14="http://schemas.microsoft.com/office/powerpoint/2010/main" val="3361936344"/>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22287" y="484770"/>
            <a:ext cx="8278269" cy="997196"/>
          </a:xfrm>
        </p:spPr>
        <p:txBody>
          <a:bodyPr/>
          <a:lstStyle/>
          <a:p>
            <a:r>
              <a:rPr lang="ru-RU" dirty="0" smtClean="0"/>
              <a:t>… но понимание </a:t>
            </a:r>
            <a:r>
              <a:rPr lang="ru-RU" b="1" dirty="0" smtClean="0"/>
              <a:t>ценности взаимодействия между заинтересованными сторонами чрезвычайно важно </a:t>
            </a:r>
            <a:br>
              <a:rPr lang="ru-RU" b="1" dirty="0" smtClean="0"/>
            </a:br>
            <a:endParaRPr lang="en-GB" b="1" dirty="0"/>
          </a:p>
        </p:txBody>
      </p:sp>
      <p:sp>
        <p:nvSpPr>
          <p:cNvPr id="32" name="Rectangle 37"/>
          <p:cNvSpPr/>
          <p:nvPr/>
        </p:nvSpPr>
        <p:spPr>
          <a:xfrm>
            <a:off x="5583516" y="1377191"/>
            <a:ext cx="3262128" cy="1284569"/>
          </a:xfrm>
          <a:prstGeom prst="rect">
            <a:avLst/>
          </a:prstGeom>
          <a:noFill/>
          <a:ln w="28575">
            <a:noFill/>
          </a:ln>
        </p:spPr>
        <p:style>
          <a:lnRef idx="2">
            <a:schemeClr val="accent2"/>
          </a:lnRef>
          <a:fillRef idx="1">
            <a:schemeClr val="lt1"/>
          </a:fillRef>
          <a:effectRef idx="0">
            <a:schemeClr val="accent2"/>
          </a:effectRef>
          <a:fontRef idx="minor">
            <a:schemeClr val="dk1"/>
          </a:fontRef>
        </p:style>
        <p:txBody>
          <a:bodyPr tIns="0" rtlCol="0" anchor="ctr"/>
          <a:lstStyle/>
          <a:p>
            <a:pPr defTabSz="914400"/>
            <a:r>
              <a:rPr lang="ru-RU" sz="1600" b="1" dirty="0" smtClean="0">
                <a:solidFill>
                  <a:schemeClr val="accent2"/>
                </a:solidFill>
              </a:rPr>
              <a:t>КОМАНДА</a:t>
            </a:r>
            <a:endParaRPr lang="en-GB" sz="1600" b="1" dirty="0" smtClean="0">
              <a:solidFill>
                <a:schemeClr val="accent2"/>
              </a:solidFill>
            </a:endParaRPr>
          </a:p>
          <a:p>
            <a:pPr algn="r">
              <a:lnSpc>
                <a:spcPts val="500"/>
              </a:lnSpc>
            </a:pPr>
            <a:endParaRPr lang="en-GB" sz="1600" b="1" dirty="0">
              <a:solidFill>
                <a:schemeClr val="accent2"/>
              </a:solidFill>
            </a:endParaRPr>
          </a:p>
          <a:p>
            <a:pPr defTabSz="914400">
              <a:lnSpc>
                <a:spcPts val="1800"/>
              </a:lnSpc>
            </a:pPr>
            <a:r>
              <a:rPr lang="ru-RU" sz="1400" b="1" dirty="0" err="1" smtClean="0">
                <a:solidFill>
                  <a:schemeClr val="tx1"/>
                </a:solidFill>
              </a:rPr>
              <a:t>Монетизирует</a:t>
            </a:r>
            <a:r>
              <a:rPr lang="ru-RU" sz="1400" b="1" dirty="0">
                <a:solidFill>
                  <a:schemeClr val="tx1"/>
                </a:solidFill>
              </a:rPr>
              <a:t> </a:t>
            </a:r>
            <a:r>
              <a:rPr lang="ru-RU" sz="1400" dirty="0" smtClean="0">
                <a:solidFill>
                  <a:schemeClr val="tx1"/>
                </a:solidFill>
              </a:rPr>
              <a:t>вовлеченную через социальные сети базу болельщиков, </a:t>
            </a:r>
            <a:r>
              <a:rPr lang="ru-RU" sz="1400" b="1" dirty="0" smtClean="0">
                <a:solidFill>
                  <a:schemeClr val="tx1"/>
                </a:solidFill>
              </a:rPr>
              <a:t>измеряя </a:t>
            </a:r>
            <a:r>
              <a:rPr lang="en-US" sz="1400" b="1" dirty="0" smtClean="0">
                <a:solidFill>
                  <a:schemeClr val="tx1"/>
                </a:solidFill>
              </a:rPr>
              <a:t>ROI </a:t>
            </a:r>
            <a:r>
              <a:rPr lang="ru-RU" sz="1400" dirty="0" smtClean="0">
                <a:solidFill>
                  <a:schemeClr val="tx1"/>
                </a:solidFill>
              </a:rPr>
              <a:t>в </a:t>
            </a:r>
            <a:r>
              <a:rPr lang="en-US" sz="1400" dirty="0" smtClean="0">
                <a:solidFill>
                  <a:schemeClr val="tx1"/>
                </a:solidFill>
              </a:rPr>
              <a:t>digital vs</a:t>
            </a:r>
            <a:r>
              <a:rPr lang="ru-RU" sz="1400" dirty="0" smtClean="0">
                <a:solidFill>
                  <a:schemeClr val="tx1"/>
                </a:solidFill>
              </a:rPr>
              <a:t> в других медиа каналах</a:t>
            </a:r>
            <a:endParaRPr lang="en-GB" sz="1400" dirty="0">
              <a:solidFill>
                <a:schemeClr val="tx1"/>
              </a:solidFill>
            </a:endParaRPr>
          </a:p>
        </p:txBody>
      </p:sp>
      <p:sp>
        <p:nvSpPr>
          <p:cNvPr id="42" name="Rectangle 38"/>
          <p:cNvSpPr/>
          <p:nvPr/>
        </p:nvSpPr>
        <p:spPr>
          <a:xfrm>
            <a:off x="521550" y="3201820"/>
            <a:ext cx="3090522" cy="1316291"/>
          </a:xfrm>
          <a:prstGeom prst="rect">
            <a:avLst/>
          </a:prstGeom>
          <a:noFill/>
          <a:ln w="28575">
            <a:noFill/>
          </a:ln>
        </p:spPr>
        <p:style>
          <a:lnRef idx="2">
            <a:schemeClr val="accent4"/>
          </a:lnRef>
          <a:fillRef idx="1">
            <a:schemeClr val="lt1"/>
          </a:fillRef>
          <a:effectRef idx="0">
            <a:schemeClr val="accent4"/>
          </a:effectRef>
          <a:fontRef idx="minor">
            <a:schemeClr val="dk1"/>
          </a:fontRef>
        </p:style>
        <p:txBody>
          <a:bodyPr rtlCol="0" anchor="ctr"/>
          <a:lstStyle/>
          <a:p>
            <a:pPr algn="r" defTabSz="914400">
              <a:lnSpc>
                <a:spcPts val="1800"/>
              </a:lnSpc>
            </a:pPr>
            <a:endParaRPr lang="en-GB" sz="1400" b="1" dirty="0" smtClean="0">
              <a:solidFill>
                <a:srgbClr val="D70036"/>
              </a:solidFill>
            </a:endParaRPr>
          </a:p>
          <a:p>
            <a:pPr algn="r" defTabSz="914400">
              <a:lnSpc>
                <a:spcPts val="1800"/>
              </a:lnSpc>
            </a:pPr>
            <a:r>
              <a:rPr lang="ru-RU" sz="1600" b="1" dirty="0" smtClean="0">
                <a:solidFill>
                  <a:schemeClr val="accent2"/>
                </a:solidFill>
              </a:rPr>
              <a:t>СПОНСОР</a:t>
            </a:r>
            <a:r>
              <a:rPr lang="en-GB" sz="1600" b="1" dirty="0" smtClean="0">
                <a:solidFill>
                  <a:schemeClr val="accent2"/>
                </a:solidFill>
              </a:rPr>
              <a:t> </a:t>
            </a:r>
          </a:p>
          <a:p>
            <a:pPr algn="r">
              <a:lnSpc>
                <a:spcPts val="500"/>
              </a:lnSpc>
            </a:pPr>
            <a:endParaRPr lang="en-GB" sz="1600" b="1" dirty="0">
              <a:solidFill>
                <a:schemeClr val="accent2"/>
              </a:solidFill>
            </a:endParaRPr>
          </a:p>
          <a:p>
            <a:pPr algn="r" defTabSz="914400">
              <a:lnSpc>
                <a:spcPts val="1800"/>
              </a:lnSpc>
            </a:pPr>
            <a:r>
              <a:rPr lang="ru-RU" sz="1400" b="1" dirty="0" smtClean="0">
                <a:solidFill>
                  <a:schemeClr val="tx1"/>
                </a:solidFill>
              </a:rPr>
              <a:t>Обосновывают</a:t>
            </a:r>
            <a:r>
              <a:rPr lang="ru-RU" sz="1400" dirty="0" smtClean="0">
                <a:solidFill>
                  <a:schemeClr val="tx1"/>
                </a:solidFill>
              </a:rPr>
              <a:t> свои </a:t>
            </a:r>
            <a:r>
              <a:rPr lang="en-US" sz="1400" dirty="0" smtClean="0">
                <a:solidFill>
                  <a:schemeClr val="tx1"/>
                </a:solidFill>
              </a:rPr>
              <a:t>ROI </a:t>
            </a:r>
            <a:r>
              <a:rPr lang="ru-RU" sz="1400" dirty="0" smtClean="0">
                <a:solidFill>
                  <a:schemeClr val="tx1"/>
                </a:solidFill>
              </a:rPr>
              <a:t>от социального и </a:t>
            </a:r>
            <a:r>
              <a:rPr lang="en-US" sz="1400" dirty="0" smtClean="0">
                <a:solidFill>
                  <a:schemeClr val="tx1"/>
                </a:solidFill>
              </a:rPr>
              <a:t>digital </a:t>
            </a:r>
            <a:r>
              <a:rPr lang="ru-RU" sz="1400" dirty="0" smtClean="0">
                <a:solidFill>
                  <a:schemeClr val="tx1"/>
                </a:solidFill>
              </a:rPr>
              <a:t>спонсорства, </a:t>
            </a:r>
            <a:r>
              <a:rPr lang="ru-RU" sz="1400" b="1" dirty="0" smtClean="0">
                <a:solidFill>
                  <a:schemeClr val="tx1"/>
                </a:solidFill>
              </a:rPr>
              <a:t>измеряя медиа </a:t>
            </a:r>
            <a:r>
              <a:rPr lang="en-US" sz="1400" b="1" dirty="0" smtClean="0">
                <a:solidFill>
                  <a:schemeClr val="tx1"/>
                </a:solidFill>
              </a:rPr>
              <a:t>ROI</a:t>
            </a:r>
            <a:r>
              <a:rPr lang="ru-RU" sz="1400" b="1" dirty="0" smtClean="0">
                <a:solidFill>
                  <a:schemeClr val="tx1"/>
                </a:solidFill>
              </a:rPr>
              <a:t> </a:t>
            </a:r>
            <a:r>
              <a:rPr lang="ru-RU" sz="1400" dirty="0" smtClean="0">
                <a:solidFill>
                  <a:schemeClr val="tx1"/>
                </a:solidFill>
              </a:rPr>
              <a:t>в сравнении с другими маркетинговыми и канальными компаниями</a:t>
            </a:r>
            <a:r>
              <a:rPr lang="en-US" sz="1400" dirty="0" smtClean="0">
                <a:solidFill>
                  <a:schemeClr val="tx1"/>
                </a:solidFill>
              </a:rPr>
              <a:t> </a:t>
            </a:r>
            <a:r>
              <a:rPr lang="ru-RU" sz="1400" dirty="0" smtClean="0">
                <a:solidFill>
                  <a:schemeClr val="tx1"/>
                </a:solidFill>
              </a:rPr>
              <a:t>  </a:t>
            </a:r>
            <a:r>
              <a:rPr lang="en-GB" sz="1400" dirty="0" smtClean="0">
                <a:solidFill>
                  <a:schemeClr val="tx1"/>
                </a:solidFill>
              </a:rPr>
              <a:t> </a:t>
            </a:r>
            <a:endParaRPr lang="en-GB" sz="1400" dirty="0">
              <a:solidFill>
                <a:schemeClr val="tx1"/>
              </a:solidFill>
            </a:endParaRPr>
          </a:p>
        </p:txBody>
      </p:sp>
      <p:sp>
        <p:nvSpPr>
          <p:cNvPr id="43" name="Rectangle 39"/>
          <p:cNvSpPr/>
          <p:nvPr/>
        </p:nvSpPr>
        <p:spPr>
          <a:xfrm>
            <a:off x="521551" y="1444411"/>
            <a:ext cx="3090522" cy="1349854"/>
          </a:xfrm>
          <a:prstGeom prst="rect">
            <a:avLst/>
          </a:prstGeom>
          <a:noFill/>
          <a:ln w="28575">
            <a:noFill/>
          </a:ln>
        </p:spPr>
        <p:style>
          <a:lnRef idx="2">
            <a:schemeClr val="accent3"/>
          </a:lnRef>
          <a:fillRef idx="1">
            <a:schemeClr val="lt1"/>
          </a:fillRef>
          <a:effectRef idx="0">
            <a:schemeClr val="accent3"/>
          </a:effectRef>
          <a:fontRef idx="minor">
            <a:schemeClr val="dk1"/>
          </a:fontRef>
        </p:style>
        <p:txBody>
          <a:bodyPr rIns="0" rtlCol="0" anchor="ctr"/>
          <a:lstStyle/>
          <a:p>
            <a:pPr algn="r" defTabSz="914400">
              <a:lnSpc>
                <a:spcPts val="1800"/>
              </a:lnSpc>
            </a:pPr>
            <a:r>
              <a:rPr lang="ru-RU" b="1" dirty="0" smtClean="0">
                <a:solidFill>
                  <a:schemeClr val="accent2"/>
                </a:solidFill>
              </a:rPr>
              <a:t>БОЛЕЛЬЩИКИ</a:t>
            </a:r>
            <a:endParaRPr lang="en-GB" b="1" dirty="0" smtClean="0">
              <a:solidFill>
                <a:schemeClr val="accent2"/>
              </a:solidFill>
            </a:endParaRPr>
          </a:p>
          <a:p>
            <a:pPr algn="r">
              <a:lnSpc>
                <a:spcPts val="500"/>
              </a:lnSpc>
            </a:pPr>
            <a:endParaRPr lang="en-GB" sz="1600" b="1" dirty="0">
              <a:solidFill>
                <a:schemeClr val="accent2"/>
              </a:solidFill>
            </a:endParaRPr>
          </a:p>
          <a:p>
            <a:pPr algn="r" defTabSz="914400">
              <a:lnSpc>
                <a:spcPts val="1800"/>
              </a:lnSpc>
            </a:pPr>
            <a:r>
              <a:rPr lang="ru-RU" sz="1400" b="1" dirty="0" smtClean="0">
                <a:solidFill>
                  <a:schemeClr val="tx1"/>
                </a:solidFill>
              </a:rPr>
              <a:t>Вовлечены </a:t>
            </a:r>
            <a:r>
              <a:rPr lang="en-GB" sz="1400" b="1" dirty="0" smtClean="0">
                <a:solidFill>
                  <a:schemeClr val="tx1"/>
                </a:solidFill>
              </a:rPr>
              <a:t>24/7</a:t>
            </a:r>
            <a:r>
              <a:rPr lang="ru-RU" sz="1400" b="1" dirty="0" smtClean="0">
                <a:solidFill>
                  <a:schemeClr val="tx1"/>
                </a:solidFill>
              </a:rPr>
              <a:t>,</a:t>
            </a:r>
            <a:r>
              <a:rPr lang="en-GB" sz="1400" b="1" dirty="0" smtClean="0">
                <a:solidFill>
                  <a:schemeClr val="tx1"/>
                </a:solidFill>
              </a:rPr>
              <a:t> </a:t>
            </a:r>
            <a:r>
              <a:rPr lang="ru-RU" sz="1400" dirty="0" smtClean="0">
                <a:solidFill>
                  <a:schemeClr val="tx1"/>
                </a:solidFill>
              </a:rPr>
              <a:t>через социальные медиа следят за спортом, командой и спортсменом – не только </a:t>
            </a:r>
            <a:r>
              <a:rPr lang="en-US" sz="1400" dirty="0" smtClean="0">
                <a:solidFill>
                  <a:schemeClr val="tx1"/>
                </a:solidFill>
              </a:rPr>
              <a:t>live </a:t>
            </a:r>
            <a:r>
              <a:rPr lang="ru-RU" sz="1400" dirty="0" smtClean="0">
                <a:solidFill>
                  <a:schemeClr val="tx1"/>
                </a:solidFill>
              </a:rPr>
              <a:t>контент, но </a:t>
            </a:r>
            <a:r>
              <a:rPr lang="ru-RU" sz="1400" b="1" dirty="0" smtClean="0">
                <a:solidFill>
                  <a:schemeClr val="tx1"/>
                </a:solidFill>
              </a:rPr>
              <a:t>и все остальное</a:t>
            </a:r>
            <a:endParaRPr lang="en-GB" sz="1400" b="1" dirty="0">
              <a:solidFill>
                <a:schemeClr val="tx1"/>
              </a:solidFill>
            </a:endParaRPr>
          </a:p>
        </p:txBody>
      </p:sp>
      <p:sp>
        <p:nvSpPr>
          <p:cNvPr id="44" name="Rectangle 40"/>
          <p:cNvSpPr/>
          <p:nvPr/>
        </p:nvSpPr>
        <p:spPr>
          <a:xfrm>
            <a:off x="5583515" y="3268588"/>
            <a:ext cx="3353969" cy="1436095"/>
          </a:xfrm>
          <a:prstGeom prst="rect">
            <a:avLst/>
          </a:prstGeom>
          <a:noFill/>
          <a:ln w="28575">
            <a:noFill/>
          </a:ln>
        </p:spPr>
        <p:style>
          <a:lnRef idx="2">
            <a:schemeClr val="accent1"/>
          </a:lnRef>
          <a:fillRef idx="1">
            <a:schemeClr val="lt1"/>
          </a:fillRef>
          <a:effectRef idx="0">
            <a:schemeClr val="accent1"/>
          </a:effectRef>
          <a:fontRef idx="minor">
            <a:schemeClr val="dk1"/>
          </a:fontRef>
        </p:style>
        <p:txBody>
          <a:bodyPr rtlCol="0" anchor="ctr"/>
          <a:lstStyle/>
          <a:p>
            <a:pPr defTabSz="914400">
              <a:lnSpc>
                <a:spcPts val="1800"/>
              </a:lnSpc>
            </a:pPr>
            <a:endParaRPr lang="en-GB" sz="1400" b="1" dirty="0" smtClean="0">
              <a:solidFill>
                <a:srgbClr val="009DD9"/>
              </a:solidFill>
            </a:endParaRPr>
          </a:p>
          <a:p>
            <a:pPr defTabSz="914400">
              <a:lnSpc>
                <a:spcPts val="1800"/>
              </a:lnSpc>
            </a:pPr>
            <a:r>
              <a:rPr lang="ru-RU" sz="1600" b="1" dirty="0" smtClean="0">
                <a:solidFill>
                  <a:schemeClr val="accent2"/>
                </a:solidFill>
              </a:rPr>
              <a:t>ПЛАТФОРМА</a:t>
            </a:r>
            <a:endParaRPr lang="en-GB" sz="1600" b="1" dirty="0" smtClean="0">
              <a:solidFill>
                <a:schemeClr val="accent2"/>
              </a:solidFill>
            </a:endParaRPr>
          </a:p>
          <a:p>
            <a:pPr algn="r">
              <a:lnSpc>
                <a:spcPts val="500"/>
              </a:lnSpc>
            </a:pPr>
            <a:endParaRPr lang="en-GB" sz="1600" b="1" dirty="0" smtClean="0">
              <a:solidFill>
                <a:schemeClr val="accent2"/>
              </a:solidFill>
            </a:endParaRPr>
          </a:p>
          <a:p>
            <a:pPr defTabSz="914400">
              <a:lnSpc>
                <a:spcPts val="1800"/>
              </a:lnSpc>
            </a:pPr>
            <a:r>
              <a:rPr lang="ru-RU" sz="1400" dirty="0" smtClean="0">
                <a:solidFill>
                  <a:schemeClr val="tx1"/>
                </a:solidFill>
              </a:rPr>
              <a:t>Возможность </a:t>
            </a:r>
            <a:r>
              <a:rPr lang="ru-RU" sz="1400" dirty="0" err="1" smtClean="0">
                <a:solidFill>
                  <a:schemeClr val="tx1"/>
                </a:solidFill>
              </a:rPr>
              <a:t>монетизировать</a:t>
            </a:r>
            <a:r>
              <a:rPr lang="ru-RU" sz="1400" dirty="0" smtClean="0">
                <a:solidFill>
                  <a:schemeClr val="tx1"/>
                </a:solidFill>
              </a:rPr>
              <a:t> как  можно больше премиум контента, который публикуется через социальные сети клубами.  Упускают прибыль из-за недостатка использования бренд-контента в продвижении.</a:t>
            </a:r>
            <a:endParaRPr lang="en-GB" sz="1400" dirty="0">
              <a:solidFill>
                <a:schemeClr val="tx1"/>
              </a:solidFill>
            </a:endParaRPr>
          </a:p>
        </p:txBody>
      </p:sp>
      <p:grpSp>
        <p:nvGrpSpPr>
          <p:cNvPr id="34" name="Gruppieren 33"/>
          <p:cNvGrpSpPr>
            <a:grpSpLocks noChangeAspect="1"/>
          </p:cNvGrpSpPr>
          <p:nvPr/>
        </p:nvGrpSpPr>
        <p:grpSpPr>
          <a:xfrm>
            <a:off x="539748" y="4876006"/>
            <a:ext cx="719884" cy="215444"/>
            <a:chOff x="539748" y="4876006"/>
            <a:chExt cx="719884" cy="215444"/>
          </a:xfrm>
        </p:grpSpPr>
        <p:sp>
          <p:nvSpPr>
            <p:cNvPr id="35" name="Textfeld 34"/>
            <p:cNvSpPr txBox="1"/>
            <p:nvPr userDrawn="1"/>
          </p:nvSpPr>
          <p:spPr>
            <a:xfrm>
              <a:off x="539750" y="4876006"/>
              <a:ext cx="719882" cy="215444"/>
            </a:xfrm>
            <a:prstGeom prst="rect">
              <a:avLst/>
            </a:prstGeom>
            <a:noFill/>
          </p:spPr>
          <p:txBody>
            <a:bodyPr wrap="square" rtlCol="0">
              <a:spAutoFit/>
            </a:bodyPr>
            <a:lstStyle/>
            <a:p>
              <a:pPr algn="ctr"/>
              <a:r>
                <a:rPr lang="ru-RU" sz="800" kern="1300" spc="80" dirty="0" smtClean="0"/>
                <a:t>ТРЕНД</a:t>
              </a:r>
              <a:r>
                <a:rPr lang="de-DE" sz="800" kern="1300" spc="80" baseline="0" dirty="0" smtClean="0"/>
                <a:t> </a:t>
              </a:r>
              <a:r>
                <a:rPr lang="de-DE" sz="800" b="1" kern="1300" spc="80" baseline="0" dirty="0" smtClean="0"/>
                <a:t>0</a:t>
              </a:r>
              <a:r>
                <a:rPr lang="ru-RU" sz="800" b="1" kern="1300" spc="80" baseline="0" dirty="0" smtClean="0"/>
                <a:t>3</a:t>
              </a:r>
              <a:endParaRPr lang="de-DE" sz="800" b="1" kern="1300" spc="80" baseline="0" dirty="0" smtClean="0"/>
            </a:p>
          </p:txBody>
        </p:sp>
        <p:sp>
          <p:nvSpPr>
            <p:cNvPr id="36" name="Gleichschenkliges Dreieck 35"/>
            <p:cNvSpPr/>
            <p:nvPr userDrawn="1"/>
          </p:nvSpPr>
          <p:spPr>
            <a:xfrm rot="16200000" flipH="1" flipV="1">
              <a:off x="534004" y="4938683"/>
              <a:ext cx="83300" cy="71811"/>
            </a:xfrm>
            <a:prstGeom prst="triangl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sp>
          <p:nvSpPr>
            <p:cNvPr id="37" name="Gleichschenkliges Dreieck 36"/>
            <p:cNvSpPr/>
            <p:nvPr userDrawn="1"/>
          </p:nvSpPr>
          <p:spPr>
            <a:xfrm rot="5400000" flipV="1">
              <a:off x="1182077" y="4938684"/>
              <a:ext cx="83300" cy="71811"/>
            </a:xfrm>
            <a:prstGeom prst="triangl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grpSp>
      <p:grpSp>
        <p:nvGrpSpPr>
          <p:cNvPr id="7" name="Gruppieren 6"/>
          <p:cNvGrpSpPr/>
          <p:nvPr/>
        </p:nvGrpSpPr>
        <p:grpSpPr>
          <a:xfrm>
            <a:off x="3898304" y="1892015"/>
            <a:ext cx="1526234" cy="1526232"/>
            <a:chOff x="3626895" y="2024619"/>
            <a:chExt cx="1696381" cy="1696381"/>
          </a:xfrm>
          <a:solidFill>
            <a:schemeClr val="tx1">
              <a:lumMod val="20000"/>
              <a:lumOff val="80000"/>
            </a:schemeClr>
          </a:solidFill>
        </p:grpSpPr>
        <p:sp>
          <p:nvSpPr>
            <p:cNvPr id="3" name="Ellipse 2"/>
            <p:cNvSpPr/>
            <p:nvPr/>
          </p:nvSpPr>
          <p:spPr>
            <a:xfrm>
              <a:off x="3657625" y="2043760"/>
              <a:ext cx="1634922" cy="1634922"/>
            </a:xfrm>
            <a:prstGeom prst="ellipse">
              <a:avLst/>
            </a:prstGeom>
            <a:solidFill>
              <a:schemeClr val="accent2">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cxnSp>
          <p:nvCxnSpPr>
            <p:cNvPr id="5" name="Gerade Verbindung 4"/>
            <p:cNvCxnSpPr/>
            <p:nvPr/>
          </p:nvCxnSpPr>
          <p:spPr>
            <a:xfrm>
              <a:off x="4478108" y="2024619"/>
              <a:ext cx="0" cy="1696381"/>
            </a:xfrm>
            <a:prstGeom prst="line">
              <a:avLst/>
            </a:prstGeom>
            <a:grpFill/>
            <a:ln w="38100">
              <a:solidFill>
                <a:srgbClr val="FFFFFF"/>
              </a:solidFill>
            </a:ln>
          </p:spPr>
          <p:style>
            <a:lnRef idx="2">
              <a:schemeClr val="accent1"/>
            </a:lnRef>
            <a:fillRef idx="0">
              <a:schemeClr val="accent1"/>
            </a:fillRef>
            <a:effectRef idx="1">
              <a:schemeClr val="accent1"/>
            </a:effectRef>
            <a:fontRef idx="minor">
              <a:schemeClr val="tx1"/>
            </a:fontRef>
          </p:style>
        </p:cxnSp>
        <p:cxnSp>
          <p:nvCxnSpPr>
            <p:cNvPr id="120" name="Gerade Verbindung 119"/>
            <p:cNvCxnSpPr/>
            <p:nvPr/>
          </p:nvCxnSpPr>
          <p:spPr>
            <a:xfrm rot="16200000">
              <a:off x="4475086" y="2008209"/>
              <a:ext cx="0" cy="1696381"/>
            </a:xfrm>
            <a:prstGeom prst="line">
              <a:avLst/>
            </a:prstGeom>
            <a:grpFill/>
            <a:ln w="38100">
              <a:solidFill>
                <a:srgbClr val="FFFFFF"/>
              </a:solidFill>
            </a:ln>
          </p:spPr>
          <p:style>
            <a:lnRef idx="2">
              <a:schemeClr val="accent1"/>
            </a:lnRef>
            <a:fillRef idx="0">
              <a:schemeClr val="accent1"/>
            </a:fillRef>
            <a:effectRef idx="1">
              <a:schemeClr val="accent1"/>
            </a:effectRef>
            <a:fontRef idx="minor">
              <a:schemeClr val="tx1"/>
            </a:fontRef>
          </p:style>
        </p:cxnSp>
      </p:grpSp>
      <p:grpSp>
        <p:nvGrpSpPr>
          <p:cNvPr id="13" name="Gruppieren 12"/>
          <p:cNvGrpSpPr/>
          <p:nvPr/>
        </p:nvGrpSpPr>
        <p:grpSpPr>
          <a:xfrm>
            <a:off x="3680625" y="1593225"/>
            <a:ext cx="501556" cy="482558"/>
            <a:chOff x="3356865" y="1745910"/>
            <a:chExt cx="742296" cy="577336"/>
          </a:xfrm>
        </p:grpSpPr>
        <p:cxnSp>
          <p:nvCxnSpPr>
            <p:cNvPr id="119" name="Straight Connector 38"/>
            <p:cNvCxnSpPr/>
            <p:nvPr/>
          </p:nvCxnSpPr>
          <p:spPr>
            <a:xfrm flipH="1">
              <a:off x="3356865" y="1745910"/>
              <a:ext cx="693278" cy="0"/>
            </a:xfrm>
            <a:prstGeom prst="line">
              <a:avLst/>
            </a:prstGeom>
            <a:ln w="12700" cap="rnd">
              <a:solidFill>
                <a:schemeClr val="tx1">
                  <a:lumMod val="40000"/>
                  <a:lumOff val="60000"/>
                </a:schemeClr>
              </a:solidFill>
              <a:prstDash val="sysDash"/>
            </a:ln>
          </p:spPr>
          <p:style>
            <a:lnRef idx="2">
              <a:schemeClr val="accent1"/>
            </a:lnRef>
            <a:fillRef idx="0">
              <a:schemeClr val="accent1"/>
            </a:fillRef>
            <a:effectRef idx="1">
              <a:schemeClr val="accent1"/>
            </a:effectRef>
            <a:fontRef idx="minor">
              <a:schemeClr val="tx1"/>
            </a:fontRef>
          </p:style>
        </p:cxnSp>
        <p:cxnSp>
          <p:nvCxnSpPr>
            <p:cNvPr id="121" name="Straight Connector 38"/>
            <p:cNvCxnSpPr/>
            <p:nvPr/>
          </p:nvCxnSpPr>
          <p:spPr>
            <a:xfrm>
              <a:off x="4050142" y="1745910"/>
              <a:ext cx="0" cy="572057"/>
            </a:xfrm>
            <a:prstGeom prst="line">
              <a:avLst/>
            </a:prstGeom>
            <a:ln w="12700" cap="rnd">
              <a:solidFill>
                <a:schemeClr val="tx1">
                  <a:lumMod val="40000"/>
                  <a:lumOff val="60000"/>
                </a:schemeClr>
              </a:solidFill>
              <a:prstDash val="sysDash"/>
            </a:ln>
          </p:spPr>
          <p:style>
            <a:lnRef idx="2">
              <a:schemeClr val="accent1"/>
            </a:lnRef>
            <a:fillRef idx="0">
              <a:schemeClr val="accent1"/>
            </a:fillRef>
            <a:effectRef idx="1">
              <a:schemeClr val="accent1"/>
            </a:effectRef>
            <a:fontRef idx="minor">
              <a:schemeClr val="tx1"/>
            </a:fontRef>
          </p:style>
        </p:cxnSp>
        <p:sp>
          <p:nvSpPr>
            <p:cNvPr id="10" name="Ellipse 9"/>
            <p:cNvSpPr/>
            <p:nvPr/>
          </p:nvSpPr>
          <p:spPr>
            <a:xfrm>
              <a:off x="4004383" y="2228468"/>
              <a:ext cx="94778" cy="94778"/>
            </a:xfrm>
            <a:prstGeom prst="ellipse">
              <a:avLst/>
            </a:prstGeom>
            <a:solidFill>
              <a:schemeClr val="tx1"/>
            </a:solidFill>
            <a:ln w="12700" cap="rnd">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grpSp>
      <p:grpSp>
        <p:nvGrpSpPr>
          <p:cNvPr id="15" name="Gruppieren 14"/>
          <p:cNvGrpSpPr/>
          <p:nvPr/>
        </p:nvGrpSpPr>
        <p:grpSpPr>
          <a:xfrm>
            <a:off x="3704035" y="3309076"/>
            <a:ext cx="478146" cy="176824"/>
            <a:chOff x="3645267" y="3540604"/>
            <a:chExt cx="478146" cy="468435"/>
          </a:xfrm>
        </p:grpSpPr>
        <p:cxnSp>
          <p:nvCxnSpPr>
            <p:cNvPr id="123" name="Straight Connector 38"/>
            <p:cNvCxnSpPr/>
            <p:nvPr/>
          </p:nvCxnSpPr>
          <p:spPr>
            <a:xfrm rot="5400000" flipH="1">
              <a:off x="3889195" y="3774822"/>
              <a:ext cx="468435" cy="0"/>
            </a:xfrm>
            <a:prstGeom prst="line">
              <a:avLst/>
            </a:prstGeom>
            <a:ln w="12700">
              <a:solidFill>
                <a:schemeClr val="tx1">
                  <a:lumMod val="40000"/>
                  <a:lumOff val="60000"/>
                </a:schemeClr>
              </a:solidFill>
              <a:prstDash val="sysDash"/>
            </a:ln>
          </p:spPr>
          <p:style>
            <a:lnRef idx="2">
              <a:schemeClr val="accent1"/>
            </a:lnRef>
            <a:fillRef idx="0">
              <a:schemeClr val="accent1"/>
            </a:fillRef>
            <a:effectRef idx="1">
              <a:schemeClr val="accent1"/>
            </a:effectRef>
            <a:fontRef idx="minor">
              <a:schemeClr val="tx1"/>
            </a:fontRef>
          </p:style>
        </p:cxnSp>
        <p:cxnSp>
          <p:nvCxnSpPr>
            <p:cNvPr id="124" name="Straight Connector 38"/>
            <p:cNvCxnSpPr/>
            <p:nvPr/>
          </p:nvCxnSpPr>
          <p:spPr>
            <a:xfrm rot="5400000">
              <a:off x="3884340" y="3769966"/>
              <a:ext cx="0" cy="478146"/>
            </a:xfrm>
            <a:prstGeom prst="line">
              <a:avLst/>
            </a:prstGeom>
            <a:ln w="12700">
              <a:solidFill>
                <a:schemeClr val="tx1">
                  <a:lumMod val="40000"/>
                  <a:lumOff val="60000"/>
                </a:schemeClr>
              </a:solidFill>
              <a:prstDash val="sysDash"/>
            </a:ln>
          </p:spPr>
          <p:style>
            <a:lnRef idx="2">
              <a:schemeClr val="accent1"/>
            </a:lnRef>
            <a:fillRef idx="0">
              <a:schemeClr val="accent1"/>
            </a:fillRef>
            <a:effectRef idx="1">
              <a:schemeClr val="accent1"/>
            </a:effectRef>
            <a:fontRef idx="minor">
              <a:schemeClr val="tx1"/>
            </a:fontRef>
          </p:style>
        </p:cxnSp>
      </p:grpSp>
      <p:grpSp>
        <p:nvGrpSpPr>
          <p:cNvPr id="130" name="Gruppieren 129"/>
          <p:cNvGrpSpPr/>
          <p:nvPr/>
        </p:nvGrpSpPr>
        <p:grpSpPr>
          <a:xfrm rot="5400000">
            <a:off x="5172748" y="3132147"/>
            <a:ext cx="239076" cy="468434"/>
            <a:chOff x="3645267" y="3540604"/>
            <a:chExt cx="478146" cy="468435"/>
          </a:xfrm>
        </p:grpSpPr>
        <p:cxnSp>
          <p:nvCxnSpPr>
            <p:cNvPr id="131" name="Straight Connector 38"/>
            <p:cNvCxnSpPr/>
            <p:nvPr/>
          </p:nvCxnSpPr>
          <p:spPr>
            <a:xfrm rot="5400000" flipH="1">
              <a:off x="3889195" y="3774822"/>
              <a:ext cx="468435" cy="0"/>
            </a:xfrm>
            <a:prstGeom prst="line">
              <a:avLst/>
            </a:prstGeom>
            <a:ln w="12700">
              <a:solidFill>
                <a:schemeClr val="tx1">
                  <a:lumMod val="40000"/>
                  <a:lumOff val="60000"/>
                </a:schemeClr>
              </a:solidFill>
              <a:prstDash val="sysDash"/>
            </a:ln>
          </p:spPr>
          <p:style>
            <a:lnRef idx="2">
              <a:schemeClr val="accent1"/>
            </a:lnRef>
            <a:fillRef idx="0">
              <a:schemeClr val="accent1"/>
            </a:fillRef>
            <a:effectRef idx="1">
              <a:schemeClr val="accent1"/>
            </a:effectRef>
            <a:fontRef idx="minor">
              <a:schemeClr val="tx1"/>
            </a:fontRef>
          </p:style>
        </p:cxnSp>
        <p:cxnSp>
          <p:nvCxnSpPr>
            <p:cNvPr id="132" name="Straight Connector 38"/>
            <p:cNvCxnSpPr/>
            <p:nvPr/>
          </p:nvCxnSpPr>
          <p:spPr>
            <a:xfrm rot="5400000">
              <a:off x="3884340" y="3769966"/>
              <a:ext cx="0" cy="478146"/>
            </a:xfrm>
            <a:prstGeom prst="line">
              <a:avLst/>
            </a:prstGeom>
            <a:ln w="12700">
              <a:solidFill>
                <a:schemeClr val="tx1">
                  <a:lumMod val="40000"/>
                  <a:lumOff val="60000"/>
                </a:schemeClr>
              </a:solidFill>
              <a:prstDash val="sysDash"/>
            </a:ln>
          </p:spPr>
          <p:style>
            <a:lnRef idx="2">
              <a:schemeClr val="accent1"/>
            </a:lnRef>
            <a:fillRef idx="0">
              <a:schemeClr val="accent1"/>
            </a:fillRef>
            <a:effectRef idx="1">
              <a:schemeClr val="accent1"/>
            </a:effectRef>
            <a:fontRef idx="minor">
              <a:schemeClr val="tx1"/>
            </a:fontRef>
          </p:style>
        </p:cxnSp>
      </p:grpSp>
      <p:grpSp>
        <p:nvGrpSpPr>
          <p:cNvPr id="133" name="Gruppieren 132"/>
          <p:cNvGrpSpPr/>
          <p:nvPr/>
        </p:nvGrpSpPr>
        <p:grpSpPr>
          <a:xfrm rot="10800000">
            <a:off x="5058069" y="1621626"/>
            <a:ext cx="478146" cy="260637"/>
            <a:chOff x="3645267" y="3540604"/>
            <a:chExt cx="478146" cy="468435"/>
          </a:xfrm>
        </p:grpSpPr>
        <p:cxnSp>
          <p:nvCxnSpPr>
            <p:cNvPr id="134" name="Straight Connector 38"/>
            <p:cNvCxnSpPr/>
            <p:nvPr/>
          </p:nvCxnSpPr>
          <p:spPr>
            <a:xfrm rot="5400000" flipH="1">
              <a:off x="3889195" y="3774822"/>
              <a:ext cx="468435" cy="0"/>
            </a:xfrm>
            <a:prstGeom prst="line">
              <a:avLst/>
            </a:prstGeom>
            <a:ln w="12700">
              <a:solidFill>
                <a:schemeClr val="tx1">
                  <a:lumMod val="40000"/>
                  <a:lumOff val="60000"/>
                </a:schemeClr>
              </a:solidFill>
              <a:prstDash val="sysDash"/>
            </a:ln>
          </p:spPr>
          <p:style>
            <a:lnRef idx="2">
              <a:schemeClr val="accent1"/>
            </a:lnRef>
            <a:fillRef idx="0">
              <a:schemeClr val="accent1"/>
            </a:fillRef>
            <a:effectRef idx="1">
              <a:schemeClr val="accent1"/>
            </a:effectRef>
            <a:fontRef idx="minor">
              <a:schemeClr val="tx1"/>
            </a:fontRef>
          </p:style>
        </p:cxnSp>
        <p:cxnSp>
          <p:nvCxnSpPr>
            <p:cNvPr id="135" name="Straight Connector 38"/>
            <p:cNvCxnSpPr/>
            <p:nvPr/>
          </p:nvCxnSpPr>
          <p:spPr>
            <a:xfrm rot="5400000">
              <a:off x="3884340" y="3769966"/>
              <a:ext cx="0" cy="478146"/>
            </a:xfrm>
            <a:prstGeom prst="line">
              <a:avLst/>
            </a:prstGeom>
            <a:ln w="12700">
              <a:solidFill>
                <a:schemeClr val="tx1">
                  <a:lumMod val="40000"/>
                  <a:lumOff val="60000"/>
                </a:schemeClr>
              </a:solidFill>
              <a:prstDash val="sysDash"/>
            </a:ln>
          </p:spPr>
          <p:style>
            <a:lnRef idx="2">
              <a:schemeClr val="accent1"/>
            </a:lnRef>
            <a:fillRef idx="0">
              <a:schemeClr val="accent1"/>
            </a:fillRef>
            <a:effectRef idx="1">
              <a:schemeClr val="accent1"/>
            </a:effectRef>
            <a:fontRef idx="minor">
              <a:schemeClr val="tx1"/>
            </a:fontRef>
          </p:style>
        </p:cxnSp>
      </p:grpSp>
      <p:grpSp>
        <p:nvGrpSpPr>
          <p:cNvPr id="99" name="Gruppieren 98"/>
          <p:cNvGrpSpPr>
            <a:grpSpLocks noChangeAspect="1"/>
          </p:cNvGrpSpPr>
          <p:nvPr/>
        </p:nvGrpSpPr>
        <p:grpSpPr>
          <a:xfrm>
            <a:off x="4842030" y="1909475"/>
            <a:ext cx="600994" cy="600994"/>
            <a:chOff x="5791200" y="1200150"/>
            <a:chExt cx="1371600" cy="1371600"/>
          </a:xfrm>
        </p:grpSpPr>
        <p:sp>
          <p:nvSpPr>
            <p:cNvPr id="100" name="Oval 3"/>
            <p:cNvSpPr>
              <a:spLocks noChangeAspect="1"/>
            </p:cNvSpPr>
            <p:nvPr/>
          </p:nvSpPr>
          <p:spPr>
            <a:xfrm>
              <a:off x="5791200" y="1200150"/>
              <a:ext cx="1371600" cy="1371600"/>
            </a:xfrm>
            <a:prstGeom prst="ellipse">
              <a:avLst/>
            </a:prstGeom>
            <a:solidFill>
              <a:schemeClr val="tx2"/>
            </a:solidFill>
            <a:ln>
              <a:solidFill>
                <a:srgbClr val="FFFFFF"/>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accent2"/>
                </a:solidFill>
              </a:endParaRPr>
            </a:p>
          </p:txBody>
        </p:sp>
        <p:grpSp>
          <p:nvGrpSpPr>
            <p:cNvPr id="101" name="Gruppieren 100"/>
            <p:cNvGrpSpPr>
              <a:grpSpLocks noChangeAspect="1"/>
            </p:cNvGrpSpPr>
            <p:nvPr/>
          </p:nvGrpSpPr>
          <p:grpSpPr>
            <a:xfrm>
              <a:off x="6101775" y="1494310"/>
              <a:ext cx="750449" cy="837992"/>
              <a:chOff x="14854238" y="2179638"/>
              <a:chExt cx="4327525" cy="4832350"/>
            </a:xfrm>
            <a:solidFill>
              <a:srgbClr val="FFFFFF"/>
            </a:solidFill>
          </p:grpSpPr>
          <p:sp>
            <p:nvSpPr>
              <p:cNvPr id="102" name="Freeform 14"/>
              <p:cNvSpPr>
                <a:spLocks noEditPoints="1"/>
              </p:cNvSpPr>
              <p:nvPr/>
            </p:nvSpPr>
            <p:spPr bwMode="auto">
              <a:xfrm>
                <a:off x="14854238" y="2179638"/>
                <a:ext cx="4327525" cy="4832350"/>
              </a:xfrm>
              <a:custGeom>
                <a:avLst/>
                <a:gdLst>
                  <a:gd name="T0" fmla="*/ 1276 w 2726"/>
                  <a:gd name="T1" fmla="*/ 3006 h 3044"/>
                  <a:gd name="T2" fmla="*/ 1040 w 2726"/>
                  <a:gd name="T3" fmla="*/ 2898 h 3044"/>
                  <a:gd name="T4" fmla="*/ 786 w 2726"/>
                  <a:gd name="T5" fmla="*/ 2728 h 3044"/>
                  <a:gd name="T6" fmla="*/ 520 w 2726"/>
                  <a:gd name="T7" fmla="*/ 2450 h 3044"/>
                  <a:gd name="T8" fmla="*/ 320 w 2726"/>
                  <a:gd name="T9" fmla="*/ 2130 h 3044"/>
                  <a:gd name="T10" fmla="*/ 212 w 2726"/>
                  <a:gd name="T11" fmla="*/ 1876 h 3044"/>
                  <a:gd name="T12" fmla="*/ 122 w 2726"/>
                  <a:gd name="T13" fmla="*/ 1578 h 3044"/>
                  <a:gd name="T14" fmla="*/ 54 w 2726"/>
                  <a:gd name="T15" fmla="*/ 1230 h 3044"/>
                  <a:gd name="T16" fmla="*/ 12 w 2726"/>
                  <a:gd name="T17" fmla="*/ 830 h 3044"/>
                  <a:gd name="T18" fmla="*/ 0 w 2726"/>
                  <a:gd name="T19" fmla="*/ 444 h 3044"/>
                  <a:gd name="T20" fmla="*/ 238 w 2726"/>
                  <a:gd name="T21" fmla="*/ 426 h 3044"/>
                  <a:gd name="T22" fmla="*/ 714 w 2726"/>
                  <a:gd name="T23" fmla="*/ 326 h 3044"/>
                  <a:gd name="T24" fmla="*/ 1088 w 2726"/>
                  <a:gd name="T25" fmla="*/ 194 h 3044"/>
                  <a:gd name="T26" fmla="*/ 1268 w 2726"/>
                  <a:gd name="T27" fmla="*/ 92 h 3044"/>
                  <a:gd name="T28" fmla="*/ 1382 w 2726"/>
                  <a:gd name="T29" fmla="*/ 22 h 3044"/>
                  <a:gd name="T30" fmla="*/ 1490 w 2726"/>
                  <a:gd name="T31" fmla="*/ 114 h 3044"/>
                  <a:gd name="T32" fmla="*/ 1682 w 2726"/>
                  <a:gd name="T33" fmla="*/ 214 h 3044"/>
                  <a:gd name="T34" fmla="*/ 2112 w 2726"/>
                  <a:gd name="T35" fmla="*/ 352 h 3044"/>
                  <a:gd name="T36" fmla="*/ 2568 w 2726"/>
                  <a:gd name="T37" fmla="*/ 436 h 3044"/>
                  <a:gd name="T38" fmla="*/ 2726 w 2726"/>
                  <a:gd name="T39" fmla="*/ 470 h 3044"/>
                  <a:gd name="T40" fmla="*/ 2710 w 2726"/>
                  <a:gd name="T41" fmla="*/ 914 h 3044"/>
                  <a:gd name="T42" fmla="*/ 2662 w 2726"/>
                  <a:gd name="T43" fmla="*/ 1304 h 3044"/>
                  <a:gd name="T44" fmla="*/ 2588 w 2726"/>
                  <a:gd name="T45" fmla="*/ 1642 h 3044"/>
                  <a:gd name="T46" fmla="*/ 2494 w 2726"/>
                  <a:gd name="T47" fmla="*/ 1930 h 3044"/>
                  <a:gd name="T48" fmla="*/ 2382 w 2726"/>
                  <a:gd name="T49" fmla="*/ 2176 h 3044"/>
                  <a:gd name="T50" fmla="*/ 2154 w 2726"/>
                  <a:gd name="T51" fmla="*/ 2516 h 3044"/>
                  <a:gd name="T52" fmla="*/ 1886 w 2726"/>
                  <a:gd name="T53" fmla="*/ 2770 h 3044"/>
                  <a:gd name="T54" fmla="*/ 1640 w 2726"/>
                  <a:gd name="T55" fmla="*/ 2922 h 3044"/>
                  <a:gd name="T56" fmla="*/ 1408 w 2726"/>
                  <a:gd name="T57" fmla="*/ 3024 h 3044"/>
                  <a:gd name="T58" fmla="*/ 52 w 2726"/>
                  <a:gd name="T59" fmla="*/ 584 h 3044"/>
                  <a:gd name="T60" fmla="*/ 76 w 2726"/>
                  <a:gd name="T61" fmla="*/ 1008 h 3044"/>
                  <a:gd name="T62" fmla="*/ 128 w 2726"/>
                  <a:gd name="T63" fmla="*/ 1376 h 3044"/>
                  <a:gd name="T64" fmla="*/ 206 w 2726"/>
                  <a:gd name="T65" fmla="*/ 1694 h 3044"/>
                  <a:gd name="T66" fmla="*/ 302 w 2726"/>
                  <a:gd name="T67" fmla="*/ 1966 h 3044"/>
                  <a:gd name="T68" fmla="*/ 510 w 2726"/>
                  <a:gd name="T69" fmla="*/ 2350 h 3044"/>
                  <a:gd name="T70" fmla="*/ 768 w 2726"/>
                  <a:gd name="T71" fmla="*/ 2646 h 3044"/>
                  <a:gd name="T72" fmla="*/ 1020 w 2726"/>
                  <a:gd name="T73" fmla="*/ 2830 h 3044"/>
                  <a:gd name="T74" fmla="*/ 1294 w 2726"/>
                  <a:gd name="T75" fmla="*/ 2960 h 3044"/>
                  <a:gd name="T76" fmla="*/ 1394 w 2726"/>
                  <a:gd name="T77" fmla="*/ 2976 h 3044"/>
                  <a:gd name="T78" fmla="*/ 1616 w 2726"/>
                  <a:gd name="T79" fmla="*/ 2878 h 3044"/>
                  <a:gd name="T80" fmla="*/ 1856 w 2726"/>
                  <a:gd name="T81" fmla="*/ 2730 h 3044"/>
                  <a:gd name="T82" fmla="*/ 2114 w 2726"/>
                  <a:gd name="T83" fmla="*/ 2484 h 3044"/>
                  <a:gd name="T84" fmla="*/ 2360 w 2726"/>
                  <a:gd name="T85" fmla="*/ 2108 h 3044"/>
                  <a:gd name="T86" fmla="*/ 2484 w 2726"/>
                  <a:gd name="T87" fmla="*/ 1808 h 3044"/>
                  <a:gd name="T88" fmla="*/ 2570 w 2726"/>
                  <a:gd name="T89" fmla="*/ 1508 h 3044"/>
                  <a:gd name="T90" fmla="*/ 2632 w 2726"/>
                  <a:gd name="T91" fmla="*/ 1160 h 3044"/>
                  <a:gd name="T92" fmla="*/ 2668 w 2726"/>
                  <a:gd name="T93" fmla="*/ 760 h 3044"/>
                  <a:gd name="T94" fmla="*/ 2614 w 2726"/>
                  <a:gd name="T95" fmla="*/ 490 h 3044"/>
                  <a:gd name="T96" fmla="*/ 2196 w 2726"/>
                  <a:gd name="T97" fmla="*/ 424 h 3044"/>
                  <a:gd name="T98" fmla="*/ 1720 w 2726"/>
                  <a:gd name="T99" fmla="*/ 284 h 3044"/>
                  <a:gd name="T100" fmla="*/ 1480 w 2726"/>
                  <a:gd name="T101" fmla="*/ 166 h 3044"/>
                  <a:gd name="T102" fmla="*/ 1364 w 2726"/>
                  <a:gd name="T103" fmla="*/ 76 h 3044"/>
                  <a:gd name="T104" fmla="*/ 1212 w 2726"/>
                  <a:gd name="T105" fmla="*/ 188 h 3044"/>
                  <a:gd name="T106" fmla="*/ 916 w 2726"/>
                  <a:gd name="T107" fmla="*/ 318 h 3044"/>
                  <a:gd name="T108" fmla="*/ 438 w 2726"/>
                  <a:gd name="T109" fmla="*/ 442 h 3044"/>
                  <a:gd name="T110" fmla="*/ 52 w 2726"/>
                  <a:gd name="T111" fmla="*/ 494 h 30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726" h="3044">
                    <a:moveTo>
                      <a:pt x="1364" y="3044"/>
                    </a:moveTo>
                    <a:lnTo>
                      <a:pt x="1352" y="3038"/>
                    </a:lnTo>
                    <a:lnTo>
                      <a:pt x="1352" y="3038"/>
                    </a:lnTo>
                    <a:lnTo>
                      <a:pt x="1320" y="3024"/>
                    </a:lnTo>
                    <a:lnTo>
                      <a:pt x="1276" y="3006"/>
                    </a:lnTo>
                    <a:lnTo>
                      <a:pt x="1276" y="3006"/>
                    </a:lnTo>
                    <a:lnTo>
                      <a:pt x="1208" y="2980"/>
                    </a:lnTo>
                    <a:lnTo>
                      <a:pt x="1130" y="2944"/>
                    </a:lnTo>
                    <a:lnTo>
                      <a:pt x="1086" y="2922"/>
                    </a:lnTo>
                    <a:lnTo>
                      <a:pt x="1040" y="2898"/>
                    </a:lnTo>
                    <a:lnTo>
                      <a:pt x="992" y="2872"/>
                    </a:lnTo>
                    <a:lnTo>
                      <a:pt x="944" y="2842"/>
                    </a:lnTo>
                    <a:lnTo>
                      <a:pt x="892" y="2808"/>
                    </a:lnTo>
                    <a:lnTo>
                      <a:pt x="840" y="2770"/>
                    </a:lnTo>
                    <a:lnTo>
                      <a:pt x="786" y="2728"/>
                    </a:lnTo>
                    <a:lnTo>
                      <a:pt x="734" y="2682"/>
                    </a:lnTo>
                    <a:lnTo>
                      <a:pt x="680" y="2632"/>
                    </a:lnTo>
                    <a:lnTo>
                      <a:pt x="626" y="2576"/>
                    </a:lnTo>
                    <a:lnTo>
                      <a:pt x="572" y="2516"/>
                    </a:lnTo>
                    <a:lnTo>
                      <a:pt x="520" y="2450"/>
                    </a:lnTo>
                    <a:lnTo>
                      <a:pt x="468" y="2380"/>
                    </a:lnTo>
                    <a:lnTo>
                      <a:pt x="418" y="2302"/>
                    </a:lnTo>
                    <a:lnTo>
                      <a:pt x="368" y="2218"/>
                    </a:lnTo>
                    <a:lnTo>
                      <a:pt x="344" y="2176"/>
                    </a:lnTo>
                    <a:lnTo>
                      <a:pt x="320" y="2130"/>
                    </a:lnTo>
                    <a:lnTo>
                      <a:pt x="298" y="2082"/>
                    </a:lnTo>
                    <a:lnTo>
                      <a:pt x="276" y="2034"/>
                    </a:lnTo>
                    <a:lnTo>
                      <a:pt x="254" y="1982"/>
                    </a:lnTo>
                    <a:lnTo>
                      <a:pt x="232" y="1930"/>
                    </a:lnTo>
                    <a:lnTo>
                      <a:pt x="212" y="1876"/>
                    </a:lnTo>
                    <a:lnTo>
                      <a:pt x="192" y="1820"/>
                    </a:lnTo>
                    <a:lnTo>
                      <a:pt x="174" y="1762"/>
                    </a:lnTo>
                    <a:lnTo>
                      <a:pt x="156" y="1704"/>
                    </a:lnTo>
                    <a:lnTo>
                      <a:pt x="138" y="1642"/>
                    </a:lnTo>
                    <a:lnTo>
                      <a:pt x="122" y="1578"/>
                    </a:lnTo>
                    <a:lnTo>
                      <a:pt x="106" y="1512"/>
                    </a:lnTo>
                    <a:lnTo>
                      <a:pt x="92" y="1446"/>
                    </a:lnTo>
                    <a:lnTo>
                      <a:pt x="78" y="1376"/>
                    </a:lnTo>
                    <a:lnTo>
                      <a:pt x="64" y="1304"/>
                    </a:lnTo>
                    <a:lnTo>
                      <a:pt x="54" y="1230"/>
                    </a:lnTo>
                    <a:lnTo>
                      <a:pt x="42" y="1154"/>
                    </a:lnTo>
                    <a:lnTo>
                      <a:pt x="34" y="1078"/>
                    </a:lnTo>
                    <a:lnTo>
                      <a:pt x="24" y="998"/>
                    </a:lnTo>
                    <a:lnTo>
                      <a:pt x="18" y="914"/>
                    </a:lnTo>
                    <a:lnTo>
                      <a:pt x="12" y="830"/>
                    </a:lnTo>
                    <a:lnTo>
                      <a:pt x="6" y="744"/>
                    </a:lnTo>
                    <a:lnTo>
                      <a:pt x="4" y="654"/>
                    </a:lnTo>
                    <a:lnTo>
                      <a:pt x="2" y="562"/>
                    </a:lnTo>
                    <a:lnTo>
                      <a:pt x="0" y="470"/>
                    </a:lnTo>
                    <a:lnTo>
                      <a:pt x="0" y="444"/>
                    </a:lnTo>
                    <a:lnTo>
                      <a:pt x="26" y="444"/>
                    </a:lnTo>
                    <a:lnTo>
                      <a:pt x="26" y="444"/>
                    </a:lnTo>
                    <a:lnTo>
                      <a:pt x="86" y="442"/>
                    </a:lnTo>
                    <a:lnTo>
                      <a:pt x="158" y="436"/>
                    </a:lnTo>
                    <a:lnTo>
                      <a:pt x="238" y="426"/>
                    </a:lnTo>
                    <a:lnTo>
                      <a:pt x="326" y="412"/>
                    </a:lnTo>
                    <a:lnTo>
                      <a:pt x="418" y="396"/>
                    </a:lnTo>
                    <a:lnTo>
                      <a:pt x="514" y="376"/>
                    </a:lnTo>
                    <a:lnTo>
                      <a:pt x="614" y="352"/>
                    </a:lnTo>
                    <a:lnTo>
                      <a:pt x="714" y="326"/>
                    </a:lnTo>
                    <a:lnTo>
                      <a:pt x="812" y="298"/>
                    </a:lnTo>
                    <a:lnTo>
                      <a:pt x="908" y="266"/>
                    </a:lnTo>
                    <a:lnTo>
                      <a:pt x="1000" y="232"/>
                    </a:lnTo>
                    <a:lnTo>
                      <a:pt x="1044" y="214"/>
                    </a:lnTo>
                    <a:lnTo>
                      <a:pt x="1088" y="194"/>
                    </a:lnTo>
                    <a:lnTo>
                      <a:pt x="1128" y="176"/>
                    </a:lnTo>
                    <a:lnTo>
                      <a:pt x="1166" y="156"/>
                    </a:lnTo>
                    <a:lnTo>
                      <a:pt x="1202" y="134"/>
                    </a:lnTo>
                    <a:lnTo>
                      <a:pt x="1236" y="114"/>
                    </a:lnTo>
                    <a:lnTo>
                      <a:pt x="1268" y="92"/>
                    </a:lnTo>
                    <a:lnTo>
                      <a:pt x="1296" y="68"/>
                    </a:lnTo>
                    <a:lnTo>
                      <a:pt x="1322" y="46"/>
                    </a:lnTo>
                    <a:lnTo>
                      <a:pt x="1344" y="22"/>
                    </a:lnTo>
                    <a:lnTo>
                      <a:pt x="1364" y="0"/>
                    </a:lnTo>
                    <a:lnTo>
                      <a:pt x="1382" y="22"/>
                    </a:lnTo>
                    <a:lnTo>
                      <a:pt x="1382" y="22"/>
                    </a:lnTo>
                    <a:lnTo>
                      <a:pt x="1404" y="46"/>
                    </a:lnTo>
                    <a:lnTo>
                      <a:pt x="1430" y="68"/>
                    </a:lnTo>
                    <a:lnTo>
                      <a:pt x="1458" y="92"/>
                    </a:lnTo>
                    <a:lnTo>
                      <a:pt x="1490" y="114"/>
                    </a:lnTo>
                    <a:lnTo>
                      <a:pt x="1524" y="134"/>
                    </a:lnTo>
                    <a:lnTo>
                      <a:pt x="1560" y="156"/>
                    </a:lnTo>
                    <a:lnTo>
                      <a:pt x="1598" y="176"/>
                    </a:lnTo>
                    <a:lnTo>
                      <a:pt x="1640" y="194"/>
                    </a:lnTo>
                    <a:lnTo>
                      <a:pt x="1682" y="214"/>
                    </a:lnTo>
                    <a:lnTo>
                      <a:pt x="1726" y="232"/>
                    </a:lnTo>
                    <a:lnTo>
                      <a:pt x="1818" y="266"/>
                    </a:lnTo>
                    <a:lnTo>
                      <a:pt x="1914" y="298"/>
                    </a:lnTo>
                    <a:lnTo>
                      <a:pt x="2014" y="326"/>
                    </a:lnTo>
                    <a:lnTo>
                      <a:pt x="2112" y="352"/>
                    </a:lnTo>
                    <a:lnTo>
                      <a:pt x="2212" y="376"/>
                    </a:lnTo>
                    <a:lnTo>
                      <a:pt x="2308" y="396"/>
                    </a:lnTo>
                    <a:lnTo>
                      <a:pt x="2402" y="412"/>
                    </a:lnTo>
                    <a:lnTo>
                      <a:pt x="2488" y="426"/>
                    </a:lnTo>
                    <a:lnTo>
                      <a:pt x="2568" y="436"/>
                    </a:lnTo>
                    <a:lnTo>
                      <a:pt x="2640" y="442"/>
                    </a:lnTo>
                    <a:lnTo>
                      <a:pt x="2702" y="444"/>
                    </a:lnTo>
                    <a:lnTo>
                      <a:pt x="2726" y="444"/>
                    </a:lnTo>
                    <a:lnTo>
                      <a:pt x="2726" y="470"/>
                    </a:lnTo>
                    <a:lnTo>
                      <a:pt x="2726" y="470"/>
                    </a:lnTo>
                    <a:lnTo>
                      <a:pt x="2726" y="562"/>
                    </a:lnTo>
                    <a:lnTo>
                      <a:pt x="2724" y="654"/>
                    </a:lnTo>
                    <a:lnTo>
                      <a:pt x="2720" y="744"/>
                    </a:lnTo>
                    <a:lnTo>
                      <a:pt x="2716" y="830"/>
                    </a:lnTo>
                    <a:lnTo>
                      <a:pt x="2710" y="914"/>
                    </a:lnTo>
                    <a:lnTo>
                      <a:pt x="2702" y="998"/>
                    </a:lnTo>
                    <a:lnTo>
                      <a:pt x="2694" y="1078"/>
                    </a:lnTo>
                    <a:lnTo>
                      <a:pt x="2684" y="1154"/>
                    </a:lnTo>
                    <a:lnTo>
                      <a:pt x="2674" y="1230"/>
                    </a:lnTo>
                    <a:lnTo>
                      <a:pt x="2662" y="1304"/>
                    </a:lnTo>
                    <a:lnTo>
                      <a:pt x="2650" y="1376"/>
                    </a:lnTo>
                    <a:lnTo>
                      <a:pt x="2636" y="1446"/>
                    </a:lnTo>
                    <a:lnTo>
                      <a:pt x="2620" y="1512"/>
                    </a:lnTo>
                    <a:lnTo>
                      <a:pt x="2604" y="1578"/>
                    </a:lnTo>
                    <a:lnTo>
                      <a:pt x="2588" y="1642"/>
                    </a:lnTo>
                    <a:lnTo>
                      <a:pt x="2572" y="1704"/>
                    </a:lnTo>
                    <a:lnTo>
                      <a:pt x="2552" y="1762"/>
                    </a:lnTo>
                    <a:lnTo>
                      <a:pt x="2534" y="1820"/>
                    </a:lnTo>
                    <a:lnTo>
                      <a:pt x="2514" y="1876"/>
                    </a:lnTo>
                    <a:lnTo>
                      <a:pt x="2494" y="1930"/>
                    </a:lnTo>
                    <a:lnTo>
                      <a:pt x="2472" y="1982"/>
                    </a:lnTo>
                    <a:lnTo>
                      <a:pt x="2450" y="2034"/>
                    </a:lnTo>
                    <a:lnTo>
                      <a:pt x="2428" y="2082"/>
                    </a:lnTo>
                    <a:lnTo>
                      <a:pt x="2406" y="2130"/>
                    </a:lnTo>
                    <a:lnTo>
                      <a:pt x="2382" y="2176"/>
                    </a:lnTo>
                    <a:lnTo>
                      <a:pt x="2358" y="2218"/>
                    </a:lnTo>
                    <a:lnTo>
                      <a:pt x="2310" y="2302"/>
                    </a:lnTo>
                    <a:lnTo>
                      <a:pt x="2258" y="2380"/>
                    </a:lnTo>
                    <a:lnTo>
                      <a:pt x="2206" y="2450"/>
                    </a:lnTo>
                    <a:lnTo>
                      <a:pt x="2154" y="2516"/>
                    </a:lnTo>
                    <a:lnTo>
                      <a:pt x="2100" y="2576"/>
                    </a:lnTo>
                    <a:lnTo>
                      <a:pt x="2048" y="2632"/>
                    </a:lnTo>
                    <a:lnTo>
                      <a:pt x="1994" y="2682"/>
                    </a:lnTo>
                    <a:lnTo>
                      <a:pt x="1940" y="2728"/>
                    </a:lnTo>
                    <a:lnTo>
                      <a:pt x="1886" y="2770"/>
                    </a:lnTo>
                    <a:lnTo>
                      <a:pt x="1834" y="2808"/>
                    </a:lnTo>
                    <a:lnTo>
                      <a:pt x="1784" y="2842"/>
                    </a:lnTo>
                    <a:lnTo>
                      <a:pt x="1734" y="2872"/>
                    </a:lnTo>
                    <a:lnTo>
                      <a:pt x="1686" y="2898"/>
                    </a:lnTo>
                    <a:lnTo>
                      <a:pt x="1640" y="2922"/>
                    </a:lnTo>
                    <a:lnTo>
                      <a:pt x="1596" y="2944"/>
                    </a:lnTo>
                    <a:lnTo>
                      <a:pt x="1518" y="2980"/>
                    </a:lnTo>
                    <a:lnTo>
                      <a:pt x="1452" y="3006"/>
                    </a:lnTo>
                    <a:lnTo>
                      <a:pt x="1452" y="3006"/>
                    </a:lnTo>
                    <a:lnTo>
                      <a:pt x="1408" y="3024"/>
                    </a:lnTo>
                    <a:lnTo>
                      <a:pt x="1374" y="3038"/>
                    </a:lnTo>
                    <a:lnTo>
                      <a:pt x="1364" y="3044"/>
                    </a:lnTo>
                    <a:close/>
                    <a:moveTo>
                      <a:pt x="52" y="494"/>
                    </a:moveTo>
                    <a:lnTo>
                      <a:pt x="52" y="494"/>
                    </a:lnTo>
                    <a:lnTo>
                      <a:pt x="52" y="584"/>
                    </a:lnTo>
                    <a:lnTo>
                      <a:pt x="54" y="674"/>
                    </a:lnTo>
                    <a:lnTo>
                      <a:pt x="58" y="760"/>
                    </a:lnTo>
                    <a:lnTo>
                      <a:pt x="62" y="844"/>
                    </a:lnTo>
                    <a:lnTo>
                      <a:pt x="68" y="928"/>
                    </a:lnTo>
                    <a:lnTo>
                      <a:pt x="76" y="1008"/>
                    </a:lnTo>
                    <a:lnTo>
                      <a:pt x="84" y="1084"/>
                    </a:lnTo>
                    <a:lnTo>
                      <a:pt x="94" y="1160"/>
                    </a:lnTo>
                    <a:lnTo>
                      <a:pt x="104" y="1234"/>
                    </a:lnTo>
                    <a:lnTo>
                      <a:pt x="116" y="1306"/>
                    </a:lnTo>
                    <a:lnTo>
                      <a:pt x="128" y="1376"/>
                    </a:lnTo>
                    <a:lnTo>
                      <a:pt x="142" y="1442"/>
                    </a:lnTo>
                    <a:lnTo>
                      <a:pt x="156" y="1508"/>
                    </a:lnTo>
                    <a:lnTo>
                      <a:pt x="172" y="1572"/>
                    </a:lnTo>
                    <a:lnTo>
                      <a:pt x="188" y="1634"/>
                    </a:lnTo>
                    <a:lnTo>
                      <a:pt x="206" y="1694"/>
                    </a:lnTo>
                    <a:lnTo>
                      <a:pt x="224" y="1752"/>
                    </a:lnTo>
                    <a:lnTo>
                      <a:pt x="242" y="1808"/>
                    </a:lnTo>
                    <a:lnTo>
                      <a:pt x="262" y="1862"/>
                    </a:lnTo>
                    <a:lnTo>
                      <a:pt x="280" y="1914"/>
                    </a:lnTo>
                    <a:lnTo>
                      <a:pt x="302" y="1966"/>
                    </a:lnTo>
                    <a:lnTo>
                      <a:pt x="322" y="2014"/>
                    </a:lnTo>
                    <a:lnTo>
                      <a:pt x="366" y="2108"/>
                    </a:lnTo>
                    <a:lnTo>
                      <a:pt x="412" y="2196"/>
                    </a:lnTo>
                    <a:lnTo>
                      <a:pt x="460" y="2276"/>
                    </a:lnTo>
                    <a:lnTo>
                      <a:pt x="510" y="2350"/>
                    </a:lnTo>
                    <a:lnTo>
                      <a:pt x="560" y="2420"/>
                    </a:lnTo>
                    <a:lnTo>
                      <a:pt x="612" y="2484"/>
                    </a:lnTo>
                    <a:lnTo>
                      <a:pt x="664" y="2542"/>
                    </a:lnTo>
                    <a:lnTo>
                      <a:pt x="716" y="2596"/>
                    </a:lnTo>
                    <a:lnTo>
                      <a:pt x="768" y="2646"/>
                    </a:lnTo>
                    <a:lnTo>
                      <a:pt x="820" y="2690"/>
                    </a:lnTo>
                    <a:lnTo>
                      <a:pt x="872" y="2730"/>
                    </a:lnTo>
                    <a:lnTo>
                      <a:pt x="922" y="2768"/>
                    </a:lnTo>
                    <a:lnTo>
                      <a:pt x="972" y="2800"/>
                    </a:lnTo>
                    <a:lnTo>
                      <a:pt x="1020" y="2830"/>
                    </a:lnTo>
                    <a:lnTo>
                      <a:pt x="1066" y="2856"/>
                    </a:lnTo>
                    <a:lnTo>
                      <a:pt x="1110" y="2878"/>
                    </a:lnTo>
                    <a:lnTo>
                      <a:pt x="1152" y="2900"/>
                    </a:lnTo>
                    <a:lnTo>
                      <a:pt x="1230" y="2934"/>
                    </a:lnTo>
                    <a:lnTo>
                      <a:pt x="1294" y="2960"/>
                    </a:lnTo>
                    <a:lnTo>
                      <a:pt x="1294" y="2960"/>
                    </a:lnTo>
                    <a:lnTo>
                      <a:pt x="1332" y="2976"/>
                    </a:lnTo>
                    <a:lnTo>
                      <a:pt x="1364" y="2988"/>
                    </a:lnTo>
                    <a:lnTo>
                      <a:pt x="1364" y="2988"/>
                    </a:lnTo>
                    <a:lnTo>
                      <a:pt x="1394" y="2976"/>
                    </a:lnTo>
                    <a:lnTo>
                      <a:pt x="1432" y="2960"/>
                    </a:lnTo>
                    <a:lnTo>
                      <a:pt x="1432" y="2960"/>
                    </a:lnTo>
                    <a:lnTo>
                      <a:pt x="1498" y="2934"/>
                    </a:lnTo>
                    <a:lnTo>
                      <a:pt x="1574" y="2900"/>
                    </a:lnTo>
                    <a:lnTo>
                      <a:pt x="1616" y="2878"/>
                    </a:lnTo>
                    <a:lnTo>
                      <a:pt x="1660" y="2856"/>
                    </a:lnTo>
                    <a:lnTo>
                      <a:pt x="1706" y="2830"/>
                    </a:lnTo>
                    <a:lnTo>
                      <a:pt x="1756" y="2800"/>
                    </a:lnTo>
                    <a:lnTo>
                      <a:pt x="1804" y="2768"/>
                    </a:lnTo>
                    <a:lnTo>
                      <a:pt x="1856" y="2730"/>
                    </a:lnTo>
                    <a:lnTo>
                      <a:pt x="1906" y="2690"/>
                    </a:lnTo>
                    <a:lnTo>
                      <a:pt x="1958" y="2646"/>
                    </a:lnTo>
                    <a:lnTo>
                      <a:pt x="2010" y="2596"/>
                    </a:lnTo>
                    <a:lnTo>
                      <a:pt x="2064" y="2542"/>
                    </a:lnTo>
                    <a:lnTo>
                      <a:pt x="2114" y="2484"/>
                    </a:lnTo>
                    <a:lnTo>
                      <a:pt x="2166" y="2420"/>
                    </a:lnTo>
                    <a:lnTo>
                      <a:pt x="2216" y="2350"/>
                    </a:lnTo>
                    <a:lnTo>
                      <a:pt x="2266" y="2276"/>
                    </a:lnTo>
                    <a:lnTo>
                      <a:pt x="2314" y="2196"/>
                    </a:lnTo>
                    <a:lnTo>
                      <a:pt x="2360" y="2108"/>
                    </a:lnTo>
                    <a:lnTo>
                      <a:pt x="2404" y="2014"/>
                    </a:lnTo>
                    <a:lnTo>
                      <a:pt x="2426" y="1966"/>
                    </a:lnTo>
                    <a:lnTo>
                      <a:pt x="2446" y="1914"/>
                    </a:lnTo>
                    <a:lnTo>
                      <a:pt x="2466" y="1862"/>
                    </a:lnTo>
                    <a:lnTo>
                      <a:pt x="2484" y="1808"/>
                    </a:lnTo>
                    <a:lnTo>
                      <a:pt x="2504" y="1752"/>
                    </a:lnTo>
                    <a:lnTo>
                      <a:pt x="2522" y="1694"/>
                    </a:lnTo>
                    <a:lnTo>
                      <a:pt x="2538" y="1634"/>
                    </a:lnTo>
                    <a:lnTo>
                      <a:pt x="2554" y="1572"/>
                    </a:lnTo>
                    <a:lnTo>
                      <a:pt x="2570" y="1508"/>
                    </a:lnTo>
                    <a:lnTo>
                      <a:pt x="2584" y="1442"/>
                    </a:lnTo>
                    <a:lnTo>
                      <a:pt x="2598" y="1376"/>
                    </a:lnTo>
                    <a:lnTo>
                      <a:pt x="2610" y="1306"/>
                    </a:lnTo>
                    <a:lnTo>
                      <a:pt x="2622" y="1234"/>
                    </a:lnTo>
                    <a:lnTo>
                      <a:pt x="2632" y="1160"/>
                    </a:lnTo>
                    <a:lnTo>
                      <a:pt x="2642" y="1084"/>
                    </a:lnTo>
                    <a:lnTo>
                      <a:pt x="2650" y="1008"/>
                    </a:lnTo>
                    <a:lnTo>
                      <a:pt x="2658" y="926"/>
                    </a:lnTo>
                    <a:lnTo>
                      <a:pt x="2664" y="844"/>
                    </a:lnTo>
                    <a:lnTo>
                      <a:pt x="2668" y="760"/>
                    </a:lnTo>
                    <a:lnTo>
                      <a:pt x="2672" y="674"/>
                    </a:lnTo>
                    <a:lnTo>
                      <a:pt x="2674" y="584"/>
                    </a:lnTo>
                    <a:lnTo>
                      <a:pt x="2676" y="494"/>
                    </a:lnTo>
                    <a:lnTo>
                      <a:pt x="2676" y="494"/>
                    </a:lnTo>
                    <a:lnTo>
                      <a:pt x="2614" y="490"/>
                    </a:lnTo>
                    <a:lnTo>
                      <a:pt x="2544" y="482"/>
                    </a:lnTo>
                    <a:lnTo>
                      <a:pt x="2466" y="472"/>
                    </a:lnTo>
                    <a:lnTo>
                      <a:pt x="2380" y="460"/>
                    </a:lnTo>
                    <a:lnTo>
                      <a:pt x="2290" y="442"/>
                    </a:lnTo>
                    <a:lnTo>
                      <a:pt x="2196" y="424"/>
                    </a:lnTo>
                    <a:lnTo>
                      <a:pt x="2100" y="402"/>
                    </a:lnTo>
                    <a:lnTo>
                      <a:pt x="2002" y="376"/>
                    </a:lnTo>
                    <a:lnTo>
                      <a:pt x="1906" y="348"/>
                    </a:lnTo>
                    <a:lnTo>
                      <a:pt x="1810" y="318"/>
                    </a:lnTo>
                    <a:lnTo>
                      <a:pt x="1720" y="284"/>
                    </a:lnTo>
                    <a:lnTo>
                      <a:pt x="1634" y="248"/>
                    </a:lnTo>
                    <a:lnTo>
                      <a:pt x="1592" y="228"/>
                    </a:lnTo>
                    <a:lnTo>
                      <a:pt x="1552" y="208"/>
                    </a:lnTo>
                    <a:lnTo>
                      <a:pt x="1516" y="188"/>
                    </a:lnTo>
                    <a:lnTo>
                      <a:pt x="1480" y="166"/>
                    </a:lnTo>
                    <a:lnTo>
                      <a:pt x="1448" y="144"/>
                    </a:lnTo>
                    <a:lnTo>
                      <a:pt x="1416" y="122"/>
                    </a:lnTo>
                    <a:lnTo>
                      <a:pt x="1388" y="100"/>
                    </a:lnTo>
                    <a:lnTo>
                      <a:pt x="1364" y="76"/>
                    </a:lnTo>
                    <a:lnTo>
                      <a:pt x="1364" y="76"/>
                    </a:lnTo>
                    <a:lnTo>
                      <a:pt x="1338" y="100"/>
                    </a:lnTo>
                    <a:lnTo>
                      <a:pt x="1310" y="122"/>
                    </a:lnTo>
                    <a:lnTo>
                      <a:pt x="1280" y="144"/>
                    </a:lnTo>
                    <a:lnTo>
                      <a:pt x="1246" y="166"/>
                    </a:lnTo>
                    <a:lnTo>
                      <a:pt x="1212" y="188"/>
                    </a:lnTo>
                    <a:lnTo>
                      <a:pt x="1174" y="208"/>
                    </a:lnTo>
                    <a:lnTo>
                      <a:pt x="1134" y="228"/>
                    </a:lnTo>
                    <a:lnTo>
                      <a:pt x="1094" y="248"/>
                    </a:lnTo>
                    <a:lnTo>
                      <a:pt x="1008" y="284"/>
                    </a:lnTo>
                    <a:lnTo>
                      <a:pt x="916" y="318"/>
                    </a:lnTo>
                    <a:lnTo>
                      <a:pt x="822" y="348"/>
                    </a:lnTo>
                    <a:lnTo>
                      <a:pt x="724" y="376"/>
                    </a:lnTo>
                    <a:lnTo>
                      <a:pt x="628" y="402"/>
                    </a:lnTo>
                    <a:lnTo>
                      <a:pt x="532" y="424"/>
                    </a:lnTo>
                    <a:lnTo>
                      <a:pt x="438" y="442"/>
                    </a:lnTo>
                    <a:lnTo>
                      <a:pt x="346" y="460"/>
                    </a:lnTo>
                    <a:lnTo>
                      <a:pt x="262" y="472"/>
                    </a:lnTo>
                    <a:lnTo>
                      <a:pt x="182" y="482"/>
                    </a:lnTo>
                    <a:lnTo>
                      <a:pt x="112" y="490"/>
                    </a:lnTo>
                    <a:lnTo>
                      <a:pt x="52" y="494"/>
                    </a:lnTo>
                    <a:lnTo>
                      <a:pt x="52" y="49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03" name="Freeform 15"/>
              <p:cNvSpPr>
                <a:spLocks/>
              </p:cNvSpPr>
              <p:nvPr/>
            </p:nvSpPr>
            <p:spPr bwMode="auto">
              <a:xfrm>
                <a:off x="17905413" y="4059238"/>
                <a:ext cx="209550" cy="209550"/>
              </a:xfrm>
              <a:custGeom>
                <a:avLst/>
                <a:gdLst>
                  <a:gd name="T0" fmla="*/ 92 w 132"/>
                  <a:gd name="T1" fmla="*/ 126 h 132"/>
                  <a:gd name="T2" fmla="*/ 92 w 132"/>
                  <a:gd name="T3" fmla="*/ 126 h 132"/>
                  <a:gd name="T4" fmla="*/ 104 w 132"/>
                  <a:gd name="T5" fmla="*/ 120 h 132"/>
                  <a:gd name="T6" fmla="*/ 114 w 132"/>
                  <a:gd name="T7" fmla="*/ 112 h 132"/>
                  <a:gd name="T8" fmla="*/ 114 w 132"/>
                  <a:gd name="T9" fmla="*/ 112 h 132"/>
                  <a:gd name="T10" fmla="*/ 122 w 132"/>
                  <a:gd name="T11" fmla="*/ 102 h 132"/>
                  <a:gd name="T12" fmla="*/ 128 w 132"/>
                  <a:gd name="T13" fmla="*/ 90 h 132"/>
                  <a:gd name="T14" fmla="*/ 128 w 132"/>
                  <a:gd name="T15" fmla="*/ 90 h 132"/>
                  <a:gd name="T16" fmla="*/ 130 w 132"/>
                  <a:gd name="T17" fmla="*/ 78 h 132"/>
                  <a:gd name="T18" fmla="*/ 132 w 132"/>
                  <a:gd name="T19" fmla="*/ 64 h 132"/>
                  <a:gd name="T20" fmla="*/ 132 w 132"/>
                  <a:gd name="T21" fmla="*/ 64 h 132"/>
                  <a:gd name="T22" fmla="*/ 130 w 132"/>
                  <a:gd name="T23" fmla="*/ 50 h 132"/>
                  <a:gd name="T24" fmla="*/ 126 w 132"/>
                  <a:gd name="T25" fmla="*/ 38 h 132"/>
                  <a:gd name="T26" fmla="*/ 126 w 132"/>
                  <a:gd name="T27" fmla="*/ 38 h 132"/>
                  <a:gd name="T28" fmla="*/ 120 w 132"/>
                  <a:gd name="T29" fmla="*/ 26 h 132"/>
                  <a:gd name="T30" fmla="*/ 112 w 132"/>
                  <a:gd name="T31" fmla="*/ 18 h 132"/>
                  <a:gd name="T32" fmla="*/ 112 w 132"/>
                  <a:gd name="T33" fmla="*/ 18 h 132"/>
                  <a:gd name="T34" fmla="*/ 102 w 132"/>
                  <a:gd name="T35" fmla="*/ 10 h 132"/>
                  <a:gd name="T36" fmla="*/ 90 w 132"/>
                  <a:gd name="T37" fmla="*/ 6 h 132"/>
                  <a:gd name="T38" fmla="*/ 90 w 132"/>
                  <a:gd name="T39" fmla="*/ 6 h 132"/>
                  <a:gd name="T40" fmla="*/ 72 w 132"/>
                  <a:gd name="T41" fmla="*/ 2 h 132"/>
                  <a:gd name="T42" fmla="*/ 52 w 132"/>
                  <a:gd name="T43" fmla="*/ 0 h 132"/>
                  <a:gd name="T44" fmla="*/ 0 w 132"/>
                  <a:gd name="T45" fmla="*/ 0 h 132"/>
                  <a:gd name="T46" fmla="*/ 0 w 132"/>
                  <a:gd name="T47" fmla="*/ 132 h 132"/>
                  <a:gd name="T48" fmla="*/ 56 w 132"/>
                  <a:gd name="T49" fmla="*/ 132 h 132"/>
                  <a:gd name="T50" fmla="*/ 56 w 132"/>
                  <a:gd name="T51" fmla="*/ 132 h 132"/>
                  <a:gd name="T52" fmla="*/ 76 w 132"/>
                  <a:gd name="T53" fmla="*/ 130 h 132"/>
                  <a:gd name="T54" fmla="*/ 92 w 132"/>
                  <a:gd name="T55" fmla="*/ 126 h 132"/>
                  <a:gd name="T56" fmla="*/ 92 w 132"/>
                  <a:gd name="T57" fmla="*/ 126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32" h="132">
                    <a:moveTo>
                      <a:pt x="92" y="126"/>
                    </a:moveTo>
                    <a:lnTo>
                      <a:pt x="92" y="126"/>
                    </a:lnTo>
                    <a:lnTo>
                      <a:pt x="104" y="120"/>
                    </a:lnTo>
                    <a:lnTo>
                      <a:pt x="114" y="112"/>
                    </a:lnTo>
                    <a:lnTo>
                      <a:pt x="114" y="112"/>
                    </a:lnTo>
                    <a:lnTo>
                      <a:pt x="122" y="102"/>
                    </a:lnTo>
                    <a:lnTo>
                      <a:pt x="128" y="90"/>
                    </a:lnTo>
                    <a:lnTo>
                      <a:pt x="128" y="90"/>
                    </a:lnTo>
                    <a:lnTo>
                      <a:pt x="130" y="78"/>
                    </a:lnTo>
                    <a:lnTo>
                      <a:pt x="132" y="64"/>
                    </a:lnTo>
                    <a:lnTo>
                      <a:pt x="132" y="64"/>
                    </a:lnTo>
                    <a:lnTo>
                      <a:pt x="130" y="50"/>
                    </a:lnTo>
                    <a:lnTo>
                      <a:pt x="126" y="38"/>
                    </a:lnTo>
                    <a:lnTo>
                      <a:pt x="126" y="38"/>
                    </a:lnTo>
                    <a:lnTo>
                      <a:pt x="120" y="26"/>
                    </a:lnTo>
                    <a:lnTo>
                      <a:pt x="112" y="18"/>
                    </a:lnTo>
                    <a:lnTo>
                      <a:pt x="112" y="18"/>
                    </a:lnTo>
                    <a:lnTo>
                      <a:pt x="102" y="10"/>
                    </a:lnTo>
                    <a:lnTo>
                      <a:pt x="90" y="6"/>
                    </a:lnTo>
                    <a:lnTo>
                      <a:pt x="90" y="6"/>
                    </a:lnTo>
                    <a:lnTo>
                      <a:pt x="72" y="2"/>
                    </a:lnTo>
                    <a:lnTo>
                      <a:pt x="52" y="0"/>
                    </a:lnTo>
                    <a:lnTo>
                      <a:pt x="0" y="0"/>
                    </a:lnTo>
                    <a:lnTo>
                      <a:pt x="0" y="132"/>
                    </a:lnTo>
                    <a:lnTo>
                      <a:pt x="56" y="132"/>
                    </a:lnTo>
                    <a:lnTo>
                      <a:pt x="56" y="132"/>
                    </a:lnTo>
                    <a:lnTo>
                      <a:pt x="76" y="130"/>
                    </a:lnTo>
                    <a:lnTo>
                      <a:pt x="92" y="126"/>
                    </a:lnTo>
                    <a:lnTo>
                      <a:pt x="92" y="1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04" name="Freeform 16"/>
              <p:cNvSpPr>
                <a:spLocks/>
              </p:cNvSpPr>
              <p:nvPr/>
            </p:nvSpPr>
            <p:spPr bwMode="auto">
              <a:xfrm>
                <a:off x="17908588" y="4386263"/>
                <a:ext cx="250825" cy="225425"/>
              </a:xfrm>
              <a:custGeom>
                <a:avLst/>
                <a:gdLst>
                  <a:gd name="T0" fmla="*/ 136 w 158"/>
                  <a:gd name="T1" fmla="*/ 20 h 142"/>
                  <a:gd name="T2" fmla="*/ 136 w 158"/>
                  <a:gd name="T3" fmla="*/ 20 h 142"/>
                  <a:gd name="T4" fmla="*/ 122 w 158"/>
                  <a:gd name="T5" fmla="*/ 10 h 142"/>
                  <a:gd name="T6" fmla="*/ 106 w 158"/>
                  <a:gd name="T7" fmla="*/ 4 h 142"/>
                  <a:gd name="T8" fmla="*/ 106 w 158"/>
                  <a:gd name="T9" fmla="*/ 4 h 142"/>
                  <a:gd name="T10" fmla="*/ 86 w 158"/>
                  <a:gd name="T11" fmla="*/ 2 h 142"/>
                  <a:gd name="T12" fmla="*/ 62 w 158"/>
                  <a:gd name="T13" fmla="*/ 0 h 142"/>
                  <a:gd name="T14" fmla="*/ 0 w 158"/>
                  <a:gd name="T15" fmla="*/ 0 h 142"/>
                  <a:gd name="T16" fmla="*/ 0 w 158"/>
                  <a:gd name="T17" fmla="*/ 142 h 142"/>
                  <a:gd name="T18" fmla="*/ 74 w 158"/>
                  <a:gd name="T19" fmla="*/ 142 h 142"/>
                  <a:gd name="T20" fmla="*/ 74 w 158"/>
                  <a:gd name="T21" fmla="*/ 142 h 142"/>
                  <a:gd name="T22" fmla="*/ 94 w 158"/>
                  <a:gd name="T23" fmla="*/ 142 h 142"/>
                  <a:gd name="T24" fmla="*/ 110 w 158"/>
                  <a:gd name="T25" fmla="*/ 138 h 142"/>
                  <a:gd name="T26" fmla="*/ 110 w 158"/>
                  <a:gd name="T27" fmla="*/ 138 h 142"/>
                  <a:gd name="T28" fmla="*/ 124 w 158"/>
                  <a:gd name="T29" fmla="*/ 132 h 142"/>
                  <a:gd name="T30" fmla="*/ 136 w 158"/>
                  <a:gd name="T31" fmla="*/ 124 h 142"/>
                  <a:gd name="T32" fmla="*/ 136 w 158"/>
                  <a:gd name="T33" fmla="*/ 124 h 142"/>
                  <a:gd name="T34" fmla="*/ 146 w 158"/>
                  <a:gd name="T35" fmla="*/ 116 h 142"/>
                  <a:gd name="T36" fmla="*/ 152 w 158"/>
                  <a:gd name="T37" fmla="*/ 104 h 142"/>
                  <a:gd name="T38" fmla="*/ 152 w 158"/>
                  <a:gd name="T39" fmla="*/ 104 h 142"/>
                  <a:gd name="T40" fmla="*/ 156 w 158"/>
                  <a:gd name="T41" fmla="*/ 90 h 142"/>
                  <a:gd name="T42" fmla="*/ 158 w 158"/>
                  <a:gd name="T43" fmla="*/ 74 h 142"/>
                  <a:gd name="T44" fmla="*/ 158 w 158"/>
                  <a:gd name="T45" fmla="*/ 74 h 142"/>
                  <a:gd name="T46" fmla="*/ 156 w 158"/>
                  <a:gd name="T47" fmla="*/ 58 h 142"/>
                  <a:gd name="T48" fmla="*/ 152 w 158"/>
                  <a:gd name="T49" fmla="*/ 42 h 142"/>
                  <a:gd name="T50" fmla="*/ 152 w 158"/>
                  <a:gd name="T51" fmla="*/ 42 h 142"/>
                  <a:gd name="T52" fmla="*/ 146 w 158"/>
                  <a:gd name="T53" fmla="*/ 30 h 142"/>
                  <a:gd name="T54" fmla="*/ 136 w 158"/>
                  <a:gd name="T55" fmla="*/ 20 h 142"/>
                  <a:gd name="T56" fmla="*/ 136 w 158"/>
                  <a:gd name="T57" fmla="*/ 2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58" h="142">
                    <a:moveTo>
                      <a:pt x="136" y="20"/>
                    </a:moveTo>
                    <a:lnTo>
                      <a:pt x="136" y="20"/>
                    </a:lnTo>
                    <a:lnTo>
                      <a:pt x="122" y="10"/>
                    </a:lnTo>
                    <a:lnTo>
                      <a:pt x="106" y="4"/>
                    </a:lnTo>
                    <a:lnTo>
                      <a:pt x="106" y="4"/>
                    </a:lnTo>
                    <a:lnTo>
                      <a:pt x="86" y="2"/>
                    </a:lnTo>
                    <a:lnTo>
                      <a:pt x="62" y="0"/>
                    </a:lnTo>
                    <a:lnTo>
                      <a:pt x="0" y="0"/>
                    </a:lnTo>
                    <a:lnTo>
                      <a:pt x="0" y="142"/>
                    </a:lnTo>
                    <a:lnTo>
                      <a:pt x="74" y="142"/>
                    </a:lnTo>
                    <a:lnTo>
                      <a:pt x="74" y="142"/>
                    </a:lnTo>
                    <a:lnTo>
                      <a:pt x="94" y="142"/>
                    </a:lnTo>
                    <a:lnTo>
                      <a:pt x="110" y="138"/>
                    </a:lnTo>
                    <a:lnTo>
                      <a:pt x="110" y="138"/>
                    </a:lnTo>
                    <a:lnTo>
                      <a:pt x="124" y="132"/>
                    </a:lnTo>
                    <a:lnTo>
                      <a:pt x="136" y="124"/>
                    </a:lnTo>
                    <a:lnTo>
                      <a:pt x="136" y="124"/>
                    </a:lnTo>
                    <a:lnTo>
                      <a:pt x="146" y="116"/>
                    </a:lnTo>
                    <a:lnTo>
                      <a:pt x="152" y="104"/>
                    </a:lnTo>
                    <a:lnTo>
                      <a:pt x="152" y="104"/>
                    </a:lnTo>
                    <a:lnTo>
                      <a:pt x="156" y="90"/>
                    </a:lnTo>
                    <a:lnTo>
                      <a:pt x="158" y="74"/>
                    </a:lnTo>
                    <a:lnTo>
                      <a:pt x="158" y="74"/>
                    </a:lnTo>
                    <a:lnTo>
                      <a:pt x="156" y="58"/>
                    </a:lnTo>
                    <a:lnTo>
                      <a:pt x="152" y="42"/>
                    </a:lnTo>
                    <a:lnTo>
                      <a:pt x="152" y="42"/>
                    </a:lnTo>
                    <a:lnTo>
                      <a:pt x="146" y="30"/>
                    </a:lnTo>
                    <a:lnTo>
                      <a:pt x="136" y="20"/>
                    </a:lnTo>
                    <a:lnTo>
                      <a:pt x="136" y="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05" name="Freeform 17"/>
              <p:cNvSpPr>
                <a:spLocks noEditPoints="1"/>
              </p:cNvSpPr>
              <p:nvPr/>
            </p:nvSpPr>
            <p:spPr bwMode="auto">
              <a:xfrm>
                <a:off x="15076488" y="2443163"/>
                <a:ext cx="3883025" cy="4324350"/>
              </a:xfrm>
              <a:custGeom>
                <a:avLst/>
                <a:gdLst>
                  <a:gd name="T0" fmla="*/ 1022 w 2446"/>
                  <a:gd name="T1" fmla="*/ 144 h 2724"/>
                  <a:gd name="T2" fmla="*/ 280 w 2446"/>
                  <a:gd name="T3" fmla="*/ 364 h 2724"/>
                  <a:gd name="T4" fmla="*/ 12 w 2446"/>
                  <a:gd name="T5" fmla="*/ 754 h 2724"/>
                  <a:gd name="T6" fmla="*/ 114 w 2446"/>
                  <a:gd name="T7" fmla="*/ 1418 h 2724"/>
                  <a:gd name="T8" fmla="*/ 292 w 2446"/>
                  <a:gd name="T9" fmla="*/ 1910 h 2724"/>
                  <a:gd name="T10" fmla="*/ 598 w 2446"/>
                  <a:gd name="T11" fmla="*/ 2340 h 2724"/>
                  <a:gd name="T12" fmla="*/ 1044 w 2446"/>
                  <a:gd name="T13" fmla="*/ 2648 h 2724"/>
                  <a:gd name="T14" fmla="*/ 1490 w 2446"/>
                  <a:gd name="T15" fmla="*/ 2604 h 2724"/>
                  <a:gd name="T16" fmla="*/ 1956 w 2446"/>
                  <a:gd name="T17" fmla="*/ 2222 h 2724"/>
                  <a:gd name="T18" fmla="*/ 2198 w 2446"/>
                  <a:gd name="T19" fmla="*/ 1814 h 2724"/>
                  <a:gd name="T20" fmla="*/ 2364 w 2446"/>
                  <a:gd name="T21" fmla="*/ 1288 h 2724"/>
                  <a:gd name="T22" fmla="*/ 2444 w 2446"/>
                  <a:gd name="T23" fmla="*/ 578 h 2724"/>
                  <a:gd name="T24" fmla="*/ 1990 w 2446"/>
                  <a:gd name="T25" fmla="*/ 330 h 2724"/>
                  <a:gd name="T26" fmla="*/ 1356 w 2446"/>
                  <a:gd name="T27" fmla="*/ 106 h 2724"/>
                  <a:gd name="T28" fmla="*/ 770 w 2446"/>
                  <a:gd name="T29" fmla="*/ 1396 h 2724"/>
                  <a:gd name="T30" fmla="*/ 732 w 2446"/>
                  <a:gd name="T31" fmla="*/ 1432 h 2724"/>
                  <a:gd name="T32" fmla="*/ 600 w 2446"/>
                  <a:gd name="T33" fmla="*/ 1452 h 2724"/>
                  <a:gd name="T34" fmla="*/ 462 w 2446"/>
                  <a:gd name="T35" fmla="*/ 1390 h 2724"/>
                  <a:gd name="T36" fmla="*/ 402 w 2446"/>
                  <a:gd name="T37" fmla="*/ 1200 h 2724"/>
                  <a:gd name="T38" fmla="*/ 452 w 2446"/>
                  <a:gd name="T39" fmla="*/ 1020 h 2724"/>
                  <a:gd name="T40" fmla="*/ 584 w 2446"/>
                  <a:gd name="T41" fmla="*/ 938 h 2724"/>
                  <a:gd name="T42" fmla="*/ 710 w 2446"/>
                  <a:gd name="T43" fmla="*/ 946 h 2724"/>
                  <a:gd name="T44" fmla="*/ 768 w 2446"/>
                  <a:gd name="T45" fmla="*/ 990 h 2724"/>
                  <a:gd name="T46" fmla="*/ 768 w 2446"/>
                  <a:gd name="T47" fmla="*/ 1054 h 2724"/>
                  <a:gd name="T48" fmla="*/ 718 w 2446"/>
                  <a:gd name="T49" fmla="*/ 1042 h 2724"/>
                  <a:gd name="T50" fmla="*/ 610 w 2446"/>
                  <a:gd name="T51" fmla="*/ 1024 h 2724"/>
                  <a:gd name="T52" fmla="*/ 538 w 2446"/>
                  <a:gd name="T53" fmla="*/ 1080 h 2724"/>
                  <a:gd name="T54" fmla="*/ 512 w 2446"/>
                  <a:gd name="T55" fmla="*/ 1216 h 2724"/>
                  <a:gd name="T56" fmla="*/ 546 w 2446"/>
                  <a:gd name="T57" fmla="*/ 1324 h 2724"/>
                  <a:gd name="T58" fmla="*/ 642 w 2446"/>
                  <a:gd name="T59" fmla="*/ 1366 h 2724"/>
                  <a:gd name="T60" fmla="*/ 746 w 2446"/>
                  <a:gd name="T61" fmla="*/ 1332 h 2724"/>
                  <a:gd name="T62" fmla="*/ 772 w 2446"/>
                  <a:gd name="T63" fmla="*/ 1346 h 2724"/>
                  <a:gd name="T64" fmla="*/ 1114 w 2446"/>
                  <a:gd name="T65" fmla="*/ 1442 h 2724"/>
                  <a:gd name="T66" fmla="*/ 850 w 2446"/>
                  <a:gd name="T67" fmla="*/ 1432 h 2724"/>
                  <a:gd name="T68" fmla="*/ 852 w 2446"/>
                  <a:gd name="T69" fmla="*/ 946 h 2724"/>
                  <a:gd name="T70" fmla="*/ 938 w 2446"/>
                  <a:gd name="T71" fmla="*/ 944 h 2724"/>
                  <a:gd name="T72" fmla="*/ 1106 w 2446"/>
                  <a:gd name="T73" fmla="*/ 1360 h 2724"/>
                  <a:gd name="T74" fmla="*/ 1122 w 2446"/>
                  <a:gd name="T75" fmla="*/ 1422 h 2724"/>
                  <a:gd name="T76" fmla="*/ 1552 w 2446"/>
                  <a:gd name="T77" fmla="*/ 1358 h 2724"/>
                  <a:gd name="T78" fmla="*/ 1454 w 2446"/>
                  <a:gd name="T79" fmla="*/ 1440 h 2724"/>
                  <a:gd name="T80" fmla="*/ 1280 w 2446"/>
                  <a:gd name="T81" fmla="*/ 1442 h 2724"/>
                  <a:gd name="T82" fmla="*/ 1184 w 2446"/>
                  <a:gd name="T83" fmla="*/ 1364 h 2724"/>
                  <a:gd name="T84" fmla="*/ 1162 w 2446"/>
                  <a:gd name="T85" fmla="*/ 952 h 2724"/>
                  <a:gd name="T86" fmla="*/ 1214 w 2446"/>
                  <a:gd name="T87" fmla="*/ 940 h 2724"/>
                  <a:gd name="T88" fmla="*/ 1264 w 2446"/>
                  <a:gd name="T89" fmla="*/ 956 h 2724"/>
                  <a:gd name="T90" fmla="*/ 1294 w 2446"/>
                  <a:gd name="T91" fmla="*/ 1342 h 2724"/>
                  <a:gd name="T92" fmla="*/ 1412 w 2446"/>
                  <a:gd name="T93" fmla="*/ 1362 h 2724"/>
                  <a:gd name="T94" fmla="*/ 1472 w 2446"/>
                  <a:gd name="T95" fmla="*/ 956 h 2724"/>
                  <a:gd name="T96" fmla="*/ 1498 w 2446"/>
                  <a:gd name="T97" fmla="*/ 942 h 2724"/>
                  <a:gd name="T98" fmla="*/ 1570 w 2446"/>
                  <a:gd name="T99" fmla="*/ 950 h 2724"/>
                  <a:gd name="T100" fmla="*/ 1968 w 2446"/>
                  <a:gd name="T101" fmla="*/ 1420 h 2724"/>
                  <a:gd name="T102" fmla="*/ 1712 w 2446"/>
                  <a:gd name="T103" fmla="*/ 1444 h 2724"/>
                  <a:gd name="T104" fmla="*/ 1682 w 2446"/>
                  <a:gd name="T105" fmla="*/ 974 h 2724"/>
                  <a:gd name="T106" fmla="*/ 1838 w 2446"/>
                  <a:gd name="T107" fmla="*/ 942 h 2724"/>
                  <a:gd name="T108" fmla="*/ 1970 w 2446"/>
                  <a:gd name="T109" fmla="*/ 974 h 2724"/>
                  <a:gd name="T110" fmla="*/ 2016 w 2446"/>
                  <a:gd name="T111" fmla="*/ 1070 h 2724"/>
                  <a:gd name="T112" fmla="*/ 1976 w 2446"/>
                  <a:gd name="T113" fmla="*/ 1158 h 2724"/>
                  <a:gd name="T114" fmla="*/ 2016 w 2446"/>
                  <a:gd name="T115" fmla="*/ 1212 h 2724"/>
                  <a:gd name="T116" fmla="*/ 2038 w 2446"/>
                  <a:gd name="T117" fmla="*/ 1342 h 2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446" h="2724">
                    <a:moveTo>
                      <a:pt x="1224" y="0"/>
                    </a:moveTo>
                    <a:lnTo>
                      <a:pt x="1224" y="0"/>
                    </a:lnTo>
                    <a:lnTo>
                      <a:pt x="1202" y="22"/>
                    </a:lnTo>
                    <a:lnTo>
                      <a:pt x="1178" y="44"/>
                    </a:lnTo>
                    <a:lnTo>
                      <a:pt x="1152" y="66"/>
                    </a:lnTo>
                    <a:lnTo>
                      <a:pt x="1124" y="86"/>
                    </a:lnTo>
                    <a:lnTo>
                      <a:pt x="1092" y="106"/>
                    </a:lnTo>
                    <a:lnTo>
                      <a:pt x="1058" y="126"/>
                    </a:lnTo>
                    <a:lnTo>
                      <a:pt x="1022" y="144"/>
                    </a:lnTo>
                    <a:lnTo>
                      <a:pt x="984" y="162"/>
                    </a:lnTo>
                    <a:lnTo>
                      <a:pt x="904" y="196"/>
                    </a:lnTo>
                    <a:lnTo>
                      <a:pt x="820" y="228"/>
                    </a:lnTo>
                    <a:lnTo>
                      <a:pt x="730" y="258"/>
                    </a:lnTo>
                    <a:lnTo>
                      <a:pt x="640" y="286"/>
                    </a:lnTo>
                    <a:lnTo>
                      <a:pt x="548" y="310"/>
                    </a:lnTo>
                    <a:lnTo>
                      <a:pt x="456" y="330"/>
                    </a:lnTo>
                    <a:lnTo>
                      <a:pt x="366" y="348"/>
                    </a:lnTo>
                    <a:lnTo>
                      <a:pt x="280" y="364"/>
                    </a:lnTo>
                    <a:lnTo>
                      <a:pt x="200" y="376"/>
                    </a:lnTo>
                    <a:lnTo>
                      <a:pt x="126" y="386"/>
                    </a:lnTo>
                    <a:lnTo>
                      <a:pt x="58" y="392"/>
                    </a:lnTo>
                    <a:lnTo>
                      <a:pt x="0" y="394"/>
                    </a:lnTo>
                    <a:lnTo>
                      <a:pt x="0" y="394"/>
                    </a:lnTo>
                    <a:lnTo>
                      <a:pt x="2" y="488"/>
                    </a:lnTo>
                    <a:lnTo>
                      <a:pt x="4" y="578"/>
                    </a:lnTo>
                    <a:lnTo>
                      <a:pt x="8" y="668"/>
                    </a:lnTo>
                    <a:lnTo>
                      <a:pt x="12" y="754"/>
                    </a:lnTo>
                    <a:lnTo>
                      <a:pt x="18" y="836"/>
                    </a:lnTo>
                    <a:lnTo>
                      <a:pt x="26" y="918"/>
                    </a:lnTo>
                    <a:lnTo>
                      <a:pt x="36" y="996"/>
                    </a:lnTo>
                    <a:lnTo>
                      <a:pt x="46" y="1072"/>
                    </a:lnTo>
                    <a:lnTo>
                      <a:pt x="58" y="1146"/>
                    </a:lnTo>
                    <a:lnTo>
                      <a:pt x="70" y="1218"/>
                    </a:lnTo>
                    <a:lnTo>
                      <a:pt x="84" y="1288"/>
                    </a:lnTo>
                    <a:lnTo>
                      <a:pt x="98" y="1354"/>
                    </a:lnTo>
                    <a:lnTo>
                      <a:pt x="114" y="1418"/>
                    </a:lnTo>
                    <a:lnTo>
                      <a:pt x="130" y="1482"/>
                    </a:lnTo>
                    <a:lnTo>
                      <a:pt x="148" y="1542"/>
                    </a:lnTo>
                    <a:lnTo>
                      <a:pt x="166" y="1600"/>
                    </a:lnTo>
                    <a:lnTo>
                      <a:pt x="186" y="1656"/>
                    </a:lnTo>
                    <a:lnTo>
                      <a:pt x="206" y="1712"/>
                    </a:lnTo>
                    <a:lnTo>
                      <a:pt x="226" y="1764"/>
                    </a:lnTo>
                    <a:lnTo>
                      <a:pt x="248" y="1814"/>
                    </a:lnTo>
                    <a:lnTo>
                      <a:pt x="270" y="1862"/>
                    </a:lnTo>
                    <a:lnTo>
                      <a:pt x="292" y="1910"/>
                    </a:lnTo>
                    <a:lnTo>
                      <a:pt x="316" y="1954"/>
                    </a:lnTo>
                    <a:lnTo>
                      <a:pt x="340" y="1998"/>
                    </a:lnTo>
                    <a:lnTo>
                      <a:pt x="364" y="2040"/>
                    </a:lnTo>
                    <a:lnTo>
                      <a:pt x="390" y="2078"/>
                    </a:lnTo>
                    <a:lnTo>
                      <a:pt x="414" y="2116"/>
                    </a:lnTo>
                    <a:lnTo>
                      <a:pt x="440" y="2154"/>
                    </a:lnTo>
                    <a:lnTo>
                      <a:pt x="492" y="2222"/>
                    </a:lnTo>
                    <a:lnTo>
                      <a:pt x="544" y="2284"/>
                    </a:lnTo>
                    <a:lnTo>
                      <a:pt x="598" y="2340"/>
                    </a:lnTo>
                    <a:lnTo>
                      <a:pt x="652" y="2392"/>
                    </a:lnTo>
                    <a:lnTo>
                      <a:pt x="704" y="2438"/>
                    </a:lnTo>
                    <a:lnTo>
                      <a:pt x="758" y="2480"/>
                    </a:lnTo>
                    <a:lnTo>
                      <a:pt x="810" y="2516"/>
                    </a:lnTo>
                    <a:lnTo>
                      <a:pt x="860" y="2550"/>
                    </a:lnTo>
                    <a:lnTo>
                      <a:pt x="910" y="2580"/>
                    </a:lnTo>
                    <a:lnTo>
                      <a:pt x="956" y="2604"/>
                    </a:lnTo>
                    <a:lnTo>
                      <a:pt x="1002" y="2628"/>
                    </a:lnTo>
                    <a:lnTo>
                      <a:pt x="1044" y="2648"/>
                    </a:lnTo>
                    <a:lnTo>
                      <a:pt x="1120" y="2680"/>
                    </a:lnTo>
                    <a:lnTo>
                      <a:pt x="1180" y="2704"/>
                    </a:lnTo>
                    <a:lnTo>
                      <a:pt x="1224" y="2724"/>
                    </a:lnTo>
                    <a:lnTo>
                      <a:pt x="1224" y="2724"/>
                    </a:lnTo>
                    <a:lnTo>
                      <a:pt x="1266" y="2704"/>
                    </a:lnTo>
                    <a:lnTo>
                      <a:pt x="1328" y="2680"/>
                    </a:lnTo>
                    <a:lnTo>
                      <a:pt x="1404" y="2648"/>
                    </a:lnTo>
                    <a:lnTo>
                      <a:pt x="1446" y="2628"/>
                    </a:lnTo>
                    <a:lnTo>
                      <a:pt x="1490" y="2604"/>
                    </a:lnTo>
                    <a:lnTo>
                      <a:pt x="1538" y="2580"/>
                    </a:lnTo>
                    <a:lnTo>
                      <a:pt x="1586" y="2550"/>
                    </a:lnTo>
                    <a:lnTo>
                      <a:pt x="1638" y="2516"/>
                    </a:lnTo>
                    <a:lnTo>
                      <a:pt x="1690" y="2480"/>
                    </a:lnTo>
                    <a:lnTo>
                      <a:pt x="1742" y="2438"/>
                    </a:lnTo>
                    <a:lnTo>
                      <a:pt x="1796" y="2392"/>
                    </a:lnTo>
                    <a:lnTo>
                      <a:pt x="1848" y="2340"/>
                    </a:lnTo>
                    <a:lnTo>
                      <a:pt x="1902" y="2284"/>
                    </a:lnTo>
                    <a:lnTo>
                      <a:pt x="1956" y="2222"/>
                    </a:lnTo>
                    <a:lnTo>
                      <a:pt x="2006" y="2154"/>
                    </a:lnTo>
                    <a:lnTo>
                      <a:pt x="2032" y="2116"/>
                    </a:lnTo>
                    <a:lnTo>
                      <a:pt x="2058" y="2078"/>
                    </a:lnTo>
                    <a:lnTo>
                      <a:pt x="2082" y="2040"/>
                    </a:lnTo>
                    <a:lnTo>
                      <a:pt x="2106" y="1998"/>
                    </a:lnTo>
                    <a:lnTo>
                      <a:pt x="2130" y="1954"/>
                    </a:lnTo>
                    <a:lnTo>
                      <a:pt x="2154" y="1910"/>
                    </a:lnTo>
                    <a:lnTo>
                      <a:pt x="2176" y="1862"/>
                    </a:lnTo>
                    <a:lnTo>
                      <a:pt x="2198" y="1814"/>
                    </a:lnTo>
                    <a:lnTo>
                      <a:pt x="2220" y="1764"/>
                    </a:lnTo>
                    <a:lnTo>
                      <a:pt x="2242" y="1712"/>
                    </a:lnTo>
                    <a:lnTo>
                      <a:pt x="2262" y="1656"/>
                    </a:lnTo>
                    <a:lnTo>
                      <a:pt x="2280" y="1600"/>
                    </a:lnTo>
                    <a:lnTo>
                      <a:pt x="2298" y="1542"/>
                    </a:lnTo>
                    <a:lnTo>
                      <a:pt x="2316" y="1482"/>
                    </a:lnTo>
                    <a:lnTo>
                      <a:pt x="2334" y="1418"/>
                    </a:lnTo>
                    <a:lnTo>
                      <a:pt x="2348" y="1354"/>
                    </a:lnTo>
                    <a:lnTo>
                      <a:pt x="2364" y="1288"/>
                    </a:lnTo>
                    <a:lnTo>
                      <a:pt x="2378" y="1218"/>
                    </a:lnTo>
                    <a:lnTo>
                      <a:pt x="2390" y="1146"/>
                    </a:lnTo>
                    <a:lnTo>
                      <a:pt x="2402" y="1072"/>
                    </a:lnTo>
                    <a:lnTo>
                      <a:pt x="2412" y="996"/>
                    </a:lnTo>
                    <a:lnTo>
                      <a:pt x="2420" y="918"/>
                    </a:lnTo>
                    <a:lnTo>
                      <a:pt x="2428" y="836"/>
                    </a:lnTo>
                    <a:lnTo>
                      <a:pt x="2434" y="754"/>
                    </a:lnTo>
                    <a:lnTo>
                      <a:pt x="2440" y="668"/>
                    </a:lnTo>
                    <a:lnTo>
                      <a:pt x="2444" y="578"/>
                    </a:lnTo>
                    <a:lnTo>
                      <a:pt x="2446" y="488"/>
                    </a:lnTo>
                    <a:lnTo>
                      <a:pt x="2446" y="394"/>
                    </a:lnTo>
                    <a:lnTo>
                      <a:pt x="2446" y="394"/>
                    </a:lnTo>
                    <a:lnTo>
                      <a:pt x="2388" y="392"/>
                    </a:lnTo>
                    <a:lnTo>
                      <a:pt x="2322" y="386"/>
                    </a:lnTo>
                    <a:lnTo>
                      <a:pt x="2246" y="376"/>
                    </a:lnTo>
                    <a:lnTo>
                      <a:pt x="2166" y="364"/>
                    </a:lnTo>
                    <a:lnTo>
                      <a:pt x="2080" y="348"/>
                    </a:lnTo>
                    <a:lnTo>
                      <a:pt x="1990" y="330"/>
                    </a:lnTo>
                    <a:lnTo>
                      <a:pt x="1900" y="310"/>
                    </a:lnTo>
                    <a:lnTo>
                      <a:pt x="1808" y="286"/>
                    </a:lnTo>
                    <a:lnTo>
                      <a:pt x="1716" y="258"/>
                    </a:lnTo>
                    <a:lnTo>
                      <a:pt x="1628" y="228"/>
                    </a:lnTo>
                    <a:lnTo>
                      <a:pt x="1542" y="196"/>
                    </a:lnTo>
                    <a:lnTo>
                      <a:pt x="1462" y="162"/>
                    </a:lnTo>
                    <a:lnTo>
                      <a:pt x="1424" y="144"/>
                    </a:lnTo>
                    <a:lnTo>
                      <a:pt x="1388" y="126"/>
                    </a:lnTo>
                    <a:lnTo>
                      <a:pt x="1356" y="106"/>
                    </a:lnTo>
                    <a:lnTo>
                      <a:pt x="1324" y="86"/>
                    </a:lnTo>
                    <a:lnTo>
                      <a:pt x="1294" y="66"/>
                    </a:lnTo>
                    <a:lnTo>
                      <a:pt x="1268" y="44"/>
                    </a:lnTo>
                    <a:lnTo>
                      <a:pt x="1244" y="22"/>
                    </a:lnTo>
                    <a:lnTo>
                      <a:pt x="1224" y="0"/>
                    </a:lnTo>
                    <a:lnTo>
                      <a:pt x="1224" y="0"/>
                    </a:lnTo>
                    <a:close/>
                    <a:moveTo>
                      <a:pt x="772" y="1386"/>
                    </a:moveTo>
                    <a:lnTo>
                      <a:pt x="772" y="1386"/>
                    </a:lnTo>
                    <a:lnTo>
                      <a:pt x="770" y="1396"/>
                    </a:lnTo>
                    <a:lnTo>
                      <a:pt x="770" y="1396"/>
                    </a:lnTo>
                    <a:lnTo>
                      <a:pt x="768" y="1406"/>
                    </a:lnTo>
                    <a:lnTo>
                      <a:pt x="768" y="1406"/>
                    </a:lnTo>
                    <a:lnTo>
                      <a:pt x="762" y="1414"/>
                    </a:lnTo>
                    <a:lnTo>
                      <a:pt x="762" y="1414"/>
                    </a:lnTo>
                    <a:lnTo>
                      <a:pt x="754" y="1418"/>
                    </a:lnTo>
                    <a:lnTo>
                      <a:pt x="744" y="1424"/>
                    </a:lnTo>
                    <a:lnTo>
                      <a:pt x="744" y="1424"/>
                    </a:lnTo>
                    <a:lnTo>
                      <a:pt x="732" y="1432"/>
                    </a:lnTo>
                    <a:lnTo>
                      <a:pt x="714" y="1438"/>
                    </a:lnTo>
                    <a:lnTo>
                      <a:pt x="714" y="1438"/>
                    </a:lnTo>
                    <a:lnTo>
                      <a:pt x="696" y="1444"/>
                    </a:lnTo>
                    <a:lnTo>
                      <a:pt x="674" y="1448"/>
                    </a:lnTo>
                    <a:lnTo>
                      <a:pt x="674" y="1448"/>
                    </a:lnTo>
                    <a:lnTo>
                      <a:pt x="650" y="1452"/>
                    </a:lnTo>
                    <a:lnTo>
                      <a:pt x="626" y="1452"/>
                    </a:lnTo>
                    <a:lnTo>
                      <a:pt x="626" y="1452"/>
                    </a:lnTo>
                    <a:lnTo>
                      <a:pt x="600" y="1452"/>
                    </a:lnTo>
                    <a:lnTo>
                      <a:pt x="576" y="1448"/>
                    </a:lnTo>
                    <a:lnTo>
                      <a:pt x="554" y="1444"/>
                    </a:lnTo>
                    <a:lnTo>
                      <a:pt x="532" y="1436"/>
                    </a:lnTo>
                    <a:lnTo>
                      <a:pt x="532" y="1436"/>
                    </a:lnTo>
                    <a:lnTo>
                      <a:pt x="512" y="1428"/>
                    </a:lnTo>
                    <a:lnTo>
                      <a:pt x="494" y="1418"/>
                    </a:lnTo>
                    <a:lnTo>
                      <a:pt x="476" y="1404"/>
                    </a:lnTo>
                    <a:lnTo>
                      <a:pt x="462" y="1390"/>
                    </a:lnTo>
                    <a:lnTo>
                      <a:pt x="462" y="1390"/>
                    </a:lnTo>
                    <a:lnTo>
                      <a:pt x="448" y="1372"/>
                    </a:lnTo>
                    <a:lnTo>
                      <a:pt x="436" y="1354"/>
                    </a:lnTo>
                    <a:lnTo>
                      <a:pt x="426" y="1334"/>
                    </a:lnTo>
                    <a:lnTo>
                      <a:pt x="416" y="1310"/>
                    </a:lnTo>
                    <a:lnTo>
                      <a:pt x="416" y="1310"/>
                    </a:lnTo>
                    <a:lnTo>
                      <a:pt x="410" y="1286"/>
                    </a:lnTo>
                    <a:lnTo>
                      <a:pt x="406" y="1260"/>
                    </a:lnTo>
                    <a:lnTo>
                      <a:pt x="402" y="1230"/>
                    </a:lnTo>
                    <a:lnTo>
                      <a:pt x="402" y="1200"/>
                    </a:lnTo>
                    <a:lnTo>
                      <a:pt x="402" y="1200"/>
                    </a:lnTo>
                    <a:lnTo>
                      <a:pt x="402" y="1170"/>
                    </a:lnTo>
                    <a:lnTo>
                      <a:pt x="406" y="1140"/>
                    </a:lnTo>
                    <a:lnTo>
                      <a:pt x="410" y="1112"/>
                    </a:lnTo>
                    <a:lnTo>
                      <a:pt x="418" y="1086"/>
                    </a:lnTo>
                    <a:lnTo>
                      <a:pt x="418" y="1086"/>
                    </a:lnTo>
                    <a:lnTo>
                      <a:pt x="428" y="1062"/>
                    </a:lnTo>
                    <a:lnTo>
                      <a:pt x="438" y="1040"/>
                    </a:lnTo>
                    <a:lnTo>
                      <a:pt x="452" y="1020"/>
                    </a:lnTo>
                    <a:lnTo>
                      <a:pt x="466" y="1002"/>
                    </a:lnTo>
                    <a:lnTo>
                      <a:pt x="466" y="1002"/>
                    </a:lnTo>
                    <a:lnTo>
                      <a:pt x="482" y="988"/>
                    </a:lnTo>
                    <a:lnTo>
                      <a:pt x="500" y="974"/>
                    </a:lnTo>
                    <a:lnTo>
                      <a:pt x="518" y="962"/>
                    </a:lnTo>
                    <a:lnTo>
                      <a:pt x="540" y="952"/>
                    </a:lnTo>
                    <a:lnTo>
                      <a:pt x="540" y="952"/>
                    </a:lnTo>
                    <a:lnTo>
                      <a:pt x="562" y="944"/>
                    </a:lnTo>
                    <a:lnTo>
                      <a:pt x="584" y="938"/>
                    </a:lnTo>
                    <a:lnTo>
                      <a:pt x="608" y="936"/>
                    </a:lnTo>
                    <a:lnTo>
                      <a:pt x="634" y="934"/>
                    </a:lnTo>
                    <a:lnTo>
                      <a:pt x="634" y="934"/>
                    </a:lnTo>
                    <a:lnTo>
                      <a:pt x="654" y="936"/>
                    </a:lnTo>
                    <a:lnTo>
                      <a:pt x="674" y="938"/>
                    </a:lnTo>
                    <a:lnTo>
                      <a:pt x="674" y="938"/>
                    </a:lnTo>
                    <a:lnTo>
                      <a:pt x="694" y="942"/>
                    </a:lnTo>
                    <a:lnTo>
                      <a:pt x="710" y="946"/>
                    </a:lnTo>
                    <a:lnTo>
                      <a:pt x="710" y="946"/>
                    </a:lnTo>
                    <a:lnTo>
                      <a:pt x="726" y="952"/>
                    </a:lnTo>
                    <a:lnTo>
                      <a:pt x="740" y="960"/>
                    </a:lnTo>
                    <a:lnTo>
                      <a:pt x="740" y="960"/>
                    </a:lnTo>
                    <a:lnTo>
                      <a:pt x="752" y="966"/>
                    </a:lnTo>
                    <a:lnTo>
                      <a:pt x="758" y="972"/>
                    </a:lnTo>
                    <a:lnTo>
                      <a:pt x="758" y="972"/>
                    </a:lnTo>
                    <a:lnTo>
                      <a:pt x="766" y="982"/>
                    </a:lnTo>
                    <a:lnTo>
                      <a:pt x="766" y="982"/>
                    </a:lnTo>
                    <a:lnTo>
                      <a:pt x="768" y="990"/>
                    </a:lnTo>
                    <a:lnTo>
                      <a:pt x="768" y="990"/>
                    </a:lnTo>
                    <a:lnTo>
                      <a:pt x="770" y="1002"/>
                    </a:lnTo>
                    <a:lnTo>
                      <a:pt x="770" y="1002"/>
                    </a:lnTo>
                    <a:lnTo>
                      <a:pt x="772" y="1022"/>
                    </a:lnTo>
                    <a:lnTo>
                      <a:pt x="772" y="1022"/>
                    </a:lnTo>
                    <a:lnTo>
                      <a:pt x="770" y="1040"/>
                    </a:lnTo>
                    <a:lnTo>
                      <a:pt x="770" y="1040"/>
                    </a:lnTo>
                    <a:lnTo>
                      <a:pt x="768" y="1054"/>
                    </a:lnTo>
                    <a:lnTo>
                      <a:pt x="768" y="1054"/>
                    </a:lnTo>
                    <a:lnTo>
                      <a:pt x="764" y="1062"/>
                    </a:lnTo>
                    <a:lnTo>
                      <a:pt x="764" y="1062"/>
                    </a:lnTo>
                    <a:lnTo>
                      <a:pt x="760" y="1064"/>
                    </a:lnTo>
                    <a:lnTo>
                      <a:pt x="756" y="1064"/>
                    </a:lnTo>
                    <a:lnTo>
                      <a:pt x="756" y="1064"/>
                    </a:lnTo>
                    <a:lnTo>
                      <a:pt x="750" y="1062"/>
                    </a:lnTo>
                    <a:lnTo>
                      <a:pt x="742" y="1058"/>
                    </a:lnTo>
                    <a:lnTo>
                      <a:pt x="742" y="1058"/>
                    </a:lnTo>
                    <a:lnTo>
                      <a:pt x="718" y="1042"/>
                    </a:lnTo>
                    <a:lnTo>
                      <a:pt x="718" y="1042"/>
                    </a:lnTo>
                    <a:lnTo>
                      <a:pt x="704" y="1034"/>
                    </a:lnTo>
                    <a:lnTo>
                      <a:pt x="686" y="1026"/>
                    </a:lnTo>
                    <a:lnTo>
                      <a:pt x="686" y="1026"/>
                    </a:lnTo>
                    <a:lnTo>
                      <a:pt x="664" y="1022"/>
                    </a:lnTo>
                    <a:lnTo>
                      <a:pt x="638" y="1020"/>
                    </a:lnTo>
                    <a:lnTo>
                      <a:pt x="638" y="1020"/>
                    </a:lnTo>
                    <a:lnTo>
                      <a:pt x="624" y="1020"/>
                    </a:lnTo>
                    <a:lnTo>
                      <a:pt x="610" y="1024"/>
                    </a:lnTo>
                    <a:lnTo>
                      <a:pt x="598" y="1026"/>
                    </a:lnTo>
                    <a:lnTo>
                      <a:pt x="586" y="1032"/>
                    </a:lnTo>
                    <a:lnTo>
                      <a:pt x="586" y="1032"/>
                    </a:lnTo>
                    <a:lnTo>
                      <a:pt x="574" y="1040"/>
                    </a:lnTo>
                    <a:lnTo>
                      <a:pt x="564" y="1048"/>
                    </a:lnTo>
                    <a:lnTo>
                      <a:pt x="554" y="1056"/>
                    </a:lnTo>
                    <a:lnTo>
                      <a:pt x="546" y="1068"/>
                    </a:lnTo>
                    <a:lnTo>
                      <a:pt x="546" y="1068"/>
                    </a:lnTo>
                    <a:lnTo>
                      <a:pt x="538" y="1080"/>
                    </a:lnTo>
                    <a:lnTo>
                      <a:pt x="530" y="1092"/>
                    </a:lnTo>
                    <a:lnTo>
                      <a:pt x="524" y="1106"/>
                    </a:lnTo>
                    <a:lnTo>
                      <a:pt x="520" y="1122"/>
                    </a:lnTo>
                    <a:lnTo>
                      <a:pt x="520" y="1122"/>
                    </a:lnTo>
                    <a:lnTo>
                      <a:pt x="516" y="1138"/>
                    </a:lnTo>
                    <a:lnTo>
                      <a:pt x="514" y="1156"/>
                    </a:lnTo>
                    <a:lnTo>
                      <a:pt x="512" y="1194"/>
                    </a:lnTo>
                    <a:lnTo>
                      <a:pt x="512" y="1194"/>
                    </a:lnTo>
                    <a:lnTo>
                      <a:pt x="512" y="1216"/>
                    </a:lnTo>
                    <a:lnTo>
                      <a:pt x="514" y="1236"/>
                    </a:lnTo>
                    <a:lnTo>
                      <a:pt x="516" y="1254"/>
                    </a:lnTo>
                    <a:lnTo>
                      <a:pt x="520" y="1272"/>
                    </a:lnTo>
                    <a:lnTo>
                      <a:pt x="520" y="1272"/>
                    </a:lnTo>
                    <a:lnTo>
                      <a:pt x="526" y="1286"/>
                    </a:lnTo>
                    <a:lnTo>
                      <a:pt x="532" y="1300"/>
                    </a:lnTo>
                    <a:lnTo>
                      <a:pt x="538" y="1314"/>
                    </a:lnTo>
                    <a:lnTo>
                      <a:pt x="546" y="1324"/>
                    </a:lnTo>
                    <a:lnTo>
                      <a:pt x="546" y="1324"/>
                    </a:lnTo>
                    <a:lnTo>
                      <a:pt x="556" y="1334"/>
                    </a:lnTo>
                    <a:lnTo>
                      <a:pt x="566" y="1344"/>
                    </a:lnTo>
                    <a:lnTo>
                      <a:pt x="576" y="1350"/>
                    </a:lnTo>
                    <a:lnTo>
                      <a:pt x="588" y="1356"/>
                    </a:lnTo>
                    <a:lnTo>
                      <a:pt x="588" y="1356"/>
                    </a:lnTo>
                    <a:lnTo>
                      <a:pt x="600" y="1360"/>
                    </a:lnTo>
                    <a:lnTo>
                      <a:pt x="612" y="1364"/>
                    </a:lnTo>
                    <a:lnTo>
                      <a:pt x="626" y="1366"/>
                    </a:lnTo>
                    <a:lnTo>
                      <a:pt x="642" y="1366"/>
                    </a:lnTo>
                    <a:lnTo>
                      <a:pt x="642" y="1366"/>
                    </a:lnTo>
                    <a:lnTo>
                      <a:pt x="666" y="1364"/>
                    </a:lnTo>
                    <a:lnTo>
                      <a:pt x="688" y="1360"/>
                    </a:lnTo>
                    <a:lnTo>
                      <a:pt x="688" y="1360"/>
                    </a:lnTo>
                    <a:lnTo>
                      <a:pt x="706" y="1354"/>
                    </a:lnTo>
                    <a:lnTo>
                      <a:pt x="722" y="1346"/>
                    </a:lnTo>
                    <a:lnTo>
                      <a:pt x="722" y="1346"/>
                    </a:lnTo>
                    <a:lnTo>
                      <a:pt x="746" y="1332"/>
                    </a:lnTo>
                    <a:lnTo>
                      <a:pt x="746" y="1332"/>
                    </a:lnTo>
                    <a:lnTo>
                      <a:pt x="754" y="1328"/>
                    </a:lnTo>
                    <a:lnTo>
                      <a:pt x="760" y="1326"/>
                    </a:lnTo>
                    <a:lnTo>
                      <a:pt x="760" y="1326"/>
                    </a:lnTo>
                    <a:lnTo>
                      <a:pt x="766" y="1328"/>
                    </a:lnTo>
                    <a:lnTo>
                      <a:pt x="766" y="1328"/>
                    </a:lnTo>
                    <a:lnTo>
                      <a:pt x="770" y="1334"/>
                    </a:lnTo>
                    <a:lnTo>
                      <a:pt x="770" y="1334"/>
                    </a:lnTo>
                    <a:lnTo>
                      <a:pt x="772" y="1346"/>
                    </a:lnTo>
                    <a:lnTo>
                      <a:pt x="772" y="1346"/>
                    </a:lnTo>
                    <a:lnTo>
                      <a:pt x="772" y="1368"/>
                    </a:lnTo>
                    <a:lnTo>
                      <a:pt x="772" y="1368"/>
                    </a:lnTo>
                    <a:lnTo>
                      <a:pt x="772" y="1386"/>
                    </a:lnTo>
                    <a:lnTo>
                      <a:pt x="772" y="1386"/>
                    </a:lnTo>
                    <a:close/>
                    <a:moveTo>
                      <a:pt x="1122" y="1422"/>
                    </a:moveTo>
                    <a:lnTo>
                      <a:pt x="1122" y="1422"/>
                    </a:lnTo>
                    <a:lnTo>
                      <a:pt x="1118" y="1434"/>
                    </a:lnTo>
                    <a:lnTo>
                      <a:pt x="1118" y="1434"/>
                    </a:lnTo>
                    <a:lnTo>
                      <a:pt x="1114" y="1442"/>
                    </a:lnTo>
                    <a:lnTo>
                      <a:pt x="1114" y="1442"/>
                    </a:lnTo>
                    <a:lnTo>
                      <a:pt x="1110" y="1444"/>
                    </a:lnTo>
                    <a:lnTo>
                      <a:pt x="1106" y="1444"/>
                    </a:lnTo>
                    <a:lnTo>
                      <a:pt x="876" y="1444"/>
                    </a:lnTo>
                    <a:lnTo>
                      <a:pt x="876" y="1444"/>
                    </a:lnTo>
                    <a:lnTo>
                      <a:pt x="864" y="1442"/>
                    </a:lnTo>
                    <a:lnTo>
                      <a:pt x="854" y="1438"/>
                    </a:lnTo>
                    <a:lnTo>
                      <a:pt x="854" y="1438"/>
                    </a:lnTo>
                    <a:lnTo>
                      <a:pt x="850" y="1432"/>
                    </a:lnTo>
                    <a:lnTo>
                      <a:pt x="848" y="1428"/>
                    </a:lnTo>
                    <a:lnTo>
                      <a:pt x="846" y="1420"/>
                    </a:lnTo>
                    <a:lnTo>
                      <a:pt x="846" y="1412"/>
                    </a:lnTo>
                    <a:lnTo>
                      <a:pt x="846" y="956"/>
                    </a:lnTo>
                    <a:lnTo>
                      <a:pt x="846" y="956"/>
                    </a:lnTo>
                    <a:lnTo>
                      <a:pt x="846" y="952"/>
                    </a:lnTo>
                    <a:lnTo>
                      <a:pt x="848" y="950"/>
                    </a:lnTo>
                    <a:lnTo>
                      <a:pt x="848" y="950"/>
                    </a:lnTo>
                    <a:lnTo>
                      <a:pt x="852" y="946"/>
                    </a:lnTo>
                    <a:lnTo>
                      <a:pt x="856" y="944"/>
                    </a:lnTo>
                    <a:lnTo>
                      <a:pt x="856" y="944"/>
                    </a:lnTo>
                    <a:lnTo>
                      <a:pt x="872" y="942"/>
                    </a:lnTo>
                    <a:lnTo>
                      <a:pt x="872" y="942"/>
                    </a:lnTo>
                    <a:lnTo>
                      <a:pt x="898" y="940"/>
                    </a:lnTo>
                    <a:lnTo>
                      <a:pt x="898" y="940"/>
                    </a:lnTo>
                    <a:lnTo>
                      <a:pt x="922" y="942"/>
                    </a:lnTo>
                    <a:lnTo>
                      <a:pt x="922" y="942"/>
                    </a:lnTo>
                    <a:lnTo>
                      <a:pt x="938" y="944"/>
                    </a:lnTo>
                    <a:lnTo>
                      <a:pt x="938" y="944"/>
                    </a:lnTo>
                    <a:lnTo>
                      <a:pt x="942" y="946"/>
                    </a:lnTo>
                    <a:lnTo>
                      <a:pt x="946" y="950"/>
                    </a:lnTo>
                    <a:lnTo>
                      <a:pt x="946" y="950"/>
                    </a:lnTo>
                    <a:lnTo>
                      <a:pt x="948" y="952"/>
                    </a:lnTo>
                    <a:lnTo>
                      <a:pt x="948" y="956"/>
                    </a:lnTo>
                    <a:lnTo>
                      <a:pt x="948" y="1360"/>
                    </a:lnTo>
                    <a:lnTo>
                      <a:pt x="1106" y="1360"/>
                    </a:lnTo>
                    <a:lnTo>
                      <a:pt x="1106" y="1360"/>
                    </a:lnTo>
                    <a:lnTo>
                      <a:pt x="1114" y="1362"/>
                    </a:lnTo>
                    <a:lnTo>
                      <a:pt x="1114" y="1362"/>
                    </a:lnTo>
                    <a:lnTo>
                      <a:pt x="1118" y="1370"/>
                    </a:lnTo>
                    <a:lnTo>
                      <a:pt x="1118" y="1370"/>
                    </a:lnTo>
                    <a:lnTo>
                      <a:pt x="1122" y="1382"/>
                    </a:lnTo>
                    <a:lnTo>
                      <a:pt x="1122" y="1382"/>
                    </a:lnTo>
                    <a:lnTo>
                      <a:pt x="1122" y="1402"/>
                    </a:lnTo>
                    <a:lnTo>
                      <a:pt x="1122" y="1402"/>
                    </a:lnTo>
                    <a:lnTo>
                      <a:pt x="1122" y="1422"/>
                    </a:lnTo>
                    <a:lnTo>
                      <a:pt x="1122" y="1422"/>
                    </a:lnTo>
                    <a:close/>
                    <a:moveTo>
                      <a:pt x="1572" y="1258"/>
                    </a:moveTo>
                    <a:lnTo>
                      <a:pt x="1572" y="1258"/>
                    </a:lnTo>
                    <a:lnTo>
                      <a:pt x="1572" y="1280"/>
                    </a:lnTo>
                    <a:lnTo>
                      <a:pt x="1570" y="1302"/>
                    </a:lnTo>
                    <a:lnTo>
                      <a:pt x="1566" y="1322"/>
                    </a:lnTo>
                    <a:lnTo>
                      <a:pt x="1560" y="1340"/>
                    </a:lnTo>
                    <a:lnTo>
                      <a:pt x="1560" y="1340"/>
                    </a:lnTo>
                    <a:lnTo>
                      <a:pt x="1552" y="1358"/>
                    </a:lnTo>
                    <a:lnTo>
                      <a:pt x="1542" y="1374"/>
                    </a:lnTo>
                    <a:lnTo>
                      <a:pt x="1532" y="1388"/>
                    </a:lnTo>
                    <a:lnTo>
                      <a:pt x="1520" y="1402"/>
                    </a:lnTo>
                    <a:lnTo>
                      <a:pt x="1520" y="1402"/>
                    </a:lnTo>
                    <a:lnTo>
                      <a:pt x="1506" y="1414"/>
                    </a:lnTo>
                    <a:lnTo>
                      <a:pt x="1490" y="1424"/>
                    </a:lnTo>
                    <a:lnTo>
                      <a:pt x="1472" y="1434"/>
                    </a:lnTo>
                    <a:lnTo>
                      <a:pt x="1454" y="1440"/>
                    </a:lnTo>
                    <a:lnTo>
                      <a:pt x="1454" y="1440"/>
                    </a:lnTo>
                    <a:lnTo>
                      <a:pt x="1434" y="1446"/>
                    </a:lnTo>
                    <a:lnTo>
                      <a:pt x="1412" y="1450"/>
                    </a:lnTo>
                    <a:lnTo>
                      <a:pt x="1390" y="1452"/>
                    </a:lnTo>
                    <a:lnTo>
                      <a:pt x="1364" y="1454"/>
                    </a:lnTo>
                    <a:lnTo>
                      <a:pt x="1364" y="1454"/>
                    </a:lnTo>
                    <a:lnTo>
                      <a:pt x="1342" y="1452"/>
                    </a:lnTo>
                    <a:lnTo>
                      <a:pt x="1320" y="1450"/>
                    </a:lnTo>
                    <a:lnTo>
                      <a:pt x="1300" y="1446"/>
                    </a:lnTo>
                    <a:lnTo>
                      <a:pt x="1280" y="1442"/>
                    </a:lnTo>
                    <a:lnTo>
                      <a:pt x="1280" y="1442"/>
                    </a:lnTo>
                    <a:lnTo>
                      <a:pt x="1262" y="1436"/>
                    </a:lnTo>
                    <a:lnTo>
                      <a:pt x="1244" y="1426"/>
                    </a:lnTo>
                    <a:lnTo>
                      <a:pt x="1230" y="1418"/>
                    </a:lnTo>
                    <a:lnTo>
                      <a:pt x="1216" y="1406"/>
                    </a:lnTo>
                    <a:lnTo>
                      <a:pt x="1216" y="1406"/>
                    </a:lnTo>
                    <a:lnTo>
                      <a:pt x="1204" y="1394"/>
                    </a:lnTo>
                    <a:lnTo>
                      <a:pt x="1194" y="1378"/>
                    </a:lnTo>
                    <a:lnTo>
                      <a:pt x="1184" y="1364"/>
                    </a:lnTo>
                    <a:lnTo>
                      <a:pt x="1176" y="1346"/>
                    </a:lnTo>
                    <a:lnTo>
                      <a:pt x="1176" y="1346"/>
                    </a:lnTo>
                    <a:lnTo>
                      <a:pt x="1170" y="1328"/>
                    </a:lnTo>
                    <a:lnTo>
                      <a:pt x="1166" y="1306"/>
                    </a:lnTo>
                    <a:lnTo>
                      <a:pt x="1164" y="1286"/>
                    </a:lnTo>
                    <a:lnTo>
                      <a:pt x="1162" y="1262"/>
                    </a:lnTo>
                    <a:lnTo>
                      <a:pt x="1162" y="956"/>
                    </a:lnTo>
                    <a:lnTo>
                      <a:pt x="1162" y="956"/>
                    </a:lnTo>
                    <a:lnTo>
                      <a:pt x="1162" y="952"/>
                    </a:lnTo>
                    <a:lnTo>
                      <a:pt x="1164" y="950"/>
                    </a:lnTo>
                    <a:lnTo>
                      <a:pt x="1164" y="950"/>
                    </a:lnTo>
                    <a:lnTo>
                      <a:pt x="1168" y="946"/>
                    </a:lnTo>
                    <a:lnTo>
                      <a:pt x="1174" y="944"/>
                    </a:lnTo>
                    <a:lnTo>
                      <a:pt x="1174" y="944"/>
                    </a:lnTo>
                    <a:lnTo>
                      <a:pt x="1188" y="942"/>
                    </a:lnTo>
                    <a:lnTo>
                      <a:pt x="1188" y="942"/>
                    </a:lnTo>
                    <a:lnTo>
                      <a:pt x="1214" y="940"/>
                    </a:lnTo>
                    <a:lnTo>
                      <a:pt x="1214" y="940"/>
                    </a:lnTo>
                    <a:lnTo>
                      <a:pt x="1238" y="942"/>
                    </a:lnTo>
                    <a:lnTo>
                      <a:pt x="1238" y="942"/>
                    </a:lnTo>
                    <a:lnTo>
                      <a:pt x="1254" y="944"/>
                    </a:lnTo>
                    <a:lnTo>
                      <a:pt x="1254" y="944"/>
                    </a:lnTo>
                    <a:lnTo>
                      <a:pt x="1258" y="946"/>
                    </a:lnTo>
                    <a:lnTo>
                      <a:pt x="1262" y="950"/>
                    </a:lnTo>
                    <a:lnTo>
                      <a:pt x="1262" y="950"/>
                    </a:lnTo>
                    <a:lnTo>
                      <a:pt x="1264" y="952"/>
                    </a:lnTo>
                    <a:lnTo>
                      <a:pt x="1264" y="956"/>
                    </a:lnTo>
                    <a:lnTo>
                      <a:pt x="1264" y="1252"/>
                    </a:lnTo>
                    <a:lnTo>
                      <a:pt x="1264" y="1252"/>
                    </a:lnTo>
                    <a:lnTo>
                      <a:pt x="1266" y="1280"/>
                    </a:lnTo>
                    <a:lnTo>
                      <a:pt x="1272" y="1304"/>
                    </a:lnTo>
                    <a:lnTo>
                      <a:pt x="1272" y="1304"/>
                    </a:lnTo>
                    <a:lnTo>
                      <a:pt x="1280" y="1324"/>
                    </a:lnTo>
                    <a:lnTo>
                      <a:pt x="1286" y="1334"/>
                    </a:lnTo>
                    <a:lnTo>
                      <a:pt x="1294" y="1342"/>
                    </a:lnTo>
                    <a:lnTo>
                      <a:pt x="1294" y="1342"/>
                    </a:lnTo>
                    <a:lnTo>
                      <a:pt x="1308" y="1354"/>
                    </a:lnTo>
                    <a:lnTo>
                      <a:pt x="1326" y="1362"/>
                    </a:lnTo>
                    <a:lnTo>
                      <a:pt x="1326" y="1362"/>
                    </a:lnTo>
                    <a:lnTo>
                      <a:pt x="1346" y="1368"/>
                    </a:lnTo>
                    <a:lnTo>
                      <a:pt x="1368" y="1370"/>
                    </a:lnTo>
                    <a:lnTo>
                      <a:pt x="1368" y="1370"/>
                    </a:lnTo>
                    <a:lnTo>
                      <a:pt x="1392" y="1368"/>
                    </a:lnTo>
                    <a:lnTo>
                      <a:pt x="1412" y="1362"/>
                    </a:lnTo>
                    <a:lnTo>
                      <a:pt x="1412" y="1362"/>
                    </a:lnTo>
                    <a:lnTo>
                      <a:pt x="1430" y="1354"/>
                    </a:lnTo>
                    <a:lnTo>
                      <a:pt x="1444" y="1340"/>
                    </a:lnTo>
                    <a:lnTo>
                      <a:pt x="1444" y="1340"/>
                    </a:lnTo>
                    <a:lnTo>
                      <a:pt x="1456" y="1326"/>
                    </a:lnTo>
                    <a:lnTo>
                      <a:pt x="1464" y="1306"/>
                    </a:lnTo>
                    <a:lnTo>
                      <a:pt x="1464" y="1306"/>
                    </a:lnTo>
                    <a:lnTo>
                      <a:pt x="1470" y="1284"/>
                    </a:lnTo>
                    <a:lnTo>
                      <a:pt x="1472" y="1258"/>
                    </a:lnTo>
                    <a:lnTo>
                      <a:pt x="1472" y="956"/>
                    </a:lnTo>
                    <a:lnTo>
                      <a:pt x="1472" y="956"/>
                    </a:lnTo>
                    <a:lnTo>
                      <a:pt x="1472" y="952"/>
                    </a:lnTo>
                    <a:lnTo>
                      <a:pt x="1474" y="950"/>
                    </a:lnTo>
                    <a:lnTo>
                      <a:pt x="1474" y="950"/>
                    </a:lnTo>
                    <a:lnTo>
                      <a:pt x="1478" y="946"/>
                    </a:lnTo>
                    <a:lnTo>
                      <a:pt x="1482" y="944"/>
                    </a:lnTo>
                    <a:lnTo>
                      <a:pt x="1482" y="944"/>
                    </a:lnTo>
                    <a:lnTo>
                      <a:pt x="1498" y="942"/>
                    </a:lnTo>
                    <a:lnTo>
                      <a:pt x="1498" y="942"/>
                    </a:lnTo>
                    <a:lnTo>
                      <a:pt x="1522" y="940"/>
                    </a:lnTo>
                    <a:lnTo>
                      <a:pt x="1522" y="940"/>
                    </a:lnTo>
                    <a:lnTo>
                      <a:pt x="1546" y="942"/>
                    </a:lnTo>
                    <a:lnTo>
                      <a:pt x="1546" y="942"/>
                    </a:lnTo>
                    <a:lnTo>
                      <a:pt x="1562" y="944"/>
                    </a:lnTo>
                    <a:lnTo>
                      <a:pt x="1562" y="944"/>
                    </a:lnTo>
                    <a:lnTo>
                      <a:pt x="1568" y="946"/>
                    </a:lnTo>
                    <a:lnTo>
                      <a:pt x="1570" y="950"/>
                    </a:lnTo>
                    <a:lnTo>
                      <a:pt x="1570" y="950"/>
                    </a:lnTo>
                    <a:lnTo>
                      <a:pt x="1572" y="952"/>
                    </a:lnTo>
                    <a:lnTo>
                      <a:pt x="1572" y="956"/>
                    </a:lnTo>
                    <a:lnTo>
                      <a:pt x="1572" y="1258"/>
                    </a:lnTo>
                    <a:close/>
                    <a:moveTo>
                      <a:pt x="2018" y="1380"/>
                    </a:moveTo>
                    <a:lnTo>
                      <a:pt x="2018" y="1380"/>
                    </a:lnTo>
                    <a:lnTo>
                      <a:pt x="2004" y="1396"/>
                    </a:lnTo>
                    <a:lnTo>
                      <a:pt x="1986" y="1410"/>
                    </a:lnTo>
                    <a:lnTo>
                      <a:pt x="1986" y="1410"/>
                    </a:lnTo>
                    <a:lnTo>
                      <a:pt x="1968" y="1420"/>
                    </a:lnTo>
                    <a:lnTo>
                      <a:pt x="1946" y="1430"/>
                    </a:lnTo>
                    <a:lnTo>
                      <a:pt x="1946" y="1430"/>
                    </a:lnTo>
                    <a:lnTo>
                      <a:pt x="1924" y="1436"/>
                    </a:lnTo>
                    <a:lnTo>
                      <a:pt x="1900" y="1440"/>
                    </a:lnTo>
                    <a:lnTo>
                      <a:pt x="1900" y="1440"/>
                    </a:lnTo>
                    <a:lnTo>
                      <a:pt x="1874" y="1444"/>
                    </a:lnTo>
                    <a:lnTo>
                      <a:pt x="1846" y="1444"/>
                    </a:lnTo>
                    <a:lnTo>
                      <a:pt x="1712" y="1444"/>
                    </a:lnTo>
                    <a:lnTo>
                      <a:pt x="1712" y="1444"/>
                    </a:lnTo>
                    <a:lnTo>
                      <a:pt x="1700" y="1442"/>
                    </a:lnTo>
                    <a:lnTo>
                      <a:pt x="1690" y="1438"/>
                    </a:lnTo>
                    <a:lnTo>
                      <a:pt x="1690" y="1438"/>
                    </a:lnTo>
                    <a:lnTo>
                      <a:pt x="1686" y="1432"/>
                    </a:lnTo>
                    <a:lnTo>
                      <a:pt x="1684" y="1428"/>
                    </a:lnTo>
                    <a:lnTo>
                      <a:pt x="1682" y="1420"/>
                    </a:lnTo>
                    <a:lnTo>
                      <a:pt x="1682" y="1412"/>
                    </a:lnTo>
                    <a:lnTo>
                      <a:pt x="1682" y="974"/>
                    </a:lnTo>
                    <a:lnTo>
                      <a:pt x="1682" y="974"/>
                    </a:lnTo>
                    <a:lnTo>
                      <a:pt x="1682" y="966"/>
                    </a:lnTo>
                    <a:lnTo>
                      <a:pt x="1684" y="960"/>
                    </a:lnTo>
                    <a:lnTo>
                      <a:pt x="1686" y="954"/>
                    </a:lnTo>
                    <a:lnTo>
                      <a:pt x="1690" y="950"/>
                    </a:lnTo>
                    <a:lnTo>
                      <a:pt x="1690" y="950"/>
                    </a:lnTo>
                    <a:lnTo>
                      <a:pt x="1700" y="944"/>
                    </a:lnTo>
                    <a:lnTo>
                      <a:pt x="1712" y="942"/>
                    </a:lnTo>
                    <a:lnTo>
                      <a:pt x="1838" y="942"/>
                    </a:lnTo>
                    <a:lnTo>
                      <a:pt x="1838" y="942"/>
                    </a:lnTo>
                    <a:lnTo>
                      <a:pt x="1880" y="944"/>
                    </a:lnTo>
                    <a:lnTo>
                      <a:pt x="1900" y="946"/>
                    </a:lnTo>
                    <a:lnTo>
                      <a:pt x="1916" y="950"/>
                    </a:lnTo>
                    <a:lnTo>
                      <a:pt x="1916" y="950"/>
                    </a:lnTo>
                    <a:lnTo>
                      <a:pt x="1932" y="954"/>
                    </a:lnTo>
                    <a:lnTo>
                      <a:pt x="1946" y="960"/>
                    </a:lnTo>
                    <a:lnTo>
                      <a:pt x="1958" y="966"/>
                    </a:lnTo>
                    <a:lnTo>
                      <a:pt x="1970" y="974"/>
                    </a:lnTo>
                    <a:lnTo>
                      <a:pt x="1970" y="974"/>
                    </a:lnTo>
                    <a:lnTo>
                      <a:pt x="1980" y="982"/>
                    </a:lnTo>
                    <a:lnTo>
                      <a:pt x="1990" y="992"/>
                    </a:lnTo>
                    <a:lnTo>
                      <a:pt x="1998" y="1002"/>
                    </a:lnTo>
                    <a:lnTo>
                      <a:pt x="2004" y="1014"/>
                    </a:lnTo>
                    <a:lnTo>
                      <a:pt x="2004" y="1014"/>
                    </a:lnTo>
                    <a:lnTo>
                      <a:pt x="2008" y="1026"/>
                    </a:lnTo>
                    <a:lnTo>
                      <a:pt x="2012" y="1040"/>
                    </a:lnTo>
                    <a:lnTo>
                      <a:pt x="2014" y="1054"/>
                    </a:lnTo>
                    <a:lnTo>
                      <a:pt x="2016" y="1070"/>
                    </a:lnTo>
                    <a:lnTo>
                      <a:pt x="2016" y="1070"/>
                    </a:lnTo>
                    <a:lnTo>
                      <a:pt x="2014" y="1088"/>
                    </a:lnTo>
                    <a:lnTo>
                      <a:pt x="2010" y="1104"/>
                    </a:lnTo>
                    <a:lnTo>
                      <a:pt x="2010" y="1104"/>
                    </a:lnTo>
                    <a:lnTo>
                      <a:pt x="2006" y="1120"/>
                    </a:lnTo>
                    <a:lnTo>
                      <a:pt x="1998" y="1134"/>
                    </a:lnTo>
                    <a:lnTo>
                      <a:pt x="1998" y="1134"/>
                    </a:lnTo>
                    <a:lnTo>
                      <a:pt x="1988" y="1146"/>
                    </a:lnTo>
                    <a:lnTo>
                      <a:pt x="1976" y="1158"/>
                    </a:lnTo>
                    <a:lnTo>
                      <a:pt x="1976" y="1158"/>
                    </a:lnTo>
                    <a:lnTo>
                      <a:pt x="1962" y="1166"/>
                    </a:lnTo>
                    <a:lnTo>
                      <a:pt x="1946" y="1174"/>
                    </a:lnTo>
                    <a:lnTo>
                      <a:pt x="1946" y="1174"/>
                    </a:lnTo>
                    <a:lnTo>
                      <a:pt x="1966" y="1178"/>
                    </a:lnTo>
                    <a:lnTo>
                      <a:pt x="1986" y="1186"/>
                    </a:lnTo>
                    <a:lnTo>
                      <a:pt x="1986" y="1186"/>
                    </a:lnTo>
                    <a:lnTo>
                      <a:pt x="2002" y="1198"/>
                    </a:lnTo>
                    <a:lnTo>
                      <a:pt x="2016" y="1212"/>
                    </a:lnTo>
                    <a:lnTo>
                      <a:pt x="2016" y="1212"/>
                    </a:lnTo>
                    <a:lnTo>
                      <a:pt x="2028" y="1228"/>
                    </a:lnTo>
                    <a:lnTo>
                      <a:pt x="2038" y="1248"/>
                    </a:lnTo>
                    <a:lnTo>
                      <a:pt x="2038" y="1248"/>
                    </a:lnTo>
                    <a:lnTo>
                      <a:pt x="2044" y="1270"/>
                    </a:lnTo>
                    <a:lnTo>
                      <a:pt x="2046" y="1294"/>
                    </a:lnTo>
                    <a:lnTo>
                      <a:pt x="2046" y="1294"/>
                    </a:lnTo>
                    <a:lnTo>
                      <a:pt x="2044" y="1320"/>
                    </a:lnTo>
                    <a:lnTo>
                      <a:pt x="2038" y="1342"/>
                    </a:lnTo>
                    <a:lnTo>
                      <a:pt x="2038" y="1342"/>
                    </a:lnTo>
                    <a:lnTo>
                      <a:pt x="2030" y="1364"/>
                    </a:lnTo>
                    <a:lnTo>
                      <a:pt x="2018" y="1380"/>
                    </a:lnTo>
                    <a:lnTo>
                      <a:pt x="2018" y="13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grpSp>
      <p:grpSp>
        <p:nvGrpSpPr>
          <p:cNvPr id="31" name="Gruppieren 30"/>
          <p:cNvGrpSpPr/>
          <p:nvPr/>
        </p:nvGrpSpPr>
        <p:grpSpPr>
          <a:xfrm>
            <a:off x="3895808" y="1909475"/>
            <a:ext cx="597644" cy="597644"/>
            <a:chOff x="3917479" y="1949450"/>
            <a:chExt cx="463258" cy="463258"/>
          </a:xfrm>
        </p:grpSpPr>
        <p:sp>
          <p:nvSpPr>
            <p:cNvPr id="14" name="Ellipse 13"/>
            <p:cNvSpPr/>
            <p:nvPr/>
          </p:nvSpPr>
          <p:spPr>
            <a:xfrm>
              <a:off x="3917479" y="1949450"/>
              <a:ext cx="463258" cy="463258"/>
            </a:xfrm>
            <a:prstGeom prst="ellipse">
              <a:avLst/>
            </a:prstGeom>
            <a:solidFill>
              <a:srgbClr val="000000"/>
            </a:solidFill>
            <a:ln>
              <a:solidFill>
                <a:srgbClr val="FFFFFF"/>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sp>
          <p:nvSpPr>
            <p:cNvPr id="67" name="Freeform 7"/>
            <p:cNvSpPr>
              <a:spLocks noEditPoints="1"/>
            </p:cNvSpPr>
            <p:nvPr/>
          </p:nvSpPr>
          <p:spPr bwMode="auto">
            <a:xfrm>
              <a:off x="3962227" y="2054598"/>
              <a:ext cx="376298" cy="286476"/>
            </a:xfrm>
            <a:custGeom>
              <a:avLst/>
              <a:gdLst>
                <a:gd name="T0" fmla="*/ 2744 w 3008"/>
                <a:gd name="T1" fmla="*/ 36 h 2290"/>
                <a:gd name="T2" fmla="*/ 2652 w 3008"/>
                <a:gd name="T3" fmla="*/ 4 h 2290"/>
                <a:gd name="T4" fmla="*/ 2528 w 3008"/>
                <a:gd name="T5" fmla="*/ 4 h 2290"/>
                <a:gd name="T6" fmla="*/ 2344 w 3008"/>
                <a:gd name="T7" fmla="*/ 42 h 2290"/>
                <a:gd name="T8" fmla="*/ 1500 w 3008"/>
                <a:gd name="T9" fmla="*/ 208 h 2290"/>
                <a:gd name="T10" fmla="*/ 774 w 3008"/>
                <a:gd name="T11" fmla="*/ 310 h 2290"/>
                <a:gd name="T12" fmla="*/ 276 w 3008"/>
                <a:gd name="T13" fmla="*/ 360 h 2290"/>
                <a:gd name="T14" fmla="*/ 154 w 3008"/>
                <a:gd name="T15" fmla="*/ 400 h 2290"/>
                <a:gd name="T16" fmla="*/ 84 w 3008"/>
                <a:gd name="T17" fmla="*/ 462 h 2290"/>
                <a:gd name="T18" fmla="*/ 36 w 3008"/>
                <a:gd name="T19" fmla="*/ 548 h 2290"/>
                <a:gd name="T20" fmla="*/ 2 w 3008"/>
                <a:gd name="T21" fmla="*/ 754 h 2290"/>
                <a:gd name="T22" fmla="*/ 10 w 3008"/>
                <a:gd name="T23" fmla="*/ 874 h 2290"/>
                <a:gd name="T24" fmla="*/ 40 w 3008"/>
                <a:gd name="T25" fmla="*/ 930 h 2290"/>
                <a:gd name="T26" fmla="*/ 42 w 3008"/>
                <a:gd name="T27" fmla="*/ 880 h 2290"/>
                <a:gd name="T28" fmla="*/ 98 w 3008"/>
                <a:gd name="T29" fmla="*/ 950 h 2290"/>
                <a:gd name="T30" fmla="*/ 110 w 3008"/>
                <a:gd name="T31" fmla="*/ 946 h 2290"/>
                <a:gd name="T32" fmla="*/ 94 w 3008"/>
                <a:gd name="T33" fmla="*/ 886 h 2290"/>
                <a:gd name="T34" fmla="*/ 112 w 3008"/>
                <a:gd name="T35" fmla="*/ 892 h 2290"/>
                <a:gd name="T36" fmla="*/ 164 w 3008"/>
                <a:gd name="T37" fmla="*/ 946 h 2290"/>
                <a:gd name="T38" fmla="*/ 154 w 3008"/>
                <a:gd name="T39" fmla="*/ 860 h 2290"/>
                <a:gd name="T40" fmla="*/ 168 w 3008"/>
                <a:gd name="T41" fmla="*/ 874 h 2290"/>
                <a:gd name="T42" fmla="*/ 228 w 3008"/>
                <a:gd name="T43" fmla="*/ 946 h 2290"/>
                <a:gd name="T44" fmla="*/ 232 w 3008"/>
                <a:gd name="T45" fmla="*/ 922 h 2290"/>
                <a:gd name="T46" fmla="*/ 1164 w 3008"/>
                <a:gd name="T47" fmla="*/ 2252 h 2290"/>
                <a:gd name="T48" fmla="*/ 1580 w 3008"/>
                <a:gd name="T49" fmla="*/ 2290 h 2290"/>
                <a:gd name="T50" fmla="*/ 1860 w 3008"/>
                <a:gd name="T51" fmla="*/ 2274 h 2290"/>
                <a:gd name="T52" fmla="*/ 2656 w 3008"/>
                <a:gd name="T53" fmla="*/ 960 h 2290"/>
                <a:gd name="T54" fmla="*/ 2686 w 3008"/>
                <a:gd name="T55" fmla="*/ 912 h 2290"/>
                <a:gd name="T56" fmla="*/ 2698 w 3008"/>
                <a:gd name="T57" fmla="*/ 472 h 2290"/>
                <a:gd name="T58" fmla="*/ 2706 w 3008"/>
                <a:gd name="T59" fmla="*/ 476 h 2290"/>
                <a:gd name="T60" fmla="*/ 2704 w 3008"/>
                <a:gd name="T61" fmla="*/ 380 h 2290"/>
                <a:gd name="T62" fmla="*/ 2724 w 3008"/>
                <a:gd name="T63" fmla="*/ 400 h 2290"/>
                <a:gd name="T64" fmla="*/ 2788 w 3008"/>
                <a:gd name="T65" fmla="*/ 460 h 2290"/>
                <a:gd name="T66" fmla="*/ 2778 w 3008"/>
                <a:gd name="T67" fmla="*/ 396 h 2290"/>
                <a:gd name="T68" fmla="*/ 2830 w 3008"/>
                <a:gd name="T69" fmla="*/ 440 h 2290"/>
                <a:gd name="T70" fmla="*/ 2854 w 3008"/>
                <a:gd name="T71" fmla="*/ 450 h 2290"/>
                <a:gd name="T72" fmla="*/ 2844 w 3008"/>
                <a:gd name="T73" fmla="*/ 388 h 2290"/>
                <a:gd name="T74" fmla="*/ 2920 w 3008"/>
                <a:gd name="T75" fmla="*/ 450 h 2290"/>
                <a:gd name="T76" fmla="*/ 2908 w 3008"/>
                <a:gd name="T77" fmla="*/ 412 h 2290"/>
                <a:gd name="T78" fmla="*/ 2898 w 3008"/>
                <a:gd name="T79" fmla="*/ 346 h 2290"/>
                <a:gd name="T80" fmla="*/ 2968 w 3008"/>
                <a:gd name="T81" fmla="*/ 398 h 2290"/>
                <a:gd name="T82" fmla="*/ 2998 w 3008"/>
                <a:gd name="T83" fmla="*/ 416 h 2290"/>
                <a:gd name="T84" fmla="*/ 2864 w 3008"/>
                <a:gd name="T85" fmla="*/ 184 h 2290"/>
                <a:gd name="T86" fmla="*/ 2786 w 3008"/>
                <a:gd name="T87" fmla="*/ 68 h 2290"/>
                <a:gd name="T88" fmla="*/ 572 w 3008"/>
                <a:gd name="T89" fmla="*/ 716 h 2290"/>
                <a:gd name="T90" fmla="*/ 1270 w 3008"/>
                <a:gd name="T91" fmla="*/ 636 h 2290"/>
                <a:gd name="T92" fmla="*/ 1194 w 3008"/>
                <a:gd name="T93" fmla="*/ 768 h 2290"/>
                <a:gd name="T94" fmla="*/ 1182 w 3008"/>
                <a:gd name="T95" fmla="*/ 898 h 2290"/>
                <a:gd name="T96" fmla="*/ 1238 w 3008"/>
                <a:gd name="T97" fmla="*/ 1050 h 2290"/>
                <a:gd name="T98" fmla="*/ 1354 w 3008"/>
                <a:gd name="T99" fmla="*/ 1158 h 2290"/>
                <a:gd name="T100" fmla="*/ 1514 w 3008"/>
                <a:gd name="T101" fmla="*/ 1198 h 2290"/>
                <a:gd name="T102" fmla="*/ 1644 w 3008"/>
                <a:gd name="T103" fmla="*/ 1172 h 2290"/>
                <a:gd name="T104" fmla="*/ 1772 w 3008"/>
                <a:gd name="T105" fmla="*/ 1076 h 2290"/>
                <a:gd name="T106" fmla="*/ 1840 w 3008"/>
                <a:gd name="T107" fmla="*/ 932 h 2290"/>
                <a:gd name="T108" fmla="*/ 1844 w 3008"/>
                <a:gd name="T109" fmla="*/ 818 h 2290"/>
                <a:gd name="T110" fmla="*/ 1810 w 3008"/>
                <a:gd name="T111" fmla="*/ 710 h 2290"/>
                <a:gd name="T112" fmla="*/ 1744 w 3008"/>
                <a:gd name="T113" fmla="*/ 622 h 2290"/>
                <a:gd name="T114" fmla="*/ 1674 w 3008"/>
                <a:gd name="T115" fmla="*/ 570 h 2290"/>
                <a:gd name="T116" fmla="*/ 2478 w 3008"/>
                <a:gd name="T117" fmla="*/ 408 h 2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008" h="2290">
                  <a:moveTo>
                    <a:pt x="2786" y="68"/>
                  </a:moveTo>
                  <a:lnTo>
                    <a:pt x="2786" y="68"/>
                  </a:lnTo>
                  <a:lnTo>
                    <a:pt x="2774" y="58"/>
                  </a:lnTo>
                  <a:lnTo>
                    <a:pt x="2760" y="46"/>
                  </a:lnTo>
                  <a:lnTo>
                    <a:pt x="2744" y="36"/>
                  </a:lnTo>
                  <a:lnTo>
                    <a:pt x="2728" y="28"/>
                  </a:lnTo>
                  <a:lnTo>
                    <a:pt x="2712" y="20"/>
                  </a:lnTo>
                  <a:lnTo>
                    <a:pt x="2692" y="14"/>
                  </a:lnTo>
                  <a:lnTo>
                    <a:pt x="2674" y="8"/>
                  </a:lnTo>
                  <a:lnTo>
                    <a:pt x="2652" y="4"/>
                  </a:lnTo>
                  <a:lnTo>
                    <a:pt x="2630" y="2"/>
                  </a:lnTo>
                  <a:lnTo>
                    <a:pt x="2606" y="0"/>
                  </a:lnTo>
                  <a:lnTo>
                    <a:pt x="2582" y="0"/>
                  </a:lnTo>
                  <a:lnTo>
                    <a:pt x="2554" y="0"/>
                  </a:lnTo>
                  <a:lnTo>
                    <a:pt x="2528" y="4"/>
                  </a:lnTo>
                  <a:lnTo>
                    <a:pt x="2498" y="8"/>
                  </a:lnTo>
                  <a:lnTo>
                    <a:pt x="2468" y="14"/>
                  </a:lnTo>
                  <a:lnTo>
                    <a:pt x="2436" y="20"/>
                  </a:lnTo>
                  <a:lnTo>
                    <a:pt x="2436" y="20"/>
                  </a:lnTo>
                  <a:lnTo>
                    <a:pt x="2344" y="42"/>
                  </a:lnTo>
                  <a:lnTo>
                    <a:pt x="2242" y="66"/>
                  </a:lnTo>
                  <a:lnTo>
                    <a:pt x="2134" y="90"/>
                  </a:lnTo>
                  <a:lnTo>
                    <a:pt x="2018" y="114"/>
                  </a:lnTo>
                  <a:lnTo>
                    <a:pt x="1768" y="160"/>
                  </a:lnTo>
                  <a:lnTo>
                    <a:pt x="1500" y="208"/>
                  </a:lnTo>
                  <a:lnTo>
                    <a:pt x="1358" y="230"/>
                  </a:lnTo>
                  <a:lnTo>
                    <a:pt x="1216" y="252"/>
                  </a:lnTo>
                  <a:lnTo>
                    <a:pt x="1070" y="272"/>
                  </a:lnTo>
                  <a:lnTo>
                    <a:pt x="922" y="292"/>
                  </a:lnTo>
                  <a:lnTo>
                    <a:pt x="774" y="310"/>
                  </a:lnTo>
                  <a:lnTo>
                    <a:pt x="626" y="326"/>
                  </a:lnTo>
                  <a:lnTo>
                    <a:pt x="478" y="340"/>
                  </a:lnTo>
                  <a:lnTo>
                    <a:pt x="330" y="354"/>
                  </a:lnTo>
                  <a:lnTo>
                    <a:pt x="330" y="354"/>
                  </a:lnTo>
                  <a:lnTo>
                    <a:pt x="276" y="360"/>
                  </a:lnTo>
                  <a:lnTo>
                    <a:pt x="230" y="370"/>
                  </a:lnTo>
                  <a:lnTo>
                    <a:pt x="208" y="376"/>
                  </a:lnTo>
                  <a:lnTo>
                    <a:pt x="190" y="384"/>
                  </a:lnTo>
                  <a:lnTo>
                    <a:pt x="170" y="392"/>
                  </a:lnTo>
                  <a:lnTo>
                    <a:pt x="154" y="400"/>
                  </a:lnTo>
                  <a:lnTo>
                    <a:pt x="138" y="410"/>
                  </a:lnTo>
                  <a:lnTo>
                    <a:pt x="122" y="422"/>
                  </a:lnTo>
                  <a:lnTo>
                    <a:pt x="108" y="434"/>
                  </a:lnTo>
                  <a:lnTo>
                    <a:pt x="96" y="448"/>
                  </a:lnTo>
                  <a:lnTo>
                    <a:pt x="84" y="462"/>
                  </a:lnTo>
                  <a:lnTo>
                    <a:pt x="72" y="478"/>
                  </a:lnTo>
                  <a:lnTo>
                    <a:pt x="52" y="512"/>
                  </a:lnTo>
                  <a:lnTo>
                    <a:pt x="52" y="512"/>
                  </a:lnTo>
                  <a:lnTo>
                    <a:pt x="44" y="530"/>
                  </a:lnTo>
                  <a:lnTo>
                    <a:pt x="36" y="548"/>
                  </a:lnTo>
                  <a:lnTo>
                    <a:pt x="24" y="586"/>
                  </a:lnTo>
                  <a:lnTo>
                    <a:pt x="16" y="630"/>
                  </a:lnTo>
                  <a:lnTo>
                    <a:pt x="10" y="674"/>
                  </a:lnTo>
                  <a:lnTo>
                    <a:pt x="4" y="716"/>
                  </a:lnTo>
                  <a:lnTo>
                    <a:pt x="2" y="754"/>
                  </a:lnTo>
                  <a:lnTo>
                    <a:pt x="0" y="808"/>
                  </a:lnTo>
                  <a:lnTo>
                    <a:pt x="0" y="808"/>
                  </a:lnTo>
                  <a:lnTo>
                    <a:pt x="2" y="830"/>
                  </a:lnTo>
                  <a:lnTo>
                    <a:pt x="4" y="852"/>
                  </a:lnTo>
                  <a:lnTo>
                    <a:pt x="10" y="874"/>
                  </a:lnTo>
                  <a:lnTo>
                    <a:pt x="16" y="892"/>
                  </a:lnTo>
                  <a:lnTo>
                    <a:pt x="22" y="906"/>
                  </a:lnTo>
                  <a:lnTo>
                    <a:pt x="28" y="920"/>
                  </a:lnTo>
                  <a:lnTo>
                    <a:pt x="36" y="928"/>
                  </a:lnTo>
                  <a:lnTo>
                    <a:pt x="40" y="930"/>
                  </a:lnTo>
                  <a:lnTo>
                    <a:pt x="40" y="930"/>
                  </a:lnTo>
                  <a:lnTo>
                    <a:pt x="42" y="928"/>
                  </a:lnTo>
                  <a:lnTo>
                    <a:pt x="44" y="922"/>
                  </a:lnTo>
                  <a:lnTo>
                    <a:pt x="44" y="906"/>
                  </a:lnTo>
                  <a:lnTo>
                    <a:pt x="42" y="880"/>
                  </a:lnTo>
                  <a:lnTo>
                    <a:pt x="42" y="880"/>
                  </a:lnTo>
                  <a:lnTo>
                    <a:pt x="52" y="894"/>
                  </a:lnTo>
                  <a:lnTo>
                    <a:pt x="74" y="924"/>
                  </a:lnTo>
                  <a:lnTo>
                    <a:pt x="86" y="940"/>
                  </a:lnTo>
                  <a:lnTo>
                    <a:pt x="98" y="950"/>
                  </a:lnTo>
                  <a:lnTo>
                    <a:pt x="106" y="956"/>
                  </a:lnTo>
                  <a:lnTo>
                    <a:pt x="108" y="956"/>
                  </a:lnTo>
                  <a:lnTo>
                    <a:pt x="110" y="954"/>
                  </a:lnTo>
                  <a:lnTo>
                    <a:pt x="110" y="954"/>
                  </a:lnTo>
                  <a:lnTo>
                    <a:pt x="110" y="946"/>
                  </a:lnTo>
                  <a:lnTo>
                    <a:pt x="110" y="938"/>
                  </a:lnTo>
                  <a:lnTo>
                    <a:pt x="106" y="922"/>
                  </a:lnTo>
                  <a:lnTo>
                    <a:pt x="100" y="906"/>
                  </a:lnTo>
                  <a:lnTo>
                    <a:pt x="94" y="886"/>
                  </a:lnTo>
                  <a:lnTo>
                    <a:pt x="94" y="886"/>
                  </a:lnTo>
                  <a:lnTo>
                    <a:pt x="94" y="882"/>
                  </a:lnTo>
                  <a:lnTo>
                    <a:pt x="96" y="880"/>
                  </a:lnTo>
                  <a:lnTo>
                    <a:pt x="98" y="880"/>
                  </a:lnTo>
                  <a:lnTo>
                    <a:pt x="102" y="882"/>
                  </a:lnTo>
                  <a:lnTo>
                    <a:pt x="112" y="892"/>
                  </a:lnTo>
                  <a:lnTo>
                    <a:pt x="124" y="904"/>
                  </a:lnTo>
                  <a:lnTo>
                    <a:pt x="148" y="932"/>
                  </a:lnTo>
                  <a:lnTo>
                    <a:pt x="158" y="942"/>
                  </a:lnTo>
                  <a:lnTo>
                    <a:pt x="164" y="946"/>
                  </a:lnTo>
                  <a:lnTo>
                    <a:pt x="164" y="946"/>
                  </a:lnTo>
                  <a:lnTo>
                    <a:pt x="166" y="944"/>
                  </a:lnTo>
                  <a:lnTo>
                    <a:pt x="166" y="942"/>
                  </a:lnTo>
                  <a:lnTo>
                    <a:pt x="166" y="928"/>
                  </a:lnTo>
                  <a:lnTo>
                    <a:pt x="160" y="892"/>
                  </a:lnTo>
                  <a:lnTo>
                    <a:pt x="154" y="860"/>
                  </a:lnTo>
                  <a:lnTo>
                    <a:pt x="152" y="850"/>
                  </a:lnTo>
                  <a:lnTo>
                    <a:pt x="152" y="848"/>
                  </a:lnTo>
                  <a:lnTo>
                    <a:pt x="152" y="848"/>
                  </a:lnTo>
                  <a:lnTo>
                    <a:pt x="152" y="848"/>
                  </a:lnTo>
                  <a:lnTo>
                    <a:pt x="168" y="874"/>
                  </a:lnTo>
                  <a:lnTo>
                    <a:pt x="184" y="898"/>
                  </a:lnTo>
                  <a:lnTo>
                    <a:pt x="198" y="918"/>
                  </a:lnTo>
                  <a:lnTo>
                    <a:pt x="212" y="934"/>
                  </a:lnTo>
                  <a:lnTo>
                    <a:pt x="222" y="944"/>
                  </a:lnTo>
                  <a:lnTo>
                    <a:pt x="228" y="946"/>
                  </a:lnTo>
                  <a:lnTo>
                    <a:pt x="230" y="946"/>
                  </a:lnTo>
                  <a:lnTo>
                    <a:pt x="232" y="942"/>
                  </a:lnTo>
                  <a:lnTo>
                    <a:pt x="234" y="938"/>
                  </a:lnTo>
                  <a:lnTo>
                    <a:pt x="232" y="922"/>
                  </a:lnTo>
                  <a:lnTo>
                    <a:pt x="232" y="922"/>
                  </a:lnTo>
                  <a:lnTo>
                    <a:pt x="226" y="898"/>
                  </a:lnTo>
                  <a:lnTo>
                    <a:pt x="216" y="866"/>
                  </a:lnTo>
                  <a:lnTo>
                    <a:pt x="188" y="796"/>
                  </a:lnTo>
                  <a:lnTo>
                    <a:pt x="1164" y="1582"/>
                  </a:lnTo>
                  <a:lnTo>
                    <a:pt x="1164" y="2252"/>
                  </a:lnTo>
                  <a:lnTo>
                    <a:pt x="1164" y="2252"/>
                  </a:lnTo>
                  <a:lnTo>
                    <a:pt x="1266" y="2268"/>
                  </a:lnTo>
                  <a:lnTo>
                    <a:pt x="1368" y="2280"/>
                  </a:lnTo>
                  <a:lnTo>
                    <a:pt x="1474" y="2288"/>
                  </a:lnTo>
                  <a:lnTo>
                    <a:pt x="1580" y="2290"/>
                  </a:lnTo>
                  <a:lnTo>
                    <a:pt x="1580" y="2290"/>
                  </a:lnTo>
                  <a:lnTo>
                    <a:pt x="1652" y="2288"/>
                  </a:lnTo>
                  <a:lnTo>
                    <a:pt x="1722" y="2286"/>
                  </a:lnTo>
                  <a:lnTo>
                    <a:pt x="1792" y="2280"/>
                  </a:lnTo>
                  <a:lnTo>
                    <a:pt x="1860" y="2274"/>
                  </a:lnTo>
                  <a:lnTo>
                    <a:pt x="1860" y="1586"/>
                  </a:lnTo>
                  <a:lnTo>
                    <a:pt x="2648" y="968"/>
                  </a:lnTo>
                  <a:lnTo>
                    <a:pt x="2648" y="968"/>
                  </a:lnTo>
                  <a:lnTo>
                    <a:pt x="2648" y="968"/>
                  </a:lnTo>
                  <a:lnTo>
                    <a:pt x="2656" y="960"/>
                  </a:lnTo>
                  <a:lnTo>
                    <a:pt x="2664" y="952"/>
                  </a:lnTo>
                  <a:lnTo>
                    <a:pt x="2672" y="944"/>
                  </a:lnTo>
                  <a:lnTo>
                    <a:pt x="2678" y="934"/>
                  </a:lnTo>
                  <a:lnTo>
                    <a:pt x="2682" y="924"/>
                  </a:lnTo>
                  <a:lnTo>
                    <a:pt x="2686" y="912"/>
                  </a:lnTo>
                  <a:lnTo>
                    <a:pt x="2688" y="900"/>
                  </a:lnTo>
                  <a:lnTo>
                    <a:pt x="2688" y="888"/>
                  </a:lnTo>
                  <a:lnTo>
                    <a:pt x="2682" y="440"/>
                  </a:lnTo>
                  <a:lnTo>
                    <a:pt x="2682" y="440"/>
                  </a:lnTo>
                  <a:lnTo>
                    <a:pt x="2698" y="472"/>
                  </a:lnTo>
                  <a:lnTo>
                    <a:pt x="2698" y="472"/>
                  </a:lnTo>
                  <a:lnTo>
                    <a:pt x="2702" y="480"/>
                  </a:lnTo>
                  <a:lnTo>
                    <a:pt x="2704" y="482"/>
                  </a:lnTo>
                  <a:lnTo>
                    <a:pt x="2706" y="480"/>
                  </a:lnTo>
                  <a:lnTo>
                    <a:pt x="2706" y="476"/>
                  </a:lnTo>
                  <a:lnTo>
                    <a:pt x="2706" y="456"/>
                  </a:lnTo>
                  <a:lnTo>
                    <a:pt x="2704" y="432"/>
                  </a:lnTo>
                  <a:lnTo>
                    <a:pt x="2702" y="406"/>
                  </a:lnTo>
                  <a:lnTo>
                    <a:pt x="2702" y="386"/>
                  </a:lnTo>
                  <a:lnTo>
                    <a:pt x="2704" y="380"/>
                  </a:lnTo>
                  <a:lnTo>
                    <a:pt x="2706" y="378"/>
                  </a:lnTo>
                  <a:lnTo>
                    <a:pt x="2710" y="380"/>
                  </a:lnTo>
                  <a:lnTo>
                    <a:pt x="2714" y="386"/>
                  </a:lnTo>
                  <a:lnTo>
                    <a:pt x="2714" y="386"/>
                  </a:lnTo>
                  <a:lnTo>
                    <a:pt x="2724" y="400"/>
                  </a:lnTo>
                  <a:lnTo>
                    <a:pt x="2734" y="414"/>
                  </a:lnTo>
                  <a:lnTo>
                    <a:pt x="2762" y="442"/>
                  </a:lnTo>
                  <a:lnTo>
                    <a:pt x="2794" y="474"/>
                  </a:lnTo>
                  <a:lnTo>
                    <a:pt x="2794" y="474"/>
                  </a:lnTo>
                  <a:lnTo>
                    <a:pt x="2788" y="460"/>
                  </a:lnTo>
                  <a:lnTo>
                    <a:pt x="2780" y="430"/>
                  </a:lnTo>
                  <a:lnTo>
                    <a:pt x="2778" y="414"/>
                  </a:lnTo>
                  <a:lnTo>
                    <a:pt x="2776" y="402"/>
                  </a:lnTo>
                  <a:lnTo>
                    <a:pt x="2776" y="398"/>
                  </a:lnTo>
                  <a:lnTo>
                    <a:pt x="2778" y="396"/>
                  </a:lnTo>
                  <a:lnTo>
                    <a:pt x="2780" y="396"/>
                  </a:lnTo>
                  <a:lnTo>
                    <a:pt x="2782" y="398"/>
                  </a:lnTo>
                  <a:lnTo>
                    <a:pt x="2782" y="398"/>
                  </a:lnTo>
                  <a:lnTo>
                    <a:pt x="2806" y="420"/>
                  </a:lnTo>
                  <a:lnTo>
                    <a:pt x="2830" y="440"/>
                  </a:lnTo>
                  <a:lnTo>
                    <a:pt x="2848" y="450"/>
                  </a:lnTo>
                  <a:lnTo>
                    <a:pt x="2854" y="452"/>
                  </a:lnTo>
                  <a:lnTo>
                    <a:pt x="2854" y="452"/>
                  </a:lnTo>
                  <a:lnTo>
                    <a:pt x="2854" y="450"/>
                  </a:lnTo>
                  <a:lnTo>
                    <a:pt x="2854" y="450"/>
                  </a:lnTo>
                  <a:lnTo>
                    <a:pt x="2848" y="416"/>
                  </a:lnTo>
                  <a:lnTo>
                    <a:pt x="2844" y="394"/>
                  </a:lnTo>
                  <a:lnTo>
                    <a:pt x="2840" y="380"/>
                  </a:lnTo>
                  <a:lnTo>
                    <a:pt x="2840" y="380"/>
                  </a:lnTo>
                  <a:lnTo>
                    <a:pt x="2844" y="388"/>
                  </a:lnTo>
                  <a:lnTo>
                    <a:pt x="2860" y="406"/>
                  </a:lnTo>
                  <a:lnTo>
                    <a:pt x="2872" y="418"/>
                  </a:lnTo>
                  <a:lnTo>
                    <a:pt x="2886" y="430"/>
                  </a:lnTo>
                  <a:lnTo>
                    <a:pt x="2902" y="440"/>
                  </a:lnTo>
                  <a:lnTo>
                    <a:pt x="2920" y="450"/>
                  </a:lnTo>
                  <a:lnTo>
                    <a:pt x="2920" y="450"/>
                  </a:lnTo>
                  <a:lnTo>
                    <a:pt x="2922" y="450"/>
                  </a:lnTo>
                  <a:lnTo>
                    <a:pt x="2922" y="446"/>
                  </a:lnTo>
                  <a:lnTo>
                    <a:pt x="2914" y="428"/>
                  </a:lnTo>
                  <a:lnTo>
                    <a:pt x="2908" y="412"/>
                  </a:lnTo>
                  <a:lnTo>
                    <a:pt x="2904" y="394"/>
                  </a:lnTo>
                  <a:lnTo>
                    <a:pt x="2900" y="372"/>
                  </a:lnTo>
                  <a:lnTo>
                    <a:pt x="2898" y="348"/>
                  </a:lnTo>
                  <a:lnTo>
                    <a:pt x="2898" y="348"/>
                  </a:lnTo>
                  <a:lnTo>
                    <a:pt x="2898" y="346"/>
                  </a:lnTo>
                  <a:lnTo>
                    <a:pt x="2900" y="346"/>
                  </a:lnTo>
                  <a:lnTo>
                    <a:pt x="2904" y="346"/>
                  </a:lnTo>
                  <a:lnTo>
                    <a:pt x="2920" y="358"/>
                  </a:lnTo>
                  <a:lnTo>
                    <a:pt x="2942" y="378"/>
                  </a:lnTo>
                  <a:lnTo>
                    <a:pt x="2968" y="398"/>
                  </a:lnTo>
                  <a:lnTo>
                    <a:pt x="2990" y="418"/>
                  </a:lnTo>
                  <a:lnTo>
                    <a:pt x="3004" y="432"/>
                  </a:lnTo>
                  <a:lnTo>
                    <a:pt x="3008" y="434"/>
                  </a:lnTo>
                  <a:lnTo>
                    <a:pt x="3008" y="432"/>
                  </a:lnTo>
                  <a:lnTo>
                    <a:pt x="2998" y="416"/>
                  </a:lnTo>
                  <a:lnTo>
                    <a:pt x="2998" y="416"/>
                  </a:lnTo>
                  <a:lnTo>
                    <a:pt x="2978" y="384"/>
                  </a:lnTo>
                  <a:lnTo>
                    <a:pt x="2952" y="342"/>
                  </a:lnTo>
                  <a:lnTo>
                    <a:pt x="2894" y="238"/>
                  </a:lnTo>
                  <a:lnTo>
                    <a:pt x="2864" y="184"/>
                  </a:lnTo>
                  <a:lnTo>
                    <a:pt x="2834" y="136"/>
                  </a:lnTo>
                  <a:lnTo>
                    <a:pt x="2808" y="96"/>
                  </a:lnTo>
                  <a:lnTo>
                    <a:pt x="2796" y="80"/>
                  </a:lnTo>
                  <a:lnTo>
                    <a:pt x="2786" y="68"/>
                  </a:lnTo>
                  <a:lnTo>
                    <a:pt x="2786" y="68"/>
                  </a:lnTo>
                  <a:close/>
                  <a:moveTo>
                    <a:pt x="1850" y="1230"/>
                  </a:moveTo>
                  <a:lnTo>
                    <a:pt x="1188" y="1224"/>
                  </a:lnTo>
                  <a:lnTo>
                    <a:pt x="428" y="730"/>
                  </a:lnTo>
                  <a:lnTo>
                    <a:pt x="428" y="730"/>
                  </a:lnTo>
                  <a:lnTo>
                    <a:pt x="572" y="716"/>
                  </a:lnTo>
                  <a:lnTo>
                    <a:pt x="772" y="698"/>
                  </a:lnTo>
                  <a:lnTo>
                    <a:pt x="1010" y="670"/>
                  </a:lnTo>
                  <a:lnTo>
                    <a:pt x="1138" y="654"/>
                  </a:lnTo>
                  <a:lnTo>
                    <a:pt x="1270" y="636"/>
                  </a:lnTo>
                  <a:lnTo>
                    <a:pt x="1270" y="636"/>
                  </a:lnTo>
                  <a:lnTo>
                    <a:pt x="1250" y="660"/>
                  </a:lnTo>
                  <a:lnTo>
                    <a:pt x="1232" y="684"/>
                  </a:lnTo>
                  <a:lnTo>
                    <a:pt x="1218" y="712"/>
                  </a:lnTo>
                  <a:lnTo>
                    <a:pt x="1204" y="740"/>
                  </a:lnTo>
                  <a:lnTo>
                    <a:pt x="1194" y="768"/>
                  </a:lnTo>
                  <a:lnTo>
                    <a:pt x="1186" y="800"/>
                  </a:lnTo>
                  <a:lnTo>
                    <a:pt x="1182" y="832"/>
                  </a:lnTo>
                  <a:lnTo>
                    <a:pt x="1180" y="864"/>
                  </a:lnTo>
                  <a:lnTo>
                    <a:pt x="1180" y="864"/>
                  </a:lnTo>
                  <a:lnTo>
                    <a:pt x="1182" y="898"/>
                  </a:lnTo>
                  <a:lnTo>
                    <a:pt x="1186" y="932"/>
                  </a:lnTo>
                  <a:lnTo>
                    <a:pt x="1196" y="964"/>
                  </a:lnTo>
                  <a:lnTo>
                    <a:pt x="1206" y="994"/>
                  </a:lnTo>
                  <a:lnTo>
                    <a:pt x="1220" y="1022"/>
                  </a:lnTo>
                  <a:lnTo>
                    <a:pt x="1238" y="1050"/>
                  </a:lnTo>
                  <a:lnTo>
                    <a:pt x="1256" y="1076"/>
                  </a:lnTo>
                  <a:lnTo>
                    <a:pt x="1278" y="1100"/>
                  </a:lnTo>
                  <a:lnTo>
                    <a:pt x="1302" y="1122"/>
                  </a:lnTo>
                  <a:lnTo>
                    <a:pt x="1328" y="1140"/>
                  </a:lnTo>
                  <a:lnTo>
                    <a:pt x="1354" y="1158"/>
                  </a:lnTo>
                  <a:lnTo>
                    <a:pt x="1384" y="1172"/>
                  </a:lnTo>
                  <a:lnTo>
                    <a:pt x="1414" y="1182"/>
                  </a:lnTo>
                  <a:lnTo>
                    <a:pt x="1446" y="1190"/>
                  </a:lnTo>
                  <a:lnTo>
                    <a:pt x="1480" y="1196"/>
                  </a:lnTo>
                  <a:lnTo>
                    <a:pt x="1514" y="1198"/>
                  </a:lnTo>
                  <a:lnTo>
                    <a:pt x="1514" y="1198"/>
                  </a:lnTo>
                  <a:lnTo>
                    <a:pt x="1548" y="1196"/>
                  </a:lnTo>
                  <a:lnTo>
                    <a:pt x="1582" y="1190"/>
                  </a:lnTo>
                  <a:lnTo>
                    <a:pt x="1614" y="1182"/>
                  </a:lnTo>
                  <a:lnTo>
                    <a:pt x="1644" y="1172"/>
                  </a:lnTo>
                  <a:lnTo>
                    <a:pt x="1672" y="1158"/>
                  </a:lnTo>
                  <a:lnTo>
                    <a:pt x="1700" y="1140"/>
                  </a:lnTo>
                  <a:lnTo>
                    <a:pt x="1726" y="1122"/>
                  </a:lnTo>
                  <a:lnTo>
                    <a:pt x="1750" y="1100"/>
                  </a:lnTo>
                  <a:lnTo>
                    <a:pt x="1772" y="1076"/>
                  </a:lnTo>
                  <a:lnTo>
                    <a:pt x="1790" y="1050"/>
                  </a:lnTo>
                  <a:lnTo>
                    <a:pt x="1808" y="1022"/>
                  </a:lnTo>
                  <a:lnTo>
                    <a:pt x="1822" y="994"/>
                  </a:lnTo>
                  <a:lnTo>
                    <a:pt x="1832" y="964"/>
                  </a:lnTo>
                  <a:lnTo>
                    <a:pt x="1840" y="932"/>
                  </a:lnTo>
                  <a:lnTo>
                    <a:pt x="1846" y="898"/>
                  </a:lnTo>
                  <a:lnTo>
                    <a:pt x="1848" y="864"/>
                  </a:lnTo>
                  <a:lnTo>
                    <a:pt x="1848" y="864"/>
                  </a:lnTo>
                  <a:lnTo>
                    <a:pt x="1846" y="840"/>
                  </a:lnTo>
                  <a:lnTo>
                    <a:pt x="1844" y="818"/>
                  </a:lnTo>
                  <a:lnTo>
                    <a:pt x="1840" y="794"/>
                  </a:lnTo>
                  <a:lnTo>
                    <a:pt x="1834" y="772"/>
                  </a:lnTo>
                  <a:lnTo>
                    <a:pt x="1828" y="752"/>
                  </a:lnTo>
                  <a:lnTo>
                    <a:pt x="1820" y="730"/>
                  </a:lnTo>
                  <a:lnTo>
                    <a:pt x="1810" y="710"/>
                  </a:lnTo>
                  <a:lnTo>
                    <a:pt x="1800" y="692"/>
                  </a:lnTo>
                  <a:lnTo>
                    <a:pt x="1788" y="672"/>
                  </a:lnTo>
                  <a:lnTo>
                    <a:pt x="1774" y="656"/>
                  </a:lnTo>
                  <a:lnTo>
                    <a:pt x="1760" y="638"/>
                  </a:lnTo>
                  <a:lnTo>
                    <a:pt x="1744" y="622"/>
                  </a:lnTo>
                  <a:lnTo>
                    <a:pt x="1728" y="608"/>
                  </a:lnTo>
                  <a:lnTo>
                    <a:pt x="1712" y="594"/>
                  </a:lnTo>
                  <a:lnTo>
                    <a:pt x="1692" y="582"/>
                  </a:lnTo>
                  <a:lnTo>
                    <a:pt x="1674" y="570"/>
                  </a:lnTo>
                  <a:lnTo>
                    <a:pt x="1674" y="570"/>
                  </a:lnTo>
                  <a:lnTo>
                    <a:pt x="1814" y="546"/>
                  </a:lnTo>
                  <a:lnTo>
                    <a:pt x="1948" y="520"/>
                  </a:lnTo>
                  <a:lnTo>
                    <a:pt x="2186" y="472"/>
                  </a:lnTo>
                  <a:lnTo>
                    <a:pt x="2368" y="432"/>
                  </a:lnTo>
                  <a:lnTo>
                    <a:pt x="2478" y="408"/>
                  </a:lnTo>
                  <a:lnTo>
                    <a:pt x="2480" y="808"/>
                  </a:lnTo>
                  <a:lnTo>
                    <a:pt x="1850" y="1230"/>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de-DE"/>
            </a:p>
          </p:txBody>
        </p:sp>
      </p:grpSp>
      <p:grpSp>
        <p:nvGrpSpPr>
          <p:cNvPr id="106" name="Gruppieren 105"/>
          <p:cNvGrpSpPr>
            <a:grpSpLocks noChangeAspect="1"/>
          </p:cNvGrpSpPr>
          <p:nvPr/>
        </p:nvGrpSpPr>
        <p:grpSpPr>
          <a:xfrm>
            <a:off x="3935219" y="2766699"/>
            <a:ext cx="591776" cy="591776"/>
            <a:chOff x="7467603" y="3086101"/>
            <a:chExt cx="1371600" cy="1371600"/>
          </a:xfrm>
        </p:grpSpPr>
        <p:sp>
          <p:nvSpPr>
            <p:cNvPr id="107" name="Oval 3"/>
            <p:cNvSpPr>
              <a:spLocks noChangeAspect="1"/>
            </p:cNvSpPr>
            <p:nvPr/>
          </p:nvSpPr>
          <p:spPr>
            <a:xfrm>
              <a:off x="7467603" y="3086101"/>
              <a:ext cx="1371600" cy="1371600"/>
            </a:xfrm>
            <a:prstGeom prst="ellipse">
              <a:avLst/>
            </a:prstGeom>
            <a:solidFill>
              <a:srgbClr val="000000"/>
            </a:solidFill>
            <a:ln>
              <a:solidFill>
                <a:srgbClr val="FFFFFF"/>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nvGrpSpPr>
            <p:cNvPr id="108" name="Gruppieren 107"/>
            <p:cNvGrpSpPr>
              <a:grpSpLocks noChangeAspect="1"/>
            </p:cNvGrpSpPr>
            <p:nvPr/>
          </p:nvGrpSpPr>
          <p:grpSpPr>
            <a:xfrm>
              <a:off x="7684250" y="3377657"/>
              <a:ext cx="953041" cy="779093"/>
              <a:chOff x="9166225" y="1917700"/>
              <a:chExt cx="2452688" cy="2005013"/>
            </a:xfrm>
            <a:solidFill>
              <a:srgbClr val="FFFFFF"/>
            </a:solidFill>
          </p:grpSpPr>
          <p:sp>
            <p:nvSpPr>
              <p:cNvPr id="109" name="Freeform 30"/>
              <p:cNvSpPr>
                <a:spLocks/>
              </p:cNvSpPr>
              <p:nvPr/>
            </p:nvSpPr>
            <p:spPr bwMode="auto">
              <a:xfrm>
                <a:off x="10642600" y="1917700"/>
                <a:ext cx="976313" cy="511175"/>
              </a:xfrm>
              <a:custGeom>
                <a:avLst/>
                <a:gdLst>
                  <a:gd name="T0" fmla="*/ 450 w 1230"/>
                  <a:gd name="T1" fmla="*/ 0 h 643"/>
                  <a:gd name="T2" fmla="*/ 98 w 1230"/>
                  <a:gd name="T3" fmla="*/ 0 h 643"/>
                  <a:gd name="T4" fmla="*/ 98 w 1230"/>
                  <a:gd name="T5" fmla="*/ 0 h 643"/>
                  <a:gd name="T6" fmla="*/ 91 w 1230"/>
                  <a:gd name="T7" fmla="*/ 14 h 643"/>
                  <a:gd name="T8" fmla="*/ 74 w 1230"/>
                  <a:gd name="T9" fmla="*/ 53 h 643"/>
                  <a:gd name="T10" fmla="*/ 60 w 1230"/>
                  <a:gd name="T11" fmla="*/ 81 h 643"/>
                  <a:gd name="T12" fmla="*/ 43 w 1230"/>
                  <a:gd name="T13" fmla="*/ 110 h 643"/>
                  <a:gd name="T14" fmla="*/ 24 w 1230"/>
                  <a:gd name="T15" fmla="*/ 143 h 643"/>
                  <a:gd name="T16" fmla="*/ 0 w 1230"/>
                  <a:gd name="T17" fmla="*/ 176 h 643"/>
                  <a:gd name="T18" fmla="*/ 473 w 1230"/>
                  <a:gd name="T19" fmla="*/ 176 h 643"/>
                  <a:gd name="T20" fmla="*/ 1144 w 1230"/>
                  <a:gd name="T21" fmla="*/ 643 h 643"/>
                  <a:gd name="T22" fmla="*/ 1230 w 1230"/>
                  <a:gd name="T23" fmla="*/ 522 h 643"/>
                  <a:gd name="T24" fmla="*/ 450 w 1230"/>
                  <a:gd name="T25" fmla="*/ 0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30" h="643">
                    <a:moveTo>
                      <a:pt x="450" y="0"/>
                    </a:moveTo>
                    <a:lnTo>
                      <a:pt x="98" y="0"/>
                    </a:lnTo>
                    <a:lnTo>
                      <a:pt x="98" y="0"/>
                    </a:lnTo>
                    <a:lnTo>
                      <a:pt x="91" y="14"/>
                    </a:lnTo>
                    <a:lnTo>
                      <a:pt x="74" y="53"/>
                    </a:lnTo>
                    <a:lnTo>
                      <a:pt x="60" y="81"/>
                    </a:lnTo>
                    <a:lnTo>
                      <a:pt x="43" y="110"/>
                    </a:lnTo>
                    <a:lnTo>
                      <a:pt x="24" y="143"/>
                    </a:lnTo>
                    <a:lnTo>
                      <a:pt x="0" y="176"/>
                    </a:lnTo>
                    <a:lnTo>
                      <a:pt x="473" y="176"/>
                    </a:lnTo>
                    <a:lnTo>
                      <a:pt x="1144" y="643"/>
                    </a:lnTo>
                    <a:lnTo>
                      <a:pt x="1230" y="522"/>
                    </a:lnTo>
                    <a:lnTo>
                      <a:pt x="45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10" name="Freeform 31"/>
              <p:cNvSpPr>
                <a:spLocks/>
              </p:cNvSpPr>
              <p:nvPr/>
            </p:nvSpPr>
            <p:spPr bwMode="auto">
              <a:xfrm>
                <a:off x="9166225" y="1917700"/>
                <a:ext cx="969963" cy="520700"/>
              </a:xfrm>
              <a:custGeom>
                <a:avLst/>
                <a:gdLst>
                  <a:gd name="T0" fmla="*/ 1222 w 1222"/>
                  <a:gd name="T1" fmla="*/ 176 h 657"/>
                  <a:gd name="T2" fmla="*/ 1222 w 1222"/>
                  <a:gd name="T3" fmla="*/ 176 h 657"/>
                  <a:gd name="T4" fmla="*/ 1201 w 1222"/>
                  <a:gd name="T5" fmla="*/ 143 h 657"/>
                  <a:gd name="T6" fmla="*/ 1184 w 1222"/>
                  <a:gd name="T7" fmla="*/ 110 h 657"/>
                  <a:gd name="T8" fmla="*/ 1170 w 1222"/>
                  <a:gd name="T9" fmla="*/ 81 h 657"/>
                  <a:gd name="T10" fmla="*/ 1158 w 1222"/>
                  <a:gd name="T11" fmla="*/ 53 h 657"/>
                  <a:gd name="T12" fmla="*/ 1142 w 1222"/>
                  <a:gd name="T13" fmla="*/ 14 h 657"/>
                  <a:gd name="T14" fmla="*/ 1139 w 1222"/>
                  <a:gd name="T15" fmla="*/ 0 h 657"/>
                  <a:gd name="T16" fmla="*/ 763 w 1222"/>
                  <a:gd name="T17" fmla="*/ 0 h 657"/>
                  <a:gd name="T18" fmla="*/ 0 w 1222"/>
                  <a:gd name="T19" fmla="*/ 522 h 657"/>
                  <a:gd name="T20" fmla="*/ 97 w 1222"/>
                  <a:gd name="T21" fmla="*/ 657 h 657"/>
                  <a:gd name="T22" fmla="*/ 757 w 1222"/>
                  <a:gd name="T23" fmla="*/ 176 h 657"/>
                  <a:gd name="T24" fmla="*/ 1222 w 1222"/>
                  <a:gd name="T25" fmla="*/ 176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22" h="657">
                    <a:moveTo>
                      <a:pt x="1222" y="176"/>
                    </a:moveTo>
                    <a:lnTo>
                      <a:pt x="1222" y="176"/>
                    </a:lnTo>
                    <a:lnTo>
                      <a:pt x="1201" y="143"/>
                    </a:lnTo>
                    <a:lnTo>
                      <a:pt x="1184" y="110"/>
                    </a:lnTo>
                    <a:lnTo>
                      <a:pt x="1170" y="81"/>
                    </a:lnTo>
                    <a:lnTo>
                      <a:pt x="1158" y="53"/>
                    </a:lnTo>
                    <a:lnTo>
                      <a:pt x="1142" y="14"/>
                    </a:lnTo>
                    <a:lnTo>
                      <a:pt x="1139" y="0"/>
                    </a:lnTo>
                    <a:lnTo>
                      <a:pt x="763" y="0"/>
                    </a:lnTo>
                    <a:lnTo>
                      <a:pt x="0" y="522"/>
                    </a:lnTo>
                    <a:lnTo>
                      <a:pt x="97" y="657"/>
                    </a:lnTo>
                    <a:lnTo>
                      <a:pt x="757" y="176"/>
                    </a:lnTo>
                    <a:lnTo>
                      <a:pt x="1222" y="1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11" name="Freeform 32"/>
              <p:cNvSpPr>
                <a:spLocks/>
              </p:cNvSpPr>
              <p:nvPr/>
            </p:nvSpPr>
            <p:spPr bwMode="auto">
              <a:xfrm>
                <a:off x="9931400" y="2968625"/>
                <a:ext cx="63500" cy="53975"/>
              </a:xfrm>
              <a:custGeom>
                <a:avLst/>
                <a:gdLst>
                  <a:gd name="T0" fmla="*/ 42 w 80"/>
                  <a:gd name="T1" fmla="*/ 0 h 67"/>
                  <a:gd name="T2" fmla="*/ 0 w 80"/>
                  <a:gd name="T3" fmla="*/ 0 h 67"/>
                  <a:gd name="T4" fmla="*/ 0 w 80"/>
                  <a:gd name="T5" fmla="*/ 67 h 67"/>
                  <a:gd name="T6" fmla="*/ 45 w 80"/>
                  <a:gd name="T7" fmla="*/ 67 h 67"/>
                  <a:gd name="T8" fmla="*/ 45 w 80"/>
                  <a:gd name="T9" fmla="*/ 67 h 67"/>
                  <a:gd name="T10" fmla="*/ 52 w 80"/>
                  <a:gd name="T11" fmla="*/ 67 h 67"/>
                  <a:gd name="T12" fmla="*/ 59 w 80"/>
                  <a:gd name="T13" fmla="*/ 64 h 67"/>
                  <a:gd name="T14" fmla="*/ 64 w 80"/>
                  <a:gd name="T15" fmla="*/ 62 h 67"/>
                  <a:gd name="T16" fmla="*/ 69 w 80"/>
                  <a:gd name="T17" fmla="*/ 57 h 67"/>
                  <a:gd name="T18" fmla="*/ 75 w 80"/>
                  <a:gd name="T19" fmla="*/ 52 h 67"/>
                  <a:gd name="T20" fmla="*/ 78 w 80"/>
                  <a:gd name="T21" fmla="*/ 47 h 67"/>
                  <a:gd name="T22" fmla="*/ 80 w 80"/>
                  <a:gd name="T23" fmla="*/ 40 h 67"/>
                  <a:gd name="T24" fmla="*/ 80 w 80"/>
                  <a:gd name="T25" fmla="*/ 33 h 67"/>
                  <a:gd name="T26" fmla="*/ 80 w 80"/>
                  <a:gd name="T27" fmla="*/ 33 h 67"/>
                  <a:gd name="T28" fmla="*/ 80 w 80"/>
                  <a:gd name="T29" fmla="*/ 26 h 67"/>
                  <a:gd name="T30" fmla="*/ 76 w 80"/>
                  <a:gd name="T31" fmla="*/ 21 h 67"/>
                  <a:gd name="T32" fmla="*/ 73 w 80"/>
                  <a:gd name="T33" fmla="*/ 14 h 67"/>
                  <a:gd name="T34" fmla="*/ 68 w 80"/>
                  <a:gd name="T35" fmla="*/ 11 h 67"/>
                  <a:gd name="T36" fmla="*/ 63 w 80"/>
                  <a:gd name="T37" fmla="*/ 5 h 67"/>
                  <a:gd name="T38" fmla="*/ 56 w 80"/>
                  <a:gd name="T39" fmla="*/ 4 h 67"/>
                  <a:gd name="T40" fmla="*/ 49 w 80"/>
                  <a:gd name="T41" fmla="*/ 2 h 67"/>
                  <a:gd name="T42" fmla="*/ 42 w 80"/>
                  <a:gd name="T43" fmla="*/ 0 h 67"/>
                  <a:gd name="T44" fmla="*/ 42 w 80"/>
                  <a:gd name="T45" fmla="*/ 0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0" h="67">
                    <a:moveTo>
                      <a:pt x="42" y="0"/>
                    </a:moveTo>
                    <a:lnTo>
                      <a:pt x="0" y="0"/>
                    </a:lnTo>
                    <a:lnTo>
                      <a:pt x="0" y="67"/>
                    </a:lnTo>
                    <a:lnTo>
                      <a:pt x="45" y="67"/>
                    </a:lnTo>
                    <a:lnTo>
                      <a:pt x="45" y="67"/>
                    </a:lnTo>
                    <a:lnTo>
                      <a:pt x="52" y="67"/>
                    </a:lnTo>
                    <a:lnTo>
                      <a:pt x="59" y="64"/>
                    </a:lnTo>
                    <a:lnTo>
                      <a:pt x="64" y="62"/>
                    </a:lnTo>
                    <a:lnTo>
                      <a:pt x="69" y="57"/>
                    </a:lnTo>
                    <a:lnTo>
                      <a:pt x="75" y="52"/>
                    </a:lnTo>
                    <a:lnTo>
                      <a:pt x="78" y="47"/>
                    </a:lnTo>
                    <a:lnTo>
                      <a:pt x="80" y="40"/>
                    </a:lnTo>
                    <a:lnTo>
                      <a:pt x="80" y="33"/>
                    </a:lnTo>
                    <a:lnTo>
                      <a:pt x="80" y="33"/>
                    </a:lnTo>
                    <a:lnTo>
                      <a:pt x="80" y="26"/>
                    </a:lnTo>
                    <a:lnTo>
                      <a:pt x="76" y="21"/>
                    </a:lnTo>
                    <a:lnTo>
                      <a:pt x="73" y="14"/>
                    </a:lnTo>
                    <a:lnTo>
                      <a:pt x="68" y="11"/>
                    </a:lnTo>
                    <a:lnTo>
                      <a:pt x="63" y="5"/>
                    </a:lnTo>
                    <a:lnTo>
                      <a:pt x="56" y="4"/>
                    </a:lnTo>
                    <a:lnTo>
                      <a:pt x="49" y="2"/>
                    </a:lnTo>
                    <a:lnTo>
                      <a:pt x="42" y="0"/>
                    </a:lnTo>
                    <a:lnTo>
                      <a:pt x="4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12" name="Freeform 33"/>
              <p:cNvSpPr>
                <a:spLocks/>
              </p:cNvSpPr>
              <p:nvPr/>
            </p:nvSpPr>
            <p:spPr bwMode="auto">
              <a:xfrm>
                <a:off x="10317163" y="2921000"/>
                <a:ext cx="60325" cy="65088"/>
              </a:xfrm>
              <a:custGeom>
                <a:avLst/>
                <a:gdLst>
                  <a:gd name="T0" fmla="*/ 36 w 76"/>
                  <a:gd name="T1" fmla="*/ 0 h 83"/>
                  <a:gd name="T2" fmla="*/ 0 w 76"/>
                  <a:gd name="T3" fmla="*/ 83 h 83"/>
                  <a:gd name="T4" fmla="*/ 76 w 76"/>
                  <a:gd name="T5" fmla="*/ 83 h 83"/>
                  <a:gd name="T6" fmla="*/ 38 w 76"/>
                  <a:gd name="T7" fmla="*/ 0 h 83"/>
                  <a:gd name="T8" fmla="*/ 36 w 76"/>
                  <a:gd name="T9" fmla="*/ 0 h 83"/>
                </a:gdLst>
                <a:ahLst/>
                <a:cxnLst>
                  <a:cxn ang="0">
                    <a:pos x="T0" y="T1"/>
                  </a:cxn>
                  <a:cxn ang="0">
                    <a:pos x="T2" y="T3"/>
                  </a:cxn>
                  <a:cxn ang="0">
                    <a:pos x="T4" y="T5"/>
                  </a:cxn>
                  <a:cxn ang="0">
                    <a:pos x="T6" y="T7"/>
                  </a:cxn>
                  <a:cxn ang="0">
                    <a:pos x="T8" y="T9"/>
                  </a:cxn>
                </a:cxnLst>
                <a:rect l="0" t="0" r="r" b="b"/>
                <a:pathLst>
                  <a:path w="76" h="83">
                    <a:moveTo>
                      <a:pt x="36" y="0"/>
                    </a:moveTo>
                    <a:lnTo>
                      <a:pt x="0" y="83"/>
                    </a:lnTo>
                    <a:lnTo>
                      <a:pt x="76" y="83"/>
                    </a:lnTo>
                    <a:lnTo>
                      <a:pt x="38" y="0"/>
                    </a:lnTo>
                    <a:lnTo>
                      <a:pt x="3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13" name="Freeform 34"/>
              <p:cNvSpPr>
                <a:spLocks/>
              </p:cNvSpPr>
              <p:nvPr/>
            </p:nvSpPr>
            <p:spPr bwMode="auto">
              <a:xfrm>
                <a:off x="9931400" y="2884488"/>
                <a:ext cx="57150" cy="50800"/>
              </a:xfrm>
              <a:custGeom>
                <a:avLst/>
                <a:gdLst>
                  <a:gd name="T0" fmla="*/ 73 w 73"/>
                  <a:gd name="T1" fmla="*/ 33 h 66"/>
                  <a:gd name="T2" fmla="*/ 73 w 73"/>
                  <a:gd name="T3" fmla="*/ 33 h 66"/>
                  <a:gd name="T4" fmla="*/ 73 w 73"/>
                  <a:gd name="T5" fmla="*/ 26 h 66"/>
                  <a:gd name="T6" fmla="*/ 71 w 73"/>
                  <a:gd name="T7" fmla="*/ 19 h 66"/>
                  <a:gd name="T8" fmla="*/ 68 w 73"/>
                  <a:gd name="T9" fmla="*/ 14 h 66"/>
                  <a:gd name="T10" fmla="*/ 64 w 73"/>
                  <a:gd name="T11" fmla="*/ 9 h 66"/>
                  <a:gd name="T12" fmla="*/ 59 w 73"/>
                  <a:gd name="T13" fmla="*/ 5 h 66"/>
                  <a:gd name="T14" fmla="*/ 54 w 73"/>
                  <a:gd name="T15" fmla="*/ 2 h 66"/>
                  <a:gd name="T16" fmla="*/ 47 w 73"/>
                  <a:gd name="T17" fmla="*/ 0 h 66"/>
                  <a:gd name="T18" fmla="*/ 40 w 73"/>
                  <a:gd name="T19" fmla="*/ 0 h 66"/>
                  <a:gd name="T20" fmla="*/ 0 w 73"/>
                  <a:gd name="T21" fmla="*/ 0 h 66"/>
                  <a:gd name="T22" fmla="*/ 0 w 73"/>
                  <a:gd name="T23" fmla="*/ 66 h 66"/>
                  <a:gd name="T24" fmla="*/ 40 w 73"/>
                  <a:gd name="T25" fmla="*/ 66 h 66"/>
                  <a:gd name="T26" fmla="*/ 40 w 73"/>
                  <a:gd name="T27" fmla="*/ 66 h 66"/>
                  <a:gd name="T28" fmla="*/ 47 w 73"/>
                  <a:gd name="T29" fmla="*/ 66 h 66"/>
                  <a:gd name="T30" fmla="*/ 54 w 73"/>
                  <a:gd name="T31" fmla="*/ 64 h 66"/>
                  <a:gd name="T32" fmla="*/ 59 w 73"/>
                  <a:gd name="T33" fmla="*/ 61 h 66"/>
                  <a:gd name="T34" fmla="*/ 64 w 73"/>
                  <a:gd name="T35" fmla="*/ 57 h 66"/>
                  <a:gd name="T36" fmla="*/ 68 w 73"/>
                  <a:gd name="T37" fmla="*/ 52 h 66"/>
                  <a:gd name="T38" fmla="*/ 71 w 73"/>
                  <a:gd name="T39" fmla="*/ 45 h 66"/>
                  <a:gd name="T40" fmla="*/ 73 w 73"/>
                  <a:gd name="T41" fmla="*/ 40 h 66"/>
                  <a:gd name="T42" fmla="*/ 73 w 73"/>
                  <a:gd name="T43" fmla="*/ 33 h 66"/>
                  <a:gd name="T44" fmla="*/ 73 w 73"/>
                  <a:gd name="T45" fmla="*/ 33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3" h="66">
                    <a:moveTo>
                      <a:pt x="73" y="33"/>
                    </a:moveTo>
                    <a:lnTo>
                      <a:pt x="73" y="33"/>
                    </a:lnTo>
                    <a:lnTo>
                      <a:pt x="73" y="26"/>
                    </a:lnTo>
                    <a:lnTo>
                      <a:pt x="71" y="19"/>
                    </a:lnTo>
                    <a:lnTo>
                      <a:pt x="68" y="14"/>
                    </a:lnTo>
                    <a:lnTo>
                      <a:pt x="64" y="9"/>
                    </a:lnTo>
                    <a:lnTo>
                      <a:pt x="59" y="5"/>
                    </a:lnTo>
                    <a:lnTo>
                      <a:pt x="54" y="2"/>
                    </a:lnTo>
                    <a:lnTo>
                      <a:pt x="47" y="0"/>
                    </a:lnTo>
                    <a:lnTo>
                      <a:pt x="40" y="0"/>
                    </a:lnTo>
                    <a:lnTo>
                      <a:pt x="0" y="0"/>
                    </a:lnTo>
                    <a:lnTo>
                      <a:pt x="0" y="66"/>
                    </a:lnTo>
                    <a:lnTo>
                      <a:pt x="40" y="66"/>
                    </a:lnTo>
                    <a:lnTo>
                      <a:pt x="40" y="66"/>
                    </a:lnTo>
                    <a:lnTo>
                      <a:pt x="47" y="66"/>
                    </a:lnTo>
                    <a:lnTo>
                      <a:pt x="54" y="64"/>
                    </a:lnTo>
                    <a:lnTo>
                      <a:pt x="59" y="61"/>
                    </a:lnTo>
                    <a:lnTo>
                      <a:pt x="64" y="57"/>
                    </a:lnTo>
                    <a:lnTo>
                      <a:pt x="68" y="52"/>
                    </a:lnTo>
                    <a:lnTo>
                      <a:pt x="71" y="45"/>
                    </a:lnTo>
                    <a:lnTo>
                      <a:pt x="73" y="40"/>
                    </a:lnTo>
                    <a:lnTo>
                      <a:pt x="73" y="33"/>
                    </a:lnTo>
                    <a:lnTo>
                      <a:pt x="73" y="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14" name="Freeform 35"/>
              <p:cNvSpPr>
                <a:spLocks/>
              </p:cNvSpPr>
              <p:nvPr/>
            </p:nvSpPr>
            <p:spPr bwMode="auto">
              <a:xfrm>
                <a:off x="10117138" y="2884488"/>
                <a:ext cx="77788" cy="60325"/>
              </a:xfrm>
              <a:custGeom>
                <a:avLst/>
                <a:gdLst>
                  <a:gd name="T0" fmla="*/ 61 w 99"/>
                  <a:gd name="T1" fmla="*/ 0 h 76"/>
                  <a:gd name="T2" fmla="*/ 0 w 99"/>
                  <a:gd name="T3" fmla="*/ 0 h 76"/>
                  <a:gd name="T4" fmla="*/ 0 w 99"/>
                  <a:gd name="T5" fmla="*/ 76 h 76"/>
                  <a:gd name="T6" fmla="*/ 61 w 99"/>
                  <a:gd name="T7" fmla="*/ 76 h 76"/>
                  <a:gd name="T8" fmla="*/ 61 w 99"/>
                  <a:gd name="T9" fmla="*/ 76 h 76"/>
                  <a:gd name="T10" fmla="*/ 69 w 99"/>
                  <a:gd name="T11" fmla="*/ 74 h 76"/>
                  <a:gd name="T12" fmla="*/ 76 w 99"/>
                  <a:gd name="T13" fmla="*/ 73 h 76"/>
                  <a:gd name="T14" fmla="*/ 81 w 99"/>
                  <a:gd name="T15" fmla="*/ 69 h 76"/>
                  <a:gd name="T16" fmla="*/ 88 w 99"/>
                  <a:gd name="T17" fmla="*/ 64 h 76"/>
                  <a:gd name="T18" fmla="*/ 92 w 99"/>
                  <a:gd name="T19" fmla="*/ 59 h 76"/>
                  <a:gd name="T20" fmla="*/ 95 w 99"/>
                  <a:gd name="T21" fmla="*/ 52 h 76"/>
                  <a:gd name="T22" fmla="*/ 99 w 99"/>
                  <a:gd name="T23" fmla="*/ 45 h 76"/>
                  <a:gd name="T24" fmla="*/ 99 w 99"/>
                  <a:gd name="T25" fmla="*/ 37 h 76"/>
                  <a:gd name="T26" fmla="*/ 99 w 99"/>
                  <a:gd name="T27" fmla="*/ 37 h 76"/>
                  <a:gd name="T28" fmla="*/ 99 w 99"/>
                  <a:gd name="T29" fmla="*/ 30 h 76"/>
                  <a:gd name="T30" fmla="*/ 95 w 99"/>
                  <a:gd name="T31" fmla="*/ 23 h 76"/>
                  <a:gd name="T32" fmla="*/ 92 w 99"/>
                  <a:gd name="T33" fmla="*/ 18 h 76"/>
                  <a:gd name="T34" fmla="*/ 88 w 99"/>
                  <a:gd name="T35" fmla="*/ 12 h 76"/>
                  <a:gd name="T36" fmla="*/ 81 w 99"/>
                  <a:gd name="T37" fmla="*/ 7 h 76"/>
                  <a:gd name="T38" fmla="*/ 76 w 99"/>
                  <a:gd name="T39" fmla="*/ 4 h 76"/>
                  <a:gd name="T40" fmla="*/ 69 w 99"/>
                  <a:gd name="T41" fmla="*/ 2 h 76"/>
                  <a:gd name="T42" fmla="*/ 61 w 99"/>
                  <a:gd name="T43" fmla="*/ 0 h 76"/>
                  <a:gd name="T44" fmla="*/ 61 w 99"/>
                  <a:gd name="T45"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9" h="76">
                    <a:moveTo>
                      <a:pt x="61" y="0"/>
                    </a:moveTo>
                    <a:lnTo>
                      <a:pt x="0" y="0"/>
                    </a:lnTo>
                    <a:lnTo>
                      <a:pt x="0" y="76"/>
                    </a:lnTo>
                    <a:lnTo>
                      <a:pt x="61" y="76"/>
                    </a:lnTo>
                    <a:lnTo>
                      <a:pt x="61" y="76"/>
                    </a:lnTo>
                    <a:lnTo>
                      <a:pt x="69" y="74"/>
                    </a:lnTo>
                    <a:lnTo>
                      <a:pt x="76" y="73"/>
                    </a:lnTo>
                    <a:lnTo>
                      <a:pt x="81" y="69"/>
                    </a:lnTo>
                    <a:lnTo>
                      <a:pt x="88" y="64"/>
                    </a:lnTo>
                    <a:lnTo>
                      <a:pt x="92" y="59"/>
                    </a:lnTo>
                    <a:lnTo>
                      <a:pt x="95" y="52"/>
                    </a:lnTo>
                    <a:lnTo>
                      <a:pt x="99" y="45"/>
                    </a:lnTo>
                    <a:lnTo>
                      <a:pt x="99" y="37"/>
                    </a:lnTo>
                    <a:lnTo>
                      <a:pt x="99" y="37"/>
                    </a:lnTo>
                    <a:lnTo>
                      <a:pt x="99" y="30"/>
                    </a:lnTo>
                    <a:lnTo>
                      <a:pt x="95" y="23"/>
                    </a:lnTo>
                    <a:lnTo>
                      <a:pt x="92" y="18"/>
                    </a:lnTo>
                    <a:lnTo>
                      <a:pt x="88" y="12"/>
                    </a:lnTo>
                    <a:lnTo>
                      <a:pt x="81" y="7"/>
                    </a:lnTo>
                    <a:lnTo>
                      <a:pt x="76" y="4"/>
                    </a:lnTo>
                    <a:lnTo>
                      <a:pt x="69" y="2"/>
                    </a:lnTo>
                    <a:lnTo>
                      <a:pt x="61" y="0"/>
                    </a:lnTo>
                    <a:lnTo>
                      <a:pt x="6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15" name="Freeform 36"/>
              <p:cNvSpPr>
                <a:spLocks/>
              </p:cNvSpPr>
              <p:nvPr/>
            </p:nvSpPr>
            <p:spPr bwMode="auto">
              <a:xfrm>
                <a:off x="10742613" y="2886075"/>
                <a:ext cx="101600" cy="134938"/>
              </a:xfrm>
              <a:custGeom>
                <a:avLst/>
                <a:gdLst>
                  <a:gd name="T0" fmla="*/ 43 w 127"/>
                  <a:gd name="T1" fmla="*/ 0 h 171"/>
                  <a:gd name="T2" fmla="*/ 0 w 127"/>
                  <a:gd name="T3" fmla="*/ 0 h 171"/>
                  <a:gd name="T4" fmla="*/ 0 w 127"/>
                  <a:gd name="T5" fmla="*/ 171 h 171"/>
                  <a:gd name="T6" fmla="*/ 43 w 127"/>
                  <a:gd name="T7" fmla="*/ 171 h 171"/>
                  <a:gd name="T8" fmla="*/ 43 w 127"/>
                  <a:gd name="T9" fmla="*/ 171 h 171"/>
                  <a:gd name="T10" fmla="*/ 60 w 127"/>
                  <a:gd name="T11" fmla="*/ 169 h 171"/>
                  <a:gd name="T12" fmla="*/ 77 w 127"/>
                  <a:gd name="T13" fmla="*/ 164 h 171"/>
                  <a:gd name="T14" fmla="*/ 91 w 127"/>
                  <a:gd name="T15" fmla="*/ 157 h 171"/>
                  <a:gd name="T16" fmla="*/ 103 w 127"/>
                  <a:gd name="T17" fmla="*/ 147 h 171"/>
                  <a:gd name="T18" fmla="*/ 114 w 127"/>
                  <a:gd name="T19" fmla="*/ 133 h 171"/>
                  <a:gd name="T20" fmla="*/ 122 w 127"/>
                  <a:gd name="T21" fmla="*/ 119 h 171"/>
                  <a:gd name="T22" fmla="*/ 126 w 127"/>
                  <a:gd name="T23" fmla="*/ 103 h 171"/>
                  <a:gd name="T24" fmla="*/ 127 w 127"/>
                  <a:gd name="T25" fmla="*/ 85 h 171"/>
                  <a:gd name="T26" fmla="*/ 127 w 127"/>
                  <a:gd name="T27" fmla="*/ 85 h 171"/>
                  <a:gd name="T28" fmla="*/ 126 w 127"/>
                  <a:gd name="T29" fmla="*/ 67 h 171"/>
                  <a:gd name="T30" fmla="*/ 122 w 127"/>
                  <a:gd name="T31" fmla="*/ 50 h 171"/>
                  <a:gd name="T32" fmla="*/ 114 w 127"/>
                  <a:gd name="T33" fmla="*/ 36 h 171"/>
                  <a:gd name="T34" fmla="*/ 103 w 127"/>
                  <a:gd name="T35" fmla="*/ 24 h 171"/>
                  <a:gd name="T36" fmla="*/ 91 w 127"/>
                  <a:gd name="T37" fmla="*/ 14 h 171"/>
                  <a:gd name="T38" fmla="*/ 77 w 127"/>
                  <a:gd name="T39" fmla="*/ 5 h 171"/>
                  <a:gd name="T40" fmla="*/ 60 w 127"/>
                  <a:gd name="T41" fmla="*/ 2 h 171"/>
                  <a:gd name="T42" fmla="*/ 43 w 127"/>
                  <a:gd name="T43" fmla="*/ 0 h 171"/>
                  <a:gd name="T44" fmla="*/ 43 w 127"/>
                  <a:gd name="T45" fmla="*/ 0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7" h="171">
                    <a:moveTo>
                      <a:pt x="43" y="0"/>
                    </a:moveTo>
                    <a:lnTo>
                      <a:pt x="0" y="0"/>
                    </a:lnTo>
                    <a:lnTo>
                      <a:pt x="0" y="171"/>
                    </a:lnTo>
                    <a:lnTo>
                      <a:pt x="43" y="171"/>
                    </a:lnTo>
                    <a:lnTo>
                      <a:pt x="43" y="171"/>
                    </a:lnTo>
                    <a:lnTo>
                      <a:pt x="60" y="169"/>
                    </a:lnTo>
                    <a:lnTo>
                      <a:pt x="77" y="164"/>
                    </a:lnTo>
                    <a:lnTo>
                      <a:pt x="91" y="157"/>
                    </a:lnTo>
                    <a:lnTo>
                      <a:pt x="103" y="147"/>
                    </a:lnTo>
                    <a:lnTo>
                      <a:pt x="114" y="133"/>
                    </a:lnTo>
                    <a:lnTo>
                      <a:pt x="122" y="119"/>
                    </a:lnTo>
                    <a:lnTo>
                      <a:pt x="126" y="103"/>
                    </a:lnTo>
                    <a:lnTo>
                      <a:pt x="127" y="85"/>
                    </a:lnTo>
                    <a:lnTo>
                      <a:pt x="127" y="85"/>
                    </a:lnTo>
                    <a:lnTo>
                      <a:pt x="126" y="67"/>
                    </a:lnTo>
                    <a:lnTo>
                      <a:pt x="122" y="50"/>
                    </a:lnTo>
                    <a:lnTo>
                      <a:pt x="114" y="36"/>
                    </a:lnTo>
                    <a:lnTo>
                      <a:pt x="103" y="24"/>
                    </a:lnTo>
                    <a:lnTo>
                      <a:pt x="91" y="14"/>
                    </a:lnTo>
                    <a:lnTo>
                      <a:pt x="77" y="5"/>
                    </a:lnTo>
                    <a:lnTo>
                      <a:pt x="60" y="2"/>
                    </a:lnTo>
                    <a:lnTo>
                      <a:pt x="43" y="0"/>
                    </a:lnTo>
                    <a:lnTo>
                      <a:pt x="4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16" name="Freeform 37"/>
              <p:cNvSpPr>
                <a:spLocks noEditPoints="1"/>
              </p:cNvSpPr>
              <p:nvPr/>
            </p:nvSpPr>
            <p:spPr bwMode="auto">
              <a:xfrm>
                <a:off x="9293225" y="2127250"/>
                <a:ext cx="2211388" cy="1795463"/>
              </a:xfrm>
              <a:custGeom>
                <a:avLst/>
                <a:gdLst>
                  <a:gd name="T0" fmla="*/ 1522 w 2785"/>
                  <a:gd name="T1" fmla="*/ 62 h 2262"/>
                  <a:gd name="T2" fmla="*/ 1365 w 2785"/>
                  <a:gd name="T3" fmla="*/ 100 h 2262"/>
                  <a:gd name="T4" fmla="*/ 1203 w 2785"/>
                  <a:gd name="T5" fmla="*/ 52 h 2262"/>
                  <a:gd name="T6" fmla="*/ 249 w 2785"/>
                  <a:gd name="T7" fmla="*/ 810 h 2262"/>
                  <a:gd name="T8" fmla="*/ 673 w 2785"/>
                  <a:gd name="T9" fmla="*/ 2107 h 2262"/>
                  <a:gd name="T10" fmla="*/ 961 w 2785"/>
                  <a:gd name="T11" fmla="*/ 2212 h 2262"/>
                  <a:gd name="T12" fmla="*/ 1346 w 2785"/>
                  <a:gd name="T13" fmla="*/ 2260 h 2262"/>
                  <a:gd name="T14" fmla="*/ 1596 w 2785"/>
                  <a:gd name="T15" fmla="*/ 2253 h 2262"/>
                  <a:gd name="T16" fmla="*/ 1829 w 2785"/>
                  <a:gd name="T17" fmla="*/ 2212 h 2262"/>
                  <a:gd name="T18" fmla="*/ 2104 w 2785"/>
                  <a:gd name="T19" fmla="*/ 2088 h 2262"/>
                  <a:gd name="T20" fmla="*/ 2531 w 2785"/>
                  <a:gd name="T21" fmla="*/ 810 h 2262"/>
                  <a:gd name="T22" fmla="*/ 1912 w 2785"/>
                  <a:gd name="T23" fmla="*/ 595 h 2262"/>
                  <a:gd name="T24" fmla="*/ 1869 w 2785"/>
                  <a:gd name="T25" fmla="*/ 653 h 2262"/>
                  <a:gd name="T26" fmla="*/ 1781 w 2785"/>
                  <a:gd name="T27" fmla="*/ 679 h 2262"/>
                  <a:gd name="T28" fmla="*/ 1717 w 2785"/>
                  <a:gd name="T29" fmla="*/ 660 h 2262"/>
                  <a:gd name="T30" fmla="*/ 1662 w 2785"/>
                  <a:gd name="T31" fmla="*/ 407 h 2262"/>
                  <a:gd name="T32" fmla="*/ 756 w 2785"/>
                  <a:gd name="T33" fmla="*/ 1167 h 2262"/>
                  <a:gd name="T34" fmla="*/ 761 w 2785"/>
                  <a:gd name="T35" fmla="*/ 910 h 2262"/>
                  <a:gd name="T36" fmla="*/ 894 w 2785"/>
                  <a:gd name="T37" fmla="*/ 921 h 2262"/>
                  <a:gd name="T38" fmla="*/ 929 w 2785"/>
                  <a:gd name="T39" fmla="*/ 977 h 2262"/>
                  <a:gd name="T40" fmla="*/ 901 w 2785"/>
                  <a:gd name="T41" fmla="*/ 1029 h 2262"/>
                  <a:gd name="T42" fmla="*/ 920 w 2785"/>
                  <a:gd name="T43" fmla="*/ 1058 h 2262"/>
                  <a:gd name="T44" fmla="*/ 934 w 2785"/>
                  <a:gd name="T45" fmla="*/ 1114 h 2262"/>
                  <a:gd name="T46" fmla="*/ 872 w 2785"/>
                  <a:gd name="T47" fmla="*/ 1171 h 2262"/>
                  <a:gd name="T48" fmla="*/ 1181 w 2785"/>
                  <a:gd name="T49" fmla="*/ 1169 h 2262"/>
                  <a:gd name="T50" fmla="*/ 1129 w 2785"/>
                  <a:gd name="T51" fmla="*/ 1169 h 2262"/>
                  <a:gd name="T52" fmla="*/ 1036 w 2785"/>
                  <a:gd name="T53" fmla="*/ 1169 h 2262"/>
                  <a:gd name="T54" fmla="*/ 991 w 2785"/>
                  <a:gd name="T55" fmla="*/ 1169 h 2262"/>
                  <a:gd name="T56" fmla="*/ 991 w 2785"/>
                  <a:gd name="T57" fmla="*/ 910 h 2262"/>
                  <a:gd name="T58" fmla="*/ 1134 w 2785"/>
                  <a:gd name="T59" fmla="*/ 915 h 2262"/>
                  <a:gd name="T60" fmla="*/ 1184 w 2785"/>
                  <a:gd name="T61" fmla="*/ 990 h 2262"/>
                  <a:gd name="T62" fmla="*/ 1162 w 2785"/>
                  <a:gd name="T63" fmla="*/ 1045 h 2262"/>
                  <a:gd name="T64" fmla="*/ 1413 w 2785"/>
                  <a:gd name="T65" fmla="*/ 1172 h 2262"/>
                  <a:gd name="T66" fmla="*/ 1272 w 2785"/>
                  <a:gd name="T67" fmla="*/ 1124 h 2262"/>
                  <a:gd name="T68" fmla="*/ 1210 w 2785"/>
                  <a:gd name="T69" fmla="*/ 1172 h 2262"/>
                  <a:gd name="T70" fmla="*/ 1320 w 2785"/>
                  <a:gd name="T71" fmla="*/ 908 h 2262"/>
                  <a:gd name="T72" fmla="*/ 1336 w 2785"/>
                  <a:gd name="T73" fmla="*/ 907 h 2262"/>
                  <a:gd name="T74" fmla="*/ 1451 w 2785"/>
                  <a:gd name="T75" fmla="*/ 1171 h 2262"/>
                  <a:gd name="T76" fmla="*/ 1707 w 2785"/>
                  <a:gd name="T77" fmla="*/ 1174 h 2262"/>
                  <a:gd name="T78" fmla="*/ 1536 w 2785"/>
                  <a:gd name="T79" fmla="*/ 1164 h 2262"/>
                  <a:gd name="T80" fmla="*/ 1495 w 2785"/>
                  <a:gd name="T81" fmla="*/ 1172 h 2262"/>
                  <a:gd name="T82" fmla="*/ 1488 w 2785"/>
                  <a:gd name="T83" fmla="*/ 912 h 2262"/>
                  <a:gd name="T84" fmla="*/ 1505 w 2785"/>
                  <a:gd name="T85" fmla="*/ 905 h 2262"/>
                  <a:gd name="T86" fmla="*/ 1662 w 2785"/>
                  <a:gd name="T87" fmla="*/ 910 h 2262"/>
                  <a:gd name="T88" fmla="*/ 1707 w 2785"/>
                  <a:gd name="T89" fmla="*/ 910 h 2262"/>
                  <a:gd name="T90" fmla="*/ 1784 w 2785"/>
                  <a:gd name="T91" fmla="*/ 1172 h 2262"/>
                  <a:gd name="T92" fmla="*/ 1779 w 2785"/>
                  <a:gd name="T93" fmla="*/ 910 h 2262"/>
                  <a:gd name="T94" fmla="*/ 1900 w 2785"/>
                  <a:gd name="T95" fmla="*/ 912 h 2262"/>
                  <a:gd name="T96" fmla="*/ 1967 w 2785"/>
                  <a:gd name="T97" fmla="*/ 948 h 2262"/>
                  <a:gd name="T98" fmla="*/ 2004 w 2785"/>
                  <a:gd name="T99" fmla="*/ 1014 h 2262"/>
                  <a:gd name="T100" fmla="*/ 2000 w 2785"/>
                  <a:gd name="T101" fmla="*/ 1079 h 2262"/>
                  <a:gd name="T102" fmla="*/ 1957 w 2785"/>
                  <a:gd name="T103" fmla="*/ 1141 h 2262"/>
                  <a:gd name="T104" fmla="*/ 1888 w 2785"/>
                  <a:gd name="T105" fmla="*/ 1171 h 2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785" h="2262">
                    <a:moveTo>
                      <a:pt x="1643" y="0"/>
                    </a:moveTo>
                    <a:lnTo>
                      <a:pt x="1643" y="0"/>
                    </a:lnTo>
                    <a:lnTo>
                      <a:pt x="1621" y="15"/>
                    </a:lnTo>
                    <a:lnTo>
                      <a:pt x="1591" y="31"/>
                    </a:lnTo>
                    <a:lnTo>
                      <a:pt x="1557" y="46"/>
                    </a:lnTo>
                    <a:lnTo>
                      <a:pt x="1522" y="62"/>
                    </a:lnTo>
                    <a:lnTo>
                      <a:pt x="1484" y="76"/>
                    </a:lnTo>
                    <a:lnTo>
                      <a:pt x="1448" y="88"/>
                    </a:lnTo>
                    <a:lnTo>
                      <a:pt x="1413" y="95"/>
                    </a:lnTo>
                    <a:lnTo>
                      <a:pt x="1382" y="100"/>
                    </a:lnTo>
                    <a:lnTo>
                      <a:pt x="1382" y="100"/>
                    </a:lnTo>
                    <a:lnTo>
                      <a:pt x="1365" y="100"/>
                    </a:lnTo>
                    <a:lnTo>
                      <a:pt x="1348" y="98"/>
                    </a:lnTo>
                    <a:lnTo>
                      <a:pt x="1331" y="96"/>
                    </a:lnTo>
                    <a:lnTo>
                      <a:pt x="1312" y="93"/>
                    </a:lnTo>
                    <a:lnTo>
                      <a:pt x="1275" y="83"/>
                    </a:lnTo>
                    <a:lnTo>
                      <a:pt x="1239" y="69"/>
                    </a:lnTo>
                    <a:lnTo>
                      <a:pt x="1203" y="52"/>
                    </a:lnTo>
                    <a:lnTo>
                      <a:pt x="1170" y="34"/>
                    </a:lnTo>
                    <a:lnTo>
                      <a:pt x="1141" y="17"/>
                    </a:lnTo>
                    <a:lnTo>
                      <a:pt x="1117" y="0"/>
                    </a:lnTo>
                    <a:lnTo>
                      <a:pt x="639" y="0"/>
                    </a:lnTo>
                    <a:lnTo>
                      <a:pt x="0" y="479"/>
                    </a:lnTo>
                    <a:lnTo>
                      <a:pt x="249" y="810"/>
                    </a:lnTo>
                    <a:lnTo>
                      <a:pt x="603" y="543"/>
                    </a:lnTo>
                    <a:lnTo>
                      <a:pt x="603" y="2062"/>
                    </a:lnTo>
                    <a:lnTo>
                      <a:pt x="603" y="2062"/>
                    </a:lnTo>
                    <a:lnTo>
                      <a:pt x="613" y="2071"/>
                    </a:lnTo>
                    <a:lnTo>
                      <a:pt x="647" y="2093"/>
                    </a:lnTo>
                    <a:lnTo>
                      <a:pt x="673" y="2107"/>
                    </a:lnTo>
                    <a:lnTo>
                      <a:pt x="704" y="2124"/>
                    </a:lnTo>
                    <a:lnTo>
                      <a:pt x="742" y="2141"/>
                    </a:lnTo>
                    <a:lnTo>
                      <a:pt x="787" y="2160"/>
                    </a:lnTo>
                    <a:lnTo>
                      <a:pt x="839" y="2178"/>
                    </a:lnTo>
                    <a:lnTo>
                      <a:pt x="898" y="2196"/>
                    </a:lnTo>
                    <a:lnTo>
                      <a:pt x="961" y="2212"/>
                    </a:lnTo>
                    <a:lnTo>
                      <a:pt x="1034" y="2228"/>
                    </a:lnTo>
                    <a:lnTo>
                      <a:pt x="1115" y="2241"/>
                    </a:lnTo>
                    <a:lnTo>
                      <a:pt x="1201" y="2252"/>
                    </a:lnTo>
                    <a:lnTo>
                      <a:pt x="1248" y="2255"/>
                    </a:lnTo>
                    <a:lnTo>
                      <a:pt x="1296" y="2259"/>
                    </a:lnTo>
                    <a:lnTo>
                      <a:pt x="1346" y="2260"/>
                    </a:lnTo>
                    <a:lnTo>
                      <a:pt x="1400" y="2262"/>
                    </a:lnTo>
                    <a:lnTo>
                      <a:pt x="1400" y="2262"/>
                    </a:lnTo>
                    <a:lnTo>
                      <a:pt x="1451" y="2262"/>
                    </a:lnTo>
                    <a:lnTo>
                      <a:pt x="1501" y="2260"/>
                    </a:lnTo>
                    <a:lnTo>
                      <a:pt x="1550" y="2257"/>
                    </a:lnTo>
                    <a:lnTo>
                      <a:pt x="1596" y="2253"/>
                    </a:lnTo>
                    <a:lnTo>
                      <a:pt x="1639" y="2248"/>
                    </a:lnTo>
                    <a:lnTo>
                      <a:pt x="1681" y="2243"/>
                    </a:lnTo>
                    <a:lnTo>
                      <a:pt x="1722" y="2236"/>
                    </a:lnTo>
                    <a:lnTo>
                      <a:pt x="1760" y="2228"/>
                    </a:lnTo>
                    <a:lnTo>
                      <a:pt x="1795" y="2221"/>
                    </a:lnTo>
                    <a:lnTo>
                      <a:pt x="1829" y="2212"/>
                    </a:lnTo>
                    <a:lnTo>
                      <a:pt x="1893" y="2191"/>
                    </a:lnTo>
                    <a:lnTo>
                      <a:pt x="1948" y="2171"/>
                    </a:lnTo>
                    <a:lnTo>
                      <a:pt x="1997" y="2150"/>
                    </a:lnTo>
                    <a:lnTo>
                      <a:pt x="2040" y="2128"/>
                    </a:lnTo>
                    <a:lnTo>
                      <a:pt x="2074" y="2107"/>
                    </a:lnTo>
                    <a:lnTo>
                      <a:pt x="2104" y="2088"/>
                    </a:lnTo>
                    <a:lnTo>
                      <a:pt x="2128" y="2071"/>
                    </a:lnTo>
                    <a:lnTo>
                      <a:pt x="2145" y="2055"/>
                    </a:lnTo>
                    <a:lnTo>
                      <a:pt x="2159" y="2043"/>
                    </a:lnTo>
                    <a:lnTo>
                      <a:pt x="2167" y="2034"/>
                    </a:lnTo>
                    <a:lnTo>
                      <a:pt x="2167" y="538"/>
                    </a:lnTo>
                    <a:lnTo>
                      <a:pt x="2531" y="810"/>
                    </a:lnTo>
                    <a:lnTo>
                      <a:pt x="2785" y="465"/>
                    </a:lnTo>
                    <a:lnTo>
                      <a:pt x="2140" y="0"/>
                    </a:lnTo>
                    <a:lnTo>
                      <a:pt x="1643" y="0"/>
                    </a:lnTo>
                    <a:close/>
                    <a:moveTo>
                      <a:pt x="1662" y="407"/>
                    </a:moveTo>
                    <a:lnTo>
                      <a:pt x="1912" y="407"/>
                    </a:lnTo>
                    <a:lnTo>
                      <a:pt x="1912" y="595"/>
                    </a:lnTo>
                    <a:lnTo>
                      <a:pt x="1912" y="595"/>
                    </a:lnTo>
                    <a:lnTo>
                      <a:pt x="1905" y="608"/>
                    </a:lnTo>
                    <a:lnTo>
                      <a:pt x="1898" y="621"/>
                    </a:lnTo>
                    <a:lnTo>
                      <a:pt x="1886" y="636"/>
                    </a:lnTo>
                    <a:lnTo>
                      <a:pt x="1878" y="645"/>
                    </a:lnTo>
                    <a:lnTo>
                      <a:pt x="1869" y="653"/>
                    </a:lnTo>
                    <a:lnTo>
                      <a:pt x="1857" y="660"/>
                    </a:lnTo>
                    <a:lnTo>
                      <a:pt x="1845" y="665"/>
                    </a:lnTo>
                    <a:lnTo>
                      <a:pt x="1831" y="672"/>
                    </a:lnTo>
                    <a:lnTo>
                      <a:pt x="1815" y="676"/>
                    </a:lnTo>
                    <a:lnTo>
                      <a:pt x="1800" y="679"/>
                    </a:lnTo>
                    <a:lnTo>
                      <a:pt x="1781" y="679"/>
                    </a:lnTo>
                    <a:lnTo>
                      <a:pt x="1781" y="679"/>
                    </a:lnTo>
                    <a:lnTo>
                      <a:pt x="1765" y="679"/>
                    </a:lnTo>
                    <a:lnTo>
                      <a:pt x="1752" y="676"/>
                    </a:lnTo>
                    <a:lnTo>
                      <a:pt x="1740" y="672"/>
                    </a:lnTo>
                    <a:lnTo>
                      <a:pt x="1727" y="665"/>
                    </a:lnTo>
                    <a:lnTo>
                      <a:pt x="1717" y="660"/>
                    </a:lnTo>
                    <a:lnTo>
                      <a:pt x="1707" y="653"/>
                    </a:lnTo>
                    <a:lnTo>
                      <a:pt x="1691" y="636"/>
                    </a:lnTo>
                    <a:lnTo>
                      <a:pt x="1677" y="621"/>
                    </a:lnTo>
                    <a:lnTo>
                      <a:pt x="1669" y="608"/>
                    </a:lnTo>
                    <a:lnTo>
                      <a:pt x="1662" y="595"/>
                    </a:lnTo>
                    <a:lnTo>
                      <a:pt x="1662" y="407"/>
                    </a:lnTo>
                    <a:close/>
                    <a:moveTo>
                      <a:pt x="854" y="1172"/>
                    </a:moveTo>
                    <a:lnTo>
                      <a:pt x="763" y="1172"/>
                    </a:lnTo>
                    <a:lnTo>
                      <a:pt x="763" y="1172"/>
                    </a:lnTo>
                    <a:lnTo>
                      <a:pt x="761" y="1171"/>
                    </a:lnTo>
                    <a:lnTo>
                      <a:pt x="758" y="1169"/>
                    </a:lnTo>
                    <a:lnTo>
                      <a:pt x="756" y="1167"/>
                    </a:lnTo>
                    <a:lnTo>
                      <a:pt x="756" y="1164"/>
                    </a:lnTo>
                    <a:lnTo>
                      <a:pt x="756" y="915"/>
                    </a:lnTo>
                    <a:lnTo>
                      <a:pt x="756" y="915"/>
                    </a:lnTo>
                    <a:lnTo>
                      <a:pt x="756" y="914"/>
                    </a:lnTo>
                    <a:lnTo>
                      <a:pt x="758" y="910"/>
                    </a:lnTo>
                    <a:lnTo>
                      <a:pt x="761" y="910"/>
                    </a:lnTo>
                    <a:lnTo>
                      <a:pt x="763" y="908"/>
                    </a:lnTo>
                    <a:lnTo>
                      <a:pt x="849" y="908"/>
                    </a:lnTo>
                    <a:lnTo>
                      <a:pt x="849" y="908"/>
                    </a:lnTo>
                    <a:lnTo>
                      <a:pt x="865" y="910"/>
                    </a:lnTo>
                    <a:lnTo>
                      <a:pt x="880" y="914"/>
                    </a:lnTo>
                    <a:lnTo>
                      <a:pt x="894" y="921"/>
                    </a:lnTo>
                    <a:lnTo>
                      <a:pt x="906" y="929"/>
                    </a:lnTo>
                    <a:lnTo>
                      <a:pt x="915" y="940"/>
                    </a:lnTo>
                    <a:lnTo>
                      <a:pt x="922" y="952"/>
                    </a:lnTo>
                    <a:lnTo>
                      <a:pt x="927" y="964"/>
                    </a:lnTo>
                    <a:lnTo>
                      <a:pt x="929" y="977"/>
                    </a:lnTo>
                    <a:lnTo>
                      <a:pt x="929" y="977"/>
                    </a:lnTo>
                    <a:lnTo>
                      <a:pt x="927" y="990"/>
                    </a:lnTo>
                    <a:lnTo>
                      <a:pt x="925" y="998"/>
                    </a:lnTo>
                    <a:lnTo>
                      <a:pt x="920" y="1008"/>
                    </a:lnTo>
                    <a:lnTo>
                      <a:pt x="915" y="1015"/>
                    </a:lnTo>
                    <a:lnTo>
                      <a:pt x="908" y="1022"/>
                    </a:lnTo>
                    <a:lnTo>
                      <a:pt x="901" y="1029"/>
                    </a:lnTo>
                    <a:lnTo>
                      <a:pt x="887" y="1038"/>
                    </a:lnTo>
                    <a:lnTo>
                      <a:pt x="887" y="1038"/>
                    </a:lnTo>
                    <a:lnTo>
                      <a:pt x="896" y="1041"/>
                    </a:lnTo>
                    <a:lnTo>
                      <a:pt x="903" y="1045"/>
                    </a:lnTo>
                    <a:lnTo>
                      <a:pt x="911" y="1052"/>
                    </a:lnTo>
                    <a:lnTo>
                      <a:pt x="920" y="1058"/>
                    </a:lnTo>
                    <a:lnTo>
                      <a:pt x="925" y="1067"/>
                    </a:lnTo>
                    <a:lnTo>
                      <a:pt x="932" y="1076"/>
                    </a:lnTo>
                    <a:lnTo>
                      <a:pt x="936" y="1086"/>
                    </a:lnTo>
                    <a:lnTo>
                      <a:pt x="936" y="1100"/>
                    </a:lnTo>
                    <a:lnTo>
                      <a:pt x="936" y="1100"/>
                    </a:lnTo>
                    <a:lnTo>
                      <a:pt x="934" y="1114"/>
                    </a:lnTo>
                    <a:lnTo>
                      <a:pt x="930" y="1127"/>
                    </a:lnTo>
                    <a:lnTo>
                      <a:pt x="922" y="1141"/>
                    </a:lnTo>
                    <a:lnTo>
                      <a:pt x="913" y="1152"/>
                    </a:lnTo>
                    <a:lnTo>
                      <a:pt x="901" y="1160"/>
                    </a:lnTo>
                    <a:lnTo>
                      <a:pt x="886" y="1165"/>
                    </a:lnTo>
                    <a:lnTo>
                      <a:pt x="872" y="1171"/>
                    </a:lnTo>
                    <a:lnTo>
                      <a:pt x="854" y="1172"/>
                    </a:lnTo>
                    <a:lnTo>
                      <a:pt x="854" y="1172"/>
                    </a:lnTo>
                    <a:close/>
                    <a:moveTo>
                      <a:pt x="1181" y="1160"/>
                    </a:moveTo>
                    <a:lnTo>
                      <a:pt x="1181" y="1160"/>
                    </a:lnTo>
                    <a:lnTo>
                      <a:pt x="1182" y="1164"/>
                    </a:lnTo>
                    <a:lnTo>
                      <a:pt x="1181" y="1169"/>
                    </a:lnTo>
                    <a:lnTo>
                      <a:pt x="1179" y="1171"/>
                    </a:lnTo>
                    <a:lnTo>
                      <a:pt x="1174" y="1172"/>
                    </a:lnTo>
                    <a:lnTo>
                      <a:pt x="1134" y="1172"/>
                    </a:lnTo>
                    <a:lnTo>
                      <a:pt x="1134" y="1172"/>
                    </a:lnTo>
                    <a:lnTo>
                      <a:pt x="1131" y="1171"/>
                    </a:lnTo>
                    <a:lnTo>
                      <a:pt x="1129" y="1169"/>
                    </a:lnTo>
                    <a:lnTo>
                      <a:pt x="1079" y="1069"/>
                    </a:lnTo>
                    <a:lnTo>
                      <a:pt x="1037" y="1069"/>
                    </a:lnTo>
                    <a:lnTo>
                      <a:pt x="1037" y="1164"/>
                    </a:lnTo>
                    <a:lnTo>
                      <a:pt x="1037" y="1164"/>
                    </a:lnTo>
                    <a:lnTo>
                      <a:pt x="1036" y="1167"/>
                    </a:lnTo>
                    <a:lnTo>
                      <a:pt x="1036" y="1169"/>
                    </a:lnTo>
                    <a:lnTo>
                      <a:pt x="1032" y="1171"/>
                    </a:lnTo>
                    <a:lnTo>
                      <a:pt x="1030" y="1172"/>
                    </a:lnTo>
                    <a:lnTo>
                      <a:pt x="996" y="1172"/>
                    </a:lnTo>
                    <a:lnTo>
                      <a:pt x="996" y="1172"/>
                    </a:lnTo>
                    <a:lnTo>
                      <a:pt x="992" y="1171"/>
                    </a:lnTo>
                    <a:lnTo>
                      <a:pt x="991" y="1169"/>
                    </a:lnTo>
                    <a:lnTo>
                      <a:pt x="989" y="1167"/>
                    </a:lnTo>
                    <a:lnTo>
                      <a:pt x="987" y="1164"/>
                    </a:lnTo>
                    <a:lnTo>
                      <a:pt x="987" y="915"/>
                    </a:lnTo>
                    <a:lnTo>
                      <a:pt x="987" y="915"/>
                    </a:lnTo>
                    <a:lnTo>
                      <a:pt x="989" y="914"/>
                    </a:lnTo>
                    <a:lnTo>
                      <a:pt x="991" y="910"/>
                    </a:lnTo>
                    <a:lnTo>
                      <a:pt x="992" y="910"/>
                    </a:lnTo>
                    <a:lnTo>
                      <a:pt x="996" y="908"/>
                    </a:lnTo>
                    <a:lnTo>
                      <a:pt x="1103" y="908"/>
                    </a:lnTo>
                    <a:lnTo>
                      <a:pt x="1103" y="908"/>
                    </a:lnTo>
                    <a:lnTo>
                      <a:pt x="1118" y="910"/>
                    </a:lnTo>
                    <a:lnTo>
                      <a:pt x="1134" y="915"/>
                    </a:lnTo>
                    <a:lnTo>
                      <a:pt x="1148" y="922"/>
                    </a:lnTo>
                    <a:lnTo>
                      <a:pt x="1160" y="933"/>
                    </a:lnTo>
                    <a:lnTo>
                      <a:pt x="1170" y="945"/>
                    </a:lnTo>
                    <a:lnTo>
                      <a:pt x="1179" y="958"/>
                    </a:lnTo>
                    <a:lnTo>
                      <a:pt x="1182" y="974"/>
                    </a:lnTo>
                    <a:lnTo>
                      <a:pt x="1184" y="990"/>
                    </a:lnTo>
                    <a:lnTo>
                      <a:pt x="1184" y="990"/>
                    </a:lnTo>
                    <a:lnTo>
                      <a:pt x="1184" y="1002"/>
                    </a:lnTo>
                    <a:lnTo>
                      <a:pt x="1181" y="1014"/>
                    </a:lnTo>
                    <a:lnTo>
                      <a:pt x="1175" y="1026"/>
                    </a:lnTo>
                    <a:lnTo>
                      <a:pt x="1168" y="1036"/>
                    </a:lnTo>
                    <a:lnTo>
                      <a:pt x="1162" y="1045"/>
                    </a:lnTo>
                    <a:lnTo>
                      <a:pt x="1151" y="1053"/>
                    </a:lnTo>
                    <a:lnTo>
                      <a:pt x="1141" y="1060"/>
                    </a:lnTo>
                    <a:lnTo>
                      <a:pt x="1129" y="1065"/>
                    </a:lnTo>
                    <a:lnTo>
                      <a:pt x="1181" y="1160"/>
                    </a:lnTo>
                    <a:close/>
                    <a:moveTo>
                      <a:pt x="1446" y="1172"/>
                    </a:moveTo>
                    <a:lnTo>
                      <a:pt x="1413" y="1172"/>
                    </a:lnTo>
                    <a:lnTo>
                      <a:pt x="1413" y="1172"/>
                    </a:lnTo>
                    <a:lnTo>
                      <a:pt x="1410" y="1171"/>
                    </a:lnTo>
                    <a:lnTo>
                      <a:pt x="1408" y="1171"/>
                    </a:lnTo>
                    <a:lnTo>
                      <a:pt x="1403" y="1164"/>
                    </a:lnTo>
                    <a:lnTo>
                      <a:pt x="1384" y="1124"/>
                    </a:lnTo>
                    <a:lnTo>
                      <a:pt x="1272" y="1124"/>
                    </a:lnTo>
                    <a:lnTo>
                      <a:pt x="1255" y="1164"/>
                    </a:lnTo>
                    <a:lnTo>
                      <a:pt x="1255" y="1164"/>
                    </a:lnTo>
                    <a:lnTo>
                      <a:pt x="1250" y="1169"/>
                    </a:lnTo>
                    <a:lnTo>
                      <a:pt x="1248" y="1171"/>
                    </a:lnTo>
                    <a:lnTo>
                      <a:pt x="1243" y="1172"/>
                    </a:lnTo>
                    <a:lnTo>
                      <a:pt x="1210" y="1172"/>
                    </a:lnTo>
                    <a:lnTo>
                      <a:pt x="1210" y="1172"/>
                    </a:lnTo>
                    <a:lnTo>
                      <a:pt x="1206" y="1171"/>
                    </a:lnTo>
                    <a:lnTo>
                      <a:pt x="1205" y="1169"/>
                    </a:lnTo>
                    <a:lnTo>
                      <a:pt x="1203" y="1165"/>
                    </a:lnTo>
                    <a:lnTo>
                      <a:pt x="1205" y="1162"/>
                    </a:lnTo>
                    <a:lnTo>
                      <a:pt x="1320" y="908"/>
                    </a:lnTo>
                    <a:lnTo>
                      <a:pt x="1320" y="908"/>
                    </a:lnTo>
                    <a:lnTo>
                      <a:pt x="1324" y="907"/>
                    </a:lnTo>
                    <a:lnTo>
                      <a:pt x="1327" y="905"/>
                    </a:lnTo>
                    <a:lnTo>
                      <a:pt x="1331" y="905"/>
                    </a:lnTo>
                    <a:lnTo>
                      <a:pt x="1331" y="905"/>
                    </a:lnTo>
                    <a:lnTo>
                      <a:pt x="1336" y="907"/>
                    </a:lnTo>
                    <a:lnTo>
                      <a:pt x="1338" y="908"/>
                    </a:lnTo>
                    <a:lnTo>
                      <a:pt x="1453" y="1162"/>
                    </a:lnTo>
                    <a:lnTo>
                      <a:pt x="1453" y="1162"/>
                    </a:lnTo>
                    <a:lnTo>
                      <a:pt x="1453" y="1165"/>
                    </a:lnTo>
                    <a:lnTo>
                      <a:pt x="1453" y="1169"/>
                    </a:lnTo>
                    <a:lnTo>
                      <a:pt x="1451" y="1171"/>
                    </a:lnTo>
                    <a:lnTo>
                      <a:pt x="1446" y="1172"/>
                    </a:lnTo>
                    <a:lnTo>
                      <a:pt x="1446" y="1172"/>
                    </a:lnTo>
                    <a:close/>
                    <a:moveTo>
                      <a:pt x="1710" y="1169"/>
                    </a:moveTo>
                    <a:lnTo>
                      <a:pt x="1710" y="1169"/>
                    </a:lnTo>
                    <a:lnTo>
                      <a:pt x="1708" y="1171"/>
                    </a:lnTo>
                    <a:lnTo>
                      <a:pt x="1707" y="1174"/>
                    </a:lnTo>
                    <a:lnTo>
                      <a:pt x="1705" y="1174"/>
                    </a:lnTo>
                    <a:lnTo>
                      <a:pt x="1702" y="1176"/>
                    </a:lnTo>
                    <a:lnTo>
                      <a:pt x="1693" y="1176"/>
                    </a:lnTo>
                    <a:lnTo>
                      <a:pt x="1536" y="1003"/>
                    </a:lnTo>
                    <a:lnTo>
                      <a:pt x="1536" y="1003"/>
                    </a:lnTo>
                    <a:lnTo>
                      <a:pt x="1536" y="1164"/>
                    </a:lnTo>
                    <a:lnTo>
                      <a:pt x="1536" y="1164"/>
                    </a:lnTo>
                    <a:lnTo>
                      <a:pt x="1536" y="1167"/>
                    </a:lnTo>
                    <a:lnTo>
                      <a:pt x="1534" y="1169"/>
                    </a:lnTo>
                    <a:lnTo>
                      <a:pt x="1533" y="1171"/>
                    </a:lnTo>
                    <a:lnTo>
                      <a:pt x="1529" y="1172"/>
                    </a:lnTo>
                    <a:lnTo>
                      <a:pt x="1495" y="1172"/>
                    </a:lnTo>
                    <a:lnTo>
                      <a:pt x="1495" y="1172"/>
                    </a:lnTo>
                    <a:lnTo>
                      <a:pt x="1493" y="1171"/>
                    </a:lnTo>
                    <a:lnTo>
                      <a:pt x="1489" y="1169"/>
                    </a:lnTo>
                    <a:lnTo>
                      <a:pt x="1488" y="1167"/>
                    </a:lnTo>
                    <a:lnTo>
                      <a:pt x="1488" y="1164"/>
                    </a:lnTo>
                    <a:lnTo>
                      <a:pt x="1488" y="912"/>
                    </a:lnTo>
                    <a:lnTo>
                      <a:pt x="1488" y="912"/>
                    </a:lnTo>
                    <a:lnTo>
                      <a:pt x="1488" y="908"/>
                    </a:lnTo>
                    <a:lnTo>
                      <a:pt x="1489" y="907"/>
                    </a:lnTo>
                    <a:lnTo>
                      <a:pt x="1493" y="905"/>
                    </a:lnTo>
                    <a:lnTo>
                      <a:pt x="1495" y="905"/>
                    </a:lnTo>
                    <a:lnTo>
                      <a:pt x="1505" y="905"/>
                    </a:lnTo>
                    <a:lnTo>
                      <a:pt x="1660" y="1071"/>
                    </a:lnTo>
                    <a:lnTo>
                      <a:pt x="1660" y="1071"/>
                    </a:lnTo>
                    <a:lnTo>
                      <a:pt x="1660" y="915"/>
                    </a:lnTo>
                    <a:lnTo>
                      <a:pt x="1660" y="915"/>
                    </a:lnTo>
                    <a:lnTo>
                      <a:pt x="1662" y="914"/>
                    </a:lnTo>
                    <a:lnTo>
                      <a:pt x="1662" y="910"/>
                    </a:lnTo>
                    <a:lnTo>
                      <a:pt x="1665" y="910"/>
                    </a:lnTo>
                    <a:lnTo>
                      <a:pt x="1667" y="908"/>
                    </a:lnTo>
                    <a:lnTo>
                      <a:pt x="1702" y="908"/>
                    </a:lnTo>
                    <a:lnTo>
                      <a:pt x="1702" y="908"/>
                    </a:lnTo>
                    <a:lnTo>
                      <a:pt x="1705" y="910"/>
                    </a:lnTo>
                    <a:lnTo>
                      <a:pt x="1707" y="910"/>
                    </a:lnTo>
                    <a:lnTo>
                      <a:pt x="1708" y="914"/>
                    </a:lnTo>
                    <a:lnTo>
                      <a:pt x="1710" y="915"/>
                    </a:lnTo>
                    <a:lnTo>
                      <a:pt x="1710" y="1169"/>
                    </a:lnTo>
                    <a:close/>
                    <a:moveTo>
                      <a:pt x="1874" y="1172"/>
                    </a:moveTo>
                    <a:lnTo>
                      <a:pt x="1784" y="1172"/>
                    </a:lnTo>
                    <a:lnTo>
                      <a:pt x="1784" y="1172"/>
                    </a:lnTo>
                    <a:lnTo>
                      <a:pt x="1783" y="1171"/>
                    </a:lnTo>
                    <a:lnTo>
                      <a:pt x="1779" y="1169"/>
                    </a:lnTo>
                    <a:lnTo>
                      <a:pt x="1778" y="1164"/>
                    </a:lnTo>
                    <a:lnTo>
                      <a:pt x="1778" y="915"/>
                    </a:lnTo>
                    <a:lnTo>
                      <a:pt x="1778" y="915"/>
                    </a:lnTo>
                    <a:lnTo>
                      <a:pt x="1779" y="910"/>
                    </a:lnTo>
                    <a:lnTo>
                      <a:pt x="1783" y="910"/>
                    </a:lnTo>
                    <a:lnTo>
                      <a:pt x="1784" y="908"/>
                    </a:lnTo>
                    <a:lnTo>
                      <a:pt x="1874" y="908"/>
                    </a:lnTo>
                    <a:lnTo>
                      <a:pt x="1874" y="908"/>
                    </a:lnTo>
                    <a:lnTo>
                      <a:pt x="1888" y="910"/>
                    </a:lnTo>
                    <a:lnTo>
                      <a:pt x="1900" y="912"/>
                    </a:lnTo>
                    <a:lnTo>
                      <a:pt x="1914" y="915"/>
                    </a:lnTo>
                    <a:lnTo>
                      <a:pt x="1926" y="919"/>
                    </a:lnTo>
                    <a:lnTo>
                      <a:pt x="1936" y="924"/>
                    </a:lnTo>
                    <a:lnTo>
                      <a:pt x="1947" y="931"/>
                    </a:lnTo>
                    <a:lnTo>
                      <a:pt x="1957" y="940"/>
                    </a:lnTo>
                    <a:lnTo>
                      <a:pt x="1967" y="948"/>
                    </a:lnTo>
                    <a:lnTo>
                      <a:pt x="1976" y="957"/>
                    </a:lnTo>
                    <a:lnTo>
                      <a:pt x="1983" y="967"/>
                    </a:lnTo>
                    <a:lnTo>
                      <a:pt x="1990" y="977"/>
                    </a:lnTo>
                    <a:lnTo>
                      <a:pt x="1995" y="990"/>
                    </a:lnTo>
                    <a:lnTo>
                      <a:pt x="2000" y="1002"/>
                    </a:lnTo>
                    <a:lnTo>
                      <a:pt x="2004" y="1014"/>
                    </a:lnTo>
                    <a:lnTo>
                      <a:pt x="2005" y="1026"/>
                    </a:lnTo>
                    <a:lnTo>
                      <a:pt x="2005" y="1040"/>
                    </a:lnTo>
                    <a:lnTo>
                      <a:pt x="2005" y="1040"/>
                    </a:lnTo>
                    <a:lnTo>
                      <a:pt x="2005" y="1053"/>
                    </a:lnTo>
                    <a:lnTo>
                      <a:pt x="2004" y="1067"/>
                    </a:lnTo>
                    <a:lnTo>
                      <a:pt x="2000" y="1079"/>
                    </a:lnTo>
                    <a:lnTo>
                      <a:pt x="1995" y="1091"/>
                    </a:lnTo>
                    <a:lnTo>
                      <a:pt x="1990" y="1103"/>
                    </a:lnTo>
                    <a:lnTo>
                      <a:pt x="1983" y="1114"/>
                    </a:lnTo>
                    <a:lnTo>
                      <a:pt x="1976" y="1124"/>
                    </a:lnTo>
                    <a:lnTo>
                      <a:pt x="1967" y="1133"/>
                    </a:lnTo>
                    <a:lnTo>
                      <a:pt x="1957" y="1141"/>
                    </a:lnTo>
                    <a:lnTo>
                      <a:pt x="1947" y="1150"/>
                    </a:lnTo>
                    <a:lnTo>
                      <a:pt x="1936" y="1155"/>
                    </a:lnTo>
                    <a:lnTo>
                      <a:pt x="1926" y="1162"/>
                    </a:lnTo>
                    <a:lnTo>
                      <a:pt x="1914" y="1165"/>
                    </a:lnTo>
                    <a:lnTo>
                      <a:pt x="1900" y="1169"/>
                    </a:lnTo>
                    <a:lnTo>
                      <a:pt x="1888" y="1171"/>
                    </a:lnTo>
                    <a:lnTo>
                      <a:pt x="1874" y="1172"/>
                    </a:lnTo>
                    <a:lnTo>
                      <a:pt x="1874" y="11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grpSp>
      <p:grpSp>
        <p:nvGrpSpPr>
          <p:cNvPr id="68" name="Gruppieren 67"/>
          <p:cNvGrpSpPr>
            <a:grpSpLocks noChangeAspect="1"/>
          </p:cNvGrpSpPr>
          <p:nvPr/>
        </p:nvGrpSpPr>
        <p:grpSpPr>
          <a:xfrm>
            <a:off x="4842030" y="2766699"/>
            <a:ext cx="591488" cy="591488"/>
            <a:chOff x="4114800" y="4953000"/>
            <a:chExt cx="1371600" cy="1371600"/>
          </a:xfrm>
        </p:grpSpPr>
        <p:sp>
          <p:nvSpPr>
            <p:cNvPr id="69" name="Oval 3"/>
            <p:cNvSpPr>
              <a:spLocks noChangeAspect="1"/>
            </p:cNvSpPr>
            <p:nvPr/>
          </p:nvSpPr>
          <p:spPr>
            <a:xfrm>
              <a:off x="4114800" y="4953000"/>
              <a:ext cx="1371600" cy="1371600"/>
            </a:xfrm>
            <a:prstGeom prst="ellipse">
              <a:avLst/>
            </a:prstGeom>
            <a:solidFill>
              <a:schemeClr val="tx2"/>
            </a:solidFill>
            <a:ln>
              <a:solidFill>
                <a:srgbClr val="FFFFFF"/>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nvGrpSpPr>
            <p:cNvPr id="70" name="Gruppieren 69"/>
            <p:cNvGrpSpPr>
              <a:grpSpLocks noChangeAspect="1"/>
            </p:cNvGrpSpPr>
            <p:nvPr/>
          </p:nvGrpSpPr>
          <p:grpSpPr>
            <a:xfrm>
              <a:off x="4304442" y="5171426"/>
              <a:ext cx="992316" cy="934748"/>
              <a:chOff x="-3771900" y="1528763"/>
              <a:chExt cx="3803650" cy="3582987"/>
            </a:xfrm>
            <a:solidFill>
              <a:srgbClr val="FFFFFF"/>
            </a:solidFill>
          </p:grpSpPr>
          <p:sp>
            <p:nvSpPr>
              <p:cNvPr id="71" name="Freeform 6"/>
              <p:cNvSpPr>
                <a:spLocks/>
              </p:cNvSpPr>
              <p:nvPr/>
            </p:nvSpPr>
            <p:spPr bwMode="auto">
              <a:xfrm>
                <a:off x="-2235200" y="3255963"/>
                <a:ext cx="692150" cy="693737"/>
              </a:xfrm>
              <a:custGeom>
                <a:avLst/>
                <a:gdLst>
                  <a:gd name="T0" fmla="*/ 0 w 436"/>
                  <a:gd name="T1" fmla="*/ 218 h 437"/>
                  <a:gd name="T2" fmla="*/ 5 w 436"/>
                  <a:gd name="T3" fmla="*/ 174 h 437"/>
                  <a:gd name="T4" fmla="*/ 17 w 436"/>
                  <a:gd name="T5" fmla="*/ 132 h 437"/>
                  <a:gd name="T6" fmla="*/ 37 w 436"/>
                  <a:gd name="T7" fmla="*/ 95 h 437"/>
                  <a:gd name="T8" fmla="*/ 64 w 436"/>
                  <a:gd name="T9" fmla="*/ 65 h 437"/>
                  <a:gd name="T10" fmla="*/ 95 w 436"/>
                  <a:gd name="T11" fmla="*/ 37 h 437"/>
                  <a:gd name="T12" fmla="*/ 132 w 436"/>
                  <a:gd name="T13" fmla="*/ 18 h 437"/>
                  <a:gd name="T14" fmla="*/ 174 w 436"/>
                  <a:gd name="T15" fmla="*/ 5 h 437"/>
                  <a:gd name="T16" fmla="*/ 219 w 436"/>
                  <a:gd name="T17" fmla="*/ 0 h 437"/>
                  <a:gd name="T18" fmla="*/ 240 w 436"/>
                  <a:gd name="T19" fmla="*/ 0 h 437"/>
                  <a:gd name="T20" fmla="*/ 283 w 436"/>
                  <a:gd name="T21" fmla="*/ 8 h 437"/>
                  <a:gd name="T22" fmla="*/ 322 w 436"/>
                  <a:gd name="T23" fmla="*/ 26 h 437"/>
                  <a:gd name="T24" fmla="*/ 357 w 436"/>
                  <a:gd name="T25" fmla="*/ 50 h 437"/>
                  <a:gd name="T26" fmla="*/ 386 w 436"/>
                  <a:gd name="T27" fmla="*/ 79 h 437"/>
                  <a:gd name="T28" fmla="*/ 409 w 436"/>
                  <a:gd name="T29" fmla="*/ 115 h 437"/>
                  <a:gd name="T30" fmla="*/ 425 w 436"/>
                  <a:gd name="T31" fmla="*/ 153 h 437"/>
                  <a:gd name="T32" fmla="*/ 436 w 436"/>
                  <a:gd name="T33" fmla="*/ 195 h 437"/>
                  <a:gd name="T34" fmla="*/ 436 w 436"/>
                  <a:gd name="T35" fmla="*/ 218 h 437"/>
                  <a:gd name="T36" fmla="*/ 431 w 436"/>
                  <a:gd name="T37" fmla="*/ 261 h 437"/>
                  <a:gd name="T38" fmla="*/ 420 w 436"/>
                  <a:gd name="T39" fmla="*/ 303 h 437"/>
                  <a:gd name="T40" fmla="*/ 399 w 436"/>
                  <a:gd name="T41" fmla="*/ 340 h 437"/>
                  <a:gd name="T42" fmla="*/ 372 w 436"/>
                  <a:gd name="T43" fmla="*/ 372 h 437"/>
                  <a:gd name="T44" fmla="*/ 341 w 436"/>
                  <a:gd name="T45" fmla="*/ 399 h 437"/>
                  <a:gd name="T46" fmla="*/ 304 w 436"/>
                  <a:gd name="T47" fmla="*/ 417 h 437"/>
                  <a:gd name="T48" fmla="*/ 262 w 436"/>
                  <a:gd name="T49" fmla="*/ 432 h 437"/>
                  <a:gd name="T50" fmla="*/ 219 w 436"/>
                  <a:gd name="T51" fmla="*/ 437 h 437"/>
                  <a:gd name="T52" fmla="*/ 196 w 436"/>
                  <a:gd name="T53" fmla="*/ 435 h 437"/>
                  <a:gd name="T54" fmla="*/ 153 w 436"/>
                  <a:gd name="T55" fmla="*/ 425 h 437"/>
                  <a:gd name="T56" fmla="*/ 114 w 436"/>
                  <a:gd name="T57" fmla="*/ 409 h 437"/>
                  <a:gd name="T58" fmla="*/ 79 w 436"/>
                  <a:gd name="T59" fmla="*/ 387 h 437"/>
                  <a:gd name="T60" fmla="*/ 50 w 436"/>
                  <a:gd name="T61" fmla="*/ 356 h 437"/>
                  <a:gd name="T62" fmla="*/ 27 w 436"/>
                  <a:gd name="T63" fmla="*/ 322 h 437"/>
                  <a:gd name="T64" fmla="*/ 11 w 436"/>
                  <a:gd name="T65" fmla="*/ 284 h 437"/>
                  <a:gd name="T66" fmla="*/ 0 w 436"/>
                  <a:gd name="T67" fmla="*/ 240 h 437"/>
                  <a:gd name="T68" fmla="*/ 0 w 436"/>
                  <a:gd name="T69" fmla="*/ 218 h 437"/>
                  <a:gd name="T70" fmla="*/ 0 w 436"/>
                  <a:gd name="T71" fmla="*/ 218 h 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36" h="437">
                    <a:moveTo>
                      <a:pt x="0" y="218"/>
                    </a:moveTo>
                    <a:lnTo>
                      <a:pt x="0" y="218"/>
                    </a:lnTo>
                    <a:lnTo>
                      <a:pt x="0" y="195"/>
                    </a:lnTo>
                    <a:lnTo>
                      <a:pt x="5" y="174"/>
                    </a:lnTo>
                    <a:lnTo>
                      <a:pt x="11" y="153"/>
                    </a:lnTo>
                    <a:lnTo>
                      <a:pt x="17" y="132"/>
                    </a:lnTo>
                    <a:lnTo>
                      <a:pt x="27" y="115"/>
                    </a:lnTo>
                    <a:lnTo>
                      <a:pt x="37" y="95"/>
                    </a:lnTo>
                    <a:lnTo>
                      <a:pt x="50" y="79"/>
                    </a:lnTo>
                    <a:lnTo>
                      <a:pt x="64" y="65"/>
                    </a:lnTo>
                    <a:lnTo>
                      <a:pt x="79" y="50"/>
                    </a:lnTo>
                    <a:lnTo>
                      <a:pt x="95" y="37"/>
                    </a:lnTo>
                    <a:lnTo>
                      <a:pt x="114" y="26"/>
                    </a:lnTo>
                    <a:lnTo>
                      <a:pt x="132" y="18"/>
                    </a:lnTo>
                    <a:lnTo>
                      <a:pt x="153" y="8"/>
                    </a:lnTo>
                    <a:lnTo>
                      <a:pt x="174" y="5"/>
                    </a:lnTo>
                    <a:lnTo>
                      <a:pt x="196" y="0"/>
                    </a:lnTo>
                    <a:lnTo>
                      <a:pt x="219" y="0"/>
                    </a:lnTo>
                    <a:lnTo>
                      <a:pt x="219" y="0"/>
                    </a:lnTo>
                    <a:lnTo>
                      <a:pt x="240" y="0"/>
                    </a:lnTo>
                    <a:lnTo>
                      <a:pt x="262" y="5"/>
                    </a:lnTo>
                    <a:lnTo>
                      <a:pt x="283" y="8"/>
                    </a:lnTo>
                    <a:lnTo>
                      <a:pt x="304" y="18"/>
                    </a:lnTo>
                    <a:lnTo>
                      <a:pt x="322" y="26"/>
                    </a:lnTo>
                    <a:lnTo>
                      <a:pt x="341" y="37"/>
                    </a:lnTo>
                    <a:lnTo>
                      <a:pt x="357" y="50"/>
                    </a:lnTo>
                    <a:lnTo>
                      <a:pt x="372" y="65"/>
                    </a:lnTo>
                    <a:lnTo>
                      <a:pt x="386" y="79"/>
                    </a:lnTo>
                    <a:lnTo>
                      <a:pt x="399" y="95"/>
                    </a:lnTo>
                    <a:lnTo>
                      <a:pt x="409" y="115"/>
                    </a:lnTo>
                    <a:lnTo>
                      <a:pt x="420" y="132"/>
                    </a:lnTo>
                    <a:lnTo>
                      <a:pt x="425" y="153"/>
                    </a:lnTo>
                    <a:lnTo>
                      <a:pt x="431" y="174"/>
                    </a:lnTo>
                    <a:lnTo>
                      <a:pt x="436" y="195"/>
                    </a:lnTo>
                    <a:lnTo>
                      <a:pt x="436" y="218"/>
                    </a:lnTo>
                    <a:lnTo>
                      <a:pt x="436" y="218"/>
                    </a:lnTo>
                    <a:lnTo>
                      <a:pt x="436" y="240"/>
                    </a:lnTo>
                    <a:lnTo>
                      <a:pt x="431" y="261"/>
                    </a:lnTo>
                    <a:lnTo>
                      <a:pt x="425" y="284"/>
                    </a:lnTo>
                    <a:lnTo>
                      <a:pt x="420" y="303"/>
                    </a:lnTo>
                    <a:lnTo>
                      <a:pt x="409" y="322"/>
                    </a:lnTo>
                    <a:lnTo>
                      <a:pt x="399" y="340"/>
                    </a:lnTo>
                    <a:lnTo>
                      <a:pt x="386" y="356"/>
                    </a:lnTo>
                    <a:lnTo>
                      <a:pt x="372" y="372"/>
                    </a:lnTo>
                    <a:lnTo>
                      <a:pt x="357" y="387"/>
                    </a:lnTo>
                    <a:lnTo>
                      <a:pt x="341" y="399"/>
                    </a:lnTo>
                    <a:lnTo>
                      <a:pt x="322" y="409"/>
                    </a:lnTo>
                    <a:lnTo>
                      <a:pt x="304" y="417"/>
                    </a:lnTo>
                    <a:lnTo>
                      <a:pt x="283" y="425"/>
                    </a:lnTo>
                    <a:lnTo>
                      <a:pt x="262" y="432"/>
                    </a:lnTo>
                    <a:lnTo>
                      <a:pt x="240" y="435"/>
                    </a:lnTo>
                    <a:lnTo>
                      <a:pt x="219" y="437"/>
                    </a:lnTo>
                    <a:lnTo>
                      <a:pt x="219" y="437"/>
                    </a:lnTo>
                    <a:lnTo>
                      <a:pt x="196" y="435"/>
                    </a:lnTo>
                    <a:lnTo>
                      <a:pt x="174" y="432"/>
                    </a:lnTo>
                    <a:lnTo>
                      <a:pt x="153" y="425"/>
                    </a:lnTo>
                    <a:lnTo>
                      <a:pt x="132" y="417"/>
                    </a:lnTo>
                    <a:lnTo>
                      <a:pt x="114" y="409"/>
                    </a:lnTo>
                    <a:lnTo>
                      <a:pt x="95" y="399"/>
                    </a:lnTo>
                    <a:lnTo>
                      <a:pt x="79" y="387"/>
                    </a:lnTo>
                    <a:lnTo>
                      <a:pt x="64" y="372"/>
                    </a:lnTo>
                    <a:lnTo>
                      <a:pt x="50" y="356"/>
                    </a:lnTo>
                    <a:lnTo>
                      <a:pt x="37" y="340"/>
                    </a:lnTo>
                    <a:lnTo>
                      <a:pt x="27" y="322"/>
                    </a:lnTo>
                    <a:lnTo>
                      <a:pt x="17" y="303"/>
                    </a:lnTo>
                    <a:lnTo>
                      <a:pt x="11" y="284"/>
                    </a:lnTo>
                    <a:lnTo>
                      <a:pt x="5" y="261"/>
                    </a:lnTo>
                    <a:lnTo>
                      <a:pt x="0" y="240"/>
                    </a:lnTo>
                    <a:lnTo>
                      <a:pt x="0" y="218"/>
                    </a:lnTo>
                    <a:lnTo>
                      <a:pt x="0" y="218"/>
                    </a:lnTo>
                    <a:lnTo>
                      <a:pt x="0" y="218"/>
                    </a:lnTo>
                    <a:lnTo>
                      <a:pt x="0" y="2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72" name="Freeform 7"/>
              <p:cNvSpPr>
                <a:spLocks/>
              </p:cNvSpPr>
              <p:nvPr/>
            </p:nvSpPr>
            <p:spPr bwMode="auto">
              <a:xfrm>
                <a:off x="-2422525" y="4033838"/>
                <a:ext cx="1066800" cy="1077912"/>
              </a:xfrm>
              <a:custGeom>
                <a:avLst/>
                <a:gdLst>
                  <a:gd name="T0" fmla="*/ 335 w 672"/>
                  <a:gd name="T1" fmla="*/ 0 h 679"/>
                  <a:gd name="T2" fmla="*/ 335 w 672"/>
                  <a:gd name="T3" fmla="*/ 0 h 679"/>
                  <a:gd name="T4" fmla="*/ 308 w 672"/>
                  <a:gd name="T5" fmla="*/ 1 h 679"/>
                  <a:gd name="T6" fmla="*/ 279 w 672"/>
                  <a:gd name="T7" fmla="*/ 6 h 679"/>
                  <a:gd name="T8" fmla="*/ 253 w 672"/>
                  <a:gd name="T9" fmla="*/ 13 h 679"/>
                  <a:gd name="T10" fmla="*/ 227 w 672"/>
                  <a:gd name="T11" fmla="*/ 21 h 679"/>
                  <a:gd name="T12" fmla="*/ 203 w 672"/>
                  <a:gd name="T13" fmla="*/ 30 h 679"/>
                  <a:gd name="T14" fmla="*/ 177 w 672"/>
                  <a:gd name="T15" fmla="*/ 43 h 679"/>
                  <a:gd name="T16" fmla="*/ 158 w 672"/>
                  <a:gd name="T17" fmla="*/ 59 h 679"/>
                  <a:gd name="T18" fmla="*/ 137 w 672"/>
                  <a:gd name="T19" fmla="*/ 75 h 679"/>
                  <a:gd name="T20" fmla="*/ 116 w 672"/>
                  <a:gd name="T21" fmla="*/ 95 h 679"/>
                  <a:gd name="T22" fmla="*/ 100 w 672"/>
                  <a:gd name="T23" fmla="*/ 116 h 679"/>
                  <a:gd name="T24" fmla="*/ 86 w 672"/>
                  <a:gd name="T25" fmla="*/ 136 h 679"/>
                  <a:gd name="T26" fmla="*/ 71 w 672"/>
                  <a:gd name="T27" fmla="*/ 159 h 679"/>
                  <a:gd name="T28" fmla="*/ 60 w 672"/>
                  <a:gd name="T29" fmla="*/ 183 h 679"/>
                  <a:gd name="T30" fmla="*/ 50 w 672"/>
                  <a:gd name="T31" fmla="*/ 211 h 679"/>
                  <a:gd name="T32" fmla="*/ 44 w 672"/>
                  <a:gd name="T33" fmla="*/ 235 h 679"/>
                  <a:gd name="T34" fmla="*/ 40 w 672"/>
                  <a:gd name="T35" fmla="*/ 264 h 679"/>
                  <a:gd name="T36" fmla="*/ 37 w 672"/>
                  <a:gd name="T37" fmla="*/ 264 h 679"/>
                  <a:gd name="T38" fmla="*/ 0 w 672"/>
                  <a:gd name="T39" fmla="*/ 627 h 679"/>
                  <a:gd name="T40" fmla="*/ 0 w 672"/>
                  <a:gd name="T41" fmla="*/ 627 h 679"/>
                  <a:gd name="T42" fmla="*/ 42 w 672"/>
                  <a:gd name="T43" fmla="*/ 637 h 679"/>
                  <a:gd name="T44" fmla="*/ 82 w 672"/>
                  <a:gd name="T45" fmla="*/ 650 h 679"/>
                  <a:gd name="T46" fmla="*/ 124 w 672"/>
                  <a:gd name="T47" fmla="*/ 658 h 679"/>
                  <a:gd name="T48" fmla="*/ 166 w 672"/>
                  <a:gd name="T49" fmla="*/ 665 h 679"/>
                  <a:gd name="T50" fmla="*/ 210 w 672"/>
                  <a:gd name="T51" fmla="*/ 671 h 679"/>
                  <a:gd name="T52" fmla="*/ 253 w 672"/>
                  <a:gd name="T53" fmla="*/ 674 h 679"/>
                  <a:gd name="T54" fmla="*/ 296 w 672"/>
                  <a:gd name="T55" fmla="*/ 679 h 679"/>
                  <a:gd name="T56" fmla="*/ 340 w 672"/>
                  <a:gd name="T57" fmla="*/ 679 h 679"/>
                  <a:gd name="T58" fmla="*/ 340 w 672"/>
                  <a:gd name="T59" fmla="*/ 679 h 679"/>
                  <a:gd name="T60" fmla="*/ 382 w 672"/>
                  <a:gd name="T61" fmla="*/ 679 h 679"/>
                  <a:gd name="T62" fmla="*/ 425 w 672"/>
                  <a:gd name="T63" fmla="*/ 674 h 679"/>
                  <a:gd name="T64" fmla="*/ 467 w 672"/>
                  <a:gd name="T65" fmla="*/ 671 h 679"/>
                  <a:gd name="T66" fmla="*/ 509 w 672"/>
                  <a:gd name="T67" fmla="*/ 666 h 679"/>
                  <a:gd name="T68" fmla="*/ 549 w 672"/>
                  <a:gd name="T69" fmla="*/ 658 h 679"/>
                  <a:gd name="T70" fmla="*/ 591 w 672"/>
                  <a:gd name="T71" fmla="*/ 650 h 679"/>
                  <a:gd name="T72" fmla="*/ 630 w 672"/>
                  <a:gd name="T73" fmla="*/ 640 h 679"/>
                  <a:gd name="T74" fmla="*/ 672 w 672"/>
                  <a:gd name="T75" fmla="*/ 629 h 679"/>
                  <a:gd name="T76" fmla="*/ 633 w 672"/>
                  <a:gd name="T77" fmla="*/ 264 h 679"/>
                  <a:gd name="T78" fmla="*/ 633 w 672"/>
                  <a:gd name="T79" fmla="*/ 264 h 679"/>
                  <a:gd name="T80" fmla="*/ 633 w 672"/>
                  <a:gd name="T81" fmla="*/ 264 h 679"/>
                  <a:gd name="T82" fmla="*/ 628 w 672"/>
                  <a:gd name="T83" fmla="*/ 235 h 679"/>
                  <a:gd name="T84" fmla="*/ 620 w 672"/>
                  <a:gd name="T85" fmla="*/ 211 h 679"/>
                  <a:gd name="T86" fmla="*/ 612 w 672"/>
                  <a:gd name="T87" fmla="*/ 183 h 679"/>
                  <a:gd name="T88" fmla="*/ 601 w 672"/>
                  <a:gd name="T89" fmla="*/ 159 h 679"/>
                  <a:gd name="T90" fmla="*/ 586 w 672"/>
                  <a:gd name="T91" fmla="*/ 136 h 679"/>
                  <a:gd name="T92" fmla="*/ 573 w 672"/>
                  <a:gd name="T93" fmla="*/ 116 h 679"/>
                  <a:gd name="T94" fmla="*/ 554 w 672"/>
                  <a:gd name="T95" fmla="*/ 95 h 679"/>
                  <a:gd name="T96" fmla="*/ 535 w 672"/>
                  <a:gd name="T97" fmla="*/ 75 h 679"/>
                  <a:gd name="T98" fmla="*/ 515 w 672"/>
                  <a:gd name="T99" fmla="*/ 59 h 679"/>
                  <a:gd name="T100" fmla="*/ 491 w 672"/>
                  <a:gd name="T101" fmla="*/ 43 h 679"/>
                  <a:gd name="T102" fmla="*/ 469 w 672"/>
                  <a:gd name="T103" fmla="*/ 30 h 679"/>
                  <a:gd name="T104" fmla="*/ 445 w 672"/>
                  <a:gd name="T105" fmla="*/ 21 h 679"/>
                  <a:gd name="T106" fmla="*/ 420 w 672"/>
                  <a:gd name="T107" fmla="*/ 13 h 679"/>
                  <a:gd name="T108" fmla="*/ 393 w 672"/>
                  <a:gd name="T109" fmla="*/ 6 h 679"/>
                  <a:gd name="T110" fmla="*/ 364 w 672"/>
                  <a:gd name="T111" fmla="*/ 1 h 679"/>
                  <a:gd name="T112" fmla="*/ 335 w 672"/>
                  <a:gd name="T113" fmla="*/ 0 h 679"/>
                  <a:gd name="T114" fmla="*/ 335 w 672"/>
                  <a:gd name="T115" fmla="*/ 0 h 679"/>
                  <a:gd name="T116" fmla="*/ 335 w 672"/>
                  <a:gd name="T117" fmla="*/ 0 h 679"/>
                  <a:gd name="T118" fmla="*/ 335 w 672"/>
                  <a:gd name="T119" fmla="*/ 0 h 6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72" h="679">
                    <a:moveTo>
                      <a:pt x="335" y="0"/>
                    </a:moveTo>
                    <a:lnTo>
                      <a:pt x="335" y="0"/>
                    </a:lnTo>
                    <a:lnTo>
                      <a:pt x="308" y="1"/>
                    </a:lnTo>
                    <a:lnTo>
                      <a:pt x="279" y="6"/>
                    </a:lnTo>
                    <a:lnTo>
                      <a:pt x="253" y="13"/>
                    </a:lnTo>
                    <a:lnTo>
                      <a:pt x="227" y="21"/>
                    </a:lnTo>
                    <a:lnTo>
                      <a:pt x="203" y="30"/>
                    </a:lnTo>
                    <a:lnTo>
                      <a:pt x="177" y="43"/>
                    </a:lnTo>
                    <a:lnTo>
                      <a:pt x="158" y="59"/>
                    </a:lnTo>
                    <a:lnTo>
                      <a:pt x="137" y="75"/>
                    </a:lnTo>
                    <a:lnTo>
                      <a:pt x="116" y="95"/>
                    </a:lnTo>
                    <a:lnTo>
                      <a:pt x="100" y="116"/>
                    </a:lnTo>
                    <a:lnTo>
                      <a:pt x="86" y="136"/>
                    </a:lnTo>
                    <a:lnTo>
                      <a:pt x="71" y="159"/>
                    </a:lnTo>
                    <a:lnTo>
                      <a:pt x="60" y="183"/>
                    </a:lnTo>
                    <a:lnTo>
                      <a:pt x="50" y="211"/>
                    </a:lnTo>
                    <a:lnTo>
                      <a:pt x="44" y="235"/>
                    </a:lnTo>
                    <a:lnTo>
                      <a:pt x="40" y="264"/>
                    </a:lnTo>
                    <a:lnTo>
                      <a:pt x="37" y="264"/>
                    </a:lnTo>
                    <a:lnTo>
                      <a:pt x="0" y="627"/>
                    </a:lnTo>
                    <a:lnTo>
                      <a:pt x="0" y="627"/>
                    </a:lnTo>
                    <a:lnTo>
                      <a:pt x="42" y="637"/>
                    </a:lnTo>
                    <a:lnTo>
                      <a:pt x="82" y="650"/>
                    </a:lnTo>
                    <a:lnTo>
                      <a:pt x="124" y="658"/>
                    </a:lnTo>
                    <a:lnTo>
                      <a:pt x="166" y="665"/>
                    </a:lnTo>
                    <a:lnTo>
                      <a:pt x="210" y="671"/>
                    </a:lnTo>
                    <a:lnTo>
                      <a:pt x="253" y="674"/>
                    </a:lnTo>
                    <a:lnTo>
                      <a:pt x="296" y="679"/>
                    </a:lnTo>
                    <a:lnTo>
                      <a:pt x="340" y="679"/>
                    </a:lnTo>
                    <a:lnTo>
                      <a:pt x="340" y="679"/>
                    </a:lnTo>
                    <a:lnTo>
                      <a:pt x="382" y="679"/>
                    </a:lnTo>
                    <a:lnTo>
                      <a:pt x="425" y="674"/>
                    </a:lnTo>
                    <a:lnTo>
                      <a:pt x="467" y="671"/>
                    </a:lnTo>
                    <a:lnTo>
                      <a:pt x="509" y="666"/>
                    </a:lnTo>
                    <a:lnTo>
                      <a:pt x="549" y="658"/>
                    </a:lnTo>
                    <a:lnTo>
                      <a:pt x="591" y="650"/>
                    </a:lnTo>
                    <a:lnTo>
                      <a:pt x="630" y="640"/>
                    </a:lnTo>
                    <a:lnTo>
                      <a:pt x="672" y="629"/>
                    </a:lnTo>
                    <a:lnTo>
                      <a:pt x="633" y="264"/>
                    </a:lnTo>
                    <a:lnTo>
                      <a:pt x="633" y="264"/>
                    </a:lnTo>
                    <a:lnTo>
                      <a:pt x="633" y="264"/>
                    </a:lnTo>
                    <a:lnTo>
                      <a:pt x="628" y="235"/>
                    </a:lnTo>
                    <a:lnTo>
                      <a:pt x="620" y="211"/>
                    </a:lnTo>
                    <a:lnTo>
                      <a:pt x="612" y="183"/>
                    </a:lnTo>
                    <a:lnTo>
                      <a:pt x="601" y="159"/>
                    </a:lnTo>
                    <a:lnTo>
                      <a:pt x="586" y="136"/>
                    </a:lnTo>
                    <a:lnTo>
                      <a:pt x="573" y="116"/>
                    </a:lnTo>
                    <a:lnTo>
                      <a:pt x="554" y="95"/>
                    </a:lnTo>
                    <a:lnTo>
                      <a:pt x="535" y="75"/>
                    </a:lnTo>
                    <a:lnTo>
                      <a:pt x="515" y="59"/>
                    </a:lnTo>
                    <a:lnTo>
                      <a:pt x="491" y="43"/>
                    </a:lnTo>
                    <a:lnTo>
                      <a:pt x="469" y="30"/>
                    </a:lnTo>
                    <a:lnTo>
                      <a:pt x="445" y="21"/>
                    </a:lnTo>
                    <a:lnTo>
                      <a:pt x="420" y="13"/>
                    </a:lnTo>
                    <a:lnTo>
                      <a:pt x="393" y="6"/>
                    </a:lnTo>
                    <a:lnTo>
                      <a:pt x="364" y="1"/>
                    </a:lnTo>
                    <a:lnTo>
                      <a:pt x="335" y="0"/>
                    </a:lnTo>
                    <a:lnTo>
                      <a:pt x="335" y="0"/>
                    </a:lnTo>
                    <a:lnTo>
                      <a:pt x="335" y="0"/>
                    </a:lnTo>
                    <a:lnTo>
                      <a:pt x="33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73" name="Freeform 8"/>
              <p:cNvSpPr>
                <a:spLocks/>
              </p:cNvSpPr>
              <p:nvPr/>
            </p:nvSpPr>
            <p:spPr bwMode="auto">
              <a:xfrm>
                <a:off x="-1284288" y="1612900"/>
                <a:ext cx="361950" cy="511175"/>
              </a:xfrm>
              <a:custGeom>
                <a:avLst/>
                <a:gdLst>
                  <a:gd name="T0" fmla="*/ 228 w 228"/>
                  <a:gd name="T1" fmla="*/ 159 h 322"/>
                  <a:gd name="T2" fmla="*/ 225 w 228"/>
                  <a:gd name="T3" fmla="*/ 147 h 322"/>
                  <a:gd name="T4" fmla="*/ 217 w 228"/>
                  <a:gd name="T5" fmla="*/ 139 h 322"/>
                  <a:gd name="T6" fmla="*/ 207 w 228"/>
                  <a:gd name="T7" fmla="*/ 132 h 322"/>
                  <a:gd name="T8" fmla="*/ 191 w 228"/>
                  <a:gd name="T9" fmla="*/ 129 h 322"/>
                  <a:gd name="T10" fmla="*/ 158 w 228"/>
                  <a:gd name="T11" fmla="*/ 129 h 322"/>
                  <a:gd name="T12" fmla="*/ 121 w 228"/>
                  <a:gd name="T13" fmla="*/ 129 h 322"/>
                  <a:gd name="T14" fmla="*/ 124 w 228"/>
                  <a:gd name="T15" fmla="*/ 111 h 322"/>
                  <a:gd name="T16" fmla="*/ 137 w 228"/>
                  <a:gd name="T17" fmla="*/ 73 h 322"/>
                  <a:gd name="T18" fmla="*/ 143 w 228"/>
                  <a:gd name="T19" fmla="*/ 44 h 322"/>
                  <a:gd name="T20" fmla="*/ 141 w 228"/>
                  <a:gd name="T21" fmla="*/ 26 h 322"/>
                  <a:gd name="T22" fmla="*/ 133 w 228"/>
                  <a:gd name="T23" fmla="*/ 11 h 322"/>
                  <a:gd name="T24" fmla="*/ 116 w 228"/>
                  <a:gd name="T25" fmla="*/ 2 h 322"/>
                  <a:gd name="T26" fmla="*/ 103 w 228"/>
                  <a:gd name="T27" fmla="*/ 0 h 322"/>
                  <a:gd name="T28" fmla="*/ 100 w 228"/>
                  <a:gd name="T29" fmla="*/ 19 h 322"/>
                  <a:gd name="T30" fmla="*/ 95 w 228"/>
                  <a:gd name="T31" fmla="*/ 50 h 322"/>
                  <a:gd name="T32" fmla="*/ 87 w 228"/>
                  <a:gd name="T33" fmla="*/ 66 h 322"/>
                  <a:gd name="T34" fmla="*/ 83 w 228"/>
                  <a:gd name="T35" fmla="*/ 71 h 322"/>
                  <a:gd name="T36" fmla="*/ 72 w 228"/>
                  <a:gd name="T37" fmla="*/ 82 h 322"/>
                  <a:gd name="T38" fmla="*/ 58 w 228"/>
                  <a:gd name="T39" fmla="*/ 97 h 322"/>
                  <a:gd name="T40" fmla="*/ 51 w 228"/>
                  <a:gd name="T41" fmla="*/ 106 h 322"/>
                  <a:gd name="T42" fmla="*/ 37 w 228"/>
                  <a:gd name="T43" fmla="*/ 142 h 322"/>
                  <a:gd name="T44" fmla="*/ 27 w 228"/>
                  <a:gd name="T45" fmla="*/ 158 h 322"/>
                  <a:gd name="T46" fmla="*/ 19 w 228"/>
                  <a:gd name="T47" fmla="*/ 168 h 322"/>
                  <a:gd name="T48" fmla="*/ 8 w 228"/>
                  <a:gd name="T49" fmla="*/ 174 h 322"/>
                  <a:gd name="T50" fmla="*/ 0 w 228"/>
                  <a:gd name="T51" fmla="*/ 176 h 322"/>
                  <a:gd name="T52" fmla="*/ 0 w 228"/>
                  <a:gd name="T53" fmla="*/ 306 h 322"/>
                  <a:gd name="T54" fmla="*/ 83 w 228"/>
                  <a:gd name="T55" fmla="*/ 319 h 322"/>
                  <a:gd name="T56" fmla="*/ 130 w 228"/>
                  <a:gd name="T57" fmla="*/ 322 h 322"/>
                  <a:gd name="T58" fmla="*/ 170 w 228"/>
                  <a:gd name="T59" fmla="*/ 319 h 322"/>
                  <a:gd name="T60" fmla="*/ 175 w 228"/>
                  <a:gd name="T61" fmla="*/ 319 h 322"/>
                  <a:gd name="T62" fmla="*/ 185 w 228"/>
                  <a:gd name="T63" fmla="*/ 314 h 322"/>
                  <a:gd name="T64" fmla="*/ 196 w 228"/>
                  <a:gd name="T65" fmla="*/ 301 h 322"/>
                  <a:gd name="T66" fmla="*/ 204 w 228"/>
                  <a:gd name="T67" fmla="*/ 293 h 322"/>
                  <a:gd name="T68" fmla="*/ 204 w 228"/>
                  <a:gd name="T69" fmla="*/ 279 h 322"/>
                  <a:gd name="T70" fmla="*/ 209 w 228"/>
                  <a:gd name="T71" fmla="*/ 269 h 322"/>
                  <a:gd name="T72" fmla="*/ 220 w 228"/>
                  <a:gd name="T73" fmla="*/ 258 h 322"/>
                  <a:gd name="T74" fmla="*/ 222 w 228"/>
                  <a:gd name="T75" fmla="*/ 251 h 322"/>
                  <a:gd name="T76" fmla="*/ 217 w 228"/>
                  <a:gd name="T77" fmla="*/ 242 h 322"/>
                  <a:gd name="T78" fmla="*/ 216 w 228"/>
                  <a:gd name="T79" fmla="*/ 234 h 322"/>
                  <a:gd name="T80" fmla="*/ 216 w 228"/>
                  <a:gd name="T81" fmla="*/ 230 h 322"/>
                  <a:gd name="T82" fmla="*/ 217 w 228"/>
                  <a:gd name="T83" fmla="*/ 222 h 322"/>
                  <a:gd name="T84" fmla="*/ 225 w 228"/>
                  <a:gd name="T85" fmla="*/ 213 h 322"/>
                  <a:gd name="T86" fmla="*/ 228 w 228"/>
                  <a:gd name="T87" fmla="*/ 206 h 322"/>
                  <a:gd name="T88" fmla="*/ 228 w 228"/>
                  <a:gd name="T89" fmla="*/ 203 h 322"/>
                  <a:gd name="T90" fmla="*/ 224 w 228"/>
                  <a:gd name="T91" fmla="*/ 195 h 322"/>
                  <a:gd name="T92" fmla="*/ 219 w 228"/>
                  <a:gd name="T93" fmla="*/ 188 h 322"/>
                  <a:gd name="T94" fmla="*/ 219 w 228"/>
                  <a:gd name="T95" fmla="*/ 185 h 322"/>
                  <a:gd name="T96" fmla="*/ 220 w 228"/>
                  <a:gd name="T97" fmla="*/ 179 h 322"/>
                  <a:gd name="T98" fmla="*/ 227 w 228"/>
                  <a:gd name="T99" fmla="*/ 166 h 322"/>
                  <a:gd name="T100" fmla="*/ 228 w 228"/>
                  <a:gd name="T101" fmla="*/ 159 h 322"/>
                  <a:gd name="T102" fmla="*/ 228 w 228"/>
                  <a:gd name="T103" fmla="*/ 15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28" h="322">
                    <a:moveTo>
                      <a:pt x="228" y="159"/>
                    </a:moveTo>
                    <a:lnTo>
                      <a:pt x="228" y="159"/>
                    </a:lnTo>
                    <a:lnTo>
                      <a:pt x="227" y="153"/>
                    </a:lnTo>
                    <a:lnTo>
                      <a:pt x="225" y="147"/>
                    </a:lnTo>
                    <a:lnTo>
                      <a:pt x="222" y="142"/>
                    </a:lnTo>
                    <a:lnTo>
                      <a:pt x="217" y="139"/>
                    </a:lnTo>
                    <a:lnTo>
                      <a:pt x="212" y="135"/>
                    </a:lnTo>
                    <a:lnTo>
                      <a:pt x="207" y="132"/>
                    </a:lnTo>
                    <a:lnTo>
                      <a:pt x="199" y="131"/>
                    </a:lnTo>
                    <a:lnTo>
                      <a:pt x="191" y="129"/>
                    </a:lnTo>
                    <a:lnTo>
                      <a:pt x="175" y="129"/>
                    </a:lnTo>
                    <a:lnTo>
                      <a:pt x="158" y="129"/>
                    </a:lnTo>
                    <a:lnTo>
                      <a:pt x="121" y="129"/>
                    </a:lnTo>
                    <a:lnTo>
                      <a:pt x="121" y="129"/>
                    </a:lnTo>
                    <a:lnTo>
                      <a:pt x="122" y="121"/>
                    </a:lnTo>
                    <a:lnTo>
                      <a:pt x="124" y="111"/>
                    </a:lnTo>
                    <a:lnTo>
                      <a:pt x="130" y="93"/>
                    </a:lnTo>
                    <a:lnTo>
                      <a:pt x="137" y="73"/>
                    </a:lnTo>
                    <a:lnTo>
                      <a:pt x="141" y="53"/>
                    </a:lnTo>
                    <a:lnTo>
                      <a:pt x="143" y="44"/>
                    </a:lnTo>
                    <a:lnTo>
                      <a:pt x="143" y="34"/>
                    </a:lnTo>
                    <a:lnTo>
                      <a:pt x="141" y="26"/>
                    </a:lnTo>
                    <a:lnTo>
                      <a:pt x="138" y="19"/>
                    </a:lnTo>
                    <a:lnTo>
                      <a:pt x="133" y="11"/>
                    </a:lnTo>
                    <a:lnTo>
                      <a:pt x="127" y="7"/>
                    </a:lnTo>
                    <a:lnTo>
                      <a:pt x="116" y="2"/>
                    </a:lnTo>
                    <a:lnTo>
                      <a:pt x="103" y="0"/>
                    </a:lnTo>
                    <a:lnTo>
                      <a:pt x="103" y="0"/>
                    </a:lnTo>
                    <a:lnTo>
                      <a:pt x="101" y="10"/>
                    </a:lnTo>
                    <a:lnTo>
                      <a:pt x="100" y="19"/>
                    </a:lnTo>
                    <a:lnTo>
                      <a:pt x="96" y="36"/>
                    </a:lnTo>
                    <a:lnTo>
                      <a:pt x="95" y="50"/>
                    </a:lnTo>
                    <a:lnTo>
                      <a:pt x="92" y="58"/>
                    </a:lnTo>
                    <a:lnTo>
                      <a:pt x="87" y="66"/>
                    </a:lnTo>
                    <a:lnTo>
                      <a:pt x="87" y="66"/>
                    </a:lnTo>
                    <a:lnTo>
                      <a:pt x="83" y="71"/>
                    </a:lnTo>
                    <a:lnTo>
                      <a:pt x="80" y="74"/>
                    </a:lnTo>
                    <a:lnTo>
                      <a:pt x="72" y="82"/>
                    </a:lnTo>
                    <a:lnTo>
                      <a:pt x="64" y="89"/>
                    </a:lnTo>
                    <a:lnTo>
                      <a:pt x="58" y="97"/>
                    </a:lnTo>
                    <a:lnTo>
                      <a:pt x="58" y="97"/>
                    </a:lnTo>
                    <a:lnTo>
                      <a:pt x="51" y="106"/>
                    </a:lnTo>
                    <a:lnTo>
                      <a:pt x="46" y="118"/>
                    </a:lnTo>
                    <a:lnTo>
                      <a:pt x="37" y="142"/>
                    </a:lnTo>
                    <a:lnTo>
                      <a:pt x="30" y="153"/>
                    </a:lnTo>
                    <a:lnTo>
                      <a:pt x="27" y="158"/>
                    </a:lnTo>
                    <a:lnTo>
                      <a:pt x="22" y="163"/>
                    </a:lnTo>
                    <a:lnTo>
                      <a:pt x="19" y="168"/>
                    </a:lnTo>
                    <a:lnTo>
                      <a:pt x="14" y="171"/>
                    </a:lnTo>
                    <a:lnTo>
                      <a:pt x="8" y="174"/>
                    </a:lnTo>
                    <a:lnTo>
                      <a:pt x="0" y="176"/>
                    </a:lnTo>
                    <a:lnTo>
                      <a:pt x="0" y="176"/>
                    </a:lnTo>
                    <a:lnTo>
                      <a:pt x="0" y="306"/>
                    </a:lnTo>
                    <a:lnTo>
                      <a:pt x="0" y="306"/>
                    </a:lnTo>
                    <a:lnTo>
                      <a:pt x="38" y="312"/>
                    </a:lnTo>
                    <a:lnTo>
                      <a:pt x="83" y="319"/>
                    </a:lnTo>
                    <a:lnTo>
                      <a:pt x="108" y="320"/>
                    </a:lnTo>
                    <a:lnTo>
                      <a:pt x="130" y="322"/>
                    </a:lnTo>
                    <a:lnTo>
                      <a:pt x="151" y="322"/>
                    </a:lnTo>
                    <a:lnTo>
                      <a:pt x="170" y="319"/>
                    </a:lnTo>
                    <a:lnTo>
                      <a:pt x="170" y="319"/>
                    </a:lnTo>
                    <a:lnTo>
                      <a:pt x="175" y="319"/>
                    </a:lnTo>
                    <a:lnTo>
                      <a:pt x="180" y="316"/>
                    </a:lnTo>
                    <a:lnTo>
                      <a:pt x="185" y="314"/>
                    </a:lnTo>
                    <a:lnTo>
                      <a:pt x="190" y="309"/>
                    </a:lnTo>
                    <a:lnTo>
                      <a:pt x="196" y="301"/>
                    </a:lnTo>
                    <a:lnTo>
                      <a:pt x="204" y="293"/>
                    </a:lnTo>
                    <a:lnTo>
                      <a:pt x="204" y="293"/>
                    </a:lnTo>
                    <a:lnTo>
                      <a:pt x="203" y="285"/>
                    </a:lnTo>
                    <a:lnTo>
                      <a:pt x="204" y="279"/>
                    </a:lnTo>
                    <a:lnTo>
                      <a:pt x="206" y="274"/>
                    </a:lnTo>
                    <a:lnTo>
                      <a:pt x="209" y="269"/>
                    </a:lnTo>
                    <a:lnTo>
                      <a:pt x="216" y="263"/>
                    </a:lnTo>
                    <a:lnTo>
                      <a:pt x="220" y="258"/>
                    </a:lnTo>
                    <a:lnTo>
                      <a:pt x="222" y="251"/>
                    </a:lnTo>
                    <a:lnTo>
                      <a:pt x="222" y="251"/>
                    </a:lnTo>
                    <a:lnTo>
                      <a:pt x="220" y="245"/>
                    </a:lnTo>
                    <a:lnTo>
                      <a:pt x="217" y="242"/>
                    </a:lnTo>
                    <a:lnTo>
                      <a:pt x="216" y="235"/>
                    </a:lnTo>
                    <a:lnTo>
                      <a:pt x="216" y="234"/>
                    </a:lnTo>
                    <a:lnTo>
                      <a:pt x="216" y="230"/>
                    </a:lnTo>
                    <a:lnTo>
                      <a:pt x="216" y="230"/>
                    </a:lnTo>
                    <a:lnTo>
                      <a:pt x="216" y="226"/>
                    </a:lnTo>
                    <a:lnTo>
                      <a:pt x="217" y="222"/>
                    </a:lnTo>
                    <a:lnTo>
                      <a:pt x="222" y="216"/>
                    </a:lnTo>
                    <a:lnTo>
                      <a:pt x="225" y="213"/>
                    </a:lnTo>
                    <a:lnTo>
                      <a:pt x="227" y="209"/>
                    </a:lnTo>
                    <a:lnTo>
                      <a:pt x="228" y="206"/>
                    </a:lnTo>
                    <a:lnTo>
                      <a:pt x="228" y="206"/>
                    </a:lnTo>
                    <a:lnTo>
                      <a:pt x="228" y="203"/>
                    </a:lnTo>
                    <a:lnTo>
                      <a:pt x="227" y="201"/>
                    </a:lnTo>
                    <a:lnTo>
                      <a:pt x="224" y="195"/>
                    </a:lnTo>
                    <a:lnTo>
                      <a:pt x="220" y="190"/>
                    </a:lnTo>
                    <a:lnTo>
                      <a:pt x="219" y="188"/>
                    </a:lnTo>
                    <a:lnTo>
                      <a:pt x="219" y="185"/>
                    </a:lnTo>
                    <a:lnTo>
                      <a:pt x="219" y="185"/>
                    </a:lnTo>
                    <a:lnTo>
                      <a:pt x="219" y="182"/>
                    </a:lnTo>
                    <a:lnTo>
                      <a:pt x="220" y="179"/>
                    </a:lnTo>
                    <a:lnTo>
                      <a:pt x="224" y="172"/>
                    </a:lnTo>
                    <a:lnTo>
                      <a:pt x="227" y="166"/>
                    </a:lnTo>
                    <a:lnTo>
                      <a:pt x="228" y="159"/>
                    </a:lnTo>
                    <a:lnTo>
                      <a:pt x="228" y="159"/>
                    </a:lnTo>
                    <a:lnTo>
                      <a:pt x="228" y="159"/>
                    </a:lnTo>
                    <a:lnTo>
                      <a:pt x="228" y="1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74" name="Freeform 9"/>
              <p:cNvSpPr>
                <a:spLocks/>
              </p:cNvSpPr>
              <p:nvPr/>
            </p:nvSpPr>
            <p:spPr bwMode="auto">
              <a:xfrm>
                <a:off x="-1401763" y="1879600"/>
                <a:ext cx="104775" cy="228600"/>
              </a:xfrm>
              <a:custGeom>
                <a:avLst/>
                <a:gdLst>
                  <a:gd name="T0" fmla="*/ 61 w 66"/>
                  <a:gd name="T1" fmla="*/ 140 h 144"/>
                  <a:gd name="T2" fmla="*/ 61 w 66"/>
                  <a:gd name="T3" fmla="*/ 140 h 144"/>
                  <a:gd name="T4" fmla="*/ 64 w 66"/>
                  <a:gd name="T5" fmla="*/ 135 h 144"/>
                  <a:gd name="T6" fmla="*/ 64 w 66"/>
                  <a:gd name="T7" fmla="*/ 127 h 144"/>
                  <a:gd name="T8" fmla="*/ 66 w 66"/>
                  <a:gd name="T9" fmla="*/ 111 h 144"/>
                  <a:gd name="T10" fmla="*/ 64 w 66"/>
                  <a:gd name="T11" fmla="*/ 72 h 144"/>
                  <a:gd name="T12" fmla="*/ 64 w 66"/>
                  <a:gd name="T13" fmla="*/ 72 h 144"/>
                  <a:gd name="T14" fmla="*/ 66 w 66"/>
                  <a:gd name="T15" fmla="*/ 33 h 144"/>
                  <a:gd name="T16" fmla="*/ 64 w 66"/>
                  <a:gd name="T17" fmla="*/ 17 h 144"/>
                  <a:gd name="T18" fmla="*/ 64 w 66"/>
                  <a:gd name="T19" fmla="*/ 9 h 144"/>
                  <a:gd name="T20" fmla="*/ 61 w 66"/>
                  <a:gd name="T21" fmla="*/ 3 h 144"/>
                  <a:gd name="T22" fmla="*/ 61 w 66"/>
                  <a:gd name="T23" fmla="*/ 3 h 144"/>
                  <a:gd name="T24" fmla="*/ 48 w 66"/>
                  <a:gd name="T25" fmla="*/ 1 h 144"/>
                  <a:gd name="T26" fmla="*/ 32 w 66"/>
                  <a:gd name="T27" fmla="*/ 0 h 144"/>
                  <a:gd name="T28" fmla="*/ 17 w 66"/>
                  <a:gd name="T29" fmla="*/ 1 h 144"/>
                  <a:gd name="T30" fmla="*/ 11 w 66"/>
                  <a:gd name="T31" fmla="*/ 3 h 144"/>
                  <a:gd name="T32" fmla="*/ 5 w 66"/>
                  <a:gd name="T33" fmla="*/ 4 h 144"/>
                  <a:gd name="T34" fmla="*/ 5 w 66"/>
                  <a:gd name="T35" fmla="*/ 4 h 144"/>
                  <a:gd name="T36" fmla="*/ 5 w 66"/>
                  <a:gd name="T37" fmla="*/ 20 h 144"/>
                  <a:gd name="T38" fmla="*/ 1 w 66"/>
                  <a:gd name="T39" fmla="*/ 37 h 144"/>
                  <a:gd name="T40" fmla="*/ 0 w 66"/>
                  <a:gd name="T41" fmla="*/ 72 h 144"/>
                  <a:gd name="T42" fmla="*/ 1 w 66"/>
                  <a:gd name="T43" fmla="*/ 109 h 144"/>
                  <a:gd name="T44" fmla="*/ 5 w 66"/>
                  <a:gd name="T45" fmla="*/ 125 h 144"/>
                  <a:gd name="T46" fmla="*/ 5 w 66"/>
                  <a:gd name="T47" fmla="*/ 140 h 144"/>
                  <a:gd name="T48" fmla="*/ 5 w 66"/>
                  <a:gd name="T49" fmla="*/ 140 h 144"/>
                  <a:gd name="T50" fmla="*/ 11 w 66"/>
                  <a:gd name="T51" fmla="*/ 143 h 144"/>
                  <a:gd name="T52" fmla="*/ 17 w 66"/>
                  <a:gd name="T53" fmla="*/ 143 h 144"/>
                  <a:gd name="T54" fmla="*/ 33 w 66"/>
                  <a:gd name="T55" fmla="*/ 144 h 144"/>
                  <a:gd name="T56" fmla="*/ 48 w 66"/>
                  <a:gd name="T57" fmla="*/ 143 h 144"/>
                  <a:gd name="T58" fmla="*/ 56 w 66"/>
                  <a:gd name="T59" fmla="*/ 143 h 144"/>
                  <a:gd name="T60" fmla="*/ 61 w 66"/>
                  <a:gd name="T61" fmla="*/ 140 h 144"/>
                  <a:gd name="T62" fmla="*/ 61 w 66"/>
                  <a:gd name="T63" fmla="*/ 140 h 144"/>
                  <a:gd name="T64" fmla="*/ 61 w 66"/>
                  <a:gd name="T65" fmla="*/ 140 h 144"/>
                  <a:gd name="T66" fmla="*/ 61 w 66"/>
                  <a:gd name="T67" fmla="*/ 14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6" h="144">
                    <a:moveTo>
                      <a:pt x="61" y="140"/>
                    </a:moveTo>
                    <a:lnTo>
                      <a:pt x="61" y="140"/>
                    </a:lnTo>
                    <a:lnTo>
                      <a:pt x="64" y="135"/>
                    </a:lnTo>
                    <a:lnTo>
                      <a:pt x="64" y="127"/>
                    </a:lnTo>
                    <a:lnTo>
                      <a:pt x="66" y="111"/>
                    </a:lnTo>
                    <a:lnTo>
                      <a:pt x="64" y="72"/>
                    </a:lnTo>
                    <a:lnTo>
                      <a:pt x="64" y="72"/>
                    </a:lnTo>
                    <a:lnTo>
                      <a:pt x="66" y="33"/>
                    </a:lnTo>
                    <a:lnTo>
                      <a:pt x="64" y="17"/>
                    </a:lnTo>
                    <a:lnTo>
                      <a:pt x="64" y="9"/>
                    </a:lnTo>
                    <a:lnTo>
                      <a:pt x="61" y="3"/>
                    </a:lnTo>
                    <a:lnTo>
                      <a:pt x="61" y="3"/>
                    </a:lnTo>
                    <a:lnTo>
                      <a:pt x="48" y="1"/>
                    </a:lnTo>
                    <a:lnTo>
                      <a:pt x="32" y="0"/>
                    </a:lnTo>
                    <a:lnTo>
                      <a:pt x="17" y="1"/>
                    </a:lnTo>
                    <a:lnTo>
                      <a:pt x="11" y="3"/>
                    </a:lnTo>
                    <a:lnTo>
                      <a:pt x="5" y="4"/>
                    </a:lnTo>
                    <a:lnTo>
                      <a:pt x="5" y="4"/>
                    </a:lnTo>
                    <a:lnTo>
                      <a:pt x="5" y="20"/>
                    </a:lnTo>
                    <a:lnTo>
                      <a:pt x="1" y="37"/>
                    </a:lnTo>
                    <a:lnTo>
                      <a:pt x="0" y="72"/>
                    </a:lnTo>
                    <a:lnTo>
                      <a:pt x="1" y="109"/>
                    </a:lnTo>
                    <a:lnTo>
                      <a:pt x="5" y="125"/>
                    </a:lnTo>
                    <a:lnTo>
                      <a:pt x="5" y="140"/>
                    </a:lnTo>
                    <a:lnTo>
                      <a:pt x="5" y="140"/>
                    </a:lnTo>
                    <a:lnTo>
                      <a:pt x="11" y="143"/>
                    </a:lnTo>
                    <a:lnTo>
                      <a:pt x="17" y="143"/>
                    </a:lnTo>
                    <a:lnTo>
                      <a:pt x="33" y="144"/>
                    </a:lnTo>
                    <a:lnTo>
                      <a:pt x="48" y="143"/>
                    </a:lnTo>
                    <a:lnTo>
                      <a:pt x="56" y="143"/>
                    </a:lnTo>
                    <a:lnTo>
                      <a:pt x="61" y="140"/>
                    </a:lnTo>
                    <a:lnTo>
                      <a:pt x="61" y="140"/>
                    </a:lnTo>
                    <a:lnTo>
                      <a:pt x="61" y="140"/>
                    </a:lnTo>
                    <a:lnTo>
                      <a:pt x="61" y="1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75" name="Freeform 10"/>
              <p:cNvSpPr>
                <a:spLocks/>
              </p:cNvSpPr>
              <p:nvPr/>
            </p:nvSpPr>
            <p:spPr bwMode="auto">
              <a:xfrm>
                <a:off x="-638175" y="2711450"/>
                <a:ext cx="346075" cy="284162"/>
              </a:xfrm>
              <a:custGeom>
                <a:avLst/>
                <a:gdLst>
                  <a:gd name="T0" fmla="*/ 121 w 218"/>
                  <a:gd name="T1" fmla="*/ 0 h 179"/>
                  <a:gd name="T2" fmla="*/ 114 w 218"/>
                  <a:gd name="T3" fmla="*/ 0 h 179"/>
                  <a:gd name="T4" fmla="*/ 103 w 218"/>
                  <a:gd name="T5" fmla="*/ 0 h 179"/>
                  <a:gd name="T6" fmla="*/ 92 w 218"/>
                  <a:gd name="T7" fmla="*/ 2 h 179"/>
                  <a:gd name="T8" fmla="*/ 82 w 218"/>
                  <a:gd name="T9" fmla="*/ 4 h 179"/>
                  <a:gd name="T10" fmla="*/ 73 w 218"/>
                  <a:gd name="T11" fmla="*/ 7 h 179"/>
                  <a:gd name="T12" fmla="*/ 63 w 218"/>
                  <a:gd name="T13" fmla="*/ 10 h 179"/>
                  <a:gd name="T14" fmla="*/ 53 w 218"/>
                  <a:gd name="T15" fmla="*/ 15 h 179"/>
                  <a:gd name="T16" fmla="*/ 45 w 218"/>
                  <a:gd name="T17" fmla="*/ 20 h 179"/>
                  <a:gd name="T18" fmla="*/ 37 w 218"/>
                  <a:gd name="T19" fmla="*/ 26 h 179"/>
                  <a:gd name="T20" fmla="*/ 31 w 218"/>
                  <a:gd name="T21" fmla="*/ 31 h 179"/>
                  <a:gd name="T22" fmla="*/ 24 w 218"/>
                  <a:gd name="T23" fmla="*/ 39 h 179"/>
                  <a:gd name="T24" fmla="*/ 18 w 218"/>
                  <a:gd name="T25" fmla="*/ 45 h 179"/>
                  <a:gd name="T26" fmla="*/ 15 w 218"/>
                  <a:gd name="T27" fmla="*/ 53 h 179"/>
                  <a:gd name="T28" fmla="*/ 10 w 218"/>
                  <a:gd name="T29" fmla="*/ 62 h 179"/>
                  <a:gd name="T30" fmla="*/ 8 w 218"/>
                  <a:gd name="T31" fmla="*/ 70 h 179"/>
                  <a:gd name="T32" fmla="*/ 7 w 218"/>
                  <a:gd name="T33" fmla="*/ 78 h 179"/>
                  <a:gd name="T34" fmla="*/ 5 w 218"/>
                  <a:gd name="T35" fmla="*/ 86 h 179"/>
                  <a:gd name="T36" fmla="*/ 7 w 218"/>
                  <a:gd name="T37" fmla="*/ 91 h 179"/>
                  <a:gd name="T38" fmla="*/ 7 w 218"/>
                  <a:gd name="T39" fmla="*/ 100 h 179"/>
                  <a:gd name="T40" fmla="*/ 10 w 218"/>
                  <a:gd name="T41" fmla="*/ 108 h 179"/>
                  <a:gd name="T42" fmla="*/ 13 w 218"/>
                  <a:gd name="T43" fmla="*/ 118 h 179"/>
                  <a:gd name="T44" fmla="*/ 18 w 218"/>
                  <a:gd name="T45" fmla="*/ 126 h 179"/>
                  <a:gd name="T46" fmla="*/ 23 w 218"/>
                  <a:gd name="T47" fmla="*/ 132 h 179"/>
                  <a:gd name="T48" fmla="*/ 29 w 218"/>
                  <a:gd name="T49" fmla="*/ 140 h 179"/>
                  <a:gd name="T50" fmla="*/ 37 w 218"/>
                  <a:gd name="T51" fmla="*/ 147 h 179"/>
                  <a:gd name="T52" fmla="*/ 40 w 218"/>
                  <a:gd name="T53" fmla="*/ 150 h 179"/>
                  <a:gd name="T54" fmla="*/ 31 w 218"/>
                  <a:gd name="T55" fmla="*/ 160 h 179"/>
                  <a:gd name="T56" fmla="*/ 19 w 218"/>
                  <a:gd name="T57" fmla="*/ 166 h 179"/>
                  <a:gd name="T58" fmla="*/ 10 w 218"/>
                  <a:gd name="T59" fmla="*/ 173 h 179"/>
                  <a:gd name="T60" fmla="*/ 0 w 218"/>
                  <a:gd name="T61" fmla="*/ 176 h 179"/>
                  <a:gd name="T62" fmla="*/ 11 w 218"/>
                  <a:gd name="T63" fmla="*/ 177 h 179"/>
                  <a:gd name="T64" fmla="*/ 23 w 218"/>
                  <a:gd name="T65" fmla="*/ 179 h 179"/>
                  <a:gd name="T66" fmla="*/ 34 w 218"/>
                  <a:gd name="T67" fmla="*/ 177 h 179"/>
                  <a:gd name="T68" fmla="*/ 44 w 218"/>
                  <a:gd name="T69" fmla="*/ 176 h 179"/>
                  <a:gd name="T70" fmla="*/ 60 w 218"/>
                  <a:gd name="T71" fmla="*/ 173 h 179"/>
                  <a:gd name="T72" fmla="*/ 74 w 218"/>
                  <a:gd name="T73" fmla="*/ 166 h 179"/>
                  <a:gd name="T74" fmla="*/ 84 w 218"/>
                  <a:gd name="T75" fmla="*/ 169 h 179"/>
                  <a:gd name="T76" fmla="*/ 103 w 218"/>
                  <a:gd name="T77" fmla="*/ 171 h 179"/>
                  <a:gd name="T78" fmla="*/ 114 w 218"/>
                  <a:gd name="T79" fmla="*/ 173 h 179"/>
                  <a:gd name="T80" fmla="*/ 123 w 218"/>
                  <a:gd name="T81" fmla="*/ 173 h 179"/>
                  <a:gd name="T82" fmla="*/ 140 w 218"/>
                  <a:gd name="T83" fmla="*/ 169 h 179"/>
                  <a:gd name="T84" fmla="*/ 156 w 218"/>
                  <a:gd name="T85" fmla="*/ 166 h 179"/>
                  <a:gd name="T86" fmla="*/ 171 w 218"/>
                  <a:gd name="T87" fmla="*/ 160 h 179"/>
                  <a:gd name="T88" fmla="*/ 185 w 218"/>
                  <a:gd name="T89" fmla="*/ 152 h 179"/>
                  <a:gd name="T90" fmla="*/ 197 w 218"/>
                  <a:gd name="T91" fmla="*/ 142 h 179"/>
                  <a:gd name="T92" fmla="*/ 206 w 218"/>
                  <a:gd name="T93" fmla="*/ 132 h 179"/>
                  <a:gd name="T94" fmla="*/ 214 w 218"/>
                  <a:gd name="T95" fmla="*/ 119 h 179"/>
                  <a:gd name="T96" fmla="*/ 218 w 218"/>
                  <a:gd name="T97" fmla="*/ 113 h 179"/>
                  <a:gd name="T98" fmla="*/ 197 w 218"/>
                  <a:gd name="T99" fmla="*/ 107 h 179"/>
                  <a:gd name="T100" fmla="*/ 179 w 218"/>
                  <a:gd name="T101" fmla="*/ 95 h 179"/>
                  <a:gd name="T102" fmla="*/ 161 w 218"/>
                  <a:gd name="T103" fmla="*/ 84 h 179"/>
                  <a:gd name="T104" fmla="*/ 148 w 218"/>
                  <a:gd name="T105" fmla="*/ 70 h 179"/>
                  <a:gd name="T106" fmla="*/ 137 w 218"/>
                  <a:gd name="T107" fmla="*/ 55 h 179"/>
                  <a:gd name="T108" fmla="*/ 129 w 218"/>
                  <a:gd name="T109" fmla="*/ 42 h 179"/>
                  <a:gd name="T110" fmla="*/ 126 w 218"/>
                  <a:gd name="T111" fmla="*/ 33 h 179"/>
                  <a:gd name="T112" fmla="*/ 123 w 218"/>
                  <a:gd name="T113" fmla="*/ 25 h 179"/>
                  <a:gd name="T114" fmla="*/ 121 w 218"/>
                  <a:gd name="T115" fmla="*/ 15 h 179"/>
                  <a:gd name="T116" fmla="*/ 121 w 218"/>
                  <a:gd name="T117" fmla="*/ 5 h 179"/>
                  <a:gd name="T118" fmla="*/ 121 w 218"/>
                  <a:gd name="T119" fmla="*/ 0 h 179"/>
                  <a:gd name="T120" fmla="*/ 121 w 218"/>
                  <a:gd name="T121" fmla="*/ 0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18" h="179">
                    <a:moveTo>
                      <a:pt x="121" y="0"/>
                    </a:moveTo>
                    <a:lnTo>
                      <a:pt x="121" y="0"/>
                    </a:lnTo>
                    <a:lnTo>
                      <a:pt x="114" y="0"/>
                    </a:lnTo>
                    <a:lnTo>
                      <a:pt x="114" y="0"/>
                    </a:lnTo>
                    <a:lnTo>
                      <a:pt x="108" y="0"/>
                    </a:lnTo>
                    <a:lnTo>
                      <a:pt x="103" y="0"/>
                    </a:lnTo>
                    <a:lnTo>
                      <a:pt x="98" y="2"/>
                    </a:lnTo>
                    <a:lnTo>
                      <a:pt x="92" y="2"/>
                    </a:lnTo>
                    <a:lnTo>
                      <a:pt x="87" y="4"/>
                    </a:lnTo>
                    <a:lnTo>
                      <a:pt x="82" y="4"/>
                    </a:lnTo>
                    <a:lnTo>
                      <a:pt x="77" y="5"/>
                    </a:lnTo>
                    <a:lnTo>
                      <a:pt x="73" y="7"/>
                    </a:lnTo>
                    <a:lnTo>
                      <a:pt x="68" y="8"/>
                    </a:lnTo>
                    <a:lnTo>
                      <a:pt x="63" y="10"/>
                    </a:lnTo>
                    <a:lnTo>
                      <a:pt x="58" y="13"/>
                    </a:lnTo>
                    <a:lnTo>
                      <a:pt x="53" y="15"/>
                    </a:lnTo>
                    <a:lnTo>
                      <a:pt x="50" y="18"/>
                    </a:lnTo>
                    <a:lnTo>
                      <a:pt x="45" y="20"/>
                    </a:lnTo>
                    <a:lnTo>
                      <a:pt x="40" y="23"/>
                    </a:lnTo>
                    <a:lnTo>
                      <a:pt x="37" y="26"/>
                    </a:lnTo>
                    <a:lnTo>
                      <a:pt x="34" y="28"/>
                    </a:lnTo>
                    <a:lnTo>
                      <a:pt x="31" y="31"/>
                    </a:lnTo>
                    <a:lnTo>
                      <a:pt x="27" y="36"/>
                    </a:lnTo>
                    <a:lnTo>
                      <a:pt x="24" y="39"/>
                    </a:lnTo>
                    <a:lnTo>
                      <a:pt x="21" y="42"/>
                    </a:lnTo>
                    <a:lnTo>
                      <a:pt x="18" y="45"/>
                    </a:lnTo>
                    <a:lnTo>
                      <a:pt x="16" y="49"/>
                    </a:lnTo>
                    <a:lnTo>
                      <a:pt x="15" y="53"/>
                    </a:lnTo>
                    <a:lnTo>
                      <a:pt x="11" y="57"/>
                    </a:lnTo>
                    <a:lnTo>
                      <a:pt x="10" y="62"/>
                    </a:lnTo>
                    <a:lnTo>
                      <a:pt x="8" y="65"/>
                    </a:lnTo>
                    <a:lnTo>
                      <a:pt x="8" y="70"/>
                    </a:lnTo>
                    <a:lnTo>
                      <a:pt x="7" y="73"/>
                    </a:lnTo>
                    <a:lnTo>
                      <a:pt x="7" y="78"/>
                    </a:lnTo>
                    <a:lnTo>
                      <a:pt x="7" y="82"/>
                    </a:lnTo>
                    <a:lnTo>
                      <a:pt x="5" y="86"/>
                    </a:lnTo>
                    <a:lnTo>
                      <a:pt x="5" y="86"/>
                    </a:lnTo>
                    <a:lnTo>
                      <a:pt x="7" y="91"/>
                    </a:lnTo>
                    <a:lnTo>
                      <a:pt x="7" y="95"/>
                    </a:lnTo>
                    <a:lnTo>
                      <a:pt x="7" y="100"/>
                    </a:lnTo>
                    <a:lnTo>
                      <a:pt x="8" y="105"/>
                    </a:lnTo>
                    <a:lnTo>
                      <a:pt x="10" y="108"/>
                    </a:lnTo>
                    <a:lnTo>
                      <a:pt x="11" y="113"/>
                    </a:lnTo>
                    <a:lnTo>
                      <a:pt x="13" y="118"/>
                    </a:lnTo>
                    <a:lnTo>
                      <a:pt x="15" y="121"/>
                    </a:lnTo>
                    <a:lnTo>
                      <a:pt x="18" y="126"/>
                    </a:lnTo>
                    <a:lnTo>
                      <a:pt x="19" y="129"/>
                    </a:lnTo>
                    <a:lnTo>
                      <a:pt x="23" y="132"/>
                    </a:lnTo>
                    <a:lnTo>
                      <a:pt x="26" y="137"/>
                    </a:lnTo>
                    <a:lnTo>
                      <a:pt x="29" y="140"/>
                    </a:lnTo>
                    <a:lnTo>
                      <a:pt x="34" y="144"/>
                    </a:lnTo>
                    <a:lnTo>
                      <a:pt x="37" y="147"/>
                    </a:lnTo>
                    <a:lnTo>
                      <a:pt x="40" y="150"/>
                    </a:lnTo>
                    <a:lnTo>
                      <a:pt x="40" y="150"/>
                    </a:lnTo>
                    <a:lnTo>
                      <a:pt x="36" y="155"/>
                    </a:lnTo>
                    <a:lnTo>
                      <a:pt x="31" y="160"/>
                    </a:lnTo>
                    <a:lnTo>
                      <a:pt x="26" y="163"/>
                    </a:lnTo>
                    <a:lnTo>
                      <a:pt x="19" y="166"/>
                    </a:lnTo>
                    <a:lnTo>
                      <a:pt x="15" y="169"/>
                    </a:lnTo>
                    <a:lnTo>
                      <a:pt x="10" y="173"/>
                    </a:lnTo>
                    <a:lnTo>
                      <a:pt x="0" y="176"/>
                    </a:lnTo>
                    <a:lnTo>
                      <a:pt x="0" y="176"/>
                    </a:lnTo>
                    <a:lnTo>
                      <a:pt x="7" y="177"/>
                    </a:lnTo>
                    <a:lnTo>
                      <a:pt x="11" y="177"/>
                    </a:lnTo>
                    <a:lnTo>
                      <a:pt x="18" y="177"/>
                    </a:lnTo>
                    <a:lnTo>
                      <a:pt x="23" y="179"/>
                    </a:lnTo>
                    <a:lnTo>
                      <a:pt x="27" y="177"/>
                    </a:lnTo>
                    <a:lnTo>
                      <a:pt x="34" y="177"/>
                    </a:lnTo>
                    <a:lnTo>
                      <a:pt x="39" y="177"/>
                    </a:lnTo>
                    <a:lnTo>
                      <a:pt x="44" y="176"/>
                    </a:lnTo>
                    <a:lnTo>
                      <a:pt x="52" y="174"/>
                    </a:lnTo>
                    <a:lnTo>
                      <a:pt x="60" y="173"/>
                    </a:lnTo>
                    <a:lnTo>
                      <a:pt x="68" y="169"/>
                    </a:lnTo>
                    <a:lnTo>
                      <a:pt x="74" y="166"/>
                    </a:lnTo>
                    <a:lnTo>
                      <a:pt x="74" y="166"/>
                    </a:lnTo>
                    <a:lnTo>
                      <a:pt x="84" y="169"/>
                    </a:lnTo>
                    <a:lnTo>
                      <a:pt x="94" y="171"/>
                    </a:lnTo>
                    <a:lnTo>
                      <a:pt x="103" y="171"/>
                    </a:lnTo>
                    <a:lnTo>
                      <a:pt x="110" y="173"/>
                    </a:lnTo>
                    <a:lnTo>
                      <a:pt x="114" y="173"/>
                    </a:lnTo>
                    <a:lnTo>
                      <a:pt x="114" y="173"/>
                    </a:lnTo>
                    <a:lnTo>
                      <a:pt x="123" y="173"/>
                    </a:lnTo>
                    <a:lnTo>
                      <a:pt x="132" y="171"/>
                    </a:lnTo>
                    <a:lnTo>
                      <a:pt x="140" y="169"/>
                    </a:lnTo>
                    <a:lnTo>
                      <a:pt x="148" y="168"/>
                    </a:lnTo>
                    <a:lnTo>
                      <a:pt x="156" y="166"/>
                    </a:lnTo>
                    <a:lnTo>
                      <a:pt x="164" y="163"/>
                    </a:lnTo>
                    <a:lnTo>
                      <a:pt x="171" y="160"/>
                    </a:lnTo>
                    <a:lnTo>
                      <a:pt x="177" y="155"/>
                    </a:lnTo>
                    <a:lnTo>
                      <a:pt x="185" y="152"/>
                    </a:lnTo>
                    <a:lnTo>
                      <a:pt x="190" y="147"/>
                    </a:lnTo>
                    <a:lnTo>
                      <a:pt x="197" y="142"/>
                    </a:lnTo>
                    <a:lnTo>
                      <a:pt x="201" y="137"/>
                    </a:lnTo>
                    <a:lnTo>
                      <a:pt x="206" y="132"/>
                    </a:lnTo>
                    <a:lnTo>
                      <a:pt x="211" y="126"/>
                    </a:lnTo>
                    <a:lnTo>
                      <a:pt x="214" y="119"/>
                    </a:lnTo>
                    <a:lnTo>
                      <a:pt x="218" y="113"/>
                    </a:lnTo>
                    <a:lnTo>
                      <a:pt x="218" y="113"/>
                    </a:lnTo>
                    <a:lnTo>
                      <a:pt x="206" y="110"/>
                    </a:lnTo>
                    <a:lnTo>
                      <a:pt x="197" y="107"/>
                    </a:lnTo>
                    <a:lnTo>
                      <a:pt x="187" y="102"/>
                    </a:lnTo>
                    <a:lnTo>
                      <a:pt x="179" y="95"/>
                    </a:lnTo>
                    <a:lnTo>
                      <a:pt x="169" y="91"/>
                    </a:lnTo>
                    <a:lnTo>
                      <a:pt x="161" y="84"/>
                    </a:lnTo>
                    <a:lnTo>
                      <a:pt x="155" y="78"/>
                    </a:lnTo>
                    <a:lnTo>
                      <a:pt x="148" y="70"/>
                    </a:lnTo>
                    <a:lnTo>
                      <a:pt x="142" y="62"/>
                    </a:lnTo>
                    <a:lnTo>
                      <a:pt x="137" y="55"/>
                    </a:lnTo>
                    <a:lnTo>
                      <a:pt x="132" y="45"/>
                    </a:lnTo>
                    <a:lnTo>
                      <a:pt x="129" y="42"/>
                    </a:lnTo>
                    <a:lnTo>
                      <a:pt x="127" y="37"/>
                    </a:lnTo>
                    <a:lnTo>
                      <a:pt x="126" y="33"/>
                    </a:lnTo>
                    <a:lnTo>
                      <a:pt x="124" y="28"/>
                    </a:lnTo>
                    <a:lnTo>
                      <a:pt x="123" y="25"/>
                    </a:lnTo>
                    <a:lnTo>
                      <a:pt x="123" y="20"/>
                    </a:lnTo>
                    <a:lnTo>
                      <a:pt x="121" y="15"/>
                    </a:lnTo>
                    <a:lnTo>
                      <a:pt x="121" y="10"/>
                    </a:lnTo>
                    <a:lnTo>
                      <a:pt x="121" y="5"/>
                    </a:lnTo>
                    <a:lnTo>
                      <a:pt x="121" y="0"/>
                    </a:lnTo>
                    <a:lnTo>
                      <a:pt x="121" y="0"/>
                    </a:lnTo>
                    <a:lnTo>
                      <a:pt x="121" y="0"/>
                    </a:lnTo>
                    <a:lnTo>
                      <a:pt x="12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76" name="Freeform 11"/>
              <p:cNvSpPr>
                <a:spLocks/>
              </p:cNvSpPr>
              <p:nvPr/>
            </p:nvSpPr>
            <p:spPr bwMode="auto">
              <a:xfrm>
                <a:off x="-433388" y="2530475"/>
                <a:ext cx="465138" cy="373062"/>
              </a:xfrm>
              <a:custGeom>
                <a:avLst/>
                <a:gdLst>
                  <a:gd name="T0" fmla="*/ 280 w 293"/>
                  <a:gd name="T1" fmla="*/ 227 h 235"/>
                  <a:gd name="T2" fmla="*/ 259 w 293"/>
                  <a:gd name="T3" fmla="*/ 216 h 235"/>
                  <a:gd name="T4" fmla="*/ 246 w 293"/>
                  <a:gd name="T5" fmla="*/ 205 h 235"/>
                  <a:gd name="T6" fmla="*/ 240 w 293"/>
                  <a:gd name="T7" fmla="*/ 198 h 235"/>
                  <a:gd name="T8" fmla="*/ 254 w 293"/>
                  <a:gd name="T9" fmla="*/ 185 h 235"/>
                  <a:gd name="T10" fmla="*/ 266 w 293"/>
                  <a:gd name="T11" fmla="*/ 171 h 235"/>
                  <a:gd name="T12" fmla="*/ 275 w 293"/>
                  <a:gd name="T13" fmla="*/ 155 h 235"/>
                  <a:gd name="T14" fmla="*/ 282 w 293"/>
                  <a:gd name="T15" fmla="*/ 139 h 235"/>
                  <a:gd name="T16" fmla="*/ 285 w 293"/>
                  <a:gd name="T17" fmla="*/ 121 h 235"/>
                  <a:gd name="T18" fmla="*/ 285 w 293"/>
                  <a:gd name="T19" fmla="*/ 108 h 235"/>
                  <a:gd name="T20" fmla="*/ 282 w 293"/>
                  <a:gd name="T21" fmla="*/ 92 h 235"/>
                  <a:gd name="T22" fmla="*/ 277 w 293"/>
                  <a:gd name="T23" fmla="*/ 76 h 235"/>
                  <a:gd name="T24" fmla="*/ 267 w 293"/>
                  <a:gd name="T25" fmla="*/ 60 h 235"/>
                  <a:gd name="T26" fmla="*/ 258 w 293"/>
                  <a:gd name="T27" fmla="*/ 47 h 235"/>
                  <a:gd name="T28" fmla="*/ 243 w 293"/>
                  <a:gd name="T29" fmla="*/ 34 h 235"/>
                  <a:gd name="T30" fmla="*/ 229 w 293"/>
                  <a:gd name="T31" fmla="*/ 23 h 235"/>
                  <a:gd name="T32" fmla="*/ 211 w 293"/>
                  <a:gd name="T33" fmla="*/ 15 h 235"/>
                  <a:gd name="T34" fmla="*/ 192 w 293"/>
                  <a:gd name="T35" fmla="*/ 8 h 235"/>
                  <a:gd name="T36" fmla="*/ 171 w 293"/>
                  <a:gd name="T37" fmla="*/ 3 h 235"/>
                  <a:gd name="T38" fmla="*/ 150 w 293"/>
                  <a:gd name="T39" fmla="*/ 0 h 235"/>
                  <a:gd name="T40" fmla="*/ 135 w 293"/>
                  <a:gd name="T41" fmla="*/ 0 h 235"/>
                  <a:gd name="T42" fmla="*/ 114 w 293"/>
                  <a:gd name="T43" fmla="*/ 3 h 235"/>
                  <a:gd name="T44" fmla="*/ 93 w 293"/>
                  <a:gd name="T45" fmla="*/ 8 h 235"/>
                  <a:gd name="T46" fmla="*/ 74 w 293"/>
                  <a:gd name="T47" fmla="*/ 15 h 235"/>
                  <a:gd name="T48" fmla="*/ 56 w 293"/>
                  <a:gd name="T49" fmla="*/ 23 h 235"/>
                  <a:gd name="T50" fmla="*/ 42 w 293"/>
                  <a:gd name="T51" fmla="*/ 34 h 235"/>
                  <a:gd name="T52" fmla="*/ 29 w 293"/>
                  <a:gd name="T53" fmla="*/ 47 h 235"/>
                  <a:gd name="T54" fmla="*/ 18 w 293"/>
                  <a:gd name="T55" fmla="*/ 60 h 235"/>
                  <a:gd name="T56" fmla="*/ 8 w 293"/>
                  <a:gd name="T57" fmla="*/ 76 h 235"/>
                  <a:gd name="T58" fmla="*/ 3 w 293"/>
                  <a:gd name="T59" fmla="*/ 92 h 235"/>
                  <a:gd name="T60" fmla="*/ 0 w 293"/>
                  <a:gd name="T61" fmla="*/ 108 h 235"/>
                  <a:gd name="T62" fmla="*/ 0 w 293"/>
                  <a:gd name="T63" fmla="*/ 121 h 235"/>
                  <a:gd name="T64" fmla="*/ 3 w 293"/>
                  <a:gd name="T65" fmla="*/ 137 h 235"/>
                  <a:gd name="T66" fmla="*/ 8 w 293"/>
                  <a:gd name="T67" fmla="*/ 153 h 235"/>
                  <a:gd name="T68" fmla="*/ 18 w 293"/>
                  <a:gd name="T69" fmla="*/ 167 h 235"/>
                  <a:gd name="T70" fmla="*/ 29 w 293"/>
                  <a:gd name="T71" fmla="*/ 182 h 235"/>
                  <a:gd name="T72" fmla="*/ 42 w 293"/>
                  <a:gd name="T73" fmla="*/ 195 h 235"/>
                  <a:gd name="T74" fmla="*/ 56 w 293"/>
                  <a:gd name="T75" fmla="*/ 205 h 235"/>
                  <a:gd name="T76" fmla="*/ 74 w 293"/>
                  <a:gd name="T77" fmla="*/ 214 h 235"/>
                  <a:gd name="T78" fmla="*/ 93 w 293"/>
                  <a:gd name="T79" fmla="*/ 221 h 235"/>
                  <a:gd name="T80" fmla="*/ 114 w 293"/>
                  <a:gd name="T81" fmla="*/ 225 h 235"/>
                  <a:gd name="T82" fmla="*/ 135 w 293"/>
                  <a:gd name="T83" fmla="*/ 227 h 235"/>
                  <a:gd name="T84" fmla="*/ 150 w 293"/>
                  <a:gd name="T85" fmla="*/ 227 h 235"/>
                  <a:gd name="T86" fmla="*/ 171 w 293"/>
                  <a:gd name="T87" fmla="*/ 225 h 235"/>
                  <a:gd name="T88" fmla="*/ 190 w 293"/>
                  <a:gd name="T89" fmla="*/ 221 h 235"/>
                  <a:gd name="T90" fmla="*/ 204 w 293"/>
                  <a:gd name="T91" fmla="*/ 224 h 235"/>
                  <a:gd name="T92" fmla="*/ 219 w 293"/>
                  <a:gd name="T93" fmla="*/ 229 h 235"/>
                  <a:gd name="T94" fmla="*/ 237 w 293"/>
                  <a:gd name="T95" fmla="*/ 233 h 235"/>
                  <a:gd name="T96" fmla="*/ 256 w 293"/>
                  <a:gd name="T97" fmla="*/ 235 h 235"/>
                  <a:gd name="T98" fmla="*/ 277 w 293"/>
                  <a:gd name="T99" fmla="*/ 235 h 235"/>
                  <a:gd name="T100" fmla="*/ 293 w 293"/>
                  <a:gd name="T101" fmla="*/ 232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93" h="235">
                    <a:moveTo>
                      <a:pt x="293" y="232"/>
                    </a:moveTo>
                    <a:lnTo>
                      <a:pt x="293" y="232"/>
                    </a:lnTo>
                    <a:lnTo>
                      <a:pt x="280" y="227"/>
                    </a:lnTo>
                    <a:lnTo>
                      <a:pt x="274" y="224"/>
                    </a:lnTo>
                    <a:lnTo>
                      <a:pt x="267" y="221"/>
                    </a:lnTo>
                    <a:lnTo>
                      <a:pt x="259" y="216"/>
                    </a:lnTo>
                    <a:lnTo>
                      <a:pt x="253" y="211"/>
                    </a:lnTo>
                    <a:lnTo>
                      <a:pt x="250" y="208"/>
                    </a:lnTo>
                    <a:lnTo>
                      <a:pt x="246" y="205"/>
                    </a:lnTo>
                    <a:lnTo>
                      <a:pt x="243" y="201"/>
                    </a:lnTo>
                    <a:lnTo>
                      <a:pt x="240" y="198"/>
                    </a:lnTo>
                    <a:lnTo>
                      <a:pt x="240" y="198"/>
                    </a:lnTo>
                    <a:lnTo>
                      <a:pt x="245" y="193"/>
                    </a:lnTo>
                    <a:lnTo>
                      <a:pt x="250" y="190"/>
                    </a:lnTo>
                    <a:lnTo>
                      <a:pt x="254" y="185"/>
                    </a:lnTo>
                    <a:lnTo>
                      <a:pt x="259" y="180"/>
                    </a:lnTo>
                    <a:lnTo>
                      <a:pt x="262" y="176"/>
                    </a:lnTo>
                    <a:lnTo>
                      <a:pt x="266" y="171"/>
                    </a:lnTo>
                    <a:lnTo>
                      <a:pt x="270" y="166"/>
                    </a:lnTo>
                    <a:lnTo>
                      <a:pt x="272" y="161"/>
                    </a:lnTo>
                    <a:lnTo>
                      <a:pt x="275" y="155"/>
                    </a:lnTo>
                    <a:lnTo>
                      <a:pt x="279" y="150"/>
                    </a:lnTo>
                    <a:lnTo>
                      <a:pt x="280" y="143"/>
                    </a:lnTo>
                    <a:lnTo>
                      <a:pt x="282" y="139"/>
                    </a:lnTo>
                    <a:lnTo>
                      <a:pt x="283" y="132"/>
                    </a:lnTo>
                    <a:lnTo>
                      <a:pt x="285" y="127"/>
                    </a:lnTo>
                    <a:lnTo>
                      <a:pt x="285" y="121"/>
                    </a:lnTo>
                    <a:lnTo>
                      <a:pt x="285" y="114"/>
                    </a:lnTo>
                    <a:lnTo>
                      <a:pt x="285" y="114"/>
                    </a:lnTo>
                    <a:lnTo>
                      <a:pt x="285" y="108"/>
                    </a:lnTo>
                    <a:lnTo>
                      <a:pt x="285" y="103"/>
                    </a:lnTo>
                    <a:lnTo>
                      <a:pt x="283" y="97"/>
                    </a:lnTo>
                    <a:lnTo>
                      <a:pt x="282" y="92"/>
                    </a:lnTo>
                    <a:lnTo>
                      <a:pt x="280" y="85"/>
                    </a:lnTo>
                    <a:lnTo>
                      <a:pt x="279" y="81"/>
                    </a:lnTo>
                    <a:lnTo>
                      <a:pt x="277" y="76"/>
                    </a:lnTo>
                    <a:lnTo>
                      <a:pt x="274" y="69"/>
                    </a:lnTo>
                    <a:lnTo>
                      <a:pt x="270" y="64"/>
                    </a:lnTo>
                    <a:lnTo>
                      <a:pt x="267" y="60"/>
                    </a:lnTo>
                    <a:lnTo>
                      <a:pt x="264" y="55"/>
                    </a:lnTo>
                    <a:lnTo>
                      <a:pt x="261" y="50"/>
                    </a:lnTo>
                    <a:lnTo>
                      <a:pt x="258" y="47"/>
                    </a:lnTo>
                    <a:lnTo>
                      <a:pt x="253" y="42"/>
                    </a:lnTo>
                    <a:lnTo>
                      <a:pt x="248" y="37"/>
                    </a:lnTo>
                    <a:lnTo>
                      <a:pt x="243" y="34"/>
                    </a:lnTo>
                    <a:lnTo>
                      <a:pt x="238" y="31"/>
                    </a:lnTo>
                    <a:lnTo>
                      <a:pt x="233" y="26"/>
                    </a:lnTo>
                    <a:lnTo>
                      <a:pt x="229" y="23"/>
                    </a:lnTo>
                    <a:lnTo>
                      <a:pt x="222" y="19"/>
                    </a:lnTo>
                    <a:lnTo>
                      <a:pt x="217" y="18"/>
                    </a:lnTo>
                    <a:lnTo>
                      <a:pt x="211" y="15"/>
                    </a:lnTo>
                    <a:lnTo>
                      <a:pt x="204" y="11"/>
                    </a:lnTo>
                    <a:lnTo>
                      <a:pt x="198" y="10"/>
                    </a:lnTo>
                    <a:lnTo>
                      <a:pt x="192" y="8"/>
                    </a:lnTo>
                    <a:lnTo>
                      <a:pt x="185" y="5"/>
                    </a:lnTo>
                    <a:lnTo>
                      <a:pt x="179" y="5"/>
                    </a:lnTo>
                    <a:lnTo>
                      <a:pt x="171" y="3"/>
                    </a:lnTo>
                    <a:lnTo>
                      <a:pt x="164" y="2"/>
                    </a:lnTo>
                    <a:lnTo>
                      <a:pt x="158" y="2"/>
                    </a:lnTo>
                    <a:lnTo>
                      <a:pt x="150" y="0"/>
                    </a:lnTo>
                    <a:lnTo>
                      <a:pt x="143" y="0"/>
                    </a:lnTo>
                    <a:lnTo>
                      <a:pt x="143" y="0"/>
                    </a:lnTo>
                    <a:lnTo>
                      <a:pt x="135" y="0"/>
                    </a:lnTo>
                    <a:lnTo>
                      <a:pt x="127" y="2"/>
                    </a:lnTo>
                    <a:lnTo>
                      <a:pt x="121" y="2"/>
                    </a:lnTo>
                    <a:lnTo>
                      <a:pt x="114" y="3"/>
                    </a:lnTo>
                    <a:lnTo>
                      <a:pt x="106" y="5"/>
                    </a:lnTo>
                    <a:lnTo>
                      <a:pt x="100" y="5"/>
                    </a:lnTo>
                    <a:lnTo>
                      <a:pt x="93" y="8"/>
                    </a:lnTo>
                    <a:lnTo>
                      <a:pt x="87" y="10"/>
                    </a:lnTo>
                    <a:lnTo>
                      <a:pt x="80" y="11"/>
                    </a:lnTo>
                    <a:lnTo>
                      <a:pt x="74" y="15"/>
                    </a:lnTo>
                    <a:lnTo>
                      <a:pt x="68" y="18"/>
                    </a:lnTo>
                    <a:lnTo>
                      <a:pt x="63" y="19"/>
                    </a:lnTo>
                    <a:lnTo>
                      <a:pt x="56" y="23"/>
                    </a:lnTo>
                    <a:lnTo>
                      <a:pt x="51" y="26"/>
                    </a:lnTo>
                    <a:lnTo>
                      <a:pt x="47" y="31"/>
                    </a:lnTo>
                    <a:lnTo>
                      <a:pt x="42" y="34"/>
                    </a:lnTo>
                    <a:lnTo>
                      <a:pt x="37" y="37"/>
                    </a:lnTo>
                    <a:lnTo>
                      <a:pt x="32" y="42"/>
                    </a:lnTo>
                    <a:lnTo>
                      <a:pt x="29" y="47"/>
                    </a:lnTo>
                    <a:lnTo>
                      <a:pt x="24" y="50"/>
                    </a:lnTo>
                    <a:lnTo>
                      <a:pt x="21" y="55"/>
                    </a:lnTo>
                    <a:lnTo>
                      <a:pt x="18" y="60"/>
                    </a:lnTo>
                    <a:lnTo>
                      <a:pt x="14" y="64"/>
                    </a:lnTo>
                    <a:lnTo>
                      <a:pt x="11" y="69"/>
                    </a:lnTo>
                    <a:lnTo>
                      <a:pt x="8" y="76"/>
                    </a:lnTo>
                    <a:lnTo>
                      <a:pt x="6" y="81"/>
                    </a:lnTo>
                    <a:lnTo>
                      <a:pt x="5" y="85"/>
                    </a:lnTo>
                    <a:lnTo>
                      <a:pt x="3" y="92"/>
                    </a:lnTo>
                    <a:lnTo>
                      <a:pt x="2" y="97"/>
                    </a:lnTo>
                    <a:lnTo>
                      <a:pt x="0" y="103"/>
                    </a:lnTo>
                    <a:lnTo>
                      <a:pt x="0" y="108"/>
                    </a:lnTo>
                    <a:lnTo>
                      <a:pt x="0" y="114"/>
                    </a:lnTo>
                    <a:lnTo>
                      <a:pt x="0" y="114"/>
                    </a:lnTo>
                    <a:lnTo>
                      <a:pt x="0" y="121"/>
                    </a:lnTo>
                    <a:lnTo>
                      <a:pt x="0" y="126"/>
                    </a:lnTo>
                    <a:lnTo>
                      <a:pt x="2" y="132"/>
                    </a:lnTo>
                    <a:lnTo>
                      <a:pt x="3" y="137"/>
                    </a:lnTo>
                    <a:lnTo>
                      <a:pt x="5" y="143"/>
                    </a:lnTo>
                    <a:lnTo>
                      <a:pt x="6" y="148"/>
                    </a:lnTo>
                    <a:lnTo>
                      <a:pt x="8" y="153"/>
                    </a:lnTo>
                    <a:lnTo>
                      <a:pt x="11" y="158"/>
                    </a:lnTo>
                    <a:lnTo>
                      <a:pt x="14" y="163"/>
                    </a:lnTo>
                    <a:lnTo>
                      <a:pt x="18" y="167"/>
                    </a:lnTo>
                    <a:lnTo>
                      <a:pt x="21" y="172"/>
                    </a:lnTo>
                    <a:lnTo>
                      <a:pt x="24" y="177"/>
                    </a:lnTo>
                    <a:lnTo>
                      <a:pt x="29" y="182"/>
                    </a:lnTo>
                    <a:lnTo>
                      <a:pt x="32" y="187"/>
                    </a:lnTo>
                    <a:lnTo>
                      <a:pt x="37" y="190"/>
                    </a:lnTo>
                    <a:lnTo>
                      <a:pt x="42" y="195"/>
                    </a:lnTo>
                    <a:lnTo>
                      <a:pt x="47" y="198"/>
                    </a:lnTo>
                    <a:lnTo>
                      <a:pt x="51" y="201"/>
                    </a:lnTo>
                    <a:lnTo>
                      <a:pt x="56" y="205"/>
                    </a:lnTo>
                    <a:lnTo>
                      <a:pt x="63" y="208"/>
                    </a:lnTo>
                    <a:lnTo>
                      <a:pt x="68" y="211"/>
                    </a:lnTo>
                    <a:lnTo>
                      <a:pt x="74" y="214"/>
                    </a:lnTo>
                    <a:lnTo>
                      <a:pt x="80" y="216"/>
                    </a:lnTo>
                    <a:lnTo>
                      <a:pt x="87" y="219"/>
                    </a:lnTo>
                    <a:lnTo>
                      <a:pt x="93" y="221"/>
                    </a:lnTo>
                    <a:lnTo>
                      <a:pt x="100" y="222"/>
                    </a:lnTo>
                    <a:lnTo>
                      <a:pt x="106" y="224"/>
                    </a:lnTo>
                    <a:lnTo>
                      <a:pt x="114" y="225"/>
                    </a:lnTo>
                    <a:lnTo>
                      <a:pt x="121" y="225"/>
                    </a:lnTo>
                    <a:lnTo>
                      <a:pt x="127" y="227"/>
                    </a:lnTo>
                    <a:lnTo>
                      <a:pt x="135" y="227"/>
                    </a:lnTo>
                    <a:lnTo>
                      <a:pt x="143" y="227"/>
                    </a:lnTo>
                    <a:lnTo>
                      <a:pt x="143" y="227"/>
                    </a:lnTo>
                    <a:lnTo>
                      <a:pt x="150" y="227"/>
                    </a:lnTo>
                    <a:lnTo>
                      <a:pt x="156" y="227"/>
                    </a:lnTo>
                    <a:lnTo>
                      <a:pt x="164" y="227"/>
                    </a:lnTo>
                    <a:lnTo>
                      <a:pt x="171" y="225"/>
                    </a:lnTo>
                    <a:lnTo>
                      <a:pt x="177" y="224"/>
                    </a:lnTo>
                    <a:lnTo>
                      <a:pt x="184" y="222"/>
                    </a:lnTo>
                    <a:lnTo>
                      <a:pt x="190" y="221"/>
                    </a:lnTo>
                    <a:lnTo>
                      <a:pt x="196" y="219"/>
                    </a:lnTo>
                    <a:lnTo>
                      <a:pt x="196" y="219"/>
                    </a:lnTo>
                    <a:lnTo>
                      <a:pt x="204" y="224"/>
                    </a:lnTo>
                    <a:lnTo>
                      <a:pt x="209" y="225"/>
                    </a:lnTo>
                    <a:lnTo>
                      <a:pt x="214" y="227"/>
                    </a:lnTo>
                    <a:lnTo>
                      <a:pt x="219" y="229"/>
                    </a:lnTo>
                    <a:lnTo>
                      <a:pt x="225" y="230"/>
                    </a:lnTo>
                    <a:lnTo>
                      <a:pt x="230" y="232"/>
                    </a:lnTo>
                    <a:lnTo>
                      <a:pt x="237" y="233"/>
                    </a:lnTo>
                    <a:lnTo>
                      <a:pt x="243" y="233"/>
                    </a:lnTo>
                    <a:lnTo>
                      <a:pt x="250" y="235"/>
                    </a:lnTo>
                    <a:lnTo>
                      <a:pt x="256" y="235"/>
                    </a:lnTo>
                    <a:lnTo>
                      <a:pt x="262" y="235"/>
                    </a:lnTo>
                    <a:lnTo>
                      <a:pt x="270" y="235"/>
                    </a:lnTo>
                    <a:lnTo>
                      <a:pt x="277" y="235"/>
                    </a:lnTo>
                    <a:lnTo>
                      <a:pt x="285" y="233"/>
                    </a:lnTo>
                    <a:lnTo>
                      <a:pt x="293" y="232"/>
                    </a:lnTo>
                    <a:lnTo>
                      <a:pt x="293" y="232"/>
                    </a:lnTo>
                    <a:lnTo>
                      <a:pt x="293" y="232"/>
                    </a:lnTo>
                    <a:lnTo>
                      <a:pt x="293" y="2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77" name="Freeform 12"/>
              <p:cNvSpPr>
                <a:spLocks/>
              </p:cNvSpPr>
              <p:nvPr/>
            </p:nvSpPr>
            <p:spPr bwMode="auto">
              <a:xfrm>
                <a:off x="-3771900" y="2894013"/>
                <a:ext cx="631825" cy="498475"/>
              </a:xfrm>
              <a:custGeom>
                <a:avLst/>
                <a:gdLst>
                  <a:gd name="T0" fmla="*/ 369 w 398"/>
                  <a:gd name="T1" fmla="*/ 37 h 314"/>
                  <a:gd name="T2" fmla="*/ 386 w 398"/>
                  <a:gd name="T3" fmla="*/ 6 h 314"/>
                  <a:gd name="T4" fmla="*/ 361 w 398"/>
                  <a:gd name="T5" fmla="*/ 19 h 314"/>
                  <a:gd name="T6" fmla="*/ 333 w 398"/>
                  <a:gd name="T7" fmla="*/ 24 h 314"/>
                  <a:gd name="T8" fmla="*/ 293 w 398"/>
                  <a:gd name="T9" fmla="*/ 1 h 314"/>
                  <a:gd name="T10" fmla="*/ 261 w 398"/>
                  <a:gd name="T11" fmla="*/ 1 h 314"/>
                  <a:gd name="T12" fmla="*/ 219 w 398"/>
                  <a:gd name="T13" fmla="*/ 24 h 314"/>
                  <a:gd name="T14" fmla="*/ 198 w 398"/>
                  <a:gd name="T15" fmla="*/ 62 h 314"/>
                  <a:gd name="T16" fmla="*/ 196 w 398"/>
                  <a:gd name="T17" fmla="*/ 90 h 314"/>
                  <a:gd name="T18" fmla="*/ 176 w 398"/>
                  <a:gd name="T19" fmla="*/ 95 h 314"/>
                  <a:gd name="T20" fmla="*/ 109 w 398"/>
                  <a:gd name="T21" fmla="*/ 70 h 314"/>
                  <a:gd name="T22" fmla="*/ 53 w 398"/>
                  <a:gd name="T23" fmla="*/ 30 h 314"/>
                  <a:gd name="T24" fmla="*/ 34 w 398"/>
                  <a:gd name="T25" fmla="*/ 22 h 314"/>
                  <a:gd name="T26" fmla="*/ 29 w 398"/>
                  <a:gd name="T27" fmla="*/ 51 h 314"/>
                  <a:gd name="T28" fmla="*/ 31 w 398"/>
                  <a:gd name="T29" fmla="*/ 70 h 314"/>
                  <a:gd name="T30" fmla="*/ 42 w 398"/>
                  <a:gd name="T31" fmla="*/ 96 h 314"/>
                  <a:gd name="T32" fmla="*/ 58 w 398"/>
                  <a:gd name="T33" fmla="*/ 119 h 314"/>
                  <a:gd name="T34" fmla="*/ 27 w 398"/>
                  <a:gd name="T35" fmla="*/ 106 h 314"/>
                  <a:gd name="T36" fmla="*/ 32 w 398"/>
                  <a:gd name="T37" fmla="*/ 135 h 314"/>
                  <a:gd name="T38" fmla="*/ 45 w 398"/>
                  <a:gd name="T39" fmla="*/ 159 h 314"/>
                  <a:gd name="T40" fmla="*/ 82 w 398"/>
                  <a:gd name="T41" fmla="*/ 188 h 314"/>
                  <a:gd name="T42" fmla="*/ 55 w 398"/>
                  <a:gd name="T43" fmla="*/ 188 h 314"/>
                  <a:gd name="T44" fmla="*/ 69 w 398"/>
                  <a:gd name="T45" fmla="*/ 214 h 314"/>
                  <a:gd name="T46" fmla="*/ 90 w 398"/>
                  <a:gd name="T47" fmla="*/ 230 h 314"/>
                  <a:gd name="T48" fmla="*/ 134 w 398"/>
                  <a:gd name="T49" fmla="*/ 244 h 314"/>
                  <a:gd name="T50" fmla="*/ 103 w 398"/>
                  <a:gd name="T51" fmla="*/ 259 h 314"/>
                  <a:gd name="T52" fmla="*/ 55 w 398"/>
                  <a:gd name="T53" fmla="*/ 273 h 314"/>
                  <a:gd name="T54" fmla="*/ 3 w 398"/>
                  <a:gd name="T55" fmla="*/ 280 h 314"/>
                  <a:gd name="T56" fmla="*/ 0 w 398"/>
                  <a:gd name="T57" fmla="*/ 280 h 314"/>
                  <a:gd name="T58" fmla="*/ 42 w 398"/>
                  <a:gd name="T59" fmla="*/ 299 h 314"/>
                  <a:gd name="T60" fmla="*/ 87 w 398"/>
                  <a:gd name="T61" fmla="*/ 310 h 314"/>
                  <a:gd name="T62" fmla="*/ 119 w 398"/>
                  <a:gd name="T63" fmla="*/ 314 h 314"/>
                  <a:gd name="T64" fmla="*/ 192 w 398"/>
                  <a:gd name="T65" fmla="*/ 302 h 314"/>
                  <a:gd name="T66" fmla="*/ 253 w 398"/>
                  <a:gd name="T67" fmla="*/ 275 h 314"/>
                  <a:gd name="T68" fmla="*/ 303 w 398"/>
                  <a:gd name="T69" fmla="*/ 233 h 314"/>
                  <a:gd name="T70" fmla="*/ 338 w 398"/>
                  <a:gd name="T71" fmla="*/ 177 h 314"/>
                  <a:gd name="T72" fmla="*/ 354 w 398"/>
                  <a:gd name="T73" fmla="*/ 109 h 314"/>
                  <a:gd name="T74" fmla="*/ 356 w 398"/>
                  <a:gd name="T75" fmla="*/ 80 h 314"/>
                  <a:gd name="T76" fmla="*/ 356 w 398"/>
                  <a:gd name="T77" fmla="*/ 79 h 314"/>
                  <a:gd name="T78" fmla="*/ 367 w 398"/>
                  <a:gd name="T79" fmla="*/ 69 h 314"/>
                  <a:gd name="T80" fmla="*/ 398 w 398"/>
                  <a:gd name="T81" fmla="*/ 40 h 314"/>
                  <a:gd name="T82" fmla="*/ 362 w 398"/>
                  <a:gd name="T83" fmla="*/ 45 h 314"/>
                  <a:gd name="T84" fmla="*/ 362 w 398"/>
                  <a:gd name="T85" fmla="*/ 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98" h="314">
                    <a:moveTo>
                      <a:pt x="362" y="45"/>
                    </a:moveTo>
                    <a:lnTo>
                      <a:pt x="362" y="45"/>
                    </a:lnTo>
                    <a:lnTo>
                      <a:pt x="369" y="37"/>
                    </a:lnTo>
                    <a:lnTo>
                      <a:pt x="375" y="27"/>
                    </a:lnTo>
                    <a:lnTo>
                      <a:pt x="382" y="17"/>
                    </a:lnTo>
                    <a:lnTo>
                      <a:pt x="386" y="6"/>
                    </a:lnTo>
                    <a:lnTo>
                      <a:pt x="386" y="6"/>
                    </a:lnTo>
                    <a:lnTo>
                      <a:pt x="374" y="13"/>
                    </a:lnTo>
                    <a:lnTo>
                      <a:pt x="361" y="19"/>
                    </a:lnTo>
                    <a:lnTo>
                      <a:pt x="346" y="21"/>
                    </a:lnTo>
                    <a:lnTo>
                      <a:pt x="333" y="24"/>
                    </a:lnTo>
                    <a:lnTo>
                      <a:pt x="333" y="24"/>
                    </a:lnTo>
                    <a:lnTo>
                      <a:pt x="322" y="16"/>
                    </a:lnTo>
                    <a:lnTo>
                      <a:pt x="308" y="6"/>
                    </a:lnTo>
                    <a:lnTo>
                      <a:pt x="293" y="1"/>
                    </a:lnTo>
                    <a:lnTo>
                      <a:pt x="277" y="0"/>
                    </a:lnTo>
                    <a:lnTo>
                      <a:pt x="277" y="0"/>
                    </a:lnTo>
                    <a:lnTo>
                      <a:pt x="261" y="1"/>
                    </a:lnTo>
                    <a:lnTo>
                      <a:pt x="245" y="6"/>
                    </a:lnTo>
                    <a:lnTo>
                      <a:pt x="232" y="14"/>
                    </a:lnTo>
                    <a:lnTo>
                      <a:pt x="219" y="24"/>
                    </a:lnTo>
                    <a:lnTo>
                      <a:pt x="211" y="35"/>
                    </a:lnTo>
                    <a:lnTo>
                      <a:pt x="203" y="48"/>
                    </a:lnTo>
                    <a:lnTo>
                      <a:pt x="198" y="62"/>
                    </a:lnTo>
                    <a:lnTo>
                      <a:pt x="196" y="80"/>
                    </a:lnTo>
                    <a:lnTo>
                      <a:pt x="196" y="80"/>
                    </a:lnTo>
                    <a:lnTo>
                      <a:pt x="196" y="90"/>
                    </a:lnTo>
                    <a:lnTo>
                      <a:pt x="198" y="99"/>
                    </a:lnTo>
                    <a:lnTo>
                      <a:pt x="198" y="99"/>
                    </a:lnTo>
                    <a:lnTo>
                      <a:pt x="176" y="95"/>
                    </a:lnTo>
                    <a:lnTo>
                      <a:pt x="153" y="90"/>
                    </a:lnTo>
                    <a:lnTo>
                      <a:pt x="130" y="82"/>
                    </a:lnTo>
                    <a:lnTo>
                      <a:pt x="109" y="70"/>
                    </a:lnTo>
                    <a:lnTo>
                      <a:pt x="90" y="59"/>
                    </a:lnTo>
                    <a:lnTo>
                      <a:pt x="71" y="45"/>
                    </a:lnTo>
                    <a:lnTo>
                      <a:pt x="53" y="30"/>
                    </a:lnTo>
                    <a:lnTo>
                      <a:pt x="39" y="13"/>
                    </a:lnTo>
                    <a:lnTo>
                      <a:pt x="39" y="13"/>
                    </a:lnTo>
                    <a:lnTo>
                      <a:pt x="34" y="22"/>
                    </a:lnTo>
                    <a:lnTo>
                      <a:pt x="32" y="32"/>
                    </a:lnTo>
                    <a:lnTo>
                      <a:pt x="29" y="42"/>
                    </a:lnTo>
                    <a:lnTo>
                      <a:pt x="29" y="51"/>
                    </a:lnTo>
                    <a:lnTo>
                      <a:pt x="29" y="51"/>
                    </a:lnTo>
                    <a:lnTo>
                      <a:pt x="29" y="61"/>
                    </a:lnTo>
                    <a:lnTo>
                      <a:pt x="31" y="70"/>
                    </a:lnTo>
                    <a:lnTo>
                      <a:pt x="34" y="80"/>
                    </a:lnTo>
                    <a:lnTo>
                      <a:pt x="37" y="88"/>
                    </a:lnTo>
                    <a:lnTo>
                      <a:pt x="42" y="96"/>
                    </a:lnTo>
                    <a:lnTo>
                      <a:pt x="47" y="104"/>
                    </a:lnTo>
                    <a:lnTo>
                      <a:pt x="58" y="119"/>
                    </a:lnTo>
                    <a:lnTo>
                      <a:pt x="58" y="119"/>
                    </a:lnTo>
                    <a:lnTo>
                      <a:pt x="43" y="112"/>
                    </a:lnTo>
                    <a:lnTo>
                      <a:pt x="27" y="106"/>
                    </a:lnTo>
                    <a:lnTo>
                      <a:pt x="27" y="106"/>
                    </a:lnTo>
                    <a:lnTo>
                      <a:pt x="27" y="117"/>
                    </a:lnTo>
                    <a:lnTo>
                      <a:pt x="29" y="125"/>
                    </a:lnTo>
                    <a:lnTo>
                      <a:pt x="32" y="135"/>
                    </a:lnTo>
                    <a:lnTo>
                      <a:pt x="37" y="145"/>
                    </a:lnTo>
                    <a:lnTo>
                      <a:pt x="37" y="145"/>
                    </a:lnTo>
                    <a:lnTo>
                      <a:pt x="45" y="159"/>
                    </a:lnTo>
                    <a:lnTo>
                      <a:pt x="56" y="170"/>
                    </a:lnTo>
                    <a:lnTo>
                      <a:pt x="69" y="182"/>
                    </a:lnTo>
                    <a:lnTo>
                      <a:pt x="82" y="188"/>
                    </a:lnTo>
                    <a:lnTo>
                      <a:pt x="82" y="188"/>
                    </a:lnTo>
                    <a:lnTo>
                      <a:pt x="55" y="188"/>
                    </a:lnTo>
                    <a:lnTo>
                      <a:pt x="55" y="188"/>
                    </a:lnTo>
                    <a:lnTo>
                      <a:pt x="60" y="198"/>
                    </a:lnTo>
                    <a:lnTo>
                      <a:pt x="64" y="206"/>
                    </a:lnTo>
                    <a:lnTo>
                      <a:pt x="69" y="214"/>
                    </a:lnTo>
                    <a:lnTo>
                      <a:pt x="77" y="220"/>
                    </a:lnTo>
                    <a:lnTo>
                      <a:pt x="77" y="220"/>
                    </a:lnTo>
                    <a:lnTo>
                      <a:pt x="90" y="230"/>
                    </a:lnTo>
                    <a:lnTo>
                      <a:pt x="105" y="238"/>
                    </a:lnTo>
                    <a:lnTo>
                      <a:pt x="118" y="243"/>
                    </a:lnTo>
                    <a:lnTo>
                      <a:pt x="134" y="244"/>
                    </a:lnTo>
                    <a:lnTo>
                      <a:pt x="134" y="244"/>
                    </a:lnTo>
                    <a:lnTo>
                      <a:pt x="119" y="251"/>
                    </a:lnTo>
                    <a:lnTo>
                      <a:pt x="103" y="259"/>
                    </a:lnTo>
                    <a:lnTo>
                      <a:pt x="89" y="265"/>
                    </a:lnTo>
                    <a:lnTo>
                      <a:pt x="71" y="272"/>
                    </a:lnTo>
                    <a:lnTo>
                      <a:pt x="55" y="273"/>
                    </a:lnTo>
                    <a:lnTo>
                      <a:pt x="39" y="277"/>
                    </a:lnTo>
                    <a:lnTo>
                      <a:pt x="21" y="280"/>
                    </a:lnTo>
                    <a:lnTo>
                      <a:pt x="3" y="280"/>
                    </a:lnTo>
                    <a:lnTo>
                      <a:pt x="3" y="280"/>
                    </a:lnTo>
                    <a:lnTo>
                      <a:pt x="0" y="280"/>
                    </a:lnTo>
                    <a:lnTo>
                      <a:pt x="0" y="280"/>
                    </a:lnTo>
                    <a:lnTo>
                      <a:pt x="13" y="288"/>
                    </a:lnTo>
                    <a:lnTo>
                      <a:pt x="27" y="293"/>
                    </a:lnTo>
                    <a:lnTo>
                      <a:pt x="42" y="299"/>
                    </a:lnTo>
                    <a:lnTo>
                      <a:pt x="56" y="304"/>
                    </a:lnTo>
                    <a:lnTo>
                      <a:pt x="71" y="307"/>
                    </a:lnTo>
                    <a:lnTo>
                      <a:pt x="87" y="310"/>
                    </a:lnTo>
                    <a:lnTo>
                      <a:pt x="103" y="312"/>
                    </a:lnTo>
                    <a:lnTo>
                      <a:pt x="119" y="314"/>
                    </a:lnTo>
                    <a:lnTo>
                      <a:pt x="119" y="314"/>
                    </a:lnTo>
                    <a:lnTo>
                      <a:pt x="143" y="312"/>
                    </a:lnTo>
                    <a:lnTo>
                      <a:pt x="167" y="309"/>
                    </a:lnTo>
                    <a:lnTo>
                      <a:pt x="192" y="302"/>
                    </a:lnTo>
                    <a:lnTo>
                      <a:pt x="214" y="294"/>
                    </a:lnTo>
                    <a:lnTo>
                      <a:pt x="233" y="286"/>
                    </a:lnTo>
                    <a:lnTo>
                      <a:pt x="253" y="275"/>
                    </a:lnTo>
                    <a:lnTo>
                      <a:pt x="272" y="264"/>
                    </a:lnTo>
                    <a:lnTo>
                      <a:pt x="288" y="249"/>
                    </a:lnTo>
                    <a:lnTo>
                      <a:pt x="303" y="233"/>
                    </a:lnTo>
                    <a:lnTo>
                      <a:pt x="316" y="215"/>
                    </a:lnTo>
                    <a:lnTo>
                      <a:pt x="327" y="198"/>
                    </a:lnTo>
                    <a:lnTo>
                      <a:pt x="338" y="177"/>
                    </a:lnTo>
                    <a:lnTo>
                      <a:pt x="346" y="156"/>
                    </a:lnTo>
                    <a:lnTo>
                      <a:pt x="349" y="133"/>
                    </a:lnTo>
                    <a:lnTo>
                      <a:pt x="354" y="109"/>
                    </a:lnTo>
                    <a:lnTo>
                      <a:pt x="354" y="85"/>
                    </a:lnTo>
                    <a:lnTo>
                      <a:pt x="354" y="85"/>
                    </a:lnTo>
                    <a:lnTo>
                      <a:pt x="356" y="80"/>
                    </a:lnTo>
                    <a:lnTo>
                      <a:pt x="356" y="80"/>
                    </a:lnTo>
                    <a:lnTo>
                      <a:pt x="356" y="79"/>
                    </a:lnTo>
                    <a:lnTo>
                      <a:pt x="356" y="79"/>
                    </a:lnTo>
                    <a:lnTo>
                      <a:pt x="356" y="77"/>
                    </a:lnTo>
                    <a:lnTo>
                      <a:pt x="356" y="77"/>
                    </a:lnTo>
                    <a:lnTo>
                      <a:pt x="367" y="69"/>
                    </a:lnTo>
                    <a:lnTo>
                      <a:pt x="378" y="61"/>
                    </a:lnTo>
                    <a:lnTo>
                      <a:pt x="388" y="50"/>
                    </a:lnTo>
                    <a:lnTo>
                      <a:pt x="398" y="40"/>
                    </a:lnTo>
                    <a:lnTo>
                      <a:pt x="398" y="40"/>
                    </a:lnTo>
                    <a:lnTo>
                      <a:pt x="380" y="42"/>
                    </a:lnTo>
                    <a:lnTo>
                      <a:pt x="362" y="45"/>
                    </a:lnTo>
                    <a:lnTo>
                      <a:pt x="362" y="45"/>
                    </a:lnTo>
                    <a:lnTo>
                      <a:pt x="362" y="45"/>
                    </a:lnTo>
                    <a:lnTo>
                      <a:pt x="362" y="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78" name="Freeform 13"/>
              <p:cNvSpPr>
                <a:spLocks/>
              </p:cNvSpPr>
              <p:nvPr/>
            </p:nvSpPr>
            <p:spPr bwMode="auto">
              <a:xfrm>
                <a:off x="-3089275" y="4056063"/>
                <a:ext cx="201613" cy="309562"/>
              </a:xfrm>
              <a:custGeom>
                <a:avLst/>
                <a:gdLst>
                  <a:gd name="T0" fmla="*/ 56 w 127"/>
                  <a:gd name="T1" fmla="*/ 52 h 195"/>
                  <a:gd name="T2" fmla="*/ 56 w 127"/>
                  <a:gd name="T3" fmla="*/ 52 h 195"/>
                  <a:gd name="T4" fmla="*/ 22 w 127"/>
                  <a:gd name="T5" fmla="*/ 74 h 195"/>
                  <a:gd name="T6" fmla="*/ 0 w 127"/>
                  <a:gd name="T7" fmla="*/ 90 h 195"/>
                  <a:gd name="T8" fmla="*/ 0 w 127"/>
                  <a:gd name="T9" fmla="*/ 90 h 195"/>
                  <a:gd name="T10" fmla="*/ 127 w 127"/>
                  <a:gd name="T11" fmla="*/ 195 h 195"/>
                  <a:gd name="T12" fmla="*/ 127 w 127"/>
                  <a:gd name="T13" fmla="*/ 195 h 195"/>
                  <a:gd name="T14" fmla="*/ 127 w 127"/>
                  <a:gd name="T15" fmla="*/ 0 h 195"/>
                  <a:gd name="T16" fmla="*/ 127 w 127"/>
                  <a:gd name="T17" fmla="*/ 0 h 195"/>
                  <a:gd name="T18" fmla="*/ 56 w 127"/>
                  <a:gd name="T19" fmla="*/ 52 h 195"/>
                  <a:gd name="T20" fmla="*/ 56 w 127"/>
                  <a:gd name="T21" fmla="*/ 52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7" h="195">
                    <a:moveTo>
                      <a:pt x="56" y="52"/>
                    </a:moveTo>
                    <a:lnTo>
                      <a:pt x="56" y="52"/>
                    </a:lnTo>
                    <a:lnTo>
                      <a:pt x="22" y="74"/>
                    </a:lnTo>
                    <a:lnTo>
                      <a:pt x="0" y="90"/>
                    </a:lnTo>
                    <a:lnTo>
                      <a:pt x="0" y="90"/>
                    </a:lnTo>
                    <a:lnTo>
                      <a:pt x="127" y="195"/>
                    </a:lnTo>
                    <a:lnTo>
                      <a:pt x="127" y="195"/>
                    </a:lnTo>
                    <a:lnTo>
                      <a:pt x="127" y="0"/>
                    </a:lnTo>
                    <a:lnTo>
                      <a:pt x="127" y="0"/>
                    </a:lnTo>
                    <a:lnTo>
                      <a:pt x="56" y="52"/>
                    </a:lnTo>
                    <a:lnTo>
                      <a:pt x="56"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79" name="Freeform 14"/>
              <p:cNvSpPr>
                <a:spLocks/>
              </p:cNvSpPr>
              <p:nvPr/>
            </p:nvSpPr>
            <p:spPr bwMode="auto">
              <a:xfrm>
                <a:off x="-3398838" y="4048125"/>
                <a:ext cx="506413" cy="166687"/>
              </a:xfrm>
              <a:custGeom>
                <a:avLst/>
                <a:gdLst>
                  <a:gd name="T0" fmla="*/ 161 w 319"/>
                  <a:gd name="T1" fmla="*/ 105 h 105"/>
                  <a:gd name="T2" fmla="*/ 161 w 319"/>
                  <a:gd name="T3" fmla="*/ 105 h 105"/>
                  <a:gd name="T4" fmla="*/ 169 w 319"/>
                  <a:gd name="T5" fmla="*/ 102 h 105"/>
                  <a:gd name="T6" fmla="*/ 184 w 319"/>
                  <a:gd name="T7" fmla="*/ 94 h 105"/>
                  <a:gd name="T8" fmla="*/ 222 w 319"/>
                  <a:gd name="T9" fmla="*/ 68 h 105"/>
                  <a:gd name="T10" fmla="*/ 272 w 319"/>
                  <a:gd name="T11" fmla="*/ 34 h 105"/>
                  <a:gd name="T12" fmla="*/ 319 w 319"/>
                  <a:gd name="T13" fmla="*/ 0 h 105"/>
                  <a:gd name="T14" fmla="*/ 319 w 319"/>
                  <a:gd name="T15" fmla="*/ 0 h 105"/>
                  <a:gd name="T16" fmla="*/ 0 w 319"/>
                  <a:gd name="T17" fmla="*/ 0 h 105"/>
                  <a:gd name="T18" fmla="*/ 0 w 319"/>
                  <a:gd name="T19" fmla="*/ 0 h 105"/>
                  <a:gd name="T20" fmla="*/ 0 w 319"/>
                  <a:gd name="T21" fmla="*/ 0 h 105"/>
                  <a:gd name="T22" fmla="*/ 0 w 319"/>
                  <a:gd name="T23" fmla="*/ 0 h 105"/>
                  <a:gd name="T24" fmla="*/ 47 w 319"/>
                  <a:gd name="T25" fmla="*/ 34 h 105"/>
                  <a:gd name="T26" fmla="*/ 97 w 319"/>
                  <a:gd name="T27" fmla="*/ 68 h 105"/>
                  <a:gd name="T28" fmla="*/ 139 w 319"/>
                  <a:gd name="T29" fmla="*/ 94 h 105"/>
                  <a:gd name="T30" fmla="*/ 153 w 319"/>
                  <a:gd name="T31" fmla="*/ 102 h 105"/>
                  <a:gd name="T32" fmla="*/ 161 w 319"/>
                  <a:gd name="T33" fmla="*/ 105 h 105"/>
                  <a:gd name="T34" fmla="*/ 161 w 319"/>
                  <a:gd name="T35" fmla="*/ 105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19" h="105">
                    <a:moveTo>
                      <a:pt x="161" y="105"/>
                    </a:moveTo>
                    <a:lnTo>
                      <a:pt x="161" y="105"/>
                    </a:lnTo>
                    <a:lnTo>
                      <a:pt x="169" y="102"/>
                    </a:lnTo>
                    <a:lnTo>
                      <a:pt x="184" y="94"/>
                    </a:lnTo>
                    <a:lnTo>
                      <a:pt x="222" y="68"/>
                    </a:lnTo>
                    <a:lnTo>
                      <a:pt x="272" y="34"/>
                    </a:lnTo>
                    <a:lnTo>
                      <a:pt x="319" y="0"/>
                    </a:lnTo>
                    <a:lnTo>
                      <a:pt x="319" y="0"/>
                    </a:lnTo>
                    <a:lnTo>
                      <a:pt x="0" y="0"/>
                    </a:lnTo>
                    <a:lnTo>
                      <a:pt x="0" y="0"/>
                    </a:lnTo>
                    <a:lnTo>
                      <a:pt x="0" y="0"/>
                    </a:lnTo>
                    <a:lnTo>
                      <a:pt x="0" y="0"/>
                    </a:lnTo>
                    <a:lnTo>
                      <a:pt x="47" y="34"/>
                    </a:lnTo>
                    <a:lnTo>
                      <a:pt x="97" y="68"/>
                    </a:lnTo>
                    <a:lnTo>
                      <a:pt x="139" y="94"/>
                    </a:lnTo>
                    <a:lnTo>
                      <a:pt x="153" y="102"/>
                    </a:lnTo>
                    <a:lnTo>
                      <a:pt x="161" y="105"/>
                    </a:lnTo>
                    <a:lnTo>
                      <a:pt x="161" y="1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80" name="Freeform 15"/>
              <p:cNvSpPr>
                <a:spLocks/>
              </p:cNvSpPr>
              <p:nvPr/>
            </p:nvSpPr>
            <p:spPr bwMode="auto">
              <a:xfrm>
                <a:off x="-3403600" y="4059238"/>
                <a:ext cx="209550" cy="306387"/>
              </a:xfrm>
              <a:custGeom>
                <a:avLst/>
                <a:gdLst>
                  <a:gd name="T0" fmla="*/ 0 w 132"/>
                  <a:gd name="T1" fmla="*/ 0 h 193"/>
                  <a:gd name="T2" fmla="*/ 0 w 132"/>
                  <a:gd name="T3" fmla="*/ 0 h 193"/>
                  <a:gd name="T4" fmla="*/ 0 w 132"/>
                  <a:gd name="T5" fmla="*/ 193 h 193"/>
                  <a:gd name="T6" fmla="*/ 0 w 132"/>
                  <a:gd name="T7" fmla="*/ 193 h 193"/>
                  <a:gd name="T8" fmla="*/ 132 w 132"/>
                  <a:gd name="T9" fmla="*/ 88 h 193"/>
                  <a:gd name="T10" fmla="*/ 132 w 132"/>
                  <a:gd name="T11" fmla="*/ 88 h 193"/>
                  <a:gd name="T12" fmla="*/ 96 w 132"/>
                  <a:gd name="T13" fmla="*/ 66 h 193"/>
                  <a:gd name="T14" fmla="*/ 58 w 132"/>
                  <a:gd name="T15" fmla="*/ 40 h 193"/>
                  <a:gd name="T16" fmla="*/ 0 w 132"/>
                  <a:gd name="T17" fmla="*/ 0 h 193"/>
                  <a:gd name="T18" fmla="*/ 0 w 132"/>
                  <a:gd name="T19" fmla="*/ 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2" h="193">
                    <a:moveTo>
                      <a:pt x="0" y="0"/>
                    </a:moveTo>
                    <a:lnTo>
                      <a:pt x="0" y="0"/>
                    </a:lnTo>
                    <a:lnTo>
                      <a:pt x="0" y="193"/>
                    </a:lnTo>
                    <a:lnTo>
                      <a:pt x="0" y="193"/>
                    </a:lnTo>
                    <a:lnTo>
                      <a:pt x="132" y="88"/>
                    </a:lnTo>
                    <a:lnTo>
                      <a:pt x="132" y="88"/>
                    </a:lnTo>
                    <a:lnTo>
                      <a:pt x="96" y="66"/>
                    </a:lnTo>
                    <a:lnTo>
                      <a:pt x="58" y="4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81" name="Freeform 16"/>
              <p:cNvSpPr>
                <a:spLocks/>
              </p:cNvSpPr>
              <p:nvPr/>
            </p:nvSpPr>
            <p:spPr bwMode="auto">
              <a:xfrm>
                <a:off x="-3398838" y="4205288"/>
                <a:ext cx="509588" cy="169862"/>
              </a:xfrm>
              <a:custGeom>
                <a:avLst/>
                <a:gdLst>
                  <a:gd name="T0" fmla="*/ 188 w 321"/>
                  <a:gd name="T1" fmla="*/ 0 h 107"/>
                  <a:gd name="T2" fmla="*/ 188 w 321"/>
                  <a:gd name="T3" fmla="*/ 0 h 107"/>
                  <a:gd name="T4" fmla="*/ 176 w 321"/>
                  <a:gd name="T5" fmla="*/ 6 h 107"/>
                  <a:gd name="T6" fmla="*/ 168 w 321"/>
                  <a:gd name="T7" fmla="*/ 11 h 107"/>
                  <a:gd name="T8" fmla="*/ 161 w 321"/>
                  <a:gd name="T9" fmla="*/ 12 h 107"/>
                  <a:gd name="T10" fmla="*/ 161 w 321"/>
                  <a:gd name="T11" fmla="*/ 12 h 107"/>
                  <a:gd name="T12" fmla="*/ 151 w 321"/>
                  <a:gd name="T13" fmla="*/ 9 h 107"/>
                  <a:gd name="T14" fmla="*/ 135 w 321"/>
                  <a:gd name="T15" fmla="*/ 1 h 107"/>
                  <a:gd name="T16" fmla="*/ 135 w 321"/>
                  <a:gd name="T17" fmla="*/ 1 h 107"/>
                  <a:gd name="T18" fmla="*/ 0 w 321"/>
                  <a:gd name="T19" fmla="*/ 107 h 107"/>
                  <a:gd name="T20" fmla="*/ 0 w 321"/>
                  <a:gd name="T21" fmla="*/ 107 h 107"/>
                  <a:gd name="T22" fmla="*/ 0 w 321"/>
                  <a:gd name="T23" fmla="*/ 107 h 107"/>
                  <a:gd name="T24" fmla="*/ 0 w 321"/>
                  <a:gd name="T25" fmla="*/ 107 h 107"/>
                  <a:gd name="T26" fmla="*/ 319 w 321"/>
                  <a:gd name="T27" fmla="*/ 107 h 107"/>
                  <a:gd name="T28" fmla="*/ 319 w 321"/>
                  <a:gd name="T29" fmla="*/ 107 h 107"/>
                  <a:gd name="T30" fmla="*/ 321 w 321"/>
                  <a:gd name="T31" fmla="*/ 107 h 107"/>
                  <a:gd name="T32" fmla="*/ 188 w 321"/>
                  <a:gd name="T33" fmla="*/ 0 h 107"/>
                  <a:gd name="T34" fmla="*/ 188 w 321"/>
                  <a:gd name="T35" fmla="*/ 0 h 107"/>
                  <a:gd name="T36" fmla="*/ 188 w 321"/>
                  <a:gd name="T37"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21" h="107">
                    <a:moveTo>
                      <a:pt x="188" y="0"/>
                    </a:moveTo>
                    <a:lnTo>
                      <a:pt x="188" y="0"/>
                    </a:lnTo>
                    <a:lnTo>
                      <a:pt x="176" y="6"/>
                    </a:lnTo>
                    <a:lnTo>
                      <a:pt x="168" y="11"/>
                    </a:lnTo>
                    <a:lnTo>
                      <a:pt x="161" y="12"/>
                    </a:lnTo>
                    <a:lnTo>
                      <a:pt x="161" y="12"/>
                    </a:lnTo>
                    <a:lnTo>
                      <a:pt x="151" y="9"/>
                    </a:lnTo>
                    <a:lnTo>
                      <a:pt x="135" y="1"/>
                    </a:lnTo>
                    <a:lnTo>
                      <a:pt x="135" y="1"/>
                    </a:lnTo>
                    <a:lnTo>
                      <a:pt x="0" y="107"/>
                    </a:lnTo>
                    <a:lnTo>
                      <a:pt x="0" y="107"/>
                    </a:lnTo>
                    <a:lnTo>
                      <a:pt x="0" y="107"/>
                    </a:lnTo>
                    <a:lnTo>
                      <a:pt x="0" y="107"/>
                    </a:lnTo>
                    <a:lnTo>
                      <a:pt x="319" y="107"/>
                    </a:lnTo>
                    <a:lnTo>
                      <a:pt x="319" y="107"/>
                    </a:lnTo>
                    <a:lnTo>
                      <a:pt x="321" y="107"/>
                    </a:lnTo>
                    <a:lnTo>
                      <a:pt x="188" y="0"/>
                    </a:lnTo>
                    <a:lnTo>
                      <a:pt x="188" y="0"/>
                    </a:lnTo>
                    <a:lnTo>
                      <a:pt x="18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82" name="Freeform 17"/>
              <p:cNvSpPr>
                <a:spLocks/>
              </p:cNvSpPr>
              <p:nvPr/>
            </p:nvSpPr>
            <p:spPr bwMode="auto">
              <a:xfrm>
                <a:off x="-2895600" y="1843088"/>
                <a:ext cx="166688" cy="163512"/>
              </a:xfrm>
              <a:custGeom>
                <a:avLst/>
                <a:gdLst>
                  <a:gd name="T0" fmla="*/ 0 w 105"/>
                  <a:gd name="T1" fmla="*/ 52 h 103"/>
                  <a:gd name="T2" fmla="*/ 0 w 105"/>
                  <a:gd name="T3" fmla="*/ 52 h 103"/>
                  <a:gd name="T4" fmla="*/ 2 w 105"/>
                  <a:gd name="T5" fmla="*/ 42 h 103"/>
                  <a:gd name="T6" fmla="*/ 5 w 105"/>
                  <a:gd name="T7" fmla="*/ 32 h 103"/>
                  <a:gd name="T8" fmla="*/ 10 w 105"/>
                  <a:gd name="T9" fmla="*/ 23 h 103"/>
                  <a:gd name="T10" fmla="*/ 16 w 105"/>
                  <a:gd name="T11" fmla="*/ 14 h 103"/>
                  <a:gd name="T12" fmla="*/ 24 w 105"/>
                  <a:gd name="T13" fmla="*/ 10 h 103"/>
                  <a:gd name="T14" fmla="*/ 33 w 105"/>
                  <a:gd name="T15" fmla="*/ 5 h 103"/>
                  <a:gd name="T16" fmla="*/ 42 w 105"/>
                  <a:gd name="T17" fmla="*/ 2 h 103"/>
                  <a:gd name="T18" fmla="*/ 53 w 105"/>
                  <a:gd name="T19" fmla="*/ 0 h 103"/>
                  <a:gd name="T20" fmla="*/ 53 w 105"/>
                  <a:gd name="T21" fmla="*/ 0 h 103"/>
                  <a:gd name="T22" fmla="*/ 63 w 105"/>
                  <a:gd name="T23" fmla="*/ 2 h 103"/>
                  <a:gd name="T24" fmla="*/ 73 w 105"/>
                  <a:gd name="T25" fmla="*/ 5 h 103"/>
                  <a:gd name="T26" fmla="*/ 82 w 105"/>
                  <a:gd name="T27" fmla="*/ 10 h 103"/>
                  <a:gd name="T28" fmla="*/ 89 w 105"/>
                  <a:gd name="T29" fmla="*/ 14 h 103"/>
                  <a:gd name="T30" fmla="*/ 95 w 105"/>
                  <a:gd name="T31" fmla="*/ 23 h 103"/>
                  <a:gd name="T32" fmla="*/ 100 w 105"/>
                  <a:gd name="T33" fmla="*/ 32 h 103"/>
                  <a:gd name="T34" fmla="*/ 103 w 105"/>
                  <a:gd name="T35" fmla="*/ 42 h 103"/>
                  <a:gd name="T36" fmla="*/ 105 w 105"/>
                  <a:gd name="T37" fmla="*/ 52 h 103"/>
                  <a:gd name="T38" fmla="*/ 105 w 105"/>
                  <a:gd name="T39" fmla="*/ 52 h 103"/>
                  <a:gd name="T40" fmla="*/ 103 w 105"/>
                  <a:gd name="T41" fmla="*/ 63 h 103"/>
                  <a:gd name="T42" fmla="*/ 100 w 105"/>
                  <a:gd name="T43" fmla="*/ 72 h 103"/>
                  <a:gd name="T44" fmla="*/ 95 w 105"/>
                  <a:gd name="T45" fmla="*/ 81 h 103"/>
                  <a:gd name="T46" fmla="*/ 89 w 105"/>
                  <a:gd name="T47" fmla="*/ 89 h 103"/>
                  <a:gd name="T48" fmla="*/ 82 w 105"/>
                  <a:gd name="T49" fmla="*/ 95 h 103"/>
                  <a:gd name="T50" fmla="*/ 73 w 105"/>
                  <a:gd name="T51" fmla="*/ 100 h 103"/>
                  <a:gd name="T52" fmla="*/ 63 w 105"/>
                  <a:gd name="T53" fmla="*/ 103 h 103"/>
                  <a:gd name="T54" fmla="*/ 53 w 105"/>
                  <a:gd name="T55" fmla="*/ 103 h 103"/>
                  <a:gd name="T56" fmla="*/ 53 w 105"/>
                  <a:gd name="T57" fmla="*/ 103 h 103"/>
                  <a:gd name="T58" fmla="*/ 42 w 105"/>
                  <a:gd name="T59" fmla="*/ 103 h 103"/>
                  <a:gd name="T60" fmla="*/ 33 w 105"/>
                  <a:gd name="T61" fmla="*/ 100 h 103"/>
                  <a:gd name="T62" fmla="*/ 24 w 105"/>
                  <a:gd name="T63" fmla="*/ 95 h 103"/>
                  <a:gd name="T64" fmla="*/ 16 w 105"/>
                  <a:gd name="T65" fmla="*/ 89 h 103"/>
                  <a:gd name="T66" fmla="*/ 10 w 105"/>
                  <a:gd name="T67" fmla="*/ 81 h 103"/>
                  <a:gd name="T68" fmla="*/ 5 w 105"/>
                  <a:gd name="T69" fmla="*/ 72 h 103"/>
                  <a:gd name="T70" fmla="*/ 2 w 105"/>
                  <a:gd name="T71" fmla="*/ 63 h 103"/>
                  <a:gd name="T72" fmla="*/ 0 w 105"/>
                  <a:gd name="T73" fmla="*/ 52 h 103"/>
                  <a:gd name="T74" fmla="*/ 0 w 105"/>
                  <a:gd name="T75" fmla="*/ 52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5" h="103">
                    <a:moveTo>
                      <a:pt x="0" y="52"/>
                    </a:moveTo>
                    <a:lnTo>
                      <a:pt x="0" y="52"/>
                    </a:lnTo>
                    <a:lnTo>
                      <a:pt x="2" y="42"/>
                    </a:lnTo>
                    <a:lnTo>
                      <a:pt x="5" y="32"/>
                    </a:lnTo>
                    <a:lnTo>
                      <a:pt x="10" y="23"/>
                    </a:lnTo>
                    <a:lnTo>
                      <a:pt x="16" y="14"/>
                    </a:lnTo>
                    <a:lnTo>
                      <a:pt x="24" y="10"/>
                    </a:lnTo>
                    <a:lnTo>
                      <a:pt x="33" y="5"/>
                    </a:lnTo>
                    <a:lnTo>
                      <a:pt x="42" y="2"/>
                    </a:lnTo>
                    <a:lnTo>
                      <a:pt x="53" y="0"/>
                    </a:lnTo>
                    <a:lnTo>
                      <a:pt x="53" y="0"/>
                    </a:lnTo>
                    <a:lnTo>
                      <a:pt x="63" y="2"/>
                    </a:lnTo>
                    <a:lnTo>
                      <a:pt x="73" y="5"/>
                    </a:lnTo>
                    <a:lnTo>
                      <a:pt x="82" y="10"/>
                    </a:lnTo>
                    <a:lnTo>
                      <a:pt x="89" y="14"/>
                    </a:lnTo>
                    <a:lnTo>
                      <a:pt x="95" y="23"/>
                    </a:lnTo>
                    <a:lnTo>
                      <a:pt x="100" y="32"/>
                    </a:lnTo>
                    <a:lnTo>
                      <a:pt x="103" y="42"/>
                    </a:lnTo>
                    <a:lnTo>
                      <a:pt x="105" y="52"/>
                    </a:lnTo>
                    <a:lnTo>
                      <a:pt x="105" y="52"/>
                    </a:lnTo>
                    <a:lnTo>
                      <a:pt x="103" y="63"/>
                    </a:lnTo>
                    <a:lnTo>
                      <a:pt x="100" y="72"/>
                    </a:lnTo>
                    <a:lnTo>
                      <a:pt x="95" y="81"/>
                    </a:lnTo>
                    <a:lnTo>
                      <a:pt x="89" y="89"/>
                    </a:lnTo>
                    <a:lnTo>
                      <a:pt x="82" y="95"/>
                    </a:lnTo>
                    <a:lnTo>
                      <a:pt x="73" y="100"/>
                    </a:lnTo>
                    <a:lnTo>
                      <a:pt x="63" y="103"/>
                    </a:lnTo>
                    <a:lnTo>
                      <a:pt x="53" y="103"/>
                    </a:lnTo>
                    <a:lnTo>
                      <a:pt x="53" y="103"/>
                    </a:lnTo>
                    <a:lnTo>
                      <a:pt x="42" y="103"/>
                    </a:lnTo>
                    <a:lnTo>
                      <a:pt x="33" y="100"/>
                    </a:lnTo>
                    <a:lnTo>
                      <a:pt x="24" y="95"/>
                    </a:lnTo>
                    <a:lnTo>
                      <a:pt x="16" y="89"/>
                    </a:lnTo>
                    <a:lnTo>
                      <a:pt x="10" y="81"/>
                    </a:lnTo>
                    <a:lnTo>
                      <a:pt x="5" y="72"/>
                    </a:lnTo>
                    <a:lnTo>
                      <a:pt x="2" y="63"/>
                    </a:lnTo>
                    <a:lnTo>
                      <a:pt x="0" y="52"/>
                    </a:lnTo>
                    <a:lnTo>
                      <a:pt x="0"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83" name="Freeform 18"/>
              <p:cNvSpPr>
                <a:spLocks/>
              </p:cNvSpPr>
              <p:nvPr/>
            </p:nvSpPr>
            <p:spPr bwMode="auto">
              <a:xfrm>
                <a:off x="-2846388" y="1528763"/>
                <a:ext cx="434975" cy="434975"/>
              </a:xfrm>
              <a:custGeom>
                <a:avLst/>
                <a:gdLst>
                  <a:gd name="T0" fmla="*/ 251 w 274"/>
                  <a:gd name="T1" fmla="*/ 274 h 274"/>
                  <a:gd name="T2" fmla="*/ 248 w 274"/>
                  <a:gd name="T3" fmla="*/ 274 h 274"/>
                  <a:gd name="T4" fmla="*/ 233 w 274"/>
                  <a:gd name="T5" fmla="*/ 266 h 274"/>
                  <a:gd name="T6" fmla="*/ 227 w 274"/>
                  <a:gd name="T7" fmla="*/ 248 h 274"/>
                  <a:gd name="T8" fmla="*/ 227 w 274"/>
                  <a:gd name="T9" fmla="*/ 233 h 274"/>
                  <a:gd name="T10" fmla="*/ 222 w 274"/>
                  <a:gd name="T11" fmla="*/ 196 h 274"/>
                  <a:gd name="T12" fmla="*/ 211 w 274"/>
                  <a:gd name="T13" fmla="*/ 163 h 274"/>
                  <a:gd name="T14" fmla="*/ 198 w 274"/>
                  <a:gd name="T15" fmla="*/ 137 h 274"/>
                  <a:gd name="T16" fmla="*/ 179 w 274"/>
                  <a:gd name="T17" fmla="*/ 113 h 274"/>
                  <a:gd name="T18" fmla="*/ 167 w 274"/>
                  <a:gd name="T19" fmla="*/ 101 h 274"/>
                  <a:gd name="T20" fmla="*/ 143 w 274"/>
                  <a:gd name="T21" fmla="*/ 82 h 274"/>
                  <a:gd name="T22" fmla="*/ 117 w 274"/>
                  <a:gd name="T23" fmla="*/ 68 h 274"/>
                  <a:gd name="T24" fmla="*/ 71 w 274"/>
                  <a:gd name="T25" fmla="*/ 52 h 274"/>
                  <a:gd name="T26" fmla="*/ 37 w 274"/>
                  <a:gd name="T27" fmla="*/ 47 h 274"/>
                  <a:gd name="T28" fmla="*/ 24 w 274"/>
                  <a:gd name="T29" fmla="*/ 45 h 274"/>
                  <a:gd name="T30" fmla="*/ 6 w 274"/>
                  <a:gd name="T31" fmla="*/ 40 h 274"/>
                  <a:gd name="T32" fmla="*/ 0 w 274"/>
                  <a:gd name="T33" fmla="*/ 24 h 274"/>
                  <a:gd name="T34" fmla="*/ 0 w 274"/>
                  <a:gd name="T35" fmla="*/ 16 h 274"/>
                  <a:gd name="T36" fmla="*/ 11 w 274"/>
                  <a:gd name="T37" fmla="*/ 3 h 274"/>
                  <a:gd name="T38" fmla="*/ 21 w 274"/>
                  <a:gd name="T39" fmla="*/ 0 h 274"/>
                  <a:gd name="T40" fmla="*/ 56 w 274"/>
                  <a:gd name="T41" fmla="*/ 3 h 274"/>
                  <a:gd name="T42" fmla="*/ 108 w 274"/>
                  <a:gd name="T43" fmla="*/ 14 h 274"/>
                  <a:gd name="T44" fmla="*/ 137 w 274"/>
                  <a:gd name="T45" fmla="*/ 27 h 274"/>
                  <a:gd name="T46" fmla="*/ 167 w 274"/>
                  <a:gd name="T47" fmla="*/ 45 h 274"/>
                  <a:gd name="T48" fmla="*/ 198 w 274"/>
                  <a:gd name="T49" fmla="*/ 69 h 274"/>
                  <a:gd name="T50" fmla="*/ 212 w 274"/>
                  <a:gd name="T51" fmla="*/ 84 h 274"/>
                  <a:gd name="T52" fmla="*/ 237 w 274"/>
                  <a:gd name="T53" fmla="*/ 113 h 274"/>
                  <a:gd name="T54" fmla="*/ 253 w 274"/>
                  <a:gd name="T55" fmla="*/ 143 h 274"/>
                  <a:gd name="T56" fmla="*/ 267 w 274"/>
                  <a:gd name="T57" fmla="*/ 187 h 274"/>
                  <a:gd name="T58" fmla="*/ 274 w 274"/>
                  <a:gd name="T59" fmla="*/ 232 h 274"/>
                  <a:gd name="T60" fmla="*/ 274 w 274"/>
                  <a:gd name="T61" fmla="*/ 253 h 274"/>
                  <a:gd name="T62" fmla="*/ 266 w 274"/>
                  <a:gd name="T63" fmla="*/ 267 h 274"/>
                  <a:gd name="T64" fmla="*/ 251 w 274"/>
                  <a:gd name="T65"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74" h="274">
                    <a:moveTo>
                      <a:pt x="251" y="274"/>
                    </a:moveTo>
                    <a:lnTo>
                      <a:pt x="251" y="274"/>
                    </a:lnTo>
                    <a:lnTo>
                      <a:pt x="248" y="274"/>
                    </a:lnTo>
                    <a:lnTo>
                      <a:pt x="248" y="274"/>
                    </a:lnTo>
                    <a:lnTo>
                      <a:pt x="240" y="270"/>
                    </a:lnTo>
                    <a:lnTo>
                      <a:pt x="233" y="266"/>
                    </a:lnTo>
                    <a:lnTo>
                      <a:pt x="229" y="258"/>
                    </a:lnTo>
                    <a:lnTo>
                      <a:pt x="227" y="248"/>
                    </a:lnTo>
                    <a:lnTo>
                      <a:pt x="227" y="248"/>
                    </a:lnTo>
                    <a:lnTo>
                      <a:pt x="227" y="233"/>
                    </a:lnTo>
                    <a:lnTo>
                      <a:pt x="227" y="217"/>
                    </a:lnTo>
                    <a:lnTo>
                      <a:pt x="222" y="196"/>
                    </a:lnTo>
                    <a:lnTo>
                      <a:pt x="216" y="174"/>
                    </a:lnTo>
                    <a:lnTo>
                      <a:pt x="211" y="163"/>
                    </a:lnTo>
                    <a:lnTo>
                      <a:pt x="204" y="150"/>
                    </a:lnTo>
                    <a:lnTo>
                      <a:pt x="198" y="137"/>
                    </a:lnTo>
                    <a:lnTo>
                      <a:pt x="190" y="126"/>
                    </a:lnTo>
                    <a:lnTo>
                      <a:pt x="179" y="113"/>
                    </a:lnTo>
                    <a:lnTo>
                      <a:pt x="167" y="101"/>
                    </a:lnTo>
                    <a:lnTo>
                      <a:pt x="167" y="101"/>
                    </a:lnTo>
                    <a:lnTo>
                      <a:pt x="154" y="92"/>
                    </a:lnTo>
                    <a:lnTo>
                      <a:pt x="143" y="82"/>
                    </a:lnTo>
                    <a:lnTo>
                      <a:pt x="130" y="74"/>
                    </a:lnTo>
                    <a:lnTo>
                      <a:pt x="117" y="68"/>
                    </a:lnTo>
                    <a:lnTo>
                      <a:pt x="93" y="58"/>
                    </a:lnTo>
                    <a:lnTo>
                      <a:pt x="71" y="52"/>
                    </a:lnTo>
                    <a:lnTo>
                      <a:pt x="51" y="48"/>
                    </a:lnTo>
                    <a:lnTo>
                      <a:pt x="37" y="47"/>
                    </a:lnTo>
                    <a:lnTo>
                      <a:pt x="24" y="45"/>
                    </a:lnTo>
                    <a:lnTo>
                      <a:pt x="24" y="45"/>
                    </a:lnTo>
                    <a:lnTo>
                      <a:pt x="14" y="45"/>
                    </a:lnTo>
                    <a:lnTo>
                      <a:pt x="6" y="40"/>
                    </a:lnTo>
                    <a:lnTo>
                      <a:pt x="2" y="34"/>
                    </a:lnTo>
                    <a:lnTo>
                      <a:pt x="0" y="24"/>
                    </a:lnTo>
                    <a:lnTo>
                      <a:pt x="0" y="24"/>
                    </a:lnTo>
                    <a:lnTo>
                      <a:pt x="0" y="16"/>
                    </a:lnTo>
                    <a:lnTo>
                      <a:pt x="5" y="8"/>
                    </a:lnTo>
                    <a:lnTo>
                      <a:pt x="11" y="3"/>
                    </a:lnTo>
                    <a:lnTo>
                      <a:pt x="21" y="0"/>
                    </a:lnTo>
                    <a:lnTo>
                      <a:pt x="21" y="0"/>
                    </a:lnTo>
                    <a:lnTo>
                      <a:pt x="39" y="2"/>
                    </a:lnTo>
                    <a:lnTo>
                      <a:pt x="56" y="3"/>
                    </a:lnTo>
                    <a:lnTo>
                      <a:pt x="80" y="6"/>
                    </a:lnTo>
                    <a:lnTo>
                      <a:pt x="108" y="14"/>
                    </a:lnTo>
                    <a:lnTo>
                      <a:pt x="122" y="21"/>
                    </a:lnTo>
                    <a:lnTo>
                      <a:pt x="137" y="27"/>
                    </a:lnTo>
                    <a:lnTo>
                      <a:pt x="151" y="35"/>
                    </a:lnTo>
                    <a:lnTo>
                      <a:pt x="167" y="45"/>
                    </a:lnTo>
                    <a:lnTo>
                      <a:pt x="182" y="56"/>
                    </a:lnTo>
                    <a:lnTo>
                      <a:pt x="198" y="69"/>
                    </a:lnTo>
                    <a:lnTo>
                      <a:pt x="198" y="69"/>
                    </a:lnTo>
                    <a:lnTo>
                      <a:pt x="212" y="84"/>
                    </a:lnTo>
                    <a:lnTo>
                      <a:pt x="225" y="98"/>
                    </a:lnTo>
                    <a:lnTo>
                      <a:pt x="237" y="113"/>
                    </a:lnTo>
                    <a:lnTo>
                      <a:pt x="245" y="129"/>
                    </a:lnTo>
                    <a:lnTo>
                      <a:pt x="253" y="143"/>
                    </a:lnTo>
                    <a:lnTo>
                      <a:pt x="258" y="159"/>
                    </a:lnTo>
                    <a:lnTo>
                      <a:pt x="267" y="187"/>
                    </a:lnTo>
                    <a:lnTo>
                      <a:pt x="272" y="212"/>
                    </a:lnTo>
                    <a:lnTo>
                      <a:pt x="274" y="232"/>
                    </a:lnTo>
                    <a:lnTo>
                      <a:pt x="274" y="253"/>
                    </a:lnTo>
                    <a:lnTo>
                      <a:pt x="274" y="253"/>
                    </a:lnTo>
                    <a:lnTo>
                      <a:pt x="270" y="261"/>
                    </a:lnTo>
                    <a:lnTo>
                      <a:pt x="266" y="267"/>
                    </a:lnTo>
                    <a:lnTo>
                      <a:pt x="259" y="272"/>
                    </a:lnTo>
                    <a:lnTo>
                      <a:pt x="251" y="274"/>
                    </a:lnTo>
                    <a:lnTo>
                      <a:pt x="251" y="2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84" name="Freeform 19"/>
              <p:cNvSpPr>
                <a:spLocks/>
              </p:cNvSpPr>
              <p:nvPr/>
            </p:nvSpPr>
            <p:spPr bwMode="auto">
              <a:xfrm>
                <a:off x="-2846388" y="1692275"/>
                <a:ext cx="268288" cy="271462"/>
              </a:xfrm>
              <a:custGeom>
                <a:avLst/>
                <a:gdLst>
                  <a:gd name="T0" fmla="*/ 125 w 169"/>
                  <a:gd name="T1" fmla="*/ 40 h 171"/>
                  <a:gd name="T2" fmla="*/ 125 w 169"/>
                  <a:gd name="T3" fmla="*/ 40 h 171"/>
                  <a:gd name="T4" fmla="*/ 108 w 169"/>
                  <a:gd name="T5" fmla="*/ 26 h 171"/>
                  <a:gd name="T6" fmla="*/ 90 w 169"/>
                  <a:gd name="T7" fmla="*/ 16 h 171"/>
                  <a:gd name="T8" fmla="*/ 72 w 169"/>
                  <a:gd name="T9" fmla="*/ 8 h 171"/>
                  <a:gd name="T10" fmla="*/ 56 w 169"/>
                  <a:gd name="T11" fmla="*/ 5 h 171"/>
                  <a:gd name="T12" fmla="*/ 43 w 169"/>
                  <a:gd name="T13" fmla="*/ 2 h 171"/>
                  <a:gd name="T14" fmla="*/ 32 w 169"/>
                  <a:gd name="T15" fmla="*/ 0 h 171"/>
                  <a:gd name="T16" fmla="*/ 21 w 169"/>
                  <a:gd name="T17" fmla="*/ 0 h 171"/>
                  <a:gd name="T18" fmla="*/ 21 w 169"/>
                  <a:gd name="T19" fmla="*/ 0 h 171"/>
                  <a:gd name="T20" fmla="*/ 13 w 169"/>
                  <a:gd name="T21" fmla="*/ 3 h 171"/>
                  <a:gd name="T22" fmla="*/ 6 w 169"/>
                  <a:gd name="T23" fmla="*/ 8 h 171"/>
                  <a:gd name="T24" fmla="*/ 2 w 169"/>
                  <a:gd name="T25" fmla="*/ 16 h 171"/>
                  <a:gd name="T26" fmla="*/ 0 w 169"/>
                  <a:gd name="T27" fmla="*/ 24 h 171"/>
                  <a:gd name="T28" fmla="*/ 0 w 169"/>
                  <a:gd name="T29" fmla="*/ 24 h 171"/>
                  <a:gd name="T30" fmla="*/ 3 w 169"/>
                  <a:gd name="T31" fmla="*/ 32 h 171"/>
                  <a:gd name="T32" fmla="*/ 8 w 169"/>
                  <a:gd name="T33" fmla="*/ 40 h 171"/>
                  <a:gd name="T34" fmla="*/ 16 w 169"/>
                  <a:gd name="T35" fmla="*/ 43 h 171"/>
                  <a:gd name="T36" fmla="*/ 24 w 169"/>
                  <a:gd name="T37" fmla="*/ 45 h 171"/>
                  <a:gd name="T38" fmla="*/ 24 w 169"/>
                  <a:gd name="T39" fmla="*/ 45 h 171"/>
                  <a:gd name="T40" fmla="*/ 30 w 169"/>
                  <a:gd name="T41" fmla="*/ 45 h 171"/>
                  <a:gd name="T42" fmla="*/ 48 w 169"/>
                  <a:gd name="T43" fmla="*/ 48 h 171"/>
                  <a:gd name="T44" fmla="*/ 59 w 169"/>
                  <a:gd name="T45" fmla="*/ 52 h 171"/>
                  <a:gd name="T46" fmla="*/ 71 w 169"/>
                  <a:gd name="T47" fmla="*/ 56 h 171"/>
                  <a:gd name="T48" fmla="*/ 84 w 169"/>
                  <a:gd name="T49" fmla="*/ 64 h 171"/>
                  <a:gd name="T50" fmla="*/ 97 w 169"/>
                  <a:gd name="T51" fmla="*/ 74 h 171"/>
                  <a:gd name="T52" fmla="*/ 97 w 169"/>
                  <a:gd name="T53" fmla="*/ 74 h 171"/>
                  <a:gd name="T54" fmla="*/ 106 w 169"/>
                  <a:gd name="T55" fmla="*/ 85 h 171"/>
                  <a:gd name="T56" fmla="*/ 114 w 169"/>
                  <a:gd name="T57" fmla="*/ 97 h 171"/>
                  <a:gd name="T58" fmla="*/ 119 w 169"/>
                  <a:gd name="T59" fmla="*/ 108 h 171"/>
                  <a:gd name="T60" fmla="*/ 122 w 169"/>
                  <a:gd name="T61" fmla="*/ 119 h 171"/>
                  <a:gd name="T62" fmla="*/ 124 w 169"/>
                  <a:gd name="T63" fmla="*/ 129 h 171"/>
                  <a:gd name="T64" fmla="*/ 125 w 169"/>
                  <a:gd name="T65" fmla="*/ 138 h 171"/>
                  <a:gd name="T66" fmla="*/ 124 w 169"/>
                  <a:gd name="T67" fmla="*/ 145 h 171"/>
                  <a:gd name="T68" fmla="*/ 124 w 169"/>
                  <a:gd name="T69" fmla="*/ 145 h 171"/>
                  <a:gd name="T70" fmla="*/ 124 w 169"/>
                  <a:gd name="T71" fmla="*/ 145 h 171"/>
                  <a:gd name="T72" fmla="*/ 125 w 169"/>
                  <a:gd name="T73" fmla="*/ 150 h 171"/>
                  <a:gd name="T74" fmla="*/ 127 w 169"/>
                  <a:gd name="T75" fmla="*/ 158 h 171"/>
                  <a:gd name="T76" fmla="*/ 130 w 169"/>
                  <a:gd name="T77" fmla="*/ 163 h 171"/>
                  <a:gd name="T78" fmla="*/ 134 w 169"/>
                  <a:gd name="T79" fmla="*/ 166 h 171"/>
                  <a:gd name="T80" fmla="*/ 140 w 169"/>
                  <a:gd name="T81" fmla="*/ 169 h 171"/>
                  <a:gd name="T82" fmla="*/ 146 w 169"/>
                  <a:gd name="T83" fmla="*/ 171 h 171"/>
                  <a:gd name="T84" fmla="*/ 146 w 169"/>
                  <a:gd name="T85" fmla="*/ 171 h 171"/>
                  <a:gd name="T86" fmla="*/ 153 w 169"/>
                  <a:gd name="T87" fmla="*/ 169 h 171"/>
                  <a:gd name="T88" fmla="*/ 159 w 169"/>
                  <a:gd name="T89" fmla="*/ 167 h 171"/>
                  <a:gd name="T90" fmla="*/ 163 w 169"/>
                  <a:gd name="T91" fmla="*/ 164 h 171"/>
                  <a:gd name="T92" fmla="*/ 166 w 169"/>
                  <a:gd name="T93" fmla="*/ 159 h 171"/>
                  <a:gd name="T94" fmla="*/ 169 w 169"/>
                  <a:gd name="T95" fmla="*/ 153 h 171"/>
                  <a:gd name="T96" fmla="*/ 169 w 169"/>
                  <a:gd name="T97" fmla="*/ 150 h 171"/>
                  <a:gd name="T98" fmla="*/ 169 w 169"/>
                  <a:gd name="T99" fmla="*/ 150 h 171"/>
                  <a:gd name="T100" fmla="*/ 169 w 169"/>
                  <a:gd name="T101" fmla="*/ 138 h 171"/>
                  <a:gd name="T102" fmla="*/ 169 w 169"/>
                  <a:gd name="T103" fmla="*/ 126 h 171"/>
                  <a:gd name="T104" fmla="*/ 166 w 169"/>
                  <a:gd name="T105" fmla="*/ 111 h 171"/>
                  <a:gd name="T106" fmla="*/ 161 w 169"/>
                  <a:gd name="T107" fmla="*/ 93 h 171"/>
                  <a:gd name="T108" fmla="*/ 153 w 169"/>
                  <a:gd name="T109" fmla="*/ 76 h 171"/>
                  <a:gd name="T110" fmla="*/ 142 w 169"/>
                  <a:gd name="T111" fmla="*/ 58 h 171"/>
                  <a:gd name="T112" fmla="*/ 135 w 169"/>
                  <a:gd name="T113" fmla="*/ 48 h 171"/>
                  <a:gd name="T114" fmla="*/ 125 w 169"/>
                  <a:gd name="T115" fmla="*/ 40 h 171"/>
                  <a:gd name="T116" fmla="*/ 125 w 169"/>
                  <a:gd name="T117" fmla="*/ 40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69" h="171">
                    <a:moveTo>
                      <a:pt x="125" y="40"/>
                    </a:moveTo>
                    <a:lnTo>
                      <a:pt x="125" y="40"/>
                    </a:lnTo>
                    <a:lnTo>
                      <a:pt x="108" y="26"/>
                    </a:lnTo>
                    <a:lnTo>
                      <a:pt x="90" y="16"/>
                    </a:lnTo>
                    <a:lnTo>
                      <a:pt x="72" y="8"/>
                    </a:lnTo>
                    <a:lnTo>
                      <a:pt x="56" y="5"/>
                    </a:lnTo>
                    <a:lnTo>
                      <a:pt x="43" y="2"/>
                    </a:lnTo>
                    <a:lnTo>
                      <a:pt x="32" y="0"/>
                    </a:lnTo>
                    <a:lnTo>
                      <a:pt x="21" y="0"/>
                    </a:lnTo>
                    <a:lnTo>
                      <a:pt x="21" y="0"/>
                    </a:lnTo>
                    <a:lnTo>
                      <a:pt x="13" y="3"/>
                    </a:lnTo>
                    <a:lnTo>
                      <a:pt x="6" y="8"/>
                    </a:lnTo>
                    <a:lnTo>
                      <a:pt x="2" y="16"/>
                    </a:lnTo>
                    <a:lnTo>
                      <a:pt x="0" y="24"/>
                    </a:lnTo>
                    <a:lnTo>
                      <a:pt x="0" y="24"/>
                    </a:lnTo>
                    <a:lnTo>
                      <a:pt x="3" y="32"/>
                    </a:lnTo>
                    <a:lnTo>
                      <a:pt x="8" y="40"/>
                    </a:lnTo>
                    <a:lnTo>
                      <a:pt x="16" y="43"/>
                    </a:lnTo>
                    <a:lnTo>
                      <a:pt x="24" y="45"/>
                    </a:lnTo>
                    <a:lnTo>
                      <a:pt x="24" y="45"/>
                    </a:lnTo>
                    <a:lnTo>
                      <a:pt x="30" y="45"/>
                    </a:lnTo>
                    <a:lnTo>
                      <a:pt x="48" y="48"/>
                    </a:lnTo>
                    <a:lnTo>
                      <a:pt x="59" y="52"/>
                    </a:lnTo>
                    <a:lnTo>
                      <a:pt x="71" y="56"/>
                    </a:lnTo>
                    <a:lnTo>
                      <a:pt x="84" y="64"/>
                    </a:lnTo>
                    <a:lnTo>
                      <a:pt x="97" y="74"/>
                    </a:lnTo>
                    <a:lnTo>
                      <a:pt x="97" y="74"/>
                    </a:lnTo>
                    <a:lnTo>
                      <a:pt x="106" y="85"/>
                    </a:lnTo>
                    <a:lnTo>
                      <a:pt x="114" y="97"/>
                    </a:lnTo>
                    <a:lnTo>
                      <a:pt x="119" y="108"/>
                    </a:lnTo>
                    <a:lnTo>
                      <a:pt x="122" y="119"/>
                    </a:lnTo>
                    <a:lnTo>
                      <a:pt x="124" y="129"/>
                    </a:lnTo>
                    <a:lnTo>
                      <a:pt x="125" y="138"/>
                    </a:lnTo>
                    <a:lnTo>
                      <a:pt x="124" y="145"/>
                    </a:lnTo>
                    <a:lnTo>
                      <a:pt x="124" y="145"/>
                    </a:lnTo>
                    <a:lnTo>
                      <a:pt x="124" y="145"/>
                    </a:lnTo>
                    <a:lnTo>
                      <a:pt x="125" y="150"/>
                    </a:lnTo>
                    <a:lnTo>
                      <a:pt x="127" y="158"/>
                    </a:lnTo>
                    <a:lnTo>
                      <a:pt x="130" y="163"/>
                    </a:lnTo>
                    <a:lnTo>
                      <a:pt x="134" y="166"/>
                    </a:lnTo>
                    <a:lnTo>
                      <a:pt x="140" y="169"/>
                    </a:lnTo>
                    <a:lnTo>
                      <a:pt x="146" y="171"/>
                    </a:lnTo>
                    <a:lnTo>
                      <a:pt x="146" y="171"/>
                    </a:lnTo>
                    <a:lnTo>
                      <a:pt x="153" y="169"/>
                    </a:lnTo>
                    <a:lnTo>
                      <a:pt x="159" y="167"/>
                    </a:lnTo>
                    <a:lnTo>
                      <a:pt x="163" y="164"/>
                    </a:lnTo>
                    <a:lnTo>
                      <a:pt x="166" y="159"/>
                    </a:lnTo>
                    <a:lnTo>
                      <a:pt x="169" y="153"/>
                    </a:lnTo>
                    <a:lnTo>
                      <a:pt x="169" y="150"/>
                    </a:lnTo>
                    <a:lnTo>
                      <a:pt x="169" y="150"/>
                    </a:lnTo>
                    <a:lnTo>
                      <a:pt x="169" y="138"/>
                    </a:lnTo>
                    <a:lnTo>
                      <a:pt x="169" y="126"/>
                    </a:lnTo>
                    <a:lnTo>
                      <a:pt x="166" y="111"/>
                    </a:lnTo>
                    <a:lnTo>
                      <a:pt x="161" y="93"/>
                    </a:lnTo>
                    <a:lnTo>
                      <a:pt x="153" y="76"/>
                    </a:lnTo>
                    <a:lnTo>
                      <a:pt x="142" y="58"/>
                    </a:lnTo>
                    <a:lnTo>
                      <a:pt x="135" y="48"/>
                    </a:lnTo>
                    <a:lnTo>
                      <a:pt x="125" y="40"/>
                    </a:lnTo>
                    <a:lnTo>
                      <a:pt x="125"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85" name="Freeform 20"/>
              <p:cNvSpPr>
                <a:spLocks/>
              </p:cNvSpPr>
              <p:nvPr/>
            </p:nvSpPr>
            <p:spPr bwMode="auto">
              <a:xfrm>
                <a:off x="-3273425" y="2039938"/>
                <a:ext cx="620713" cy="769937"/>
              </a:xfrm>
              <a:custGeom>
                <a:avLst/>
                <a:gdLst>
                  <a:gd name="T0" fmla="*/ 372 w 391"/>
                  <a:gd name="T1" fmla="*/ 0 h 485"/>
                  <a:gd name="T2" fmla="*/ 337 w 391"/>
                  <a:gd name="T3" fmla="*/ 29 h 485"/>
                  <a:gd name="T4" fmla="*/ 298 w 391"/>
                  <a:gd name="T5" fmla="*/ 63 h 485"/>
                  <a:gd name="T6" fmla="*/ 262 w 391"/>
                  <a:gd name="T7" fmla="*/ 95 h 485"/>
                  <a:gd name="T8" fmla="*/ 229 w 391"/>
                  <a:gd name="T9" fmla="*/ 129 h 485"/>
                  <a:gd name="T10" fmla="*/ 198 w 391"/>
                  <a:gd name="T11" fmla="*/ 163 h 485"/>
                  <a:gd name="T12" fmla="*/ 169 w 391"/>
                  <a:gd name="T13" fmla="*/ 196 h 485"/>
                  <a:gd name="T14" fmla="*/ 145 w 391"/>
                  <a:gd name="T15" fmla="*/ 230 h 485"/>
                  <a:gd name="T16" fmla="*/ 119 w 391"/>
                  <a:gd name="T17" fmla="*/ 262 h 485"/>
                  <a:gd name="T18" fmla="*/ 97 w 391"/>
                  <a:gd name="T19" fmla="*/ 295 h 485"/>
                  <a:gd name="T20" fmla="*/ 79 w 391"/>
                  <a:gd name="T21" fmla="*/ 327 h 485"/>
                  <a:gd name="T22" fmla="*/ 43 w 391"/>
                  <a:gd name="T23" fmla="*/ 385 h 485"/>
                  <a:gd name="T24" fmla="*/ 16 w 391"/>
                  <a:gd name="T25" fmla="*/ 438 h 485"/>
                  <a:gd name="T26" fmla="*/ 0 w 391"/>
                  <a:gd name="T27" fmla="*/ 478 h 485"/>
                  <a:gd name="T28" fmla="*/ 0 w 391"/>
                  <a:gd name="T29" fmla="*/ 478 h 485"/>
                  <a:gd name="T30" fmla="*/ 23 w 391"/>
                  <a:gd name="T31" fmla="*/ 485 h 485"/>
                  <a:gd name="T32" fmla="*/ 39 w 391"/>
                  <a:gd name="T33" fmla="*/ 446 h 485"/>
                  <a:gd name="T34" fmla="*/ 66 w 391"/>
                  <a:gd name="T35" fmla="*/ 394 h 485"/>
                  <a:gd name="T36" fmla="*/ 101 w 391"/>
                  <a:gd name="T37" fmla="*/ 338 h 485"/>
                  <a:gd name="T38" fmla="*/ 143 w 391"/>
                  <a:gd name="T39" fmla="*/ 275 h 485"/>
                  <a:gd name="T40" fmla="*/ 166 w 391"/>
                  <a:gd name="T41" fmla="*/ 243 h 485"/>
                  <a:gd name="T42" fmla="*/ 192 w 391"/>
                  <a:gd name="T43" fmla="*/ 209 h 485"/>
                  <a:gd name="T44" fmla="*/ 219 w 391"/>
                  <a:gd name="T45" fmla="*/ 177 h 485"/>
                  <a:gd name="T46" fmla="*/ 250 w 391"/>
                  <a:gd name="T47" fmla="*/ 143 h 485"/>
                  <a:gd name="T48" fmla="*/ 280 w 391"/>
                  <a:gd name="T49" fmla="*/ 109 h 485"/>
                  <a:gd name="T50" fmla="*/ 316 w 391"/>
                  <a:gd name="T51" fmla="*/ 79 h 485"/>
                  <a:gd name="T52" fmla="*/ 353 w 391"/>
                  <a:gd name="T53" fmla="*/ 47 h 485"/>
                  <a:gd name="T54" fmla="*/ 391 w 391"/>
                  <a:gd name="T55" fmla="*/ 16 h 485"/>
                  <a:gd name="T56" fmla="*/ 391 w 391"/>
                  <a:gd name="T57" fmla="*/ 16 h 485"/>
                  <a:gd name="T58" fmla="*/ 382 w 391"/>
                  <a:gd name="T59" fmla="*/ 8 h 485"/>
                  <a:gd name="T60" fmla="*/ 372 w 391"/>
                  <a:gd name="T61" fmla="*/ 0 h 485"/>
                  <a:gd name="T62" fmla="*/ 372 w 391"/>
                  <a:gd name="T63" fmla="*/ 0 h 4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91" h="485">
                    <a:moveTo>
                      <a:pt x="372" y="0"/>
                    </a:moveTo>
                    <a:lnTo>
                      <a:pt x="337" y="29"/>
                    </a:lnTo>
                    <a:lnTo>
                      <a:pt x="298" y="63"/>
                    </a:lnTo>
                    <a:lnTo>
                      <a:pt x="262" y="95"/>
                    </a:lnTo>
                    <a:lnTo>
                      <a:pt x="229" y="129"/>
                    </a:lnTo>
                    <a:lnTo>
                      <a:pt x="198" y="163"/>
                    </a:lnTo>
                    <a:lnTo>
                      <a:pt x="169" y="196"/>
                    </a:lnTo>
                    <a:lnTo>
                      <a:pt x="145" y="230"/>
                    </a:lnTo>
                    <a:lnTo>
                      <a:pt x="119" y="262"/>
                    </a:lnTo>
                    <a:lnTo>
                      <a:pt x="97" y="295"/>
                    </a:lnTo>
                    <a:lnTo>
                      <a:pt x="79" y="327"/>
                    </a:lnTo>
                    <a:lnTo>
                      <a:pt x="43" y="385"/>
                    </a:lnTo>
                    <a:lnTo>
                      <a:pt x="16" y="438"/>
                    </a:lnTo>
                    <a:lnTo>
                      <a:pt x="0" y="478"/>
                    </a:lnTo>
                    <a:lnTo>
                      <a:pt x="0" y="478"/>
                    </a:lnTo>
                    <a:lnTo>
                      <a:pt x="23" y="485"/>
                    </a:lnTo>
                    <a:lnTo>
                      <a:pt x="39" y="446"/>
                    </a:lnTo>
                    <a:lnTo>
                      <a:pt x="66" y="394"/>
                    </a:lnTo>
                    <a:lnTo>
                      <a:pt x="101" y="338"/>
                    </a:lnTo>
                    <a:lnTo>
                      <a:pt x="143" y="275"/>
                    </a:lnTo>
                    <a:lnTo>
                      <a:pt x="166" y="243"/>
                    </a:lnTo>
                    <a:lnTo>
                      <a:pt x="192" y="209"/>
                    </a:lnTo>
                    <a:lnTo>
                      <a:pt x="219" y="177"/>
                    </a:lnTo>
                    <a:lnTo>
                      <a:pt x="250" y="143"/>
                    </a:lnTo>
                    <a:lnTo>
                      <a:pt x="280" y="109"/>
                    </a:lnTo>
                    <a:lnTo>
                      <a:pt x="316" y="79"/>
                    </a:lnTo>
                    <a:lnTo>
                      <a:pt x="353" y="47"/>
                    </a:lnTo>
                    <a:lnTo>
                      <a:pt x="391" y="16"/>
                    </a:lnTo>
                    <a:lnTo>
                      <a:pt x="391" y="16"/>
                    </a:lnTo>
                    <a:lnTo>
                      <a:pt x="382" y="8"/>
                    </a:lnTo>
                    <a:lnTo>
                      <a:pt x="372" y="0"/>
                    </a:lnTo>
                    <a:lnTo>
                      <a:pt x="37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86" name="Freeform 21"/>
              <p:cNvSpPr>
                <a:spLocks/>
              </p:cNvSpPr>
              <p:nvPr/>
            </p:nvSpPr>
            <p:spPr bwMode="auto">
              <a:xfrm>
                <a:off x="-2565400" y="2076450"/>
                <a:ext cx="0" cy="1587"/>
              </a:xfrm>
              <a:custGeom>
                <a:avLst/>
                <a:gdLst>
                  <a:gd name="T0" fmla="*/ 1 h 1"/>
                  <a:gd name="T1" fmla="*/ 1 h 1"/>
                  <a:gd name="T2" fmla="*/ 1 h 1"/>
                  <a:gd name="T3" fmla="*/ 0 h 1"/>
                  <a:gd name="T4" fmla="*/ 1 h 1"/>
                </a:gdLst>
                <a:ahLst/>
                <a:cxnLst>
                  <a:cxn ang="0">
                    <a:pos x="0" y="T0"/>
                  </a:cxn>
                  <a:cxn ang="0">
                    <a:pos x="0" y="T1"/>
                  </a:cxn>
                  <a:cxn ang="0">
                    <a:pos x="0" y="T2"/>
                  </a:cxn>
                  <a:cxn ang="0">
                    <a:pos x="0" y="T3"/>
                  </a:cxn>
                  <a:cxn ang="0">
                    <a:pos x="0" y="T4"/>
                  </a:cxn>
                </a:cxnLst>
                <a:rect l="0" t="0" r="r" b="b"/>
                <a:pathLst>
                  <a:path h="1">
                    <a:moveTo>
                      <a:pt x="0" y="1"/>
                    </a:moveTo>
                    <a:lnTo>
                      <a:pt x="0" y="1"/>
                    </a:lnTo>
                    <a:lnTo>
                      <a:pt x="0" y="1"/>
                    </a:lnTo>
                    <a:lnTo>
                      <a:pt x="0" y="0"/>
                    </a:lnTo>
                    <a:lnTo>
                      <a:pt x="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87" name="Rectangle 22"/>
              <p:cNvSpPr>
                <a:spLocks noChangeArrowheads="1"/>
              </p:cNvSpPr>
              <p:nvPr/>
            </p:nvSpPr>
            <p:spPr bwMode="auto">
              <a:xfrm>
                <a:off x="-2560638" y="2078038"/>
                <a:ext cx="1588" cy="158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88" name="Freeform 23"/>
              <p:cNvSpPr>
                <a:spLocks/>
              </p:cNvSpPr>
              <p:nvPr/>
            </p:nvSpPr>
            <p:spPr bwMode="auto">
              <a:xfrm>
                <a:off x="-2565400" y="2078038"/>
                <a:ext cx="4763" cy="0"/>
              </a:xfrm>
              <a:custGeom>
                <a:avLst/>
                <a:gdLst>
                  <a:gd name="T0" fmla="*/ 0 w 3"/>
                  <a:gd name="T1" fmla="*/ 0 w 3"/>
                  <a:gd name="T2" fmla="*/ 3 w 3"/>
                  <a:gd name="T3" fmla="*/ 2 w 3"/>
                  <a:gd name="T4" fmla="*/ 0 w 3"/>
                </a:gdLst>
                <a:ahLst/>
                <a:cxnLst>
                  <a:cxn ang="0">
                    <a:pos x="T0" y="0"/>
                  </a:cxn>
                  <a:cxn ang="0">
                    <a:pos x="T1" y="0"/>
                  </a:cxn>
                  <a:cxn ang="0">
                    <a:pos x="T2" y="0"/>
                  </a:cxn>
                  <a:cxn ang="0">
                    <a:pos x="T3" y="0"/>
                  </a:cxn>
                  <a:cxn ang="0">
                    <a:pos x="T4" y="0"/>
                  </a:cxn>
                </a:cxnLst>
                <a:rect l="0" t="0" r="r" b="b"/>
                <a:pathLst>
                  <a:path w="3">
                    <a:moveTo>
                      <a:pt x="0" y="0"/>
                    </a:moveTo>
                    <a:lnTo>
                      <a:pt x="0" y="0"/>
                    </a:lnTo>
                    <a:lnTo>
                      <a:pt x="3" y="0"/>
                    </a:lnTo>
                    <a:lnTo>
                      <a:pt x="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89" name="Freeform 24"/>
              <p:cNvSpPr>
                <a:spLocks/>
              </p:cNvSpPr>
              <p:nvPr/>
            </p:nvSpPr>
            <p:spPr bwMode="auto">
              <a:xfrm>
                <a:off x="-968375" y="2178050"/>
                <a:ext cx="373063" cy="487362"/>
              </a:xfrm>
              <a:custGeom>
                <a:avLst/>
                <a:gdLst>
                  <a:gd name="T0" fmla="*/ 20 w 235"/>
                  <a:gd name="T1" fmla="*/ 42 h 307"/>
                  <a:gd name="T2" fmla="*/ 55 w 235"/>
                  <a:gd name="T3" fmla="*/ 79 h 307"/>
                  <a:gd name="T4" fmla="*/ 89 w 235"/>
                  <a:gd name="T5" fmla="*/ 117 h 307"/>
                  <a:gd name="T6" fmla="*/ 120 w 235"/>
                  <a:gd name="T7" fmla="*/ 159 h 307"/>
                  <a:gd name="T8" fmla="*/ 149 w 235"/>
                  <a:gd name="T9" fmla="*/ 201 h 307"/>
                  <a:gd name="T10" fmla="*/ 176 w 235"/>
                  <a:gd name="T11" fmla="*/ 240 h 307"/>
                  <a:gd name="T12" fmla="*/ 198 w 235"/>
                  <a:gd name="T13" fmla="*/ 278 h 307"/>
                  <a:gd name="T14" fmla="*/ 211 w 235"/>
                  <a:gd name="T15" fmla="*/ 307 h 307"/>
                  <a:gd name="T16" fmla="*/ 211 w 235"/>
                  <a:gd name="T17" fmla="*/ 307 h 307"/>
                  <a:gd name="T18" fmla="*/ 223 w 235"/>
                  <a:gd name="T19" fmla="*/ 301 h 307"/>
                  <a:gd name="T20" fmla="*/ 235 w 235"/>
                  <a:gd name="T21" fmla="*/ 298 h 307"/>
                  <a:gd name="T22" fmla="*/ 219 w 235"/>
                  <a:gd name="T23" fmla="*/ 267 h 307"/>
                  <a:gd name="T24" fmla="*/ 195 w 235"/>
                  <a:gd name="T25" fmla="*/ 227 h 307"/>
                  <a:gd name="T26" fmla="*/ 169 w 235"/>
                  <a:gd name="T27" fmla="*/ 187 h 307"/>
                  <a:gd name="T28" fmla="*/ 139 w 235"/>
                  <a:gd name="T29" fmla="*/ 145 h 307"/>
                  <a:gd name="T30" fmla="*/ 105 w 235"/>
                  <a:gd name="T31" fmla="*/ 101 h 307"/>
                  <a:gd name="T32" fmla="*/ 73 w 235"/>
                  <a:gd name="T33" fmla="*/ 61 h 307"/>
                  <a:gd name="T34" fmla="*/ 37 w 235"/>
                  <a:gd name="T35" fmla="*/ 21 h 307"/>
                  <a:gd name="T36" fmla="*/ 15 w 235"/>
                  <a:gd name="T37" fmla="*/ 0 h 307"/>
                  <a:gd name="T38" fmla="*/ 15 w 235"/>
                  <a:gd name="T39" fmla="*/ 0 h 307"/>
                  <a:gd name="T40" fmla="*/ 0 w 235"/>
                  <a:gd name="T41" fmla="*/ 21 h 307"/>
                  <a:gd name="T42" fmla="*/ 20 w 235"/>
                  <a:gd name="T43" fmla="*/ 42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35" h="307">
                    <a:moveTo>
                      <a:pt x="20" y="42"/>
                    </a:moveTo>
                    <a:lnTo>
                      <a:pt x="55" y="79"/>
                    </a:lnTo>
                    <a:lnTo>
                      <a:pt x="89" y="117"/>
                    </a:lnTo>
                    <a:lnTo>
                      <a:pt x="120" y="159"/>
                    </a:lnTo>
                    <a:lnTo>
                      <a:pt x="149" y="201"/>
                    </a:lnTo>
                    <a:lnTo>
                      <a:pt x="176" y="240"/>
                    </a:lnTo>
                    <a:lnTo>
                      <a:pt x="198" y="278"/>
                    </a:lnTo>
                    <a:lnTo>
                      <a:pt x="211" y="307"/>
                    </a:lnTo>
                    <a:lnTo>
                      <a:pt x="211" y="307"/>
                    </a:lnTo>
                    <a:lnTo>
                      <a:pt x="223" y="301"/>
                    </a:lnTo>
                    <a:lnTo>
                      <a:pt x="235" y="298"/>
                    </a:lnTo>
                    <a:lnTo>
                      <a:pt x="219" y="267"/>
                    </a:lnTo>
                    <a:lnTo>
                      <a:pt x="195" y="227"/>
                    </a:lnTo>
                    <a:lnTo>
                      <a:pt x="169" y="187"/>
                    </a:lnTo>
                    <a:lnTo>
                      <a:pt x="139" y="145"/>
                    </a:lnTo>
                    <a:lnTo>
                      <a:pt x="105" y="101"/>
                    </a:lnTo>
                    <a:lnTo>
                      <a:pt x="73" y="61"/>
                    </a:lnTo>
                    <a:lnTo>
                      <a:pt x="37" y="21"/>
                    </a:lnTo>
                    <a:lnTo>
                      <a:pt x="15" y="0"/>
                    </a:lnTo>
                    <a:lnTo>
                      <a:pt x="15" y="0"/>
                    </a:lnTo>
                    <a:lnTo>
                      <a:pt x="0" y="21"/>
                    </a:lnTo>
                    <a:lnTo>
                      <a:pt x="20" y="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90" name="Freeform 25"/>
              <p:cNvSpPr>
                <a:spLocks/>
              </p:cNvSpPr>
              <p:nvPr/>
            </p:nvSpPr>
            <p:spPr bwMode="auto">
              <a:xfrm>
                <a:off x="-1590675" y="3876675"/>
                <a:ext cx="630238" cy="203200"/>
              </a:xfrm>
              <a:custGeom>
                <a:avLst/>
                <a:gdLst>
                  <a:gd name="T0" fmla="*/ 315 w 397"/>
                  <a:gd name="T1" fmla="*/ 84 h 128"/>
                  <a:gd name="T2" fmla="*/ 220 w 397"/>
                  <a:gd name="T3" fmla="*/ 60 h 128"/>
                  <a:gd name="T4" fmla="*/ 122 w 397"/>
                  <a:gd name="T5" fmla="*/ 31 h 128"/>
                  <a:gd name="T6" fmla="*/ 19 w 397"/>
                  <a:gd name="T7" fmla="*/ 0 h 128"/>
                  <a:gd name="T8" fmla="*/ 0 w 397"/>
                  <a:gd name="T9" fmla="*/ 23 h 128"/>
                  <a:gd name="T10" fmla="*/ 107 w 397"/>
                  <a:gd name="T11" fmla="*/ 54 h 128"/>
                  <a:gd name="T12" fmla="*/ 212 w 397"/>
                  <a:gd name="T13" fmla="*/ 83 h 128"/>
                  <a:gd name="T14" fmla="*/ 309 w 397"/>
                  <a:gd name="T15" fmla="*/ 110 h 128"/>
                  <a:gd name="T16" fmla="*/ 391 w 397"/>
                  <a:gd name="T17" fmla="*/ 128 h 128"/>
                  <a:gd name="T18" fmla="*/ 391 w 397"/>
                  <a:gd name="T19" fmla="*/ 128 h 128"/>
                  <a:gd name="T20" fmla="*/ 397 w 397"/>
                  <a:gd name="T21" fmla="*/ 103 h 128"/>
                  <a:gd name="T22" fmla="*/ 315 w 397"/>
                  <a:gd name="T23" fmla="*/ 84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7" h="128">
                    <a:moveTo>
                      <a:pt x="315" y="84"/>
                    </a:moveTo>
                    <a:lnTo>
                      <a:pt x="220" y="60"/>
                    </a:lnTo>
                    <a:lnTo>
                      <a:pt x="122" y="31"/>
                    </a:lnTo>
                    <a:lnTo>
                      <a:pt x="19" y="0"/>
                    </a:lnTo>
                    <a:lnTo>
                      <a:pt x="0" y="23"/>
                    </a:lnTo>
                    <a:lnTo>
                      <a:pt x="107" y="54"/>
                    </a:lnTo>
                    <a:lnTo>
                      <a:pt x="212" y="83"/>
                    </a:lnTo>
                    <a:lnTo>
                      <a:pt x="309" y="110"/>
                    </a:lnTo>
                    <a:lnTo>
                      <a:pt x="391" y="128"/>
                    </a:lnTo>
                    <a:lnTo>
                      <a:pt x="391" y="128"/>
                    </a:lnTo>
                    <a:lnTo>
                      <a:pt x="397" y="103"/>
                    </a:lnTo>
                    <a:lnTo>
                      <a:pt x="315"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91" name="Freeform 26"/>
              <p:cNvSpPr>
                <a:spLocks/>
              </p:cNvSpPr>
              <p:nvPr/>
            </p:nvSpPr>
            <p:spPr bwMode="auto">
              <a:xfrm>
                <a:off x="-1333500" y="4270375"/>
                <a:ext cx="411163" cy="144462"/>
              </a:xfrm>
              <a:custGeom>
                <a:avLst/>
                <a:gdLst>
                  <a:gd name="T0" fmla="*/ 203 w 259"/>
                  <a:gd name="T1" fmla="*/ 16 h 91"/>
                  <a:gd name="T2" fmla="*/ 139 w 259"/>
                  <a:gd name="T3" fmla="*/ 34 h 91"/>
                  <a:gd name="T4" fmla="*/ 73 w 259"/>
                  <a:gd name="T5" fmla="*/ 52 h 91"/>
                  <a:gd name="T6" fmla="*/ 0 w 259"/>
                  <a:gd name="T7" fmla="*/ 65 h 91"/>
                  <a:gd name="T8" fmla="*/ 3 w 259"/>
                  <a:gd name="T9" fmla="*/ 91 h 91"/>
                  <a:gd name="T10" fmla="*/ 79 w 259"/>
                  <a:gd name="T11" fmla="*/ 76 h 91"/>
                  <a:gd name="T12" fmla="*/ 150 w 259"/>
                  <a:gd name="T13" fmla="*/ 57 h 91"/>
                  <a:gd name="T14" fmla="*/ 213 w 259"/>
                  <a:gd name="T15" fmla="*/ 39 h 91"/>
                  <a:gd name="T16" fmla="*/ 259 w 259"/>
                  <a:gd name="T17" fmla="*/ 21 h 91"/>
                  <a:gd name="T18" fmla="*/ 259 w 259"/>
                  <a:gd name="T19" fmla="*/ 21 h 91"/>
                  <a:gd name="T20" fmla="*/ 247 w 259"/>
                  <a:gd name="T21" fmla="*/ 0 h 91"/>
                  <a:gd name="T22" fmla="*/ 203 w 259"/>
                  <a:gd name="T23" fmla="*/ 16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9" h="91">
                    <a:moveTo>
                      <a:pt x="203" y="16"/>
                    </a:moveTo>
                    <a:lnTo>
                      <a:pt x="139" y="34"/>
                    </a:lnTo>
                    <a:lnTo>
                      <a:pt x="73" y="52"/>
                    </a:lnTo>
                    <a:lnTo>
                      <a:pt x="0" y="65"/>
                    </a:lnTo>
                    <a:lnTo>
                      <a:pt x="3" y="91"/>
                    </a:lnTo>
                    <a:lnTo>
                      <a:pt x="79" y="76"/>
                    </a:lnTo>
                    <a:lnTo>
                      <a:pt x="150" y="57"/>
                    </a:lnTo>
                    <a:lnTo>
                      <a:pt x="213" y="39"/>
                    </a:lnTo>
                    <a:lnTo>
                      <a:pt x="259" y="21"/>
                    </a:lnTo>
                    <a:lnTo>
                      <a:pt x="259" y="21"/>
                    </a:lnTo>
                    <a:lnTo>
                      <a:pt x="247" y="0"/>
                    </a:lnTo>
                    <a:lnTo>
                      <a:pt x="203"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92" name="Freeform 27"/>
              <p:cNvSpPr>
                <a:spLocks/>
              </p:cNvSpPr>
              <p:nvPr/>
            </p:nvSpPr>
            <p:spPr bwMode="auto">
              <a:xfrm>
                <a:off x="-2327275" y="1827213"/>
                <a:ext cx="842963" cy="79375"/>
              </a:xfrm>
              <a:custGeom>
                <a:avLst/>
                <a:gdLst>
                  <a:gd name="T0" fmla="*/ 496 w 531"/>
                  <a:gd name="T1" fmla="*/ 21 h 50"/>
                  <a:gd name="T2" fmla="*/ 454 w 531"/>
                  <a:gd name="T3" fmla="*/ 15 h 50"/>
                  <a:gd name="T4" fmla="*/ 369 w 531"/>
                  <a:gd name="T5" fmla="*/ 7 h 50"/>
                  <a:gd name="T6" fmla="*/ 290 w 531"/>
                  <a:gd name="T7" fmla="*/ 2 h 50"/>
                  <a:gd name="T8" fmla="*/ 245 w 531"/>
                  <a:gd name="T9" fmla="*/ 0 h 50"/>
                  <a:gd name="T10" fmla="*/ 195 w 531"/>
                  <a:gd name="T11" fmla="*/ 2 h 50"/>
                  <a:gd name="T12" fmla="*/ 145 w 531"/>
                  <a:gd name="T13" fmla="*/ 5 h 50"/>
                  <a:gd name="T14" fmla="*/ 93 w 531"/>
                  <a:gd name="T15" fmla="*/ 8 h 50"/>
                  <a:gd name="T16" fmla="*/ 45 w 531"/>
                  <a:gd name="T17" fmla="*/ 15 h 50"/>
                  <a:gd name="T18" fmla="*/ 0 w 531"/>
                  <a:gd name="T19" fmla="*/ 24 h 50"/>
                  <a:gd name="T20" fmla="*/ 0 w 531"/>
                  <a:gd name="T21" fmla="*/ 24 h 50"/>
                  <a:gd name="T22" fmla="*/ 3 w 531"/>
                  <a:gd name="T23" fmla="*/ 37 h 50"/>
                  <a:gd name="T24" fmla="*/ 3 w 531"/>
                  <a:gd name="T25" fmla="*/ 49 h 50"/>
                  <a:gd name="T26" fmla="*/ 30 w 531"/>
                  <a:gd name="T27" fmla="*/ 44 h 50"/>
                  <a:gd name="T28" fmla="*/ 63 w 531"/>
                  <a:gd name="T29" fmla="*/ 37 h 50"/>
                  <a:gd name="T30" fmla="*/ 98 w 531"/>
                  <a:gd name="T31" fmla="*/ 34 h 50"/>
                  <a:gd name="T32" fmla="*/ 130 w 531"/>
                  <a:gd name="T33" fmla="*/ 29 h 50"/>
                  <a:gd name="T34" fmla="*/ 203 w 531"/>
                  <a:gd name="T35" fmla="*/ 26 h 50"/>
                  <a:gd name="T36" fmla="*/ 275 w 531"/>
                  <a:gd name="T37" fmla="*/ 26 h 50"/>
                  <a:gd name="T38" fmla="*/ 346 w 531"/>
                  <a:gd name="T39" fmla="*/ 29 h 50"/>
                  <a:gd name="T40" fmla="*/ 414 w 531"/>
                  <a:gd name="T41" fmla="*/ 36 h 50"/>
                  <a:gd name="T42" fmla="*/ 476 w 531"/>
                  <a:gd name="T43" fmla="*/ 44 h 50"/>
                  <a:gd name="T44" fmla="*/ 521 w 531"/>
                  <a:gd name="T45" fmla="*/ 50 h 50"/>
                  <a:gd name="T46" fmla="*/ 521 w 531"/>
                  <a:gd name="T47" fmla="*/ 50 h 50"/>
                  <a:gd name="T48" fmla="*/ 531 w 531"/>
                  <a:gd name="T49" fmla="*/ 28 h 50"/>
                  <a:gd name="T50" fmla="*/ 496 w 531"/>
                  <a:gd name="T51" fmla="*/ 2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31" h="50">
                    <a:moveTo>
                      <a:pt x="496" y="21"/>
                    </a:moveTo>
                    <a:lnTo>
                      <a:pt x="454" y="15"/>
                    </a:lnTo>
                    <a:lnTo>
                      <a:pt x="369" y="7"/>
                    </a:lnTo>
                    <a:lnTo>
                      <a:pt x="290" y="2"/>
                    </a:lnTo>
                    <a:lnTo>
                      <a:pt x="245" y="0"/>
                    </a:lnTo>
                    <a:lnTo>
                      <a:pt x="195" y="2"/>
                    </a:lnTo>
                    <a:lnTo>
                      <a:pt x="145" y="5"/>
                    </a:lnTo>
                    <a:lnTo>
                      <a:pt x="93" y="8"/>
                    </a:lnTo>
                    <a:lnTo>
                      <a:pt x="45" y="15"/>
                    </a:lnTo>
                    <a:lnTo>
                      <a:pt x="0" y="24"/>
                    </a:lnTo>
                    <a:lnTo>
                      <a:pt x="0" y="24"/>
                    </a:lnTo>
                    <a:lnTo>
                      <a:pt x="3" y="37"/>
                    </a:lnTo>
                    <a:lnTo>
                      <a:pt x="3" y="49"/>
                    </a:lnTo>
                    <a:lnTo>
                      <a:pt x="30" y="44"/>
                    </a:lnTo>
                    <a:lnTo>
                      <a:pt x="63" y="37"/>
                    </a:lnTo>
                    <a:lnTo>
                      <a:pt x="98" y="34"/>
                    </a:lnTo>
                    <a:lnTo>
                      <a:pt x="130" y="29"/>
                    </a:lnTo>
                    <a:lnTo>
                      <a:pt x="203" y="26"/>
                    </a:lnTo>
                    <a:lnTo>
                      <a:pt x="275" y="26"/>
                    </a:lnTo>
                    <a:lnTo>
                      <a:pt x="346" y="29"/>
                    </a:lnTo>
                    <a:lnTo>
                      <a:pt x="414" y="36"/>
                    </a:lnTo>
                    <a:lnTo>
                      <a:pt x="476" y="44"/>
                    </a:lnTo>
                    <a:lnTo>
                      <a:pt x="521" y="50"/>
                    </a:lnTo>
                    <a:lnTo>
                      <a:pt x="521" y="50"/>
                    </a:lnTo>
                    <a:lnTo>
                      <a:pt x="531" y="28"/>
                    </a:lnTo>
                    <a:lnTo>
                      <a:pt x="496" y="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93" name="Freeform 28"/>
              <p:cNvSpPr>
                <a:spLocks/>
              </p:cNvSpPr>
              <p:nvPr/>
            </p:nvSpPr>
            <p:spPr bwMode="auto">
              <a:xfrm>
                <a:off x="-592138" y="3051175"/>
                <a:ext cx="122238" cy="795337"/>
              </a:xfrm>
              <a:custGeom>
                <a:avLst/>
                <a:gdLst>
                  <a:gd name="T0" fmla="*/ 50 w 77"/>
                  <a:gd name="T1" fmla="*/ 52 h 501"/>
                  <a:gd name="T2" fmla="*/ 52 w 77"/>
                  <a:gd name="T3" fmla="*/ 107 h 501"/>
                  <a:gd name="T4" fmla="*/ 50 w 77"/>
                  <a:gd name="T5" fmla="*/ 166 h 501"/>
                  <a:gd name="T6" fmla="*/ 44 w 77"/>
                  <a:gd name="T7" fmla="*/ 231 h 501"/>
                  <a:gd name="T8" fmla="*/ 37 w 77"/>
                  <a:gd name="T9" fmla="*/ 297 h 501"/>
                  <a:gd name="T10" fmla="*/ 27 w 77"/>
                  <a:gd name="T11" fmla="*/ 363 h 501"/>
                  <a:gd name="T12" fmla="*/ 15 w 77"/>
                  <a:gd name="T13" fmla="*/ 430 h 501"/>
                  <a:gd name="T14" fmla="*/ 0 w 77"/>
                  <a:gd name="T15" fmla="*/ 493 h 501"/>
                  <a:gd name="T16" fmla="*/ 0 w 77"/>
                  <a:gd name="T17" fmla="*/ 493 h 501"/>
                  <a:gd name="T18" fmla="*/ 24 w 77"/>
                  <a:gd name="T19" fmla="*/ 501 h 501"/>
                  <a:gd name="T20" fmla="*/ 37 w 77"/>
                  <a:gd name="T21" fmla="*/ 440 h 501"/>
                  <a:gd name="T22" fmla="*/ 52 w 77"/>
                  <a:gd name="T23" fmla="*/ 371 h 501"/>
                  <a:gd name="T24" fmla="*/ 63 w 77"/>
                  <a:gd name="T25" fmla="*/ 303 h 501"/>
                  <a:gd name="T26" fmla="*/ 68 w 77"/>
                  <a:gd name="T27" fmla="*/ 236 h 501"/>
                  <a:gd name="T28" fmla="*/ 74 w 77"/>
                  <a:gd name="T29" fmla="*/ 170 h 501"/>
                  <a:gd name="T30" fmla="*/ 77 w 77"/>
                  <a:gd name="T31" fmla="*/ 107 h 501"/>
                  <a:gd name="T32" fmla="*/ 74 w 77"/>
                  <a:gd name="T33" fmla="*/ 52 h 501"/>
                  <a:gd name="T34" fmla="*/ 73 w 77"/>
                  <a:gd name="T35" fmla="*/ 0 h 501"/>
                  <a:gd name="T36" fmla="*/ 73 w 77"/>
                  <a:gd name="T37" fmla="*/ 0 h 501"/>
                  <a:gd name="T38" fmla="*/ 60 w 77"/>
                  <a:gd name="T39" fmla="*/ 4 h 501"/>
                  <a:gd name="T40" fmla="*/ 48 w 77"/>
                  <a:gd name="T41" fmla="*/ 5 h 501"/>
                  <a:gd name="T42" fmla="*/ 50 w 77"/>
                  <a:gd name="T43" fmla="*/ 52 h 5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7" h="501">
                    <a:moveTo>
                      <a:pt x="50" y="52"/>
                    </a:moveTo>
                    <a:lnTo>
                      <a:pt x="52" y="107"/>
                    </a:lnTo>
                    <a:lnTo>
                      <a:pt x="50" y="166"/>
                    </a:lnTo>
                    <a:lnTo>
                      <a:pt x="44" y="231"/>
                    </a:lnTo>
                    <a:lnTo>
                      <a:pt x="37" y="297"/>
                    </a:lnTo>
                    <a:lnTo>
                      <a:pt x="27" y="363"/>
                    </a:lnTo>
                    <a:lnTo>
                      <a:pt x="15" y="430"/>
                    </a:lnTo>
                    <a:lnTo>
                      <a:pt x="0" y="493"/>
                    </a:lnTo>
                    <a:lnTo>
                      <a:pt x="0" y="493"/>
                    </a:lnTo>
                    <a:lnTo>
                      <a:pt x="24" y="501"/>
                    </a:lnTo>
                    <a:lnTo>
                      <a:pt x="37" y="440"/>
                    </a:lnTo>
                    <a:lnTo>
                      <a:pt x="52" y="371"/>
                    </a:lnTo>
                    <a:lnTo>
                      <a:pt x="63" y="303"/>
                    </a:lnTo>
                    <a:lnTo>
                      <a:pt x="68" y="236"/>
                    </a:lnTo>
                    <a:lnTo>
                      <a:pt x="74" y="170"/>
                    </a:lnTo>
                    <a:lnTo>
                      <a:pt x="77" y="107"/>
                    </a:lnTo>
                    <a:lnTo>
                      <a:pt x="74" y="52"/>
                    </a:lnTo>
                    <a:lnTo>
                      <a:pt x="73" y="0"/>
                    </a:lnTo>
                    <a:lnTo>
                      <a:pt x="73" y="0"/>
                    </a:lnTo>
                    <a:lnTo>
                      <a:pt x="60" y="4"/>
                    </a:lnTo>
                    <a:lnTo>
                      <a:pt x="48" y="5"/>
                    </a:lnTo>
                    <a:lnTo>
                      <a:pt x="50"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94" name="Freeform 29"/>
              <p:cNvSpPr>
                <a:spLocks/>
              </p:cNvSpPr>
              <p:nvPr/>
            </p:nvSpPr>
            <p:spPr bwMode="auto">
              <a:xfrm>
                <a:off x="-2803525" y="3883025"/>
                <a:ext cx="611188" cy="269875"/>
              </a:xfrm>
              <a:custGeom>
                <a:avLst/>
                <a:gdLst>
                  <a:gd name="T0" fmla="*/ 89 w 385"/>
                  <a:gd name="T1" fmla="*/ 143 h 170"/>
                  <a:gd name="T2" fmla="*/ 185 w 385"/>
                  <a:gd name="T3" fmla="*/ 108 h 170"/>
                  <a:gd name="T4" fmla="*/ 284 w 385"/>
                  <a:gd name="T5" fmla="*/ 64 h 170"/>
                  <a:gd name="T6" fmla="*/ 385 w 385"/>
                  <a:gd name="T7" fmla="*/ 19 h 170"/>
                  <a:gd name="T8" fmla="*/ 369 w 385"/>
                  <a:gd name="T9" fmla="*/ 0 h 170"/>
                  <a:gd name="T10" fmla="*/ 274 w 385"/>
                  <a:gd name="T11" fmla="*/ 43 h 170"/>
                  <a:gd name="T12" fmla="*/ 177 w 385"/>
                  <a:gd name="T13" fmla="*/ 82 h 170"/>
                  <a:gd name="T14" fmla="*/ 82 w 385"/>
                  <a:gd name="T15" fmla="*/ 117 h 170"/>
                  <a:gd name="T16" fmla="*/ 0 w 385"/>
                  <a:gd name="T17" fmla="*/ 145 h 170"/>
                  <a:gd name="T18" fmla="*/ 0 w 385"/>
                  <a:gd name="T19" fmla="*/ 145 h 170"/>
                  <a:gd name="T20" fmla="*/ 3 w 385"/>
                  <a:gd name="T21" fmla="*/ 157 h 170"/>
                  <a:gd name="T22" fmla="*/ 7 w 385"/>
                  <a:gd name="T23" fmla="*/ 170 h 170"/>
                  <a:gd name="T24" fmla="*/ 89 w 385"/>
                  <a:gd name="T25" fmla="*/ 14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5" h="170">
                    <a:moveTo>
                      <a:pt x="89" y="143"/>
                    </a:moveTo>
                    <a:lnTo>
                      <a:pt x="185" y="108"/>
                    </a:lnTo>
                    <a:lnTo>
                      <a:pt x="284" y="64"/>
                    </a:lnTo>
                    <a:lnTo>
                      <a:pt x="385" y="19"/>
                    </a:lnTo>
                    <a:lnTo>
                      <a:pt x="369" y="0"/>
                    </a:lnTo>
                    <a:lnTo>
                      <a:pt x="274" y="43"/>
                    </a:lnTo>
                    <a:lnTo>
                      <a:pt x="177" y="82"/>
                    </a:lnTo>
                    <a:lnTo>
                      <a:pt x="82" y="117"/>
                    </a:lnTo>
                    <a:lnTo>
                      <a:pt x="0" y="145"/>
                    </a:lnTo>
                    <a:lnTo>
                      <a:pt x="0" y="145"/>
                    </a:lnTo>
                    <a:lnTo>
                      <a:pt x="3" y="157"/>
                    </a:lnTo>
                    <a:lnTo>
                      <a:pt x="7" y="170"/>
                    </a:lnTo>
                    <a:lnTo>
                      <a:pt x="89"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95" name="Freeform 30"/>
              <p:cNvSpPr>
                <a:spLocks/>
              </p:cNvSpPr>
              <p:nvPr/>
            </p:nvSpPr>
            <p:spPr bwMode="auto">
              <a:xfrm>
                <a:off x="-3294063" y="3376613"/>
                <a:ext cx="180975" cy="600075"/>
              </a:xfrm>
              <a:custGeom>
                <a:avLst/>
                <a:gdLst>
                  <a:gd name="T0" fmla="*/ 106 w 114"/>
                  <a:gd name="T1" fmla="*/ 344 h 378"/>
                  <a:gd name="T2" fmla="*/ 92 w 114"/>
                  <a:gd name="T3" fmla="*/ 296 h 378"/>
                  <a:gd name="T4" fmla="*/ 65 w 114"/>
                  <a:gd name="T5" fmla="*/ 195 h 378"/>
                  <a:gd name="T6" fmla="*/ 42 w 114"/>
                  <a:gd name="T7" fmla="*/ 90 h 378"/>
                  <a:gd name="T8" fmla="*/ 26 w 114"/>
                  <a:gd name="T9" fmla="*/ 0 h 378"/>
                  <a:gd name="T10" fmla="*/ 26 w 114"/>
                  <a:gd name="T11" fmla="*/ 0 h 378"/>
                  <a:gd name="T12" fmla="*/ 0 w 114"/>
                  <a:gd name="T13" fmla="*/ 5 h 378"/>
                  <a:gd name="T14" fmla="*/ 18 w 114"/>
                  <a:gd name="T15" fmla="*/ 97 h 378"/>
                  <a:gd name="T16" fmla="*/ 42 w 114"/>
                  <a:gd name="T17" fmla="*/ 203 h 378"/>
                  <a:gd name="T18" fmla="*/ 69 w 114"/>
                  <a:gd name="T19" fmla="*/ 304 h 378"/>
                  <a:gd name="T20" fmla="*/ 84 w 114"/>
                  <a:gd name="T21" fmla="*/ 352 h 378"/>
                  <a:gd name="T22" fmla="*/ 92 w 114"/>
                  <a:gd name="T23" fmla="*/ 378 h 378"/>
                  <a:gd name="T24" fmla="*/ 92 w 114"/>
                  <a:gd name="T25" fmla="*/ 378 h 378"/>
                  <a:gd name="T26" fmla="*/ 103 w 114"/>
                  <a:gd name="T27" fmla="*/ 372 h 378"/>
                  <a:gd name="T28" fmla="*/ 114 w 114"/>
                  <a:gd name="T29" fmla="*/ 369 h 378"/>
                  <a:gd name="T30" fmla="*/ 106 w 114"/>
                  <a:gd name="T31" fmla="*/ 344 h 3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4" h="378">
                    <a:moveTo>
                      <a:pt x="106" y="344"/>
                    </a:moveTo>
                    <a:lnTo>
                      <a:pt x="92" y="296"/>
                    </a:lnTo>
                    <a:lnTo>
                      <a:pt x="65" y="195"/>
                    </a:lnTo>
                    <a:lnTo>
                      <a:pt x="42" y="90"/>
                    </a:lnTo>
                    <a:lnTo>
                      <a:pt x="26" y="0"/>
                    </a:lnTo>
                    <a:lnTo>
                      <a:pt x="26" y="0"/>
                    </a:lnTo>
                    <a:lnTo>
                      <a:pt x="0" y="5"/>
                    </a:lnTo>
                    <a:lnTo>
                      <a:pt x="18" y="97"/>
                    </a:lnTo>
                    <a:lnTo>
                      <a:pt x="42" y="203"/>
                    </a:lnTo>
                    <a:lnTo>
                      <a:pt x="69" y="304"/>
                    </a:lnTo>
                    <a:lnTo>
                      <a:pt x="84" y="352"/>
                    </a:lnTo>
                    <a:lnTo>
                      <a:pt x="92" y="378"/>
                    </a:lnTo>
                    <a:lnTo>
                      <a:pt x="92" y="378"/>
                    </a:lnTo>
                    <a:lnTo>
                      <a:pt x="103" y="372"/>
                    </a:lnTo>
                    <a:lnTo>
                      <a:pt x="114" y="369"/>
                    </a:lnTo>
                    <a:lnTo>
                      <a:pt x="106" y="3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96" name="Freeform 31"/>
              <p:cNvSpPr>
                <a:spLocks/>
              </p:cNvSpPr>
              <p:nvPr/>
            </p:nvSpPr>
            <p:spPr bwMode="auto">
              <a:xfrm>
                <a:off x="-2825750" y="4276725"/>
                <a:ext cx="373063" cy="139700"/>
              </a:xfrm>
              <a:custGeom>
                <a:avLst/>
                <a:gdLst>
                  <a:gd name="T0" fmla="*/ 48 w 235"/>
                  <a:gd name="T1" fmla="*/ 41 h 88"/>
                  <a:gd name="T2" fmla="*/ 111 w 235"/>
                  <a:gd name="T3" fmla="*/ 59 h 88"/>
                  <a:gd name="T4" fmla="*/ 170 w 235"/>
                  <a:gd name="T5" fmla="*/ 75 h 88"/>
                  <a:gd name="T6" fmla="*/ 230 w 235"/>
                  <a:gd name="T7" fmla="*/ 88 h 88"/>
                  <a:gd name="T8" fmla="*/ 235 w 235"/>
                  <a:gd name="T9" fmla="*/ 64 h 88"/>
                  <a:gd name="T10" fmla="*/ 174 w 235"/>
                  <a:gd name="T11" fmla="*/ 51 h 88"/>
                  <a:gd name="T12" fmla="*/ 114 w 235"/>
                  <a:gd name="T13" fmla="*/ 35 h 88"/>
                  <a:gd name="T14" fmla="*/ 56 w 235"/>
                  <a:gd name="T15" fmla="*/ 16 h 88"/>
                  <a:gd name="T16" fmla="*/ 11 w 235"/>
                  <a:gd name="T17" fmla="*/ 0 h 88"/>
                  <a:gd name="T18" fmla="*/ 11 w 235"/>
                  <a:gd name="T19" fmla="*/ 0 h 88"/>
                  <a:gd name="T20" fmla="*/ 6 w 235"/>
                  <a:gd name="T21" fmla="*/ 11 h 88"/>
                  <a:gd name="T22" fmla="*/ 0 w 235"/>
                  <a:gd name="T23" fmla="*/ 22 h 88"/>
                  <a:gd name="T24" fmla="*/ 48 w 235"/>
                  <a:gd name="T25" fmla="*/ 41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35" h="88">
                    <a:moveTo>
                      <a:pt x="48" y="41"/>
                    </a:moveTo>
                    <a:lnTo>
                      <a:pt x="111" y="59"/>
                    </a:lnTo>
                    <a:lnTo>
                      <a:pt x="170" y="75"/>
                    </a:lnTo>
                    <a:lnTo>
                      <a:pt x="230" y="88"/>
                    </a:lnTo>
                    <a:lnTo>
                      <a:pt x="235" y="64"/>
                    </a:lnTo>
                    <a:lnTo>
                      <a:pt x="174" y="51"/>
                    </a:lnTo>
                    <a:lnTo>
                      <a:pt x="114" y="35"/>
                    </a:lnTo>
                    <a:lnTo>
                      <a:pt x="56" y="16"/>
                    </a:lnTo>
                    <a:lnTo>
                      <a:pt x="11" y="0"/>
                    </a:lnTo>
                    <a:lnTo>
                      <a:pt x="11" y="0"/>
                    </a:lnTo>
                    <a:lnTo>
                      <a:pt x="6" y="11"/>
                    </a:lnTo>
                    <a:lnTo>
                      <a:pt x="0" y="22"/>
                    </a:lnTo>
                    <a:lnTo>
                      <a:pt x="48"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97" name="Freeform 32"/>
              <p:cNvSpPr>
                <a:spLocks noEditPoints="1"/>
              </p:cNvSpPr>
              <p:nvPr/>
            </p:nvSpPr>
            <p:spPr bwMode="auto">
              <a:xfrm>
                <a:off x="-3135313" y="2011363"/>
                <a:ext cx="2462213" cy="1968500"/>
              </a:xfrm>
              <a:custGeom>
                <a:avLst/>
                <a:gdLst>
                  <a:gd name="T0" fmla="*/ 1354 w 1551"/>
                  <a:gd name="T1" fmla="*/ 768 h 1240"/>
                  <a:gd name="T2" fmla="*/ 1551 w 1551"/>
                  <a:gd name="T3" fmla="*/ 628 h 1240"/>
                  <a:gd name="T4" fmla="*/ 1457 w 1551"/>
                  <a:gd name="T5" fmla="*/ 668 h 1240"/>
                  <a:gd name="T6" fmla="*/ 1399 w 1551"/>
                  <a:gd name="T7" fmla="*/ 498 h 1240"/>
                  <a:gd name="T8" fmla="*/ 1515 w 1551"/>
                  <a:gd name="T9" fmla="*/ 480 h 1240"/>
                  <a:gd name="T10" fmla="*/ 1251 w 1551"/>
                  <a:gd name="T11" fmla="*/ 322 h 1240"/>
                  <a:gd name="T12" fmla="*/ 1211 w 1551"/>
                  <a:gd name="T13" fmla="*/ 201 h 1240"/>
                  <a:gd name="T14" fmla="*/ 1227 w 1551"/>
                  <a:gd name="T15" fmla="*/ 322 h 1240"/>
                  <a:gd name="T16" fmla="*/ 1090 w 1551"/>
                  <a:gd name="T17" fmla="*/ 464 h 1240"/>
                  <a:gd name="T18" fmla="*/ 902 w 1551"/>
                  <a:gd name="T19" fmla="*/ 303 h 1240"/>
                  <a:gd name="T20" fmla="*/ 1076 w 1551"/>
                  <a:gd name="T21" fmla="*/ 147 h 1240"/>
                  <a:gd name="T22" fmla="*/ 887 w 1551"/>
                  <a:gd name="T23" fmla="*/ 285 h 1240"/>
                  <a:gd name="T24" fmla="*/ 858 w 1551"/>
                  <a:gd name="T25" fmla="*/ 126 h 1240"/>
                  <a:gd name="T26" fmla="*/ 1019 w 1551"/>
                  <a:gd name="T27" fmla="*/ 41 h 1240"/>
                  <a:gd name="T28" fmla="*/ 671 w 1551"/>
                  <a:gd name="T29" fmla="*/ 182 h 1240"/>
                  <a:gd name="T30" fmla="*/ 488 w 1551"/>
                  <a:gd name="T31" fmla="*/ 10 h 1240"/>
                  <a:gd name="T32" fmla="*/ 543 w 1551"/>
                  <a:gd name="T33" fmla="*/ 243 h 1240"/>
                  <a:gd name="T34" fmla="*/ 316 w 1551"/>
                  <a:gd name="T35" fmla="*/ 226 h 1240"/>
                  <a:gd name="T36" fmla="*/ 362 w 1551"/>
                  <a:gd name="T37" fmla="*/ 42 h 1240"/>
                  <a:gd name="T38" fmla="*/ 359 w 1551"/>
                  <a:gd name="T39" fmla="*/ 42 h 1240"/>
                  <a:gd name="T40" fmla="*/ 288 w 1551"/>
                  <a:gd name="T41" fmla="*/ 232 h 1240"/>
                  <a:gd name="T42" fmla="*/ 19 w 1551"/>
                  <a:gd name="T43" fmla="*/ 567 h 1240"/>
                  <a:gd name="T44" fmla="*/ 166 w 1551"/>
                  <a:gd name="T45" fmla="*/ 496 h 1240"/>
                  <a:gd name="T46" fmla="*/ 47 w 1551"/>
                  <a:gd name="T47" fmla="*/ 623 h 1240"/>
                  <a:gd name="T48" fmla="*/ 192 w 1551"/>
                  <a:gd name="T49" fmla="*/ 601 h 1240"/>
                  <a:gd name="T50" fmla="*/ 32 w 1551"/>
                  <a:gd name="T51" fmla="*/ 807 h 1240"/>
                  <a:gd name="T52" fmla="*/ 21 w 1551"/>
                  <a:gd name="T53" fmla="*/ 826 h 1240"/>
                  <a:gd name="T54" fmla="*/ 105 w 1551"/>
                  <a:gd name="T55" fmla="*/ 1063 h 1240"/>
                  <a:gd name="T56" fmla="*/ 101 w 1551"/>
                  <a:gd name="T57" fmla="*/ 1222 h 1240"/>
                  <a:gd name="T58" fmla="*/ 142 w 1551"/>
                  <a:gd name="T59" fmla="*/ 985 h 1240"/>
                  <a:gd name="T60" fmla="*/ 246 w 1551"/>
                  <a:gd name="T61" fmla="*/ 1037 h 1240"/>
                  <a:gd name="T62" fmla="*/ 121 w 1551"/>
                  <a:gd name="T63" fmla="*/ 1229 h 1240"/>
                  <a:gd name="T64" fmla="*/ 219 w 1551"/>
                  <a:gd name="T65" fmla="*/ 1119 h 1240"/>
                  <a:gd name="T66" fmla="*/ 514 w 1551"/>
                  <a:gd name="T67" fmla="*/ 1043 h 1240"/>
                  <a:gd name="T68" fmla="*/ 423 w 1551"/>
                  <a:gd name="T69" fmla="*/ 841 h 1240"/>
                  <a:gd name="T70" fmla="*/ 811 w 1551"/>
                  <a:gd name="T71" fmla="*/ 499 h 1240"/>
                  <a:gd name="T72" fmla="*/ 1138 w 1551"/>
                  <a:gd name="T73" fmla="*/ 749 h 1240"/>
                  <a:gd name="T74" fmla="*/ 1051 w 1551"/>
                  <a:gd name="T75" fmla="*/ 958 h 1240"/>
                  <a:gd name="T76" fmla="*/ 1351 w 1551"/>
                  <a:gd name="T77" fmla="*/ 1024 h 1240"/>
                  <a:gd name="T78" fmla="*/ 1464 w 1551"/>
                  <a:gd name="T79" fmla="*/ 1164 h 1240"/>
                  <a:gd name="T80" fmla="*/ 525 w 1551"/>
                  <a:gd name="T81" fmla="*/ 678 h 1240"/>
                  <a:gd name="T82" fmla="*/ 235 w 1551"/>
                  <a:gd name="T83" fmla="*/ 905 h 1240"/>
                  <a:gd name="T84" fmla="*/ 324 w 1551"/>
                  <a:gd name="T85" fmla="*/ 569 h 1240"/>
                  <a:gd name="T86" fmla="*/ 597 w 1551"/>
                  <a:gd name="T87" fmla="*/ 593 h 1240"/>
                  <a:gd name="T88" fmla="*/ 336 w 1551"/>
                  <a:gd name="T89" fmla="*/ 541 h 1240"/>
                  <a:gd name="T90" fmla="*/ 349 w 1551"/>
                  <a:gd name="T91" fmla="*/ 382 h 1240"/>
                  <a:gd name="T92" fmla="*/ 807 w 1551"/>
                  <a:gd name="T93" fmla="*/ 366 h 1240"/>
                  <a:gd name="T94" fmla="*/ 731 w 1551"/>
                  <a:gd name="T95" fmla="*/ 482 h 1240"/>
                  <a:gd name="T96" fmla="*/ 1163 w 1551"/>
                  <a:gd name="T97" fmla="*/ 739 h 1240"/>
                  <a:gd name="T98" fmla="*/ 1105 w 1551"/>
                  <a:gd name="T99" fmla="*/ 490 h 1240"/>
                  <a:gd name="T100" fmla="*/ 1325 w 1551"/>
                  <a:gd name="T101" fmla="*/ 758 h 1240"/>
                  <a:gd name="T102" fmla="*/ 1346 w 1551"/>
                  <a:gd name="T103" fmla="*/ 979 h 1240"/>
                  <a:gd name="T104" fmla="*/ 1359 w 1551"/>
                  <a:gd name="T105" fmla="*/ 873 h 1240"/>
                  <a:gd name="T106" fmla="*/ 1394 w 1551"/>
                  <a:gd name="T107" fmla="*/ 1043 h 1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551" h="1240">
                    <a:moveTo>
                      <a:pt x="1451" y="1082"/>
                    </a:moveTo>
                    <a:lnTo>
                      <a:pt x="1420" y="989"/>
                    </a:lnTo>
                    <a:lnTo>
                      <a:pt x="1388" y="884"/>
                    </a:lnTo>
                    <a:lnTo>
                      <a:pt x="1354" y="768"/>
                    </a:lnTo>
                    <a:lnTo>
                      <a:pt x="1470" y="689"/>
                    </a:lnTo>
                    <a:lnTo>
                      <a:pt x="1518" y="654"/>
                    </a:lnTo>
                    <a:lnTo>
                      <a:pt x="1551" y="628"/>
                    </a:lnTo>
                    <a:lnTo>
                      <a:pt x="1551" y="628"/>
                    </a:lnTo>
                    <a:lnTo>
                      <a:pt x="1543" y="620"/>
                    </a:lnTo>
                    <a:lnTo>
                      <a:pt x="1534" y="612"/>
                    </a:lnTo>
                    <a:lnTo>
                      <a:pt x="1504" y="636"/>
                    </a:lnTo>
                    <a:lnTo>
                      <a:pt x="1457" y="668"/>
                    </a:lnTo>
                    <a:lnTo>
                      <a:pt x="1348" y="746"/>
                    </a:lnTo>
                    <a:lnTo>
                      <a:pt x="1315" y="620"/>
                    </a:lnTo>
                    <a:lnTo>
                      <a:pt x="1285" y="491"/>
                    </a:lnTo>
                    <a:lnTo>
                      <a:pt x="1399" y="498"/>
                    </a:lnTo>
                    <a:lnTo>
                      <a:pt x="1507" y="506"/>
                    </a:lnTo>
                    <a:lnTo>
                      <a:pt x="1507" y="506"/>
                    </a:lnTo>
                    <a:lnTo>
                      <a:pt x="1510" y="493"/>
                    </a:lnTo>
                    <a:lnTo>
                      <a:pt x="1515" y="480"/>
                    </a:lnTo>
                    <a:lnTo>
                      <a:pt x="1399" y="474"/>
                    </a:lnTo>
                    <a:lnTo>
                      <a:pt x="1280" y="467"/>
                    </a:lnTo>
                    <a:lnTo>
                      <a:pt x="1266" y="395"/>
                    </a:lnTo>
                    <a:lnTo>
                      <a:pt x="1251" y="322"/>
                    </a:lnTo>
                    <a:lnTo>
                      <a:pt x="1241" y="250"/>
                    </a:lnTo>
                    <a:lnTo>
                      <a:pt x="1235" y="200"/>
                    </a:lnTo>
                    <a:lnTo>
                      <a:pt x="1235" y="200"/>
                    </a:lnTo>
                    <a:lnTo>
                      <a:pt x="1211" y="201"/>
                    </a:lnTo>
                    <a:lnTo>
                      <a:pt x="1211" y="201"/>
                    </a:lnTo>
                    <a:lnTo>
                      <a:pt x="1211" y="201"/>
                    </a:lnTo>
                    <a:lnTo>
                      <a:pt x="1216" y="251"/>
                    </a:lnTo>
                    <a:lnTo>
                      <a:pt x="1227" y="322"/>
                    </a:lnTo>
                    <a:lnTo>
                      <a:pt x="1241" y="395"/>
                    </a:lnTo>
                    <a:lnTo>
                      <a:pt x="1256" y="467"/>
                    </a:lnTo>
                    <a:lnTo>
                      <a:pt x="1172" y="464"/>
                    </a:lnTo>
                    <a:lnTo>
                      <a:pt x="1090" y="464"/>
                    </a:lnTo>
                    <a:lnTo>
                      <a:pt x="1010" y="464"/>
                    </a:lnTo>
                    <a:lnTo>
                      <a:pt x="931" y="469"/>
                    </a:lnTo>
                    <a:lnTo>
                      <a:pt x="840" y="366"/>
                    </a:lnTo>
                    <a:lnTo>
                      <a:pt x="902" y="303"/>
                    </a:lnTo>
                    <a:lnTo>
                      <a:pt x="964" y="243"/>
                    </a:lnTo>
                    <a:lnTo>
                      <a:pt x="1026" y="189"/>
                    </a:lnTo>
                    <a:lnTo>
                      <a:pt x="1076" y="147"/>
                    </a:lnTo>
                    <a:lnTo>
                      <a:pt x="1076" y="147"/>
                    </a:lnTo>
                    <a:lnTo>
                      <a:pt x="1059" y="129"/>
                    </a:lnTo>
                    <a:lnTo>
                      <a:pt x="1011" y="169"/>
                    </a:lnTo>
                    <a:lnTo>
                      <a:pt x="950" y="226"/>
                    </a:lnTo>
                    <a:lnTo>
                      <a:pt x="887" y="285"/>
                    </a:lnTo>
                    <a:lnTo>
                      <a:pt x="824" y="346"/>
                    </a:lnTo>
                    <a:lnTo>
                      <a:pt x="688" y="200"/>
                    </a:lnTo>
                    <a:lnTo>
                      <a:pt x="773" y="161"/>
                    </a:lnTo>
                    <a:lnTo>
                      <a:pt x="858" y="126"/>
                    </a:lnTo>
                    <a:lnTo>
                      <a:pt x="948" y="94"/>
                    </a:lnTo>
                    <a:lnTo>
                      <a:pt x="1026" y="66"/>
                    </a:lnTo>
                    <a:lnTo>
                      <a:pt x="1026" y="66"/>
                    </a:lnTo>
                    <a:lnTo>
                      <a:pt x="1019" y="41"/>
                    </a:lnTo>
                    <a:lnTo>
                      <a:pt x="937" y="71"/>
                    </a:lnTo>
                    <a:lnTo>
                      <a:pt x="847" y="103"/>
                    </a:lnTo>
                    <a:lnTo>
                      <a:pt x="758" y="142"/>
                    </a:lnTo>
                    <a:lnTo>
                      <a:pt x="671" y="182"/>
                    </a:lnTo>
                    <a:lnTo>
                      <a:pt x="572" y="79"/>
                    </a:lnTo>
                    <a:lnTo>
                      <a:pt x="494" y="0"/>
                    </a:lnTo>
                    <a:lnTo>
                      <a:pt x="494" y="0"/>
                    </a:lnTo>
                    <a:lnTo>
                      <a:pt x="488" y="10"/>
                    </a:lnTo>
                    <a:lnTo>
                      <a:pt x="481" y="20"/>
                    </a:lnTo>
                    <a:lnTo>
                      <a:pt x="555" y="95"/>
                    </a:lnTo>
                    <a:lnTo>
                      <a:pt x="649" y="192"/>
                    </a:lnTo>
                    <a:lnTo>
                      <a:pt x="543" y="243"/>
                    </a:lnTo>
                    <a:lnTo>
                      <a:pt x="444" y="298"/>
                    </a:lnTo>
                    <a:lnTo>
                      <a:pt x="353" y="351"/>
                    </a:lnTo>
                    <a:lnTo>
                      <a:pt x="269" y="401"/>
                    </a:lnTo>
                    <a:lnTo>
                      <a:pt x="316" y="226"/>
                    </a:lnTo>
                    <a:lnTo>
                      <a:pt x="374" y="44"/>
                    </a:lnTo>
                    <a:lnTo>
                      <a:pt x="374" y="44"/>
                    </a:lnTo>
                    <a:lnTo>
                      <a:pt x="362" y="42"/>
                    </a:lnTo>
                    <a:lnTo>
                      <a:pt x="362" y="42"/>
                    </a:lnTo>
                    <a:lnTo>
                      <a:pt x="362" y="42"/>
                    </a:lnTo>
                    <a:lnTo>
                      <a:pt x="362" y="42"/>
                    </a:lnTo>
                    <a:lnTo>
                      <a:pt x="359" y="42"/>
                    </a:lnTo>
                    <a:lnTo>
                      <a:pt x="359" y="42"/>
                    </a:lnTo>
                    <a:lnTo>
                      <a:pt x="359" y="41"/>
                    </a:lnTo>
                    <a:lnTo>
                      <a:pt x="359" y="41"/>
                    </a:lnTo>
                    <a:lnTo>
                      <a:pt x="349" y="37"/>
                    </a:lnTo>
                    <a:lnTo>
                      <a:pt x="288" y="232"/>
                    </a:lnTo>
                    <a:lnTo>
                      <a:pt x="237" y="419"/>
                    </a:lnTo>
                    <a:lnTo>
                      <a:pt x="167" y="467"/>
                    </a:lnTo>
                    <a:lnTo>
                      <a:pt x="105" y="507"/>
                    </a:lnTo>
                    <a:lnTo>
                      <a:pt x="19" y="567"/>
                    </a:lnTo>
                    <a:lnTo>
                      <a:pt x="19" y="567"/>
                    </a:lnTo>
                    <a:lnTo>
                      <a:pt x="32" y="588"/>
                    </a:lnTo>
                    <a:lnTo>
                      <a:pt x="109" y="535"/>
                    </a:lnTo>
                    <a:lnTo>
                      <a:pt x="166" y="496"/>
                    </a:lnTo>
                    <a:lnTo>
                      <a:pt x="229" y="454"/>
                    </a:lnTo>
                    <a:lnTo>
                      <a:pt x="200" y="573"/>
                    </a:lnTo>
                    <a:lnTo>
                      <a:pt x="117" y="599"/>
                    </a:lnTo>
                    <a:lnTo>
                      <a:pt x="47" y="623"/>
                    </a:lnTo>
                    <a:lnTo>
                      <a:pt x="47" y="623"/>
                    </a:lnTo>
                    <a:lnTo>
                      <a:pt x="53" y="647"/>
                    </a:lnTo>
                    <a:lnTo>
                      <a:pt x="117" y="626"/>
                    </a:lnTo>
                    <a:lnTo>
                      <a:pt x="192" y="601"/>
                    </a:lnTo>
                    <a:lnTo>
                      <a:pt x="166" y="731"/>
                    </a:lnTo>
                    <a:lnTo>
                      <a:pt x="138" y="862"/>
                    </a:lnTo>
                    <a:lnTo>
                      <a:pt x="64" y="825"/>
                    </a:lnTo>
                    <a:lnTo>
                      <a:pt x="32" y="807"/>
                    </a:lnTo>
                    <a:lnTo>
                      <a:pt x="16" y="796"/>
                    </a:lnTo>
                    <a:lnTo>
                      <a:pt x="16" y="796"/>
                    </a:lnTo>
                    <a:lnTo>
                      <a:pt x="0" y="815"/>
                    </a:lnTo>
                    <a:lnTo>
                      <a:pt x="21" y="826"/>
                    </a:lnTo>
                    <a:lnTo>
                      <a:pt x="53" y="847"/>
                    </a:lnTo>
                    <a:lnTo>
                      <a:pt x="134" y="886"/>
                    </a:lnTo>
                    <a:lnTo>
                      <a:pt x="119" y="974"/>
                    </a:lnTo>
                    <a:lnTo>
                      <a:pt x="105" y="1063"/>
                    </a:lnTo>
                    <a:lnTo>
                      <a:pt x="95" y="1151"/>
                    </a:lnTo>
                    <a:lnTo>
                      <a:pt x="89" y="1221"/>
                    </a:lnTo>
                    <a:lnTo>
                      <a:pt x="89" y="1221"/>
                    </a:lnTo>
                    <a:lnTo>
                      <a:pt x="101" y="1222"/>
                    </a:lnTo>
                    <a:lnTo>
                      <a:pt x="113" y="1225"/>
                    </a:lnTo>
                    <a:lnTo>
                      <a:pt x="119" y="1158"/>
                    </a:lnTo>
                    <a:lnTo>
                      <a:pt x="130" y="1071"/>
                    </a:lnTo>
                    <a:lnTo>
                      <a:pt x="142" y="985"/>
                    </a:lnTo>
                    <a:lnTo>
                      <a:pt x="156" y="895"/>
                    </a:lnTo>
                    <a:lnTo>
                      <a:pt x="227" y="928"/>
                    </a:lnTo>
                    <a:lnTo>
                      <a:pt x="301" y="960"/>
                    </a:lnTo>
                    <a:lnTo>
                      <a:pt x="246" y="1037"/>
                    </a:lnTo>
                    <a:lnTo>
                      <a:pt x="196" y="1109"/>
                    </a:lnTo>
                    <a:lnTo>
                      <a:pt x="151" y="1179"/>
                    </a:lnTo>
                    <a:lnTo>
                      <a:pt x="121" y="1229"/>
                    </a:lnTo>
                    <a:lnTo>
                      <a:pt x="121" y="1229"/>
                    </a:lnTo>
                    <a:lnTo>
                      <a:pt x="132" y="1233"/>
                    </a:lnTo>
                    <a:lnTo>
                      <a:pt x="142" y="1240"/>
                    </a:lnTo>
                    <a:lnTo>
                      <a:pt x="174" y="1187"/>
                    </a:lnTo>
                    <a:lnTo>
                      <a:pt x="219" y="1119"/>
                    </a:lnTo>
                    <a:lnTo>
                      <a:pt x="270" y="1045"/>
                    </a:lnTo>
                    <a:lnTo>
                      <a:pt x="327" y="968"/>
                    </a:lnTo>
                    <a:lnTo>
                      <a:pt x="419" y="1005"/>
                    </a:lnTo>
                    <a:lnTo>
                      <a:pt x="514" y="1043"/>
                    </a:lnTo>
                    <a:lnTo>
                      <a:pt x="512" y="1014"/>
                    </a:lnTo>
                    <a:lnTo>
                      <a:pt x="423" y="981"/>
                    </a:lnTo>
                    <a:lnTo>
                      <a:pt x="341" y="948"/>
                    </a:lnTo>
                    <a:lnTo>
                      <a:pt x="423" y="841"/>
                    </a:lnTo>
                    <a:lnTo>
                      <a:pt x="514" y="730"/>
                    </a:lnTo>
                    <a:lnTo>
                      <a:pt x="609" y="617"/>
                    </a:lnTo>
                    <a:lnTo>
                      <a:pt x="707" y="507"/>
                    </a:lnTo>
                    <a:lnTo>
                      <a:pt x="811" y="499"/>
                    </a:lnTo>
                    <a:lnTo>
                      <a:pt x="921" y="493"/>
                    </a:lnTo>
                    <a:lnTo>
                      <a:pt x="993" y="578"/>
                    </a:lnTo>
                    <a:lnTo>
                      <a:pt x="1068" y="664"/>
                    </a:lnTo>
                    <a:lnTo>
                      <a:pt x="1138" y="749"/>
                    </a:lnTo>
                    <a:lnTo>
                      <a:pt x="1208" y="834"/>
                    </a:lnTo>
                    <a:lnTo>
                      <a:pt x="1129" y="884"/>
                    </a:lnTo>
                    <a:lnTo>
                      <a:pt x="1045" y="934"/>
                    </a:lnTo>
                    <a:lnTo>
                      <a:pt x="1051" y="958"/>
                    </a:lnTo>
                    <a:lnTo>
                      <a:pt x="1140" y="905"/>
                    </a:lnTo>
                    <a:lnTo>
                      <a:pt x="1222" y="855"/>
                    </a:lnTo>
                    <a:lnTo>
                      <a:pt x="1288" y="942"/>
                    </a:lnTo>
                    <a:lnTo>
                      <a:pt x="1351" y="1024"/>
                    </a:lnTo>
                    <a:lnTo>
                      <a:pt x="1404" y="1105"/>
                    </a:lnTo>
                    <a:lnTo>
                      <a:pt x="1448" y="1174"/>
                    </a:lnTo>
                    <a:lnTo>
                      <a:pt x="1448" y="1174"/>
                    </a:lnTo>
                    <a:lnTo>
                      <a:pt x="1464" y="1164"/>
                    </a:lnTo>
                    <a:lnTo>
                      <a:pt x="1480" y="1156"/>
                    </a:lnTo>
                    <a:lnTo>
                      <a:pt x="1451" y="1082"/>
                    </a:lnTo>
                    <a:close/>
                    <a:moveTo>
                      <a:pt x="597" y="593"/>
                    </a:moveTo>
                    <a:lnTo>
                      <a:pt x="525" y="678"/>
                    </a:lnTo>
                    <a:lnTo>
                      <a:pt x="469" y="744"/>
                    </a:lnTo>
                    <a:lnTo>
                      <a:pt x="415" y="810"/>
                    </a:lnTo>
                    <a:lnTo>
                      <a:pt x="316" y="939"/>
                    </a:lnTo>
                    <a:lnTo>
                      <a:pt x="235" y="905"/>
                    </a:lnTo>
                    <a:lnTo>
                      <a:pt x="161" y="871"/>
                    </a:lnTo>
                    <a:lnTo>
                      <a:pt x="190" y="733"/>
                    </a:lnTo>
                    <a:lnTo>
                      <a:pt x="221" y="594"/>
                    </a:lnTo>
                    <a:lnTo>
                      <a:pt x="324" y="569"/>
                    </a:lnTo>
                    <a:lnTo>
                      <a:pt x="433" y="544"/>
                    </a:lnTo>
                    <a:lnTo>
                      <a:pt x="549" y="527"/>
                    </a:lnTo>
                    <a:lnTo>
                      <a:pt x="668" y="512"/>
                    </a:lnTo>
                    <a:lnTo>
                      <a:pt x="597" y="593"/>
                    </a:lnTo>
                    <a:close/>
                    <a:moveTo>
                      <a:pt x="694" y="485"/>
                    </a:moveTo>
                    <a:lnTo>
                      <a:pt x="570" y="499"/>
                    </a:lnTo>
                    <a:lnTo>
                      <a:pt x="451" y="519"/>
                    </a:lnTo>
                    <a:lnTo>
                      <a:pt x="336" y="541"/>
                    </a:lnTo>
                    <a:lnTo>
                      <a:pt x="280" y="554"/>
                    </a:lnTo>
                    <a:lnTo>
                      <a:pt x="227" y="569"/>
                    </a:lnTo>
                    <a:lnTo>
                      <a:pt x="258" y="437"/>
                    </a:lnTo>
                    <a:lnTo>
                      <a:pt x="349" y="382"/>
                    </a:lnTo>
                    <a:lnTo>
                      <a:pt x="446" y="324"/>
                    </a:lnTo>
                    <a:lnTo>
                      <a:pt x="554" y="269"/>
                    </a:lnTo>
                    <a:lnTo>
                      <a:pt x="665" y="211"/>
                    </a:lnTo>
                    <a:lnTo>
                      <a:pt x="807" y="366"/>
                    </a:lnTo>
                    <a:lnTo>
                      <a:pt x="749" y="424"/>
                    </a:lnTo>
                    <a:lnTo>
                      <a:pt x="694" y="485"/>
                    </a:lnTo>
                    <a:close/>
                    <a:moveTo>
                      <a:pt x="813" y="475"/>
                    </a:moveTo>
                    <a:lnTo>
                      <a:pt x="731" y="482"/>
                    </a:lnTo>
                    <a:lnTo>
                      <a:pt x="824" y="383"/>
                    </a:lnTo>
                    <a:lnTo>
                      <a:pt x="900" y="469"/>
                    </a:lnTo>
                    <a:lnTo>
                      <a:pt x="813" y="475"/>
                    </a:lnTo>
                    <a:close/>
                    <a:moveTo>
                      <a:pt x="1163" y="739"/>
                    </a:moveTo>
                    <a:lnTo>
                      <a:pt x="1092" y="657"/>
                    </a:lnTo>
                    <a:lnTo>
                      <a:pt x="952" y="491"/>
                    </a:lnTo>
                    <a:lnTo>
                      <a:pt x="1029" y="490"/>
                    </a:lnTo>
                    <a:lnTo>
                      <a:pt x="1105" y="490"/>
                    </a:lnTo>
                    <a:lnTo>
                      <a:pt x="1180" y="490"/>
                    </a:lnTo>
                    <a:lnTo>
                      <a:pt x="1259" y="491"/>
                    </a:lnTo>
                    <a:lnTo>
                      <a:pt x="1293" y="628"/>
                    </a:lnTo>
                    <a:lnTo>
                      <a:pt x="1325" y="758"/>
                    </a:lnTo>
                    <a:lnTo>
                      <a:pt x="1229" y="821"/>
                    </a:lnTo>
                    <a:lnTo>
                      <a:pt x="1163" y="739"/>
                    </a:lnTo>
                    <a:close/>
                    <a:moveTo>
                      <a:pt x="1394" y="1043"/>
                    </a:moveTo>
                    <a:lnTo>
                      <a:pt x="1346" y="979"/>
                    </a:lnTo>
                    <a:lnTo>
                      <a:pt x="1296" y="910"/>
                    </a:lnTo>
                    <a:lnTo>
                      <a:pt x="1243" y="841"/>
                    </a:lnTo>
                    <a:lnTo>
                      <a:pt x="1333" y="783"/>
                    </a:lnTo>
                    <a:lnTo>
                      <a:pt x="1359" y="873"/>
                    </a:lnTo>
                    <a:lnTo>
                      <a:pt x="1385" y="958"/>
                    </a:lnTo>
                    <a:lnTo>
                      <a:pt x="1410" y="1034"/>
                    </a:lnTo>
                    <a:lnTo>
                      <a:pt x="1435" y="1105"/>
                    </a:lnTo>
                    <a:lnTo>
                      <a:pt x="1394" y="10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98" name="Freeform 33"/>
              <p:cNvSpPr>
                <a:spLocks noEditPoints="1"/>
              </p:cNvSpPr>
              <p:nvPr/>
            </p:nvSpPr>
            <p:spPr bwMode="auto">
              <a:xfrm>
                <a:off x="-863600" y="3921125"/>
                <a:ext cx="355600" cy="566737"/>
              </a:xfrm>
              <a:custGeom>
                <a:avLst/>
                <a:gdLst>
                  <a:gd name="T0" fmla="*/ 47 w 224"/>
                  <a:gd name="T1" fmla="*/ 0 h 357"/>
                  <a:gd name="T2" fmla="*/ 33 w 224"/>
                  <a:gd name="T3" fmla="*/ 1 h 357"/>
                  <a:gd name="T4" fmla="*/ 21 w 224"/>
                  <a:gd name="T5" fmla="*/ 8 h 357"/>
                  <a:gd name="T6" fmla="*/ 12 w 224"/>
                  <a:gd name="T7" fmla="*/ 16 h 357"/>
                  <a:gd name="T8" fmla="*/ 5 w 224"/>
                  <a:gd name="T9" fmla="*/ 29 h 357"/>
                  <a:gd name="T10" fmla="*/ 0 w 224"/>
                  <a:gd name="T11" fmla="*/ 42 h 357"/>
                  <a:gd name="T12" fmla="*/ 0 w 224"/>
                  <a:gd name="T13" fmla="*/ 309 h 357"/>
                  <a:gd name="T14" fmla="*/ 4 w 224"/>
                  <a:gd name="T15" fmla="*/ 323 h 357"/>
                  <a:gd name="T16" fmla="*/ 8 w 224"/>
                  <a:gd name="T17" fmla="*/ 336 h 357"/>
                  <a:gd name="T18" fmla="*/ 18 w 224"/>
                  <a:gd name="T19" fmla="*/ 346 h 357"/>
                  <a:gd name="T20" fmla="*/ 29 w 224"/>
                  <a:gd name="T21" fmla="*/ 354 h 357"/>
                  <a:gd name="T22" fmla="*/ 42 w 224"/>
                  <a:gd name="T23" fmla="*/ 357 h 357"/>
                  <a:gd name="T24" fmla="*/ 178 w 224"/>
                  <a:gd name="T25" fmla="*/ 357 h 357"/>
                  <a:gd name="T26" fmla="*/ 192 w 224"/>
                  <a:gd name="T27" fmla="*/ 356 h 357"/>
                  <a:gd name="T28" fmla="*/ 203 w 224"/>
                  <a:gd name="T29" fmla="*/ 349 h 357"/>
                  <a:gd name="T30" fmla="*/ 213 w 224"/>
                  <a:gd name="T31" fmla="*/ 339 h 357"/>
                  <a:gd name="T32" fmla="*/ 219 w 224"/>
                  <a:gd name="T33" fmla="*/ 328 h 357"/>
                  <a:gd name="T34" fmla="*/ 224 w 224"/>
                  <a:gd name="T35" fmla="*/ 314 h 357"/>
                  <a:gd name="T36" fmla="*/ 224 w 224"/>
                  <a:gd name="T37" fmla="*/ 46 h 357"/>
                  <a:gd name="T38" fmla="*/ 221 w 224"/>
                  <a:gd name="T39" fmla="*/ 32 h 357"/>
                  <a:gd name="T40" fmla="*/ 216 w 224"/>
                  <a:gd name="T41" fmla="*/ 19 h 357"/>
                  <a:gd name="T42" fmla="*/ 207 w 224"/>
                  <a:gd name="T43" fmla="*/ 11 h 357"/>
                  <a:gd name="T44" fmla="*/ 195 w 224"/>
                  <a:gd name="T45" fmla="*/ 3 h 357"/>
                  <a:gd name="T46" fmla="*/ 182 w 224"/>
                  <a:gd name="T47" fmla="*/ 0 h 357"/>
                  <a:gd name="T48" fmla="*/ 178 w 224"/>
                  <a:gd name="T49" fmla="*/ 0 h 357"/>
                  <a:gd name="T50" fmla="*/ 113 w 224"/>
                  <a:gd name="T51" fmla="*/ 346 h 357"/>
                  <a:gd name="T52" fmla="*/ 102 w 224"/>
                  <a:gd name="T53" fmla="*/ 343 h 357"/>
                  <a:gd name="T54" fmla="*/ 95 w 224"/>
                  <a:gd name="T55" fmla="*/ 335 h 357"/>
                  <a:gd name="T56" fmla="*/ 95 w 224"/>
                  <a:gd name="T57" fmla="*/ 328 h 357"/>
                  <a:gd name="T58" fmla="*/ 97 w 224"/>
                  <a:gd name="T59" fmla="*/ 317 h 357"/>
                  <a:gd name="T60" fmla="*/ 105 w 224"/>
                  <a:gd name="T61" fmla="*/ 311 h 357"/>
                  <a:gd name="T62" fmla="*/ 113 w 224"/>
                  <a:gd name="T63" fmla="*/ 309 h 357"/>
                  <a:gd name="T64" fmla="*/ 121 w 224"/>
                  <a:gd name="T65" fmla="*/ 312 h 357"/>
                  <a:gd name="T66" fmla="*/ 128 w 224"/>
                  <a:gd name="T67" fmla="*/ 320 h 357"/>
                  <a:gd name="T68" fmla="*/ 129 w 224"/>
                  <a:gd name="T69" fmla="*/ 328 h 357"/>
                  <a:gd name="T70" fmla="*/ 126 w 224"/>
                  <a:gd name="T71" fmla="*/ 338 h 357"/>
                  <a:gd name="T72" fmla="*/ 120 w 224"/>
                  <a:gd name="T73" fmla="*/ 344 h 357"/>
                  <a:gd name="T74" fmla="*/ 113 w 224"/>
                  <a:gd name="T75" fmla="*/ 346 h 357"/>
                  <a:gd name="T76" fmla="*/ 137 w 224"/>
                  <a:gd name="T77" fmla="*/ 27 h 357"/>
                  <a:gd name="T78" fmla="*/ 86 w 224"/>
                  <a:gd name="T79" fmla="*/ 27 h 357"/>
                  <a:gd name="T80" fmla="*/ 83 w 224"/>
                  <a:gd name="T81" fmla="*/ 22 h 357"/>
                  <a:gd name="T82" fmla="*/ 84 w 224"/>
                  <a:gd name="T83" fmla="*/ 18 h 357"/>
                  <a:gd name="T84" fmla="*/ 137 w 224"/>
                  <a:gd name="T85" fmla="*/ 16 h 357"/>
                  <a:gd name="T86" fmla="*/ 141 w 224"/>
                  <a:gd name="T87" fmla="*/ 18 h 357"/>
                  <a:gd name="T88" fmla="*/ 142 w 224"/>
                  <a:gd name="T89" fmla="*/ 22 h 357"/>
                  <a:gd name="T90" fmla="*/ 139 w 224"/>
                  <a:gd name="T91" fmla="*/ 27 h 357"/>
                  <a:gd name="T92" fmla="*/ 137 w 224"/>
                  <a:gd name="T93" fmla="*/ 27 h 357"/>
                  <a:gd name="T94" fmla="*/ 207 w 224"/>
                  <a:gd name="T95" fmla="*/ 278 h 357"/>
                  <a:gd name="T96" fmla="*/ 205 w 224"/>
                  <a:gd name="T97" fmla="*/ 288 h 357"/>
                  <a:gd name="T98" fmla="*/ 197 w 224"/>
                  <a:gd name="T99" fmla="*/ 294 h 357"/>
                  <a:gd name="T100" fmla="*/ 34 w 224"/>
                  <a:gd name="T101" fmla="*/ 296 h 357"/>
                  <a:gd name="T102" fmla="*/ 28 w 224"/>
                  <a:gd name="T103" fmla="*/ 294 h 357"/>
                  <a:gd name="T104" fmla="*/ 20 w 224"/>
                  <a:gd name="T105" fmla="*/ 288 h 357"/>
                  <a:gd name="T106" fmla="*/ 17 w 224"/>
                  <a:gd name="T107" fmla="*/ 278 h 357"/>
                  <a:gd name="T108" fmla="*/ 18 w 224"/>
                  <a:gd name="T109" fmla="*/ 59 h 357"/>
                  <a:gd name="T110" fmla="*/ 23 w 224"/>
                  <a:gd name="T111" fmla="*/ 50 h 357"/>
                  <a:gd name="T112" fmla="*/ 31 w 224"/>
                  <a:gd name="T113" fmla="*/ 45 h 357"/>
                  <a:gd name="T114" fmla="*/ 190 w 224"/>
                  <a:gd name="T115" fmla="*/ 45 h 357"/>
                  <a:gd name="T116" fmla="*/ 200 w 224"/>
                  <a:gd name="T117" fmla="*/ 48 h 357"/>
                  <a:gd name="T118" fmla="*/ 207 w 224"/>
                  <a:gd name="T119" fmla="*/ 56 h 357"/>
                  <a:gd name="T120" fmla="*/ 207 w 224"/>
                  <a:gd name="T121" fmla="*/ 278 h 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24" h="357">
                    <a:moveTo>
                      <a:pt x="178" y="0"/>
                    </a:moveTo>
                    <a:lnTo>
                      <a:pt x="47" y="0"/>
                    </a:lnTo>
                    <a:lnTo>
                      <a:pt x="47" y="0"/>
                    </a:lnTo>
                    <a:lnTo>
                      <a:pt x="42" y="0"/>
                    </a:lnTo>
                    <a:lnTo>
                      <a:pt x="37" y="0"/>
                    </a:lnTo>
                    <a:lnTo>
                      <a:pt x="33" y="1"/>
                    </a:lnTo>
                    <a:lnTo>
                      <a:pt x="29" y="3"/>
                    </a:lnTo>
                    <a:lnTo>
                      <a:pt x="25" y="5"/>
                    </a:lnTo>
                    <a:lnTo>
                      <a:pt x="21" y="8"/>
                    </a:lnTo>
                    <a:lnTo>
                      <a:pt x="18" y="11"/>
                    </a:lnTo>
                    <a:lnTo>
                      <a:pt x="15" y="13"/>
                    </a:lnTo>
                    <a:lnTo>
                      <a:pt x="12" y="16"/>
                    </a:lnTo>
                    <a:lnTo>
                      <a:pt x="8" y="19"/>
                    </a:lnTo>
                    <a:lnTo>
                      <a:pt x="7" y="24"/>
                    </a:lnTo>
                    <a:lnTo>
                      <a:pt x="5" y="29"/>
                    </a:lnTo>
                    <a:lnTo>
                      <a:pt x="4" y="32"/>
                    </a:lnTo>
                    <a:lnTo>
                      <a:pt x="2" y="37"/>
                    </a:lnTo>
                    <a:lnTo>
                      <a:pt x="0" y="42"/>
                    </a:lnTo>
                    <a:lnTo>
                      <a:pt x="0" y="46"/>
                    </a:lnTo>
                    <a:lnTo>
                      <a:pt x="0" y="309"/>
                    </a:lnTo>
                    <a:lnTo>
                      <a:pt x="0" y="309"/>
                    </a:lnTo>
                    <a:lnTo>
                      <a:pt x="0" y="314"/>
                    </a:lnTo>
                    <a:lnTo>
                      <a:pt x="2" y="320"/>
                    </a:lnTo>
                    <a:lnTo>
                      <a:pt x="4" y="323"/>
                    </a:lnTo>
                    <a:lnTo>
                      <a:pt x="5" y="328"/>
                    </a:lnTo>
                    <a:lnTo>
                      <a:pt x="7" y="333"/>
                    </a:lnTo>
                    <a:lnTo>
                      <a:pt x="8" y="336"/>
                    </a:lnTo>
                    <a:lnTo>
                      <a:pt x="12" y="339"/>
                    </a:lnTo>
                    <a:lnTo>
                      <a:pt x="15" y="344"/>
                    </a:lnTo>
                    <a:lnTo>
                      <a:pt x="18" y="346"/>
                    </a:lnTo>
                    <a:lnTo>
                      <a:pt x="21" y="349"/>
                    </a:lnTo>
                    <a:lnTo>
                      <a:pt x="25" y="352"/>
                    </a:lnTo>
                    <a:lnTo>
                      <a:pt x="29" y="354"/>
                    </a:lnTo>
                    <a:lnTo>
                      <a:pt x="33" y="356"/>
                    </a:lnTo>
                    <a:lnTo>
                      <a:pt x="37" y="357"/>
                    </a:lnTo>
                    <a:lnTo>
                      <a:pt x="42" y="357"/>
                    </a:lnTo>
                    <a:lnTo>
                      <a:pt x="47" y="357"/>
                    </a:lnTo>
                    <a:lnTo>
                      <a:pt x="178" y="357"/>
                    </a:lnTo>
                    <a:lnTo>
                      <a:pt x="178" y="357"/>
                    </a:lnTo>
                    <a:lnTo>
                      <a:pt x="182" y="357"/>
                    </a:lnTo>
                    <a:lnTo>
                      <a:pt x="187" y="357"/>
                    </a:lnTo>
                    <a:lnTo>
                      <a:pt x="192" y="356"/>
                    </a:lnTo>
                    <a:lnTo>
                      <a:pt x="195" y="354"/>
                    </a:lnTo>
                    <a:lnTo>
                      <a:pt x="200" y="352"/>
                    </a:lnTo>
                    <a:lnTo>
                      <a:pt x="203" y="349"/>
                    </a:lnTo>
                    <a:lnTo>
                      <a:pt x="207" y="346"/>
                    </a:lnTo>
                    <a:lnTo>
                      <a:pt x="210" y="344"/>
                    </a:lnTo>
                    <a:lnTo>
                      <a:pt x="213" y="339"/>
                    </a:lnTo>
                    <a:lnTo>
                      <a:pt x="216" y="336"/>
                    </a:lnTo>
                    <a:lnTo>
                      <a:pt x="218" y="333"/>
                    </a:lnTo>
                    <a:lnTo>
                      <a:pt x="219" y="328"/>
                    </a:lnTo>
                    <a:lnTo>
                      <a:pt x="221" y="323"/>
                    </a:lnTo>
                    <a:lnTo>
                      <a:pt x="223" y="320"/>
                    </a:lnTo>
                    <a:lnTo>
                      <a:pt x="224" y="314"/>
                    </a:lnTo>
                    <a:lnTo>
                      <a:pt x="224" y="309"/>
                    </a:lnTo>
                    <a:lnTo>
                      <a:pt x="224" y="46"/>
                    </a:lnTo>
                    <a:lnTo>
                      <a:pt x="224" y="46"/>
                    </a:lnTo>
                    <a:lnTo>
                      <a:pt x="224" y="42"/>
                    </a:lnTo>
                    <a:lnTo>
                      <a:pt x="223" y="37"/>
                    </a:lnTo>
                    <a:lnTo>
                      <a:pt x="221" y="32"/>
                    </a:lnTo>
                    <a:lnTo>
                      <a:pt x="219" y="29"/>
                    </a:lnTo>
                    <a:lnTo>
                      <a:pt x="218" y="24"/>
                    </a:lnTo>
                    <a:lnTo>
                      <a:pt x="216" y="19"/>
                    </a:lnTo>
                    <a:lnTo>
                      <a:pt x="213" y="16"/>
                    </a:lnTo>
                    <a:lnTo>
                      <a:pt x="210" y="13"/>
                    </a:lnTo>
                    <a:lnTo>
                      <a:pt x="207" y="11"/>
                    </a:lnTo>
                    <a:lnTo>
                      <a:pt x="203" y="8"/>
                    </a:lnTo>
                    <a:lnTo>
                      <a:pt x="200" y="5"/>
                    </a:lnTo>
                    <a:lnTo>
                      <a:pt x="195" y="3"/>
                    </a:lnTo>
                    <a:lnTo>
                      <a:pt x="192" y="1"/>
                    </a:lnTo>
                    <a:lnTo>
                      <a:pt x="187" y="0"/>
                    </a:lnTo>
                    <a:lnTo>
                      <a:pt x="182" y="0"/>
                    </a:lnTo>
                    <a:lnTo>
                      <a:pt x="178" y="0"/>
                    </a:lnTo>
                    <a:lnTo>
                      <a:pt x="178" y="0"/>
                    </a:lnTo>
                    <a:lnTo>
                      <a:pt x="178" y="0"/>
                    </a:lnTo>
                    <a:lnTo>
                      <a:pt x="178" y="0"/>
                    </a:lnTo>
                    <a:close/>
                    <a:moveTo>
                      <a:pt x="113" y="346"/>
                    </a:moveTo>
                    <a:lnTo>
                      <a:pt x="113" y="346"/>
                    </a:lnTo>
                    <a:lnTo>
                      <a:pt x="108" y="346"/>
                    </a:lnTo>
                    <a:lnTo>
                      <a:pt x="105" y="344"/>
                    </a:lnTo>
                    <a:lnTo>
                      <a:pt x="102" y="343"/>
                    </a:lnTo>
                    <a:lnTo>
                      <a:pt x="100" y="339"/>
                    </a:lnTo>
                    <a:lnTo>
                      <a:pt x="97" y="338"/>
                    </a:lnTo>
                    <a:lnTo>
                      <a:pt x="95" y="335"/>
                    </a:lnTo>
                    <a:lnTo>
                      <a:pt x="95" y="331"/>
                    </a:lnTo>
                    <a:lnTo>
                      <a:pt x="95" y="328"/>
                    </a:lnTo>
                    <a:lnTo>
                      <a:pt x="95" y="328"/>
                    </a:lnTo>
                    <a:lnTo>
                      <a:pt x="95" y="323"/>
                    </a:lnTo>
                    <a:lnTo>
                      <a:pt x="95" y="320"/>
                    </a:lnTo>
                    <a:lnTo>
                      <a:pt x="97" y="317"/>
                    </a:lnTo>
                    <a:lnTo>
                      <a:pt x="100" y="314"/>
                    </a:lnTo>
                    <a:lnTo>
                      <a:pt x="102" y="312"/>
                    </a:lnTo>
                    <a:lnTo>
                      <a:pt x="105" y="311"/>
                    </a:lnTo>
                    <a:lnTo>
                      <a:pt x="108" y="309"/>
                    </a:lnTo>
                    <a:lnTo>
                      <a:pt x="113" y="309"/>
                    </a:lnTo>
                    <a:lnTo>
                      <a:pt x="113" y="309"/>
                    </a:lnTo>
                    <a:lnTo>
                      <a:pt x="115" y="309"/>
                    </a:lnTo>
                    <a:lnTo>
                      <a:pt x="120" y="311"/>
                    </a:lnTo>
                    <a:lnTo>
                      <a:pt x="121" y="312"/>
                    </a:lnTo>
                    <a:lnTo>
                      <a:pt x="124" y="314"/>
                    </a:lnTo>
                    <a:lnTo>
                      <a:pt x="126" y="317"/>
                    </a:lnTo>
                    <a:lnTo>
                      <a:pt x="128" y="320"/>
                    </a:lnTo>
                    <a:lnTo>
                      <a:pt x="129" y="323"/>
                    </a:lnTo>
                    <a:lnTo>
                      <a:pt x="129" y="328"/>
                    </a:lnTo>
                    <a:lnTo>
                      <a:pt x="129" y="328"/>
                    </a:lnTo>
                    <a:lnTo>
                      <a:pt x="129" y="331"/>
                    </a:lnTo>
                    <a:lnTo>
                      <a:pt x="128" y="335"/>
                    </a:lnTo>
                    <a:lnTo>
                      <a:pt x="126" y="338"/>
                    </a:lnTo>
                    <a:lnTo>
                      <a:pt x="124" y="339"/>
                    </a:lnTo>
                    <a:lnTo>
                      <a:pt x="121" y="343"/>
                    </a:lnTo>
                    <a:lnTo>
                      <a:pt x="120" y="344"/>
                    </a:lnTo>
                    <a:lnTo>
                      <a:pt x="115" y="346"/>
                    </a:lnTo>
                    <a:lnTo>
                      <a:pt x="113" y="346"/>
                    </a:lnTo>
                    <a:lnTo>
                      <a:pt x="113" y="346"/>
                    </a:lnTo>
                    <a:lnTo>
                      <a:pt x="113" y="346"/>
                    </a:lnTo>
                    <a:lnTo>
                      <a:pt x="113" y="346"/>
                    </a:lnTo>
                    <a:close/>
                    <a:moveTo>
                      <a:pt x="137" y="27"/>
                    </a:moveTo>
                    <a:lnTo>
                      <a:pt x="87" y="27"/>
                    </a:lnTo>
                    <a:lnTo>
                      <a:pt x="87" y="27"/>
                    </a:lnTo>
                    <a:lnTo>
                      <a:pt x="86" y="27"/>
                    </a:lnTo>
                    <a:lnTo>
                      <a:pt x="84" y="26"/>
                    </a:lnTo>
                    <a:lnTo>
                      <a:pt x="83" y="24"/>
                    </a:lnTo>
                    <a:lnTo>
                      <a:pt x="83" y="22"/>
                    </a:lnTo>
                    <a:lnTo>
                      <a:pt x="83" y="22"/>
                    </a:lnTo>
                    <a:lnTo>
                      <a:pt x="83" y="19"/>
                    </a:lnTo>
                    <a:lnTo>
                      <a:pt x="84" y="18"/>
                    </a:lnTo>
                    <a:lnTo>
                      <a:pt x="86" y="16"/>
                    </a:lnTo>
                    <a:lnTo>
                      <a:pt x="87" y="16"/>
                    </a:lnTo>
                    <a:lnTo>
                      <a:pt x="137" y="16"/>
                    </a:lnTo>
                    <a:lnTo>
                      <a:pt x="137" y="16"/>
                    </a:lnTo>
                    <a:lnTo>
                      <a:pt x="139" y="16"/>
                    </a:lnTo>
                    <a:lnTo>
                      <a:pt x="141" y="18"/>
                    </a:lnTo>
                    <a:lnTo>
                      <a:pt x="142" y="19"/>
                    </a:lnTo>
                    <a:lnTo>
                      <a:pt x="142" y="22"/>
                    </a:lnTo>
                    <a:lnTo>
                      <a:pt x="142" y="22"/>
                    </a:lnTo>
                    <a:lnTo>
                      <a:pt x="142" y="24"/>
                    </a:lnTo>
                    <a:lnTo>
                      <a:pt x="141" y="26"/>
                    </a:lnTo>
                    <a:lnTo>
                      <a:pt x="139" y="27"/>
                    </a:lnTo>
                    <a:lnTo>
                      <a:pt x="137" y="27"/>
                    </a:lnTo>
                    <a:lnTo>
                      <a:pt x="137" y="27"/>
                    </a:lnTo>
                    <a:lnTo>
                      <a:pt x="137" y="27"/>
                    </a:lnTo>
                    <a:lnTo>
                      <a:pt x="137" y="27"/>
                    </a:lnTo>
                    <a:close/>
                    <a:moveTo>
                      <a:pt x="207" y="278"/>
                    </a:moveTo>
                    <a:lnTo>
                      <a:pt x="207" y="278"/>
                    </a:lnTo>
                    <a:lnTo>
                      <a:pt x="207" y="282"/>
                    </a:lnTo>
                    <a:lnTo>
                      <a:pt x="207" y="285"/>
                    </a:lnTo>
                    <a:lnTo>
                      <a:pt x="205" y="288"/>
                    </a:lnTo>
                    <a:lnTo>
                      <a:pt x="203" y="290"/>
                    </a:lnTo>
                    <a:lnTo>
                      <a:pt x="200" y="293"/>
                    </a:lnTo>
                    <a:lnTo>
                      <a:pt x="197" y="294"/>
                    </a:lnTo>
                    <a:lnTo>
                      <a:pt x="194" y="294"/>
                    </a:lnTo>
                    <a:lnTo>
                      <a:pt x="190" y="296"/>
                    </a:lnTo>
                    <a:lnTo>
                      <a:pt x="34" y="296"/>
                    </a:lnTo>
                    <a:lnTo>
                      <a:pt x="34" y="296"/>
                    </a:lnTo>
                    <a:lnTo>
                      <a:pt x="31" y="294"/>
                    </a:lnTo>
                    <a:lnTo>
                      <a:pt x="28" y="294"/>
                    </a:lnTo>
                    <a:lnTo>
                      <a:pt x="25" y="293"/>
                    </a:lnTo>
                    <a:lnTo>
                      <a:pt x="23" y="290"/>
                    </a:lnTo>
                    <a:lnTo>
                      <a:pt x="20" y="288"/>
                    </a:lnTo>
                    <a:lnTo>
                      <a:pt x="18" y="285"/>
                    </a:lnTo>
                    <a:lnTo>
                      <a:pt x="18" y="282"/>
                    </a:lnTo>
                    <a:lnTo>
                      <a:pt x="17" y="278"/>
                    </a:lnTo>
                    <a:lnTo>
                      <a:pt x="17" y="63"/>
                    </a:lnTo>
                    <a:lnTo>
                      <a:pt x="17" y="63"/>
                    </a:lnTo>
                    <a:lnTo>
                      <a:pt x="18" y="59"/>
                    </a:lnTo>
                    <a:lnTo>
                      <a:pt x="18" y="56"/>
                    </a:lnTo>
                    <a:lnTo>
                      <a:pt x="20" y="53"/>
                    </a:lnTo>
                    <a:lnTo>
                      <a:pt x="23" y="50"/>
                    </a:lnTo>
                    <a:lnTo>
                      <a:pt x="25" y="48"/>
                    </a:lnTo>
                    <a:lnTo>
                      <a:pt x="28" y="46"/>
                    </a:lnTo>
                    <a:lnTo>
                      <a:pt x="31" y="45"/>
                    </a:lnTo>
                    <a:lnTo>
                      <a:pt x="34" y="45"/>
                    </a:lnTo>
                    <a:lnTo>
                      <a:pt x="190" y="45"/>
                    </a:lnTo>
                    <a:lnTo>
                      <a:pt x="190" y="45"/>
                    </a:lnTo>
                    <a:lnTo>
                      <a:pt x="194" y="45"/>
                    </a:lnTo>
                    <a:lnTo>
                      <a:pt x="197" y="46"/>
                    </a:lnTo>
                    <a:lnTo>
                      <a:pt x="200" y="48"/>
                    </a:lnTo>
                    <a:lnTo>
                      <a:pt x="203" y="50"/>
                    </a:lnTo>
                    <a:lnTo>
                      <a:pt x="205" y="53"/>
                    </a:lnTo>
                    <a:lnTo>
                      <a:pt x="207" y="56"/>
                    </a:lnTo>
                    <a:lnTo>
                      <a:pt x="207" y="59"/>
                    </a:lnTo>
                    <a:lnTo>
                      <a:pt x="207" y="63"/>
                    </a:lnTo>
                    <a:lnTo>
                      <a:pt x="207" y="278"/>
                    </a:lnTo>
                    <a:lnTo>
                      <a:pt x="207" y="278"/>
                    </a:lnTo>
                    <a:lnTo>
                      <a:pt x="207" y="27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grpSp>
    </p:spTree>
    <p:extLst>
      <p:ext uri="{BB962C8B-B14F-4D97-AF65-F5344CB8AC3E}">
        <p14:creationId xmlns:p14="http://schemas.microsoft.com/office/powerpoint/2010/main" val="2720445683"/>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6" name="Gruppieren 15"/>
          <p:cNvGrpSpPr>
            <a:grpSpLocks noChangeAspect="1"/>
          </p:cNvGrpSpPr>
          <p:nvPr/>
        </p:nvGrpSpPr>
        <p:grpSpPr>
          <a:xfrm>
            <a:off x="539748" y="4876006"/>
            <a:ext cx="719884" cy="215444"/>
            <a:chOff x="539748" y="4876006"/>
            <a:chExt cx="719884" cy="215444"/>
          </a:xfrm>
        </p:grpSpPr>
        <p:sp>
          <p:nvSpPr>
            <p:cNvPr id="17" name="Textfeld 16"/>
            <p:cNvSpPr txBox="1"/>
            <p:nvPr userDrawn="1"/>
          </p:nvSpPr>
          <p:spPr>
            <a:xfrm>
              <a:off x="539750" y="4876006"/>
              <a:ext cx="719882" cy="215444"/>
            </a:xfrm>
            <a:prstGeom prst="rect">
              <a:avLst/>
            </a:prstGeom>
            <a:noFill/>
          </p:spPr>
          <p:txBody>
            <a:bodyPr wrap="square" rtlCol="0">
              <a:spAutoFit/>
            </a:bodyPr>
            <a:lstStyle/>
            <a:p>
              <a:pPr algn="ctr"/>
              <a:r>
                <a:rPr lang="ru-RU" sz="800" kern="1300" spc="80" dirty="0" smtClean="0"/>
                <a:t>ТРЕНД</a:t>
              </a:r>
              <a:r>
                <a:rPr lang="de-DE" sz="800" kern="1300" spc="80" baseline="0" dirty="0" smtClean="0"/>
                <a:t> </a:t>
              </a:r>
              <a:r>
                <a:rPr lang="de-DE" sz="800" b="1" kern="1300" spc="80" baseline="0" dirty="0" smtClean="0"/>
                <a:t>0</a:t>
              </a:r>
              <a:r>
                <a:rPr lang="ru-RU" sz="800" b="1" kern="1300" spc="80" baseline="0" dirty="0" smtClean="0"/>
                <a:t>3</a:t>
              </a:r>
              <a:endParaRPr lang="de-DE" sz="800" b="1" kern="1300" spc="80" baseline="0" dirty="0" smtClean="0"/>
            </a:p>
          </p:txBody>
        </p:sp>
        <p:sp>
          <p:nvSpPr>
            <p:cNvPr id="18" name="Gleichschenkliges Dreieck 17"/>
            <p:cNvSpPr/>
            <p:nvPr userDrawn="1"/>
          </p:nvSpPr>
          <p:spPr>
            <a:xfrm rot="16200000" flipH="1" flipV="1">
              <a:off x="534004" y="4938683"/>
              <a:ext cx="83300" cy="71811"/>
            </a:xfrm>
            <a:prstGeom prst="triangl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sp>
          <p:nvSpPr>
            <p:cNvPr id="19" name="Gleichschenkliges Dreieck 18"/>
            <p:cNvSpPr/>
            <p:nvPr userDrawn="1"/>
          </p:nvSpPr>
          <p:spPr>
            <a:xfrm rot="5400000" flipV="1">
              <a:off x="1182077" y="4938684"/>
              <a:ext cx="83300" cy="71811"/>
            </a:xfrm>
            <a:prstGeom prst="triangl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grpSp>
      <p:sp>
        <p:nvSpPr>
          <p:cNvPr id="2" name="Titel 1"/>
          <p:cNvSpPr>
            <a:spLocks noGrp="1"/>
          </p:cNvSpPr>
          <p:nvPr>
            <p:ph type="title"/>
          </p:nvPr>
        </p:nvSpPr>
        <p:spPr>
          <a:xfrm>
            <a:off x="522287" y="483069"/>
            <a:ext cx="8460203" cy="664797"/>
          </a:xfrm>
        </p:spPr>
        <p:txBody>
          <a:bodyPr/>
          <a:lstStyle/>
          <a:p>
            <a:r>
              <a:rPr lang="ru-RU" b="1" dirty="0" smtClean="0"/>
              <a:t>Есть много примеров как правообладатели извлекают прибыль из </a:t>
            </a:r>
            <a:r>
              <a:rPr lang="en-US" b="1" dirty="0" smtClean="0"/>
              <a:t>digital </a:t>
            </a:r>
            <a:r>
              <a:rPr lang="ru-RU" b="1" dirty="0" smtClean="0"/>
              <a:t>контента для болельщиков</a:t>
            </a:r>
            <a:endParaRPr lang="de-DE" b="1" dirty="0"/>
          </a:p>
        </p:txBody>
      </p:sp>
      <p:sp>
        <p:nvSpPr>
          <p:cNvPr id="29" name="TextBox 1"/>
          <p:cNvSpPr txBox="1"/>
          <p:nvPr/>
        </p:nvSpPr>
        <p:spPr>
          <a:xfrm>
            <a:off x="522556" y="3921900"/>
            <a:ext cx="2523063" cy="646331"/>
          </a:xfrm>
          <a:prstGeom prst="rect">
            <a:avLst/>
          </a:prstGeom>
          <a:noFill/>
        </p:spPr>
        <p:txBody>
          <a:bodyPr wrap="square" lIns="108000" tIns="0" rIns="108000" bIns="0" rtlCol="0">
            <a:spAutoFit/>
          </a:bodyPr>
          <a:lstStyle/>
          <a:p>
            <a:pPr algn="ctr">
              <a:buClr>
                <a:srgbClr val="009DD9"/>
              </a:buClr>
            </a:pPr>
            <a:r>
              <a:rPr lang="ru-RU" sz="1400" dirty="0" smtClean="0">
                <a:solidFill>
                  <a:srgbClr val="5F5F5F"/>
                </a:solidFill>
              </a:rPr>
              <a:t>Спонсор интегрирован в объявление стартового состава Челси через </a:t>
            </a:r>
            <a:r>
              <a:rPr lang="en-US" sz="1400" dirty="0" smtClean="0">
                <a:solidFill>
                  <a:srgbClr val="5F5F5F"/>
                </a:solidFill>
              </a:rPr>
              <a:t>Twitter.</a:t>
            </a:r>
            <a:endParaRPr lang="en-US" sz="1400" dirty="0">
              <a:solidFill>
                <a:srgbClr val="5F5F5F"/>
              </a:solidFill>
            </a:endParaRPr>
          </a:p>
        </p:txBody>
      </p:sp>
      <p:sp>
        <p:nvSpPr>
          <p:cNvPr id="30" name="Rectangle 28"/>
          <p:cNvSpPr/>
          <p:nvPr/>
        </p:nvSpPr>
        <p:spPr>
          <a:xfrm>
            <a:off x="522554" y="1372890"/>
            <a:ext cx="2518247" cy="509657"/>
          </a:xfrm>
          <a:prstGeom prst="rect">
            <a:avLst/>
          </a:prstGeom>
          <a:solidFill>
            <a:srgbClr val="000000"/>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ru-RU" sz="1400" b="1" dirty="0" smtClean="0">
                <a:solidFill>
                  <a:srgbClr val="FFFFFF"/>
                </a:solidFill>
              </a:rPr>
              <a:t>ПОСТЫ КОМАНДЫ</a:t>
            </a:r>
            <a:r>
              <a:rPr lang="en-US" sz="1400" b="1" dirty="0">
                <a:solidFill>
                  <a:srgbClr val="FFFFFF"/>
                </a:solidFill>
              </a:rPr>
              <a:t/>
            </a:r>
            <a:br>
              <a:rPr lang="en-US" sz="1400" b="1" dirty="0">
                <a:solidFill>
                  <a:srgbClr val="FFFFFF"/>
                </a:solidFill>
              </a:rPr>
            </a:br>
            <a:r>
              <a:rPr lang="ru-RU" sz="1400" dirty="0" smtClean="0">
                <a:solidFill>
                  <a:schemeClr val="accent2"/>
                </a:solidFill>
              </a:rPr>
              <a:t>ЧЕЛСИ</a:t>
            </a:r>
            <a:r>
              <a:rPr lang="en-US" sz="1400" dirty="0" smtClean="0">
                <a:solidFill>
                  <a:schemeClr val="accent2"/>
                </a:solidFill>
              </a:rPr>
              <a:t> </a:t>
            </a:r>
            <a:endParaRPr lang="en-US" sz="1400" dirty="0">
              <a:solidFill>
                <a:schemeClr val="accent2"/>
              </a:solidFill>
            </a:endParaRPr>
          </a:p>
        </p:txBody>
      </p:sp>
      <p:sp>
        <p:nvSpPr>
          <p:cNvPr id="31" name="Rechteck 1"/>
          <p:cNvSpPr/>
          <p:nvPr/>
        </p:nvSpPr>
        <p:spPr>
          <a:xfrm>
            <a:off x="6109062" y="1984854"/>
            <a:ext cx="2513389" cy="2747136"/>
          </a:xfrm>
          <a:prstGeom prst="rect">
            <a:avLst/>
          </a:prstGeom>
          <a:no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buClr>
                <a:srgbClr val="009DD9"/>
              </a:buClr>
            </a:pPr>
            <a:endParaRPr lang="de-DE" dirty="0" err="1">
              <a:solidFill>
                <a:srgbClr val="FFFFFF"/>
              </a:solidFill>
            </a:endParaRPr>
          </a:p>
        </p:txBody>
      </p:sp>
      <p:cxnSp>
        <p:nvCxnSpPr>
          <p:cNvPr id="33" name="Straight Connector 14"/>
          <p:cNvCxnSpPr/>
          <p:nvPr/>
        </p:nvCxnSpPr>
        <p:spPr>
          <a:xfrm flipV="1">
            <a:off x="6103144" y="1996675"/>
            <a:ext cx="2524125" cy="2380"/>
          </a:xfrm>
          <a:prstGeom prst="line">
            <a:avLst/>
          </a:prstGeom>
          <a:ln w="57150">
            <a:solidFill>
              <a:srgbClr val="000000"/>
            </a:solidFill>
            <a:prstDash val="solid"/>
          </a:ln>
        </p:spPr>
        <p:style>
          <a:lnRef idx="2">
            <a:schemeClr val="accent1"/>
          </a:lnRef>
          <a:fillRef idx="0">
            <a:schemeClr val="accent1"/>
          </a:fillRef>
          <a:effectRef idx="1">
            <a:schemeClr val="accent1"/>
          </a:effectRef>
          <a:fontRef idx="minor">
            <a:schemeClr val="tx1"/>
          </a:fontRef>
        </p:style>
      </p:cxnSp>
      <p:sp>
        <p:nvSpPr>
          <p:cNvPr id="34" name="Rectangle 28"/>
          <p:cNvSpPr/>
          <p:nvPr/>
        </p:nvSpPr>
        <p:spPr>
          <a:xfrm>
            <a:off x="3272773" y="1372890"/>
            <a:ext cx="2518207" cy="509657"/>
          </a:xfrm>
          <a:prstGeom prst="rect">
            <a:avLst/>
          </a:prstGeom>
          <a:solidFill>
            <a:srgbClr val="000000"/>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buClr>
                <a:srgbClr val="009DD9"/>
              </a:buClr>
            </a:pPr>
            <a:r>
              <a:rPr lang="ru-RU" sz="1400" b="1" dirty="0" smtClean="0">
                <a:solidFill>
                  <a:srgbClr val="FFFFFF"/>
                </a:solidFill>
              </a:rPr>
              <a:t>ВИРТУАЛЬНАЯ РЕАЛЬНОСТЬ</a:t>
            </a:r>
            <a:endParaRPr lang="en-US" sz="1400" b="1" dirty="0">
              <a:solidFill>
                <a:srgbClr val="FFFFFF"/>
              </a:solidFill>
            </a:endParaRPr>
          </a:p>
          <a:p>
            <a:pPr algn="ctr">
              <a:buClr>
                <a:srgbClr val="009DD9"/>
              </a:buClr>
            </a:pPr>
            <a:r>
              <a:rPr lang="en-US" sz="1400" dirty="0">
                <a:solidFill>
                  <a:schemeClr val="accent2"/>
                </a:solidFill>
              </a:rPr>
              <a:t> </a:t>
            </a:r>
            <a:r>
              <a:rPr lang="ru-RU" sz="1400" dirty="0" smtClean="0">
                <a:solidFill>
                  <a:schemeClr val="accent2"/>
                </a:solidFill>
              </a:rPr>
              <a:t>ЛА ГЭЛАКСИ</a:t>
            </a:r>
            <a:endParaRPr lang="en-US" sz="1400" dirty="0">
              <a:solidFill>
                <a:schemeClr val="accent2"/>
              </a:solidFill>
            </a:endParaRPr>
          </a:p>
        </p:txBody>
      </p:sp>
      <p:sp>
        <p:nvSpPr>
          <p:cNvPr id="35" name="TextBox 1"/>
          <p:cNvSpPr txBox="1"/>
          <p:nvPr/>
        </p:nvSpPr>
        <p:spPr>
          <a:xfrm>
            <a:off x="3272774" y="3921900"/>
            <a:ext cx="2518206" cy="646331"/>
          </a:xfrm>
          <a:prstGeom prst="rect">
            <a:avLst/>
          </a:prstGeom>
          <a:noFill/>
        </p:spPr>
        <p:txBody>
          <a:bodyPr wrap="square" lIns="108000" tIns="0" rIns="108000" bIns="0" rtlCol="0">
            <a:spAutoFit/>
          </a:bodyPr>
          <a:lstStyle/>
          <a:p>
            <a:pPr algn="ctr">
              <a:buClr>
                <a:srgbClr val="009DD9"/>
              </a:buClr>
            </a:pPr>
            <a:r>
              <a:rPr lang="ru-RU" sz="1400" dirty="0" smtClean="0">
                <a:solidFill>
                  <a:srgbClr val="5F5F5F"/>
                </a:solidFill>
              </a:rPr>
              <a:t>Многолетнее контент соглашение с </a:t>
            </a:r>
            <a:r>
              <a:rPr lang="en-US" sz="1400" dirty="0" smtClean="0">
                <a:solidFill>
                  <a:srgbClr val="5F5F5F"/>
                </a:solidFill>
              </a:rPr>
              <a:t>VR </a:t>
            </a:r>
            <a:r>
              <a:rPr lang="ru-RU" sz="1400" dirty="0" smtClean="0">
                <a:solidFill>
                  <a:srgbClr val="5F5F5F"/>
                </a:solidFill>
              </a:rPr>
              <a:t>специалистом </a:t>
            </a:r>
            <a:r>
              <a:rPr lang="en-US" sz="1400" dirty="0" err="1" smtClean="0">
                <a:solidFill>
                  <a:srgbClr val="5F5F5F"/>
                </a:solidFill>
              </a:rPr>
              <a:t>Laduma</a:t>
            </a:r>
            <a:r>
              <a:rPr lang="en-US" sz="1400" dirty="0">
                <a:solidFill>
                  <a:srgbClr val="5F5F5F"/>
                </a:solidFill>
              </a:rPr>
              <a:t>.</a:t>
            </a:r>
            <a:r>
              <a:rPr lang="ru-RU" sz="1400" dirty="0" smtClean="0">
                <a:solidFill>
                  <a:srgbClr val="5F5F5F"/>
                </a:solidFill>
              </a:rPr>
              <a:t> </a:t>
            </a:r>
            <a:endParaRPr lang="en-GB" sz="1400" dirty="0">
              <a:solidFill>
                <a:srgbClr val="5F5F5F"/>
              </a:solidFill>
            </a:endParaRPr>
          </a:p>
        </p:txBody>
      </p:sp>
      <p:sp>
        <p:nvSpPr>
          <p:cNvPr id="36" name="Rectangle 28"/>
          <p:cNvSpPr/>
          <p:nvPr/>
        </p:nvSpPr>
        <p:spPr>
          <a:xfrm>
            <a:off x="6100395" y="1372890"/>
            <a:ext cx="2522056" cy="509657"/>
          </a:xfrm>
          <a:prstGeom prst="rect">
            <a:avLst/>
          </a:prstGeom>
          <a:solidFill>
            <a:srgbClr val="000000"/>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buClr>
                <a:srgbClr val="009DD9"/>
              </a:buClr>
            </a:pPr>
            <a:r>
              <a:rPr lang="ru-RU" sz="1400" b="1" dirty="0" smtClean="0">
                <a:solidFill>
                  <a:srgbClr val="FFFFFF"/>
                </a:solidFill>
              </a:rPr>
              <a:t>ДОПОЛНЕННАЯ РЕАЛЬНОСТЬ</a:t>
            </a:r>
            <a:r>
              <a:rPr lang="en-US" sz="1400" b="1" dirty="0">
                <a:solidFill>
                  <a:srgbClr val="FFFFFF"/>
                </a:solidFill>
              </a:rPr>
              <a:t/>
            </a:r>
            <a:br>
              <a:rPr lang="en-US" sz="1400" b="1" dirty="0">
                <a:solidFill>
                  <a:srgbClr val="FFFFFF"/>
                </a:solidFill>
              </a:rPr>
            </a:br>
            <a:r>
              <a:rPr lang="ru-RU" sz="1400" dirty="0" smtClean="0">
                <a:solidFill>
                  <a:schemeClr val="accent2"/>
                </a:solidFill>
              </a:rPr>
              <a:t>САКРАМЕНТО КИНГС</a:t>
            </a:r>
            <a:endParaRPr lang="en-US" sz="1400" dirty="0">
              <a:solidFill>
                <a:schemeClr val="accent2"/>
              </a:solidFill>
            </a:endParaRPr>
          </a:p>
        </p:txBody>
      </p:sp>
      <p:sp>
        <p:nvSpPr>
          <p:cNvPr id="37" name="TextBox 1"/>
          <p:cNvSpPr txBox="1"/>
          <p:nvPr/>
        </p:nvSpPr>
        <p:spPr>
          <a:xfrm>
            <a:off x="6105606" y="3824393"/>
            <a:ext cx="2511633" cy="861774"/>
          </a:xfrm>
          <a:prstGeom prst="rect">
            <a:avLst/>
          </a:prstGeom>
          <a:noFill/>
        </p:spPr>
        <p:txBody>
          <a:bodyPr wrap="square" lIns="108000" tIns="0" rIns="108000" bIns="0" rtlCol="0">
            <a:spAutoFit/>
          </a:bodyPr>
          <a:lstStyle/>
          <a:p>
            <a:pPr algn="ctr">
              <a:buClr>
                <a:srgbClr val="009DD9"/>
              </a:buClr>
            </a:pPr>
            <a:r>
              <a:rPr lang="ru-RU" sz="1400" dirty="0" smtClean="0">
                <a:solidFill>
                  <a:srgbClr val="5F5F5F"/>
                </a:solidFill>
              </a:rPr>
              <a:t>Для демонстрации  новый формы на сезон 201</a:t>
            </a:r>
            <a:r>
              <a:rPr lang="en-US" sz="1400" dirty="0" smtClean="0">
                <a:solidFill>
                  <a:srgbClr val="5F5F5F"/>
                </a:solidFill>
              </a:rPr>
              <a:t>7</a:t>
            </a:r>
            <a:r>
              <a:rPr lang="ru-RU" sz="1400" dirty="0" smtClean="0">
                <a:solidFill>
                  <a:srgbClr val="5F5F5F"/>
                </a:solidFill>
              </a:rPr>
              <a:t>-1</a:t>
            </a:r>
            <a:r>
              <a:rPr lang="en-US" sz="1400" dirty="0" smtClean="0">
                <a:solidFill>
                  <a:srgbClr val="5F5F5F"/>
                </a:solidFill>
              </a:rPr>
              <a:t>8</a:t>
            </a:r>
            <a:r>
              <a:rPr lang="ru-RU" sz="1400" dirty="0" smtClean="0">
                <a:solidFill>
                  <a:srgbClr val="5F5F5F"/>
                </a:solidFill>
              </a:rPr>
              <a:t>  использованы технологии дополненной реальности.</a:t>
            </a:r>
            <a:endParaRPr lang="en-US" sz="1400" dirty="0">
              <a:solidFill>
                <a:srgbClr val="5F5F5F"/>
              </a:solidFill>
            </a:endParaRPr>
          </a:p>
        </p:txBody>
      </p:sp>
      <p:sp>
        <p:nvSpPr>
          <p:cNvPr id="38" name="Rechteck 1"/>
          <p:cNvSpPr/>
          <p:nvPr/>
        </p:nvSpPr>
        <p:spPr>
          <a:xfrm>
            <a:off x="3272773" y="1984854"/>
            <a:ext cx="2513389" cy="2747136"/>
          </a:xfrm>
          <a:prstGeom prst="rect">
            <a:avLst/>
          </a:prstGeom>
          <a:no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buClr>
                <a:srgbClr val="009DD9"/>
              </a:buClr>
            </a:pPr>
            <a:endParaRPr lang="de-DE" dirty="0" err="1">
              <a:solidFill>
                <a:srgbClr val="FFFFFF"/>
              </a:solidFill>
            </a:endParaRPr>
          </a:p>
        </p:txBody>
      </p:sp>
      <p:cxnSp>
        <p:nvCxnSpPr>
          <p:cNvPr id="39" name="Straight Connector 14"/>
          <p:cNvCxnSpPr/>
          <p:nvPr/>
        </p:nvCxnSpPr>
        <p:spPr>
          <a:xfrm flipV="1">
            <a:off x="3266855" y="1996675"/>
            <a:ext cx="2524125" cy="2380"/>
          </a:xfrm>
          <a:prstGeom prst="line">
            <a:avLst/>
          </a:prstGeom>
          <a:ln w="57150">
            <a:solidFill>
              <a:srgbClr val="000000"/>
            </a:solidFill>
            <a:prstDash val="solid"/>
          </a:ln>
        </p:spPr>
        <p:style>
          <a:lnRef idx="2">
            <a:schemeClr val="accent1"/>
          </a:lnRef>
          <a:fillRef idx="0">
            <a:schemeClr val="accent1"/>
          </a:fillRef>
          <a:effectRef idx="1">
            <a:schemeClr val="accent1"/>
          </a:effectRef>
          <a:fontRef idx="minor">
            <a:schemeClr val="tx1"/>
          </a:fontRef>
        </p:style>
      </p:cxnSp>
      <p:sp>
        <p:nvSpPr>
          <p:cNvPr id="40" name="Rechteck 1"/>
          <p:cNvSpPr/>
          <p:nvPr/>
        </p:nvSpPr>
        <p:spPr>
          <a:xfrm>
            <a:off x="527412" y="1984853"/>
            <a:ext cx="2513389" cy="2747137"/>
          </a:xfrm>
          <a:prstGeom prst="rect">
            <a:avLst/>
          </a:prstGeom>
          <a:no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buClr>
                <a:srgbClr val="009DD9"/>
              </a:buClr>
            </a:pPr>
            <a:endParaRPr lang="de-DE" dirty="0" err="1">
              <a:solidFill>
                <a:srgbClr val="FFFFFF"/>
              </a:solidFill>
            </a:endParaRPr>
          </a:p>
        </p:txBody>
      </p:sp>
      <p:cxnSp>
        <p:nvCxnSpPr>
          <p:cNvPr id="41" name="Straight Connector 14"/>
          <p:cNvCxnSpPr/>
          <p:nvPr/>
        </p:nvCxnSpPr>
        <p:spPr>
          <a:xfrm flipV="1">
            <a:off x="521494" y="1996675"/>
            <a:ext cx="2524125" cy="2380"/>
          </a:xfrm>
          <a:prstGeom prst="line">
            <a:avLst/>
          </a:prstGeom>
          <a:ln w="57150">
            <a:solidFill>
              <a:srgbClr val="000000"/>
            </a:solidFill>
            <a:prstDash val="solid"/>
          </a:ln>
        </p:spPr>
        <p:style>
          <a:lnRef idx="2">
            <a:schemeClr val="accent1"/>
          </a:lnRef>
          <a:fillRef idx="0">
            <a:schemeClr val="accent1"/>
          </a:fillRef>
          <a:effectRef idx="1">
            <a:schemeClr val="accent1"/>
          </a:effectRef>
          <a:fontRef idx="minor">
            <a:schemeClr val="tx1"/>
          </a:fontRef>
        </p:style>
      </p:cxnSp>
      <p:pic>
        <p:nvPicPr>
          <p:cNvPr id="42" name="Picture 3"/>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43457" y="2105915"/>
            <a:ext cx="1481298" cy="171533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3" name="Picture 6"/>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695282" y="2105915"/>
            <a:ext cx="1668370" cy="162399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4"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581724" y="2105915"/>
            <a:ext cx="1568064" cy="16024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39092742"/>
      </p:ext>
    </p:extLst>
  </p:cSld>
  <p:clrMapOvr>
    <a:masterClrMapping/>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itel 1"/>
          <p:cNvSpPr>
            <a:spLocks noGrp="1"/>
          </p:cNvSpPr>
          <p:nvPr>
            <p:ph type="title"/>
          </p:nvPr>
        </p:nvSpPr>
        <p:spPr>
          <a:xfrm>
            <a:off x="0" y="483069"/>
            <a:ext cx="9143999" cy="332399"/>
          </a:xfrm>
        </p:spPr>
        <p:txBody>
          <a:bodyPr/>
          <a:lstStyle/>
          <a:p>
            <a:pPr algn="ctr"/>
            <a:r>
              <a:rPr lang="ru-RU" dirty="0" smtClean="0">
                <a:solidFill>
                  <a:srgbClr val="FFFFFF"/>
                </a:solidFill>
              </a:rPr>
              <a:t>КАКИЕ </a:t>
            </a:r>
            <a:r>
              <a:rPr lang="ru-RU" b="1" dirty="0" err="1" smtClean="0">
                <a:solidFill>
                  <a:schemeClr val="accent2"/>
                </a:solidFill>
              </a:rPr>
              <a:t>перспективЫ</a:t>
            </a:r>
            <a:r>
              <a:rPr lang="en-US" b="1" dirty="0" smtClean="0">
                <a:solidFill>
                  <a:schemeClr val="accent2"/>
                </a:solidFill>
              </a:rPr>
              <a:t>?</a:t>
            </a:r>
            <a:endParaRPr lang="de-DE" b="1" dirty="0">
              <a:solidFill>
                <a:schemeClr val="accent2"/>
              </a:solidFill>
            </a:endParaRPr>
          </a:p>
        </p:txBody>
      </p:sp>
      <p:grpSp>
        <p:nvGrpSpPr>
          <p:cNvPr id="39" name="Gruppieren 38"/>
          <p:cNvGrpSpPr>
            <a:grpSpLocks noChangeAspect="1"/>
          </p:cNvGrpSpPr>
          <p:nvPr/>
        </p:nvGrpSpPr>
        <p:grpSpPr>
          <a:xfrm>
            <a:off x="539748" y="4876006"/>
            <a:ext cx="719884" cy="215444"/>
            <a:chOff x="539748" y="4876006"/>
            <a:chExt cx="719884" cy="215444"/>
          </a:xfrm>
        </p:grpSpPr>
        <p:sp>
          <p:nvSpPr>
            <p:cNvPr id="40" name="Textfeld 39"/>
            <p:cNvSpPr txBox="1"/>
            <p:nvPr userDrawn="1"/>
          </p:nvSpPr>
          <p:spPr>
            <a:xfrm>
              <a:off x="539750" y="4876006"/>
              <a:ext cx="719882" cy="215444"/>
            </a:xfrm>
            <a:prstGeom prst="rect">
              <a:avLst/>
            </a:prstGeom>
            <a:noFill/>
          </p:spPr>
          <p:txBody>
            <a:bodyPr wrap="square" rtlCol="0">
              <a:spAutoFit/>
            </a:bodyPr>
            <a:lstStyle/>
            <a:p>
              <a:pPr algn="ctr"/>
              <a:r>
                <a:rPr lang="ru-RU" sz="800" kern="1300" spc="80" dirty="0" smtClean="0"/>
                <a:t>ТРЕНД</a:t>
              </a:r>
              <a:r>
                <a:rPr lang="de-DE" sz="800" kern="1300" spc="80" baseline="0" dirty="0" smtClean="0"/>
                <a:t> </a:t>
              </a:r>
              <a:r>
                <a:rPr lang="de-DE" sz="800" b="1" kern="1300" spc="80" baseline="0" dirty="0" smtClean="0"/>
                <a:t>0</a:t>
              </a:r>
              <a:r>
                <a:rPr lang="ru-RU" sz="800" b="1" kern="1300" spc="80" baseline="0" dirty="0" smtClean="0"/>
                <a:t>3</a:t>
              </a:r>
              <a:endParaRPr lang="de-DE" sz="800" b="1" kern="1300" spc="80" baseline="0" dirty="0" smtClean="0"/>
            </a:p>
          </p:txBody>
        </p:sp>
        <p:sp>
          <p:nvSpPr>
            <p:cNvPr id="41" name="Gleichschenkliges Dreieck 40"/>
            <p:cNvSpPr/>
            <p:nvPr userDrawn="1"/>
          </p:nvSpPr>
          <p:spPr>
            <a:xfrm rot="16200000" flipH="1" flipV="1">
              <a:off x="534004" y="4938683"/>
              <a:ext cx="83300" cy="71811"/>
            </a:xfrm>
            <a:prstGeom prst="triangl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sp>
          <p:nvSpPr>
            <p:cNvPr id="42" name="Gleichschenkliges Dreieck 41"/>
            <p:cNvSpPr/>
            <p:nvPr userDrawn="1"/>
          </p:nvSpPr>
          <p:spPr>
            <a:xfrm rot="5400000" flipV="1">
              <a:off x="1182077" y="4938684"/>
              <a:ext cx="83300" cy="71811"/>
            </a:xfrm>
            <a:prstGeom prst="triangl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grpSp>
      <p:sp>
        <p:nvSpPr>
          <p:cNvPr id="43" name="Rechteck 42"/>
          <p:cNvSpPr/>
          <p:nvPr/>
        </p:nvSpPr>
        <p:spPr>
          <a:xfrm>
            <a:off x="3532595" y="1626646"/>
            <a:ext cx="2258325" cy="2765190"/>
          </a:xfrm>
          <a:prstGeom prst="rect">
            <a:avLst/>
          </a:prstGeom>
          <a:solidFill>
            <a:srgbClr val="000000"/>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sp>
        <p:nvSpPr>
          <p:cNvPr id="44" name="Textfeld 43"/>
          <p:cNvSpPr txBox="1"/>
          <p:nvPr/>
        </p:nvSpPr>
        <p:spPr>
          <a:xfrm>
            <a:off x="2771800" y="1537439"/>
            <a:ext cx="4590510" cy="646331"/>
          </a:xfrm>
          <a:prstGeom prst="rect">
            <a:avLst/>
          </a:prstGeom>
          <a:noFill/>
        </p:spPr>
        <p:txBody>
          <a:bodyPr wrap="square" rtlCol="0">
            <a:spAutoFit/>
          </a:bodyPr>
          <a:lstStyle/>
          <a:p>
            <a:r>
              <a:rPr lang="ru-RU" dirty="0" smtClean="0">
                <a:solidFill>
                  <a:srgbClr val="FFFFFF"/>
                </a:solidFill>
              </a:rPr>
              <a:t>Мир смартфонов с огромными потенциалом для монетизации</a:t>
            </a:r>
            <a:endParaRPr lang="de-DE" dirty="0" err="1">
              <a:solidFill>
                <a:srgbClr val="FFFFFF"/>
              </a:solidFill>
            </a:endParaRPr>
          </a:p>
        </p:txBody>
      </p:sp>
      <p:sp>
        <p:nvSpPr>
          <p:cNvPr id="45" name="Textfeld 44"/>
          <p:cNvSpPr txBox="1"/>
          <p:nvPr/>
        </p:nvSpPr>
        <p:spPr>
          <a:xfrm>
            <a:off x="2771799" y="3860634"/>
            <a:ext cx="5040561" cy="646331"/>
          </a:xfrm>
          <a:prstGeom prst="rect">
            <a:avLst/>
          </a:prstGeom>
          <a:noFill/>
        </p:spPr>
        <p:txBody>
          <a:bodyPr wrap="square" rtlCol="0">
            <a:spAutoFit/>
          </a:bodyPr>
          <a:lstStyle/>
          <a:p>
            <a:pPr marL="0" lvl="1">
              <a:spcBef>
                <a:spcPts val="1800"/>
              </a:spcBef>
              <a:buClr>
                <a:srgbClr val="009DD9"/>
              </a:buClr>
            </a:pPr>
            <a:r>
              <a:rPr lang="ru-RU" dirty="0" smtClean="0">
                <a:solidFill>
                  <a:srgbClr val="FFFFFF"/>
                </a:solidFill>
              </a:rPr>
              <a:t>Индустрии потребуется единый стандарт измерения и интерпретации данных</a:t>
            </a:r>
            <a:endParaRPr lang="en-US" dirty="0">
              <a:solidFill>
                <a:srgbClr val="FFFFFF"/>
              </a:solidFill>
            </a:endParaRPr>
          </a:p>
        </p:txBody>
      </p:sp>
      <p:sp>
        <p:nvSpPr>
          <p:cNvPr id="46" name="Rechteck 45"/>
          <p:cNvSpPr/>
          <p:nvPr/>
        </p:nvSpPr>
        <p:spPr>
          <a:xfrm>
            <a:off x="4210464" y="1549647"/>
            <a:ext cx="2258325" cy="276519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sp>
        <p:nvSpPr>
          <p:cNvPr id="47" name="Textfeld 46"/>
          <p:cNvSpPr txBox="1"/>
          <p:nvPr/>
        </p:nvSpPr>
        <p:spPr>
          <a:xfrm>
            <a:off x="2771800" y="2690504"/>
            <a:ext cx="4905545" cy="923330"/>
          </a:xfrm>
          <a:prstGeom prst="rect">
            <a:avLst/>
          </a:prstGeom>
          <a:noFill/>
        </p:spPr>
        <p:txBody>
          <a:bodyPr wrap="square" rtlCol="0">
            <a:spAutoFit/>
          </a:bodyPr>
          <a:lstStyle/>
          <a:p>
            <a:r>
              <a:rPr lang="ru-RU" dirty="0" smtClean="0">
                <a:solidFill>
                  <a:srgbClr val="FFFFFF"/>
                </a:solidFill>
              </a:rPr>
              <a:t>Правообладатели продолжат испытывать современные технологии и платформы для привлечения новой аудитории</a:t>
            </a:r>
            <a:endParaRPr lang="de-DE" dirty="0" err="1">
              <a:solidFill>
                <a:srgbClr val="FFFFFF"/>
              </a:solidFill>
            </a:endParaRPr>
          </a:p>
        </p:txBody>
      </p:sp>
      <p:grpSp>
        <p:nvGrpSpPr>
          <p:cNvPr id="48" name="Gruppieren 47"/>
          <p:cNvGrpSpPr/>
          <p:nvPr/>
        </p:nvGrpSpPr>
        <p:grpSpPr>
          <a:xfrm rot="16200000">
            <a:off x="1955651" y="1640436"/>
            <a:ext cx="456109" cy="456109"/>
            <a:chOff x="1357632" y="1654339"/>
            <a:chExt cx="579118" cy="579118"/>
          </a:xfrm>
        </p:grpSpPr>
        <p:sp>
          <p:nvSpPr>
            <p:cNvPr id="49" name="Ellipse 48"/>
            <p:cNvSpPr/>
            <p:nvPr/>
          </p:nvSpPr>
          <p:spPr>
            <a:xfrm>
              <a:off x="1357632" y="1654339"/>
              <a:ext cx="579118" cy="579118"/>
            </a:xfrm>
            <a:prstGeom prst="ellipse">
              <a:avLst/>
            </a:prstGeom>
            <a:solidFill>
              <a:srgbClr val="FF8300"/>
            </a:solidFill>
            <a:ln w="28575">
              <a:solidFill>
                <a:srgbClr val="FFFFFF"/>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sp>
          <p:nvSpPr>
            <p:cNvPr id="50" name="Gleichschenkliges Dreieck 49"/>
            <p:cNvSpPr/>
            <p:nvPr/>
          </p:nvSpPr>
          <p:spPr>
            <a:xfrm flipV="1">
              <a:off x="1507419" y="1869460"/>
              <a:ext cx="279546" cy="240988"/>
            </a:xfrm>
            <a:prstGeom prst="triangle">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grpSp>
      <p:cxnSp>
        <p:nvCxnSpPr>
          <p:cNvPr id="51" name="Gerade Verbindung 50"/>
          <p:cNvCxnSpPr/>
          <p:nvPr/>
        </p:nvCxnSpPr>
        <p:spPr>
          <a:xfrm flipV="1">
            <a:off x="2873048" y="1446625"/>
            <a:ext cx="818166" cy="1"/>
          </a:xfrm>
          <a:prstGeom prst="line">
            <a:avLst/>
          </a:prstGeom>
          <a:ln w="57150">
            <a:solidFill>
              <a:schemeClr val="accent2"/>
            </a:solidFill>
          </a:ln>
        </p:spPr>
        <p:style>
          <a:lnRef idx="2">
            <a:schemeClr val="accent1"/>
          </a:lnRef>
          <a:fillRef idx="0">
            <a:schemeClr val="accent1"/>
          </a:fillRef>
          <a:effectRef idx="1">
            <a:schemeClr val="accent1"/>
          </a:effectRef>
          <a:fontRef idx="minor">
            <a:schemeClr val="tx1"/>
          </a:fontRef>
        </p:style>
      </p:cxnSp>
      <p:cxnSp>
        <p:nvCxnSpPr>
          <p:cNvPr id="52" name="Gerade Verbindung 51"/>
          <p:cNvCxnSpPr/>
          <p:nvPr/>
        </p:nvCxnSpPr>
        <p:spPr>
          <a:xfrm flipV="1">
            <a:off x="2873048" y="2614056"/>
            <a:ext cx="818166" cy="1"/>
          </a:xfrm>
          <a:prstGeom prst="line">
            <a:avLst/>
          </a:prstGeom>
          <a:ln w="57150">
            <a:solidFill>
              <a:schemeClr val="accent2"/>
            </a:solidFill>
          </a:ln>
        </p:spPr>
        <p:style>
          <a:lnRef idx="2">
            <a:schemeClr val="accent1"/>
          </a:lnRef>
          <a:fillRef idx="0">
            <a:schemeClr val="accent1"/>
          </a:fillRef>
          <a:effectRef idx="1">
            <a:schemeClr val="accent1"/>
          </a:effectRef>
          <a:fontRef idx="minor">
            <a:schemeClr val="tx1"/>
          </a:fontRef>
        </p:style>
      </p:cxnSp>
      <p:cxnSp>
        <p:nvCxnSpPr>
          <p:cNvPr id="53" name="Gerade Verbindung 52"/>
          <p:cNvCxnSpPr/>
          <p:nvPr/>
        </p:nvCxnSpPr>
        <p:spPr>
          <a:xfrm flipV="1">
            <a:off x="2873048" y="3744997"/>
            <a:ext cx="818166" cy="1"/>
          </a:xfrm>
          <a:prstGeom prst="line">
            <a:avLst/>
          </a:prstGeom>
          <a:ln w="57150">
            <a:solidFill>
              <a:schemeClr val="accent2"/>
            </a:solidFill>
          </a:ln>
        </p:spPr>
        <p:style>
          <a:lnRef idx="2">
            <a:schemeClr val="accent1"/>
          </a:lnRef>
          <a:fillRef idx="0">
            <a:schemeClr val="accent1"/>
          </a:fillRef>
          <a:effectRef idx="1">
            <a:schemeClr val="accent1"/>
          </a:effectRef>
          <a:fontRef idx="minor">
            <a:schemeClr val="tx1"/>
          </a:fontRef>
        </p:style>
      </p:cxnSp>
      <p:grpSp>
        <p:nvGrpSpPr>
          <p:cNvPr id="60" name="Gruppieren 59"/>
          <p:cNvGrpSpPr/>
          <p:nvPr/>
        </p:nvGrpSpPr>
        <p:grpSpPr>
          <a:xfrm rot="16200000">
            <a:off x="1955651" y="2774455"/>
            <a:ext cx="456109" cy="456109"/>
            <a:chOff x="1357632" y="1654339"/>
            <a:chExt cx="579118" cy="579118"/>
          </a:xfrm>
        </p:grpSpPr>
        <p:sp>
          <p:nvSpPr>
            <p:cNvPr id="61" name="Ellipse 60"/>
            <p:cNvSpPr/>
            <p:nvPr/>
          </p:nvSpPr>
          <p:spPr>
            <a:xfrm>
              <a:off x="1357632" y="1654339"/>
              <a:ext cx="579118" cy="579118"/>
            </a:xfrm>
            <a:prstGeom prst="ellipse">
              <a:avLst/>
            </a:prstGeom>
            <a:solidFill>
              <a:srgbClr val="FF8300"/>
            </a:solidFill>
            <a:ln w="28575">
              <a:solidFill>
                <a:srgbClr val="FFFFFF"/>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sp>
          <p:nvSpPr>
            <p:cNvPr id="62" name="Gleichschenkliges Dreieck 61"/>
            <p:cNvSpPr/>
            <p:nvPr/>
          </p:nvSpPr>
          <p:spPr>
            <a:xfrm flipV="1">
              <a:off x="1507419" y="1869460"/>
              <a:ext cx="279546" cy="240988"/>
            </a:xfrm>
            <a:prstGeom prst="triangle">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grpSp>
      <p:grpSp>
        <p:nvGrpSpPr>
          <p:cNvPr id="63" name="Gruppieren 62"/>
          <p:cNvGrpSpPr/>
          <p:nvPr/>
        </p:nvGrpSpPr>
        <p:grpSpPr>
          <a:xfrm rot="16200000">
            <a:off x="1955651" y="3955744"/>
            <a:ext cx="456109" cy="456109"/>
            <a:chOff x="1357632" y="1654339"/>
            <a:chExt cx="579118" cy="579118"/>
          </a:xfrm>
        </p:grpSpPr>
        <p:sp>
          <p:nvSpPr>
            <p:cNvPr id="64" name="Ellipse 63"/>
            <p:cNvSpPr/>
            <p:nvPr/>
          </p:nvSpPr>
          <p:spPr>
            <a:xfrm>
              <a:off x="1357632" y="1654339"/>
              <a:ext cx="579118" cy="579118"/>
            </a:xfrm>
            <a:prstGeom prst="ellipse">
              <a:avLst/>
            </a:prstGeom>
            <a:solidFill>
              <a:srgbClr val="FF8300"/>
            </a:solidFill>
            <a:ln w="28575">
              <a:solidFill>
                <a:srgbClr val="FFFFFF"/>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sp>
          <p:nvSpPr>
            <p:cNvPr id="65" name="Gleichschenkliges Dreieck 64"/>
            <p:cNvSpPr/>
            <p:nvPr/>
          </p:nvSpPr>
          <p:spPr>
            <a:xfrm flipV="1">
              <a:off x="1507419" y="1869460"/>
              <a:ext cx="279546" cy="240988"/>
            </a:xfrm>
            <a:prstGeom prst="triangle">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grpSp>
    </p:spTree>
    <p:extLst>
      <p:ext uri="{BB962C8B-B14F-4D97-AF65-F5344CB8AC3E}">
        <p14:creationId xmlns:p14="http://schemas.microsoft.com/office/powerpoint/2010/main" val="1047718074"/>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feld 5"/>
          <p:cNvSpPr txBox="1"/>
          <p:nvPr/>
        </p:nvSpPr>
        <p:spPr>
          <a:xfrm>
            <a:off x="2117454" y="1005572"/>
            <a:ext cx="2481383" cy="2862322"/>
          </a:xfrm>
          <a:prstGeom prst="rect">
            <a:avLst/>
          </a:prstGeom>
          <a:noFill/>
        </p:spPr>
        <p:txBody>
          <a:bodyPr wrap="square" rtlCol="0">
            <a:spAutoFit/>
          </a:bodyPr>
          <a:lstStyle/>
          <a:p>
            <a:r>
              <a:rPr lang="de-DE" sz="18000" dirty="0" smtClean="0"/>
              <a:t>1</a:t>
            </a:r>
          </a:p>
        </p:txBody>
      </p:sp>
      <p:sp>
        <p:nvSpPr>
          <p:cNvPr id="7" name="Rechteck 6"/>
          <p:cNvSpPr/>
          <p:nvPr/>
        </p:nvSpPr>
        <p:spPr>
          <a:xfrm>
            <a:off x="3775973" y="1995686"/>
            <a:ext cx="2821252" cy="449487"/>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sp>
        <p:nvSpPr>
          <p:cNvPr id="12" name="Rechteck 11"/>
          <p:cNvSpPr/>
          <p:nvPr/>
        </p:nvSpPr>
        <p:spPr>
          <a:xfrm>
            <a:off x="3775972" y="2509744"/>
            <a:ext cx="3271303" cy="449487"/>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sp>
        <p:nvSpPr>
          <p:cNvPr id="13" name="Rechteck 12"/>
          <p:cNvSpPr/>
          <p:nvPr/>
        </p:nvSpPr>
        <p:spPr>
          <a:xfrm>
            <a:off x="3775973" y="3016820"/>
            <a:ext cx="2911262" cy="449487"/>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cxnSp>
        <p:nvCxnSpPr>
          <p:cNvPr id="15" name="Gerade Verbindung 14"/>
          <p:cNvCxnSpPr/>
          <p:nvPr/>
        </p:nvCxnSpPr>
        <p:spPr>
          <a:xfrm>
            <a:off x="2227293" y="1509628"/>
            <a:ext cx="1152128" cy="0"/>
          </a:xfrm>
          <a:prstGeom prst="line">
            <a:avLst/>
          </a:prstGeom>
          <a:ln w="57150">
            <a:solidFill>
              <a:schemeClr val="accent2"/>
            </a:solidFill>
          </a:ln>
        </p:spPr>
        <p:style>
          <a:lnRef idx="2">
            <a:schemeClr val="accent1"/>
          </a:lnRef>
          <a:fillRef idx="0">
            <a:schemeClr val="accent1"/>
          </a:fillRef>
          <a:effectRef idx="1">
            <a:schemeClr val="accent1"/>
          </a:effectRef>
          <a:fontRef idx="minor">
            <a:schemeClr val="tx1"/>
          </a:fontRef>
        </p:style>
      </p:cxnSp>
      <p:cxnSp>
        <p:nvCxnSpPr>
          <p:cNvPr id="11" name="Gerade Verbindung 10"/>
          <p:cNvCxnSpPr/>
          <p:nvPr/>
        </p:nvCxnSpPr>
        <p:spPr>
          <a:xfrm>
            <a:off x="2227293" y="3435846"/>
            <a:ext cx="1152128" cy="0"/>
          </a:xfrm>
          <a:prstGeom prst="line">
            <a:avLst/>
          </a:prstGeom>
          <a:ln w="57150">
            <a:solidFill>
              <a:schemeClr val="accent2"/>
            </a:solidFill>
          </a:ln>
        </p:spPr>
        <p:style>
          <a:lnRef idx="2">
            <a:schemeClr val="accent1"/>
          </a:lnRef>
          <a:fillRef idx="0">
            <a:schemeClr val="accent1"/>
          </a:fillRef>
          <a:effectRef idx="1">
            <a:schemeClr val="accent1"/>
          </a:effectRef>
          <a:fontRef idx="minor">
            <a:schemeClr val="tx1"/>
          </a:fontRef>
        </p:style>
      </p:cxnSp>
      <p:sp>
        <p:nvSpPr>
          <p:cNvPr id="2" name="Rechteck 1"/>
          <p:cNvSpPr/>
          <p:nvPr/>
        </p:nvSpPr>
        <p:spPr>
          <a:xfrm>
            <a:off x="8622450" y="4641980"/>
            <a:ext cx="450050" cy="50152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sp>
        <p:nvSpPr>
          <p:cNvPr id="5" name="Rechteck 4"/>
          <p:cNvSpPr/>
          <p:nvPr/>
        </p:nvSpPr>
        <p:spPr>
          <a:xfrm>
            <a:off x="3759417" y="1882091"/>
            <a:ext cx="4502993" cy="1631216"/>
          </a:xfrm>
          <a:prstGeom prst="rect">
            <a:avLst/>
          </a:prstGeom>
        </p:spPr>
        <p:txBody>
          <a:bodyPr wrap="square">
            <a:spAutoFit/>
          </a:bodyPr>
          <a:lstStyle/>
          <a:p>
            <a:pPr>
              <a:lnSpc>
                <a:spcPts val="4000"/>
              </a:lnSpc>
              <a:buClr>
                <a:srgbClr val="7DBA00"/>
              </a:buClr>
            </a:pPr>
            <a:r>
              <a:rPr lang="ru-RU" sz="2400" dirty="0" smtClean="0"/>
              <a:t>ПОЯВЛЕНИЕ</a:t>
            </a:r>
            <a:r>
              <a:rPr lang="ru-RU" sz="2400" dirty="0"/>
              <a:t> </a:t>
            </a:r>
            <a:r>
              <a:rPr lang="ru-RU" sz="2400" dirty="0" smtClean="0"/>
              <a:t>НОВЫХ СПОРТИВНЫХ РЫНКОВ</a:t>
            </a:r>
            <a:r>
              <a:rPr lang="en-US" sz="2400" dirty="0" smtClean="0"/>
              <a:t>, </a:t>
            </a:r>
            <a:br>
              <a:rPr lang="en-US" sz="2400" dirty="0" smtClean="0"/>
            </a:br>
            <a:r>
              <a:rPr lang="ru-RU" sz="2400" dirty="0" smtClean="0"/>
              <a:t>ВО ГЛАВЕ </a:t>
            </a:r>
            <a:r>
              <a:rPr lang="ru-RU" sz="2400" dirty="0"/>
              <a:t>С</a:t>
            </a:r>
            <a:r>
              <a:rPr lang="ru-RU" sz="2400" dirty="0" smtClean="0"/>
              <a:t> КИТАЕМ</a:t>
            </a:r>
            <a:endParaRPr lang="en-US" sz="2400" dirty="0"/>
          </a:p>
        </p:txBody>
      </p:sp>
    </p:spTree>
    <p:extLst>
      <p:ext uri="{BB962C8B-B14F-4D97-AF65-F5344CB8AC3E}">
        <p14:creationId xmlns:p14="http://schemas.microsoft.com/office/powerpoint/2010/main" val="218154188"/>
      </p:ext>
    </p:extLst>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hteck 7"/>
          <p:cNvSpPr/>
          <p:nvPr/>
        </p:nvSpPr>
        <p:spPr>
          <a:xfrm>
            <a:off x="3775973" y="1995686"/>
            <a:ext cx="4396428" cy="449487"/>
          </a:xfrm>
          <a:prstGeom prst="rect">
            <a:avLst/>
          </a:prstGeom>
          <a:solidFill>
            <a:srgbClr val="8DC63F"/>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sp>
        <p:nvSpPr>
          <p:cNvPr id="9" name="Rechteck 8"/>
          <p:cNvSpPr/>
          <p:nvPr/>
        </p:nvSpPr>
        <p:spPr>
          <a:xfrm>
            <a:off x="3775974" y="2509744"/>
            <a:ext cx="2956266" cy="449487"/>
          </a:xfrm>
          <a:prstGeom prst="rect">
            <a:avLst/>
          </a:prstGeom>
          <a:solidFill>
            <a:srgbClr val="8DC63F"/>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sp>
        <p:nvSpPr>
          <p:cNvPr id="10" name="Rechteck 9"/>
          <p:cNvSpPr/>
          <p:nvPr/>
        </p:nvSpPr>
        <p:spPr>
          <a:xfrm>
            <a:off x="3775970" y="3016820"/>
            <a:ext cx="2776249" cy="449487"/>
          </a:xfrm>
          <a:prstGeom prst="rect">
            <a:avLst/>
          </a:prstGeom>
          <a:solidFill>
            <a:srgbClr val="8DC63F"/>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cxnSp>
        <p:nvCxnSpPr>
          <p:cNvPr id="12" name="Gerade Verbindung 11"/>
          <p:cNvCxnSpPr/>
          <p:nvPr/>
        </p:nvCxnSpPr>
        <p:spPr>
          <a:xfrm>
            <a:off x="2227293" y="1509628"/>
            <a:ext cx="1152128" cy="0"/>
          </a:xfrm>
          <a:prstGeom prst="line">
            <a:avLst/>
          </a:prstGeom>
          <a:ln w="57150">
            <a:solidFill>
              <a:srgbClr val="8DC63F"/>
            </a:solidFill>
          </a:ln>
        </p:spPr>
        <p:style>
          <a:lnRef idx="2">
            <a:schemeClr val="accent1"/>
          </a:lnRef>
          <a:fillRef idx="0">
            <a:schemeClr val="accent1"/>
          </a:fillRef>
          <a:effectRef idx="1">
            <a:schemeClr val="accent1"/>
          </a:effectRef>
          <a:fontRef idx="minor">
            <a:schemeClr val="tx1"/>
          </a:fontRef>
        </p:style>
      </p:cxnSp>
      <p:cxnSp>
        <p:nvCxnSpPr>
          <p:cNvPr id="13" name="Gerade Verbindung 12"/>
          <p:cNvCxnSpPr/>
          <p:nvPr/>
        </p:nvCxnSpPr>
        <p:spPr>
          <a:xfrm>
            <a:off x="2227293" y="3435846"/>
            <a:ext cx="1152128" cy="0"/>
          </a:xfrm>
          <a:prstGeom prst="line">
            <a:avLst/>
          </a:prstGeom>
          <a:ln w="57150">
            <a:solidFill>
              <a:srgbClr val="8DC63F"/>
            </a:solidFill>
          </a:ln>
        </p:spPr>
        <p:style>
          <a:lnRef idx="2">
            <a:schemeClr val="accent1"/>
          </a:lnRef>
          <a:fillRef idx="0">
            <a:schemeClr val="accent1"/>
          </a:fillRef>
          <a:effectRef idx="1">
            <a:schemeClr val="accent1"/>
          </a:effectRef>
          <a:fontRef idx="minor">
            <a:schemeClr val="tx1"/>
          </a:fontRef>
        </p:style>
      </p:cxnSp>
      <p:sp>
        <p:nvSpPr>
          <p:cNvPr id="14" name="Textfeld 13"/>
          <p:cNvSpPr txBox="1"/>
          <p:nvPr/>
        </p:nvSpPr>
        <p:spPr>
          <a:xfrm>
            <a:off x="2138729" y="1005572"/>
            <a:ext cx="2481383" cy="2862322"/>
          </a:xfrm>
          <a:prstGeom prst="rect">
            <a:avLst/>
          </a:prstGeom>
          <a:noFill/>
        </p:spPr>
        <p:txBody>
          <a:bodyPr wrap="square" rtlCol="0">
            <a:spAutoFit/>
          </a:bodyPr>
          <a:lstStyle/>
          <a:p>
            <a:r>
              <a:rPr lang="de-DE" sz="18000" dirty="0" smtClean="0"/>
              <a:t>4</a:t>
            </a:r>
          </a:p>
        </p:txBody>
      </p:sp>
      <p:sp>
        <p:nvSpPr>
          <p:cNvPr id="11" name="Rechteck 10"/>
          <p:cNvSpPr/>
          <p:nvPr/>
        </p:nvSpPr>
        <p:spPr>
          <a:xfrm>
            <a:off x="3759416" y="1882091"/>
            <a:ext cx="5088059" cy="1631216"/>
          </a:xfrm>
          <a:prstGeom prst="rect">
            <a:avLst/>
          </a:prstGeom>
        </p:spPr>
        <p:txBody>
          <a:bodyPr wrap="square">
            <a:spAutoFit/>
          </a:bodyPr>
          <a:lstStyle/>
          <a:p>
            <a:pPr>
              <a:lnSpc>
                <a:spcPts val="4000"/>
              </a:lnSpc>
              <a:buClr>
                <a:srgbClr val="7DBA00"/>
              </a:buClr>
            </a:pPr>
            <a:r>
              <a:rPr lang="ru-RU" sz="2400" dirty="0" smtClean="0">
                <a:solidFill>
                  <a:srgbClr val="FFFFFF"/>
                </a:solidFill>
              </a:rPr>
              <a:t>ИНВЕСТИЦИИ В ДАННЫЕ И </a:t>
            </a:r>
            <a:r>
              <a:rPr lang="en-US" sz="2400" dirty="0" smtClean="0">
                <a:solidFill>
                  <a:srgbClr val="FFFFFF"/>
                </a:solidFill>
              </a:rPr>
              <a:t>CRM </a:t>
            </a:r>
            <a:endParaRPr lang="ru-RU" sz="2400" dirty="0" smtClean="0">
              <a:solidFill>
                <a:srgbClr val="FFFFFF"/>
              </a:solidFill>
            </a:endParaRPr>
          </a:p>
          <a:p>
            <a:pPr>
              <a:lnSpc>
                <a:spcPts val="4000"/>
              </a:lnSpc>
              <a:buClr>
                <a:srgbClr val="7DBA00"/>
              </a:buClr>
            </a:pPr>
            <a:r>
              <a:rPr lang="ru-RU" sz="2400" dirty="0">
                <a:solidFill>
                  <a:srgbClr val="FFFFFF"/>
                </a:solidFill>
              </a:rPr>
              <a:t>Д</a:t>
            </a:r>
            <a:r>
              <a:rPr lang="ru-RU" sz="2400" dirty="0" smtClean="0">
                <a:solidFill>
                  <a:srgbClr val="FFFFFF"/>
                </a:solidFill>
              </a:rPr>
              <a:t>ЛЯ ОПТИМИЗАЦИИ ВЗАИМОДЕЙСТВИЯ</a:t>
            </a:r>
            <a:endParaRPr lang="en-US" sz="2400" dirty="0"/>
          </a:p>
        </p:txBody>
      </p:sp>
    </p:spTree>
    <p:extLst>
      <p:ext uri="{BB962C8B-B14F-4D97-AF65-F5344CB8AC3E}">
        <p14:creationId xmlns:p14="http://schemas.microsoft.com/office/powerpoint/2010/main" val="1385179245"/>
      </p:ext>
    </p:extLst>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uppieren 4"/>
          <p:cNvGrpSpPr>
            <a:grpSpLocks noChangeAspect="1"/>
          </p:cNvGrpSpPr>
          <p:nvPr/>
        </p:nvGrpSpPr>
        <p:grpSpPr>
          <a:xfrm>
            <a:off x="539748" y="4876006"/>
            <a:ext cx="719884" cy="215444"/>
            <a:chOff x="539748" y="4876006"/>
            <a:chExt cx="719884" cy="215444"/>
          </a:xfrm>
        </p:grpSpPr>
        <p:sp>
          <p:nvSpPr>
            <p:cNvPr id="6" name="Textfeld 5"/>
            <p:cNvSpPr txBox="1"/>
            <p:nvPr userDrawn="1"/>
          </p:nvSpPr>
          <p:spPr>
            <a:xfrm>
              <a:off x="539750" y="4876006"/>
              <a:ext cx="719882" cy="215444"/>
            </a:xfrm>
            <a:prstGeom prst="rect">
              <a:avLst/>
            </a:prstGeom>
            <a:noFill/>
          </p:spPr>
          <p:txBody>
            <a:bodyPr wrap="square" rtlCol="0">
              <a:spAutoFit/>
            </a:bodyPr>
            <a:lstStyle/>
            <a:p>
              <a:pPr algn="ctr"/>
              <a:r>
                <a:rPr lang="ru-RU" sz="800" kern="1300" spc="80" dirty="0" smtClean="0"/>
                <a:t>ТРЕНД</a:t>
              </a:r>
              <a:r>
                <a:rPr lang="de-DE" sz="800" kern="1300" spc="80" baseline="0" dirty="0" smtClean="0"/>
                <a:t> </a:t>
              </a:r>
              <a:r>
                <a:rPr lang="de-DE" sz="800" b="1" kern="1300" spc="80" baseline="0" dirty="0" smtClean="0"/>
                <a:t>0</a:t>
              </a:r>
              <a:r>
                <a:rPr lang="ru-RU" sz="800" b="1" kern="1300" spc="80" baseline="0" dirty="0" smtClean="0"/>
                <a:t>4</a:t>
              </a:r>
              <a:endParaRPr lang="de-DE" sz="800" b="1" kern="1300" spc="80" baseline="0" dirty="0" smtClean="0"/>
            </a:p>
          </p:txBody>
        </p:sp>
        <p:sp>
          <p:nvSpPr>
            <p:cNvPr id="7" name="Gleichschenkliges Dreieck 6"/>
            <p:cNvSpPr/>
            <p:nvPr userDrawn="1"/>
          </p:nvSpPr>
          <p:spPr>
            <a:xfrm rot="16200000" flipH="1" flipV="1">
              <a:off x="534004" y="4938683"/>
              <a:ext cx="83300" cy="71811"/>
            </a:xfrm>
            <a:prstGeom prst="triangl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sp>
          <p:nvSpPr>
            <p:cNvPr id="8" name="Gleichschenkliges Dreieck 7"/>
            <p:cNvSpPr/>
            <p:nvPr userDrawn="1"/>
          </p:nvSpPr>
          <p:spPr>
            <a:xfrm rot="5400000" flipV="1">
              <a:off x="1182077" y="4938684"/>
              <a:ext cx="83300" cy="71811"/>
            </a:xfrm>
            <a:prstGeom prst="triangl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grpSp>
      <p:sp>
        <p:nvSpPr>
          <p:cNvPr id="368" name="Title 2"/>
          <p:cNvSpPr>
            <a:spLocks noGrp="1"/>
          </p:cNvSpPr>
          <p:nvPr>
            <p:ph type="title"/>
          </p:nvPr>
        </p:nvSpPr>
        <p:spPr>
          <a:xfrm>
            <a:off x="522287" y="483069"/>
            <a:ext cx="8278269" cy="332399"/>
          </a:xfrm>
        </p:spPr>
        <p:txBody>
          <a:bodyPr/>
          <a:lstStyle/>
          <a:p>
            <a:r>
              <a:rPr lang="ru-RU" dirty="0" smtClean="0"/>
              <a:t>Данные – это ничто без</a:t>
            </a:r>
            <a:r>
              <a:rPr lang="ru-RU" b="1" dirty="0" smtClean="0"/>
              <a:t> правильной организации</a:t>
            </a:r>
            <a:endParaRPr lang="en-US" b="1" dirty="0"/>
          </a:p>
        </p:txBody>
      </p:sp>
      <p:grpSp>
        <p:nvGrpSpPr>
          <p:cNvPr id="3" name="Gruppieren 2"/>
          <p:cNvGrpSpPr/>
          <p:nvPr/>
        </p:nvGrpSpPr>
        <p:grpSpPr>
          <a:xfrm>
            <a:off x="1059174" y="1135215"/>
            <a:ext cx="7036201" cy="3742969"/>
            <a:chOff x="959160" y="992629"/>
            <a:chExt cx="7036201" cy="3742969"/>
          </a:xfrm>
        </p:grpSpPr>
        <p:cxnSp>
          <p:nvCxnSpPr>
            <p:cNvPr id="193" name="Straight Connector 346"/>
            <p:cNvCxnSpPr/>
            <p:nvPr/>
          </p:nvCxnSpPr>
          <p:spPr>
            <a:xfrm flipH="1" flipV="1">
              <a:off x="6705143" y="1267822"/>
              <a:ext cx="117107" cy="372053"/>
            </a:xfrm>
            <a:prstGeom prst="line">
              <a:avLst/>
            </a:prstGeom>
            <a:ln w="12700">
              <a:solidFill>
                <a:schemeClr val="tx1"/>
              </a:solidFill>
              <a:prstDash val="sysDash"/>
            </a:ln>
          </p:spPr>
          <p:style>
            <a:lnRef idx="2">
              <a:schemeClr val="accent1"/>
            </a:lnRef>
            <a:fillRef idx="0">
              <a:schemeClr val="accent1"/>
            </a:fillRef>
            <a:effectRef idx="1">
              <a:schemeClr val="accent1"/>
            </a:effectRef>
            <a:fontRef idx="minor">
              <a:schemeClr val="tx1"/>
            </a:fontRef>
          </p:style>
        </p:cxnSp>
        <p:cxnSp>
          <p:nvCxnSpPr>
            <p:cNvPr id="216" name="Straight Connector 294"/>
            <p:cNvCxnSpPr>
              <a:stCxn id="272" idx="11"/>
              <a:endCxn id="297" idx="27"/>
            </p:cNvCxnSpPr>
            <p:nvPr/>
          </p:nvCxnSpPr>
          <p:spPr>
            <a:xfrm>
              <a:off x="3601669" y="3726053"/>
              <a:ext cx="1253842" cy="286946"/>
            </a:xfrm>
            <a:prstGeom prst="line">
              <a:avLst/>
            </a:prstGeom>
            <a:ln w="12700">
              <a:solidFill>
                <a:schemeClr val="tx1"/>
              </a:solidFill>
              <a:prstDash val="sysDash"/>
            </a:ln>
          </p:spPr>
          <p:style>
            <a:lnRef idx="2">
              <a:schemeClr val="accent1"/>
            </a:lnRef>
            <a:fillRef idx="0">
              <a:schemeClr val="accent1"/>
            </a:fillRef>
            <a:effectRef idx="1">
              <a:schemeClr val="accent1"/>
            </a:effectRef>
            <a:fontRef idx="minor">
              <a:schemeClr val="tx1"/>
            </a:fontRef>
          </p:style>
        </p:cxnSp>
        <p:cxnSp>
          <p:nvCxnSpPr>
            <p:cNvPr id="217" name="Straight Connector 359"/>
            <p:cNvCxnSpPr/>
            <p:nvPr/>
          </p:nvCxnSpPr>
          <p:spPr>
            <a:xfrm flipH="1" flipV="1">
              <a:off x="7247234" y="1871801"/>
              <a:ext cx="503392" cy="187932"/>
            </a:xfrm>
            <a:prstGeom prst="line">
              <a:avLst/>
            </a:prstGeom>
            <a:ln w="12700">
              <a:solidFill>
                <a:schemeClr val="tx1"/>
              </a:solidFill>
              <a:prstDash val="sysDash"/>
            </a:ln>
          </p:spPr>
          <p:style>
            <a:lnRef idx="2">
              <a:schemeClr val="accent1"/>
            </a:lnRef>
            <a:fillRef idx="0">
              <a:schemeClr val="accent1"/>
            </a:fillRef>
            <a:effectRef idx="1">
              <a:schemeClr val="accent1"/>
            </a:effectRef>
            <a:fontRef idx="minor">
              <a:schemeClr val="tx1"/>
            </a:fontRef>
          </p:style>
        </p:cxnSp>
        <p:cxnSp>
          <p:nvCxnSpPr>
            <p:cNvPr id="218" name="Straight Connector 346"/>
            <p:cNvCxnSpPr>
              <a:stCxn id="251" idx="35"/>
              <a:endCxn id="237" idx="10"/>
            </p:cNvCxnSpPr>
            <p:nvPr/>
          </p:nvCxnSpPr>
          <p:spPr>
            <a:xfrm flipH="1" flipV="1">
              <a:off x="5688254" y="1181990"/>
              <a:ext cx="875367" cy="101085"/>
            </a:xfrm>
            <a:prstGeom prst="line">
              <a:avLst/>
            </a:prstGeom>
            <a:ln w="12700">
              <a:solidFill>
                <a:schemeClr val="tx1"/>
              </a:solidFill>
              <a:prstDash val="sysDash"/>
            </a:ln>
          </p:spPr>
          <p:style>
            <a:lnRef idx="2">
              <a:schemeClr val="accent1"/>
            </a:lnRef>
            <a:fillRef idx="0">
              <a:schemeClr val="accent1"/>
            </a:fillRef>
            <a:effectRef idx="1">
              <a:schemeClr val="accent1"/>
            </a:effectRef>
            <a:fontRef idx="minor">
              <a:schemeClr val="tx1"/>
            </a:fontRef>
          </p:style>
        </p:cxnSp>
        <p:cxnSp>
          <p:nvCxnSpPr>
            <p:cNvPr id="219" name="Straight Connector 326"/>
            <p:cNvCxnSpPr>
              <a:stCxn id="317" idx="28"/>
              <a:endCxn id="273" idx="52"/>
            </p:cNvCxnSpPr>
            <p:nvPr/>
          </p:nvCxnSpPr>
          <p:spPr>
            <a:xfrm flipH="1">
              <a:off x="3480030" y="4258915"/>
              <a:ext cx="951050" cy="182668"/>
            </a:xfrm>
            <a:prstGeom prst="line">
              <a:avLst/>
            </a:prstGeom>
            <a:ln w="12700">
              <a:solidFill>
                <a:schemeClr val="tx1"/>
              </a:solidFill>
              <a:prstDash val="sysDash"/>
            </a:ln>
          </p:spPr>
          <p:style>
            <a:lnRef idx="2">
              <a:schemeClr val="accent1"/>
            </a:lnRef>
            <a:fillRef idx="0">
              <a:schemeClr val="accent1"/>
            </a:fillRef>
            <a:effectRef idx="1">
              <a:schemeClr val="accent1"/>
            </a:effectRef>
            <a:fontRef idx="minor">
              <a:schemeClr val="tx1"/>
            </a:fontRef>
          </p:style>
        </p:cxnSp>
        <p:cxnSp>
          <p:nvCxnSpPr>
            <p:cNvPr id="220" name="Straight Connector 336"/>
            <p:cNvCxnSpPr>
              <a:stCxn id="169" idx="0"/>
              <a:endCxn id="287" idx="31"/>
            </p:cNvCxnSpPr>
            <p:nvPr/>
          </p:nvCxnSpPr>
          <p:spPr>
            <a:xfrm flipV="1">
              <a:off x="2661900" y="3268028"/>
              <a:ext cx="220601" cy="446397"/>
            </a:xfrm>
            <a:prstGeom prst="line">
              <a:avLst/>
            </a:prstGeom>
            <a:ln w="12700">
              <a:solidFill>
                <a:schemeClr val="tx1"/>
              </a:solidFill>
              <a:prstDash val="sysDash"/>
            </a:ln>
          </p:spPr>
          <p:style>
            <a:lnRef idx="2">
              <a:schemeClr val="accent1"/>
            </a:lnRef>
            <a:fillRef idx="0">
              <a:schemeClr val="accent1"/>
            </a:fillRef>
            <a:effectRef idx="1">
              <a:schemeClr val="accent1"/>
            </a:effectRef>
            <a:fontRef idx="minor">
              <a:schemeClr val="tx1"/>
            </a:fontRef>
          </p:style>
        </p:cxnSp>
        <p:cxnSp>
          <p:nvCxnSpPr>
            <p:cNvPr id="221" name="Straight Connector 334"/>
            <p:cNvCxnSpPr>
              <a:stCxn id="169" idx="1"/>
              <a:endCxn id="250" idx="52"/>
            </p:cNvCxnSpPr>
            <p:nvPr/>
          </p:nvCxnSpPr>
          <p:spPr>
            <a:xfrm flipH="1" flipV="1">
              <a:off x="1919595" y="3413913"/>
              <a:ext cx="486182" cy="406601"/>
            </a:xfrm>
            <a:prstGeom prst="line">
              <a:avLst/>
            </a:prstGeom>
            <a:ln w="12700">
              <a:solidFill>
                <a:schemeClr val="tx1"/>
              </a:solidFill>
              <a:prstDash val="sysDash"/>
            </a:ln>
          </p:spPr>
          <p:style>
            <a:lnRef idx="2">
              <a:schemeClr val="accent1"/>
            </a:lnRef>
            <a:fillRef idx="0">
              <a:schemeClr val="accent1"/>
            </a:fillRef>
            <a:effectRef idx="1">
              <a:schemeClr val="accent1"/>
            </a:effectRef>
            <a:fontRef idx="minor">
              <a:schemeClr val="tx1"/>
            </a:fontRef>
          </p:style>
        </p:cxnSp>
        <p:cxnSp>
          <p:nvCxnSpPr>
            <p:cNvPr id="222" name="Straight Connector 309"/>
            <p:cNvCxnSpPr/>
            <p:nvPr/>
          </p:nvCxnSpPr>
          <p:spPr>
            <a:xfrm flipH="1" flipV="1">
              <a:off x="6904623" y="1949765"/>
              <a:ext cx="333420" cy="1220031"/>
            </a:xfrm>
            <a:prstGeom prst="line">
              <a:avLst/>
            </a:prstGeom>
            <a:ln w="12700">
              <a:solidFill>
                <a:schemeClr val="tx1"/>
              </a:solidFill>
              <a:prstDash val="sysDash"/>
            </a:ln>
          </p:spPr>
          <p:style>
            <a:lnRef idx="2">
              <a:schemeClr val="accent1"/>
            </a:lnRef>
            <a:fillRef idx="0">
              <a:schemeClr val="accent1"/>
            </a:fillRef>
            <a:effectRef idx="1">
              <a:schemeClr val="accent1"/>
            </a:effectRef>
            <a:fontRef idx="minor">
              <a:schemeClr val="tx1"/>
            </a:fontRef>
          </p:style>
        </p:cxnSp>
        <p:cxnSp>
          <p:nvCxnSpPr>
            <p:cNvPr id="223" name="Straight Connector 312"/>
            <p:cNvCxnSpPr>
              <a:stCxn id="229" idx="3"/>
            </p:cNvCxnSpPr>
            <p:nvPr/>
          </p:nvCxnSpPr>
          <p:spPr>
            <a:xfrm flipV="1">
              <a:off x="7302428" y="2825290"/>
              <a:ext cx="280136" cy="426052"/>
            </a:xfrm>
            <a:prstGeom prst="line">
              <a:avLst/>
            </a:prstGeom>
            <a:ln w="12700">
              <a:solidFill>
                <a:schemeClr val="tx1"/>
              </a:solidFill>
              <a:prstDash val="sysDash"/>
            </a:ln>
          </p:spPr>
          <p:style>
            <a:lnRef idx="2">
              <a:schemeClr val="accent1"/>
            </a:lnRef>
            <a:fillRef idx="0">
              <a:schemeClr val="accent1"/>
            </a:fillRef>
            <a:effectRef idx="1">
              <a:schemeClr val="accent1"/>
            </a:effectRef>
            <a:fontRef idx="minor">
              <a:schemeClr val="tx1"/>
            </a:fontRef>
          </p:style>
        </p:cxnSp>
        <p:cxnSp>
          <p:nvCxnSpPr>
            <p:cNvPr id="224" name="Straight Connector 305"/>
            <p:cNvCxnSpPr>
              <a:endCxn id="252" idx="28"/>
            </p:cNvCxnSpPr>
            <p:nvPr/>
          </p:nvCxnSpPr>
          <p:spPr>
            <a:xfrm flipH="1" flipV="1">
              <a:off x="6082762" y="2687971"/>
              <a:ext cx="69307" cy="1417544"/>
            </a:xfrm>
            <a:prstGeom prst="line">
              <a:avLst/>
            </a:prstGeom>
            <a:ln w="12700">
              <a:solidFill>
                <a:schemeClr val="tx1"/>
              </a:solidFill>
              <a:prstDash val="sysDash"/>
            </a:ln>
          </p:spPr>
          <p:style>
            <a:lnRef idx="2">
              <a:schemeClr val="accent1"/>
            </a:lnRef>
            <a:fillRef idx="0">
              <a:schemeClr val="accent1"/>
            </a:fillRef>
            <a:effectRef idx="1">
              <a:schemeClr val="accent1"/>
            </a:effectRef>
            <a:fontRef idx="minor">
              <a:schemeClr val="tx1"/>
            </a:fontRef>
          </p:style>
        </p:cxnSp>
        <p:cxnSp>
          <p:nvCxnSpPr>
            <p:cNvPr id="225" name="Straight Connector 296"/>
            <p:cNvCxnSpPr>
              <a:stCxn id="272" idx="22"/>
              <a:endCxn id="169" idx="6"/>
            </p:cNvCxnSpPr>
            <p:nvPr/>
          </p:nvCxnSpPr>
          <p:spPr>
            <a:xfrm flipH="1">
              <a:off x="3024111" y="3728628"/>
              <a:ext cx="220229" cy="348009"/>
            </a:xfrm>
            <a:prstGeom prst="line">
              <a:avLst/>
            </a:prstGeom>
            <a:ln w="12700">
              <a:solidFill>
                <a:schemeClr val="tx1"/>
              </a:solidFill>
              <a:prstDash val="sysDash"/>
            </a:ln>
          </p:spPr>
          <p:style>
            <a:lnRef idx="2">
              <a:schemeClr val="accent1"/>
            </a:lnRef>
            <a:fillRef idx="0">
              <a:schemeClr val="accent1"/>
            </a:fillRef>
            <a:effectRef idx="1">
              <a:schemeClr val="accent1"/>
            </a:effectRef>
            <a:fontRef idx="minor">
              <a:schemeClr val="tx1"/>
            </a:fontRef>
          </p:style>
        </p:cxnSp>
        <p:grpSp>
          <p:nvGrpSpPr>
            <p:cNvPr id="226" name="Gruppieren 225"/>
            <p:cNvGrpSpPr>
              <a:grpSpLocks noChangeAspect="1"/>
            </p:cNvGrpSpPr>
            <p:nvPr/>
          </p:nvGrpSpPr>
          <p:grpSpPr>
            <a:xfrm>
              <a:off x="7002575" y="3173467"/>
              <a:ext cx="399623" cy="492868"/>
              <a:chOff x="9493250" y="2008188"/>
              <a:chExt cx="714375" cy="881062"/>
            </a:xfrm>
            <a:solidFill>
              <a:srgbClr val="8DC63F"/>
            </a:solidFill>
          </p:grpSpPr>
          <p:sp>
            <p:nvSpPr>
              <p:cNvPr id="227" name="Freeform 5"/>
              <p:cNvSpPr>
                <a:spLocks/>
              </p:cNvSpPr>
              <p:nvPr/>
            </p:nvSpPr>
            <p:spPr bwMode="auto">
              <a:xfrm>
                <a:off x="9615488" y="2657475"/>
                <a:ext cx="273050" cy="231775"/>
              </a:xfrm>
              <a:custGeom>
                <a:avLst/>
                <a:gdLst>
                  <a:gd name="T0" fmla="*/ 7 w 29"/>
                  <a:gd name="T1" fmla="*/ 0 h 25"/>
                  <a:gd name="T2" fmla="*/ 0 w 29"/>
                  <a:gd name="T3" fmla="*/ 22 h 25"/>
                  <a:gd name="T4" fmla="*/ 3 w 29"/>
                  <a:gd name="T5" fmla="*/ 25 h 25"/>
                  <a:gd name="T6" fmla="*/ 26 w 29"/>
                  <a:gd name="T7" fmla="*/ 25 h 25"/>
                  <a:gd name="T8" fmla="*/ 29 w 29"/>
                  <a:gd name="T9" fmla="*/ 22 h 25"/>
                  <a:gd name="T10" fmla="*/ 24 w 29"/>
                  <a:gd name="T11" fmla="*/ 6 h 25"/>
                  <a:gd name="T12" fmla="*/ 9 w 29"/>
                  <a:gd name="T13" fmla="*/ 2 h 25"/>
                  <a:gd name="T14" fmla="*/ 7 w 29"/>
                  <a:gd name="T15" fmla="*/ 0 h 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 h="25">
                    <a:moveTo>
                      <a:pt x="7" y="0"/>
                    </a:moveTo>
                    <a:cubicBezTo>
                      <a:pt x="0" y="22"/>
                      <a:pt x="0" y="22"/>
                      <a:pt x="0" y="22"/>
                    </a:cubicBezTo>
                    <a:cubicBezTo>
                      <a:pt x="0" y="24"/>
                      <a:pt x="2" y="25"/>
                      <a:pt x="3" y="25"/>
                    </a:cubicBezTo>
                    <a:cubicBezTo>
                      <a:pt x="26" y="25"/>
                      <a:pt x="26" y="25"/>
                      <a:pt x="26" y="25"/>
                    </a:cubicBezTo>
                    <a:cubicBezTo>
                      <a:pt x="28" y="25"/>
                      <a:pt x="29" y="24"/>
                      <a:pt x="29" y="22"/>
                    </a:cubicBezTo>
                    <a:cubicBezTo>
                      <a:pt x="24" y="6"/>
                      <a:pt x="24" y="6"/>
                      <a:pt x="24" y="6"/>
                    </a:cubicBezTo>
                    <a:cubicBezTo>
                      <a:pt x="19" y="6"/>
                      <a:pt x="14" y="4"/>
                      <a:pt x="9" y="2"/>
                    </a:cubicBezTo>
                    <a:cubicBezTo>
                      <a:pt x="9" y="1"/>
                      <a:pt x="8" y="1"/>
                      <a:pt x="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28" name="Freeform 6"/>
              <p:cNvSpPr>
                <a:spLocks/>
              </p:cNvSpPr>
              <p:nvPr/>
            </p:nvSpPr>
            <p:spPr bwMode="auto">
              <a:xfrm>
                <a:off x="9493250" y="2212975"/>
                <a:ext cx="685800" cy="500062"/>
              </a:xfrm>
              <a:custGeom>
                <a:avLst/>
                <a:gdLst>
                  <a:gd name="T0" fmla="*/ 72 w 73"/>
                  <a:gd name="T1" fmla="*/ 38 h 54"/>
                  <a:gd name="T2" fmla="*/ 72 w 73"/>
                  <a:gd name="T3" fmla="*/ 37 h 54"/>
                  <a:gd name="T4" fmla="*/ 41 w 73"/>
                  <a:gd name="T5" fmla="*/ 20 h 54"/>
                  <a:gd name="T6" fmla="*/ 42 w 73"/>
                  <a:gd name="T7" fmla="*/ 17 h 54"/>
                  <a:gd name="T8" fmla="*/ 46 w 73"/>
                  <a:gd name="T9" fmla="*/ 15 h 54"/>
                  <a:gd name="T10" fmla="*/ 45 w 73"/>
                  <a:gd name="T11" fmla="*/ 10 h 54"/>
                  <a:gd name="T12" fmla="*/ 39 w 73"/>
                  <a:gd name="T13" fmla="*/ 11 h 54"/>
                  <a:gd name="T14" fmla="*/ 39 w 73"/>
                  <a:gd name="T15" fmla="*/ 16 h 54"/>
                  <a:gd name="T16" fmla="*/ 38 w 73"/>
                  <a:gd name="T17" fmla="*/ 18 h 54"/>
                  <a:gd name="T18" fmla="*/ 8 w 73"/>
                  <a:gd name="T19" fmla="*/ 1 h 54"/>
                  <a:gd name="T20" fmla="*/ 4 w 73"/>
                  <a:gd name="T21" fmla="*/ 2 h 54"/>
                  <a:gd name="T22" fmla="*/ 3 w 73"/>
                  <a:gd name="T23" fmla="*/ 4 h 54"/>
                  <a:gd name="T24" fmla="*/ 21 w 73"/>
                  <a:gd name="T25" fmla="*/ 46 h 54"/>
                  <a:gd name="T26" fmla="*/ 24 w 73"/>
                  <a:gd name="T27" fmla="*/ 47 h 54"/>
                  <a:gd name="T28" fmla="*/ 38 w 73"/>
                  <a:gd name="T29" fmla="*/ 52 h 54"/>
                  <a:gd name="T30" fmla="*/ 71 w 73"/>
                  <a:gd name="T31" fmla="*/ 42 h 54"/>
                  <a:gd name="T32" fmla="*/ 72 w 73"/>
                  <a:gd name="T33" fmla="*/ 41 h 54"/>
                  <a:gd name="T34" fmla="*/ 72 w 73"/>
                  <a:gd name="T35" fmla="*/ 3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54">
                    <a:moveTo>
                      <a:pt x="72" y="38"/>
                    </a:moveTo>
                    <a:cubicBezTo>
                      <a:pt x="72" y="37"/>
                      <a:pt x="72" y="37"/>
                      <a:pt x="72" y="37"/>
                    </a:cubicBezTo>
                    <a:cubicBezTo>
                      <a:pt x="41" y="20"/>
                      <a:pt x="41" y="20"/>
                      <a:pt x="41" y="20"/>
                    </a:cubicBezTo>
                    <a:cubicBezTo>
                      <a:pt x="42" y="17"/>
                      <a:pt x="42" y="17"/>
                      <a:pt x="42" y="17"/>
                    </a:cubicBezTo>
                    <a:cubicBezTo>
                      <a:pt x="44" y="18"/>
                      <a:pt x="45" y="17"/>
                      <a:pt x="46" y="15"/>
                    </a:cubicBezTo>
                    <a:cubicBezTo>
                      <a:pt x="47" y="13"/>
                      <a:pt x="47" y="11"/>
                      <a:pt x="45" y="10"/>
                    </a:cubicBezTo>
                    <a:cubicBezTo>
                      <a:pt x="43" y="9"/>
                      <a:pt x="40" y="9"/>
                      <a:pt x="39" y="11"/>
                    </a:cubicBezTo>
                    <a:cubicBezTo>
                      <a:pt x="38" y="13"/>
                      <a:pt x="38" y="14"/>
                      <a:pt x="39" y="16"/>
                    </a:cubicBezTo>
                    <a:cubicBezTo>
                      <a:pt x="38" y="18"/>
                      <a:pt x="38" y="18"/>
                      <a:pt x="38" y="18"/>
                    </a:cubicBezTo>
                    <a:cubicBezTo>
                      <a:pt x="8" y="1"/>
                      <a:pt x="8" y="1"/>
                      <a:pt x="8" y="1"/>
                    </a:cubicBezTo>
                    <a:cubicBezTo>
                      <a:pt x="6" y="0"/>
                      <a:pt x="4" y="1"/>
                      <a:pt x="4" y="2"/>
                    </a:cubicBezTo>
                    <a:cubicBezTo>
                      <a:pt x="3" y="3"/>
                      <a:pt x="3" y="3"/>
                      <a:pt x="3" y="4"/>
                    </a:cubicBezTo>
                    <a:cubicBezTo>
                      <a:pt x="0" y="20"/>
                      <a:pt x="7" y="36"/>
                      <a:pt x="21" y="46"/>
                    </a:cubicBezTo>
                    <a:cubicBezTo>
                      <a:pt x="22" y="46"/>
                      <a:pt x="23" y="47"/>
                      <a:pt x="24" y="47"/>
                    </a:cubicBezTo>
                    <a:cubicBezTo>
                      <a:pt x="28" y="50"/>
                      <a:pt x="33" y="51"/>
                      <a:pt x="38" y="52"/>
                    </a:cubicBezTo>
                    <a:cubicBezTo>
                      <a:pt x="50" y="54"/>
                      <a:pt x="62" y="50"/>
                      <a:pt x="71" y="42"/>
                    </a:cubicBezTo>
                    <a:cubicBezTo>
                      <a:pt x="72" y="42"/>
                      <a:pt x="72" y="42"/>
                      <a:pt x="72" y="41"/>
                    </a:cubicBezTo>
                    <a:cubicBezTo>
                      <a:pt x="73" y="40"/>
                      <a:pt x="73" y="39"/>
                      <a:pt x="72" y="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29" name="Freeform 7"/>
              <p:cNvSpPr>
                <a:spLocks/>
              </p:cNvSpPr>
              <p:nvPr/>
            </p:nvSpPr>
            <p:spPr bwMode="auto">
              <a:xfrm>
                <a:off x="9775825" y="2008188"/>
                <a:ext cx="431800" cy="361950"/>
              </a:xfrm>
              <a:custGeom>
                <a:avLst/>
                <a:gdLst>
                  <a:gd name="T0" fmla="*/ 43 w 46"/>
                  <a:gd name="T1" fmla="*/ 39 h 39"/>
                  <a:gd name="T2" fmla="*/ 43 w 46"/>
                  <a:gd name="T3" fmla="*/ 39 h 39"/>
                  <a:gd name="T4" fmla="*/ 39 w 46"/>
                  <a:gd name="T5" fmla="*/ 36 h 39"/>
                  <a:gd name="T6" fmla="*/ 27 w 46"/>
                  <a:gd name="T7" fmla="*/ 15 h 39"/>
                  <a:gd name="T8" fmla="*/ 5 w 46"/>
                  <a:gd name="T9" fmla="*/ 9 h 39"/>
                  <a:gd name="T10" fmla="*/ 1 w 46"/>
                  <a:gd name="T11" fmla="*/ 6 h 39"/>
                  <a:gd name="T12" fmla="*/ 3 w 46"/>
                  <a:gd name="T13" fmla="*/ 2 h 39"/>
                  <a:gd name="T14" fmla="*/ 31 w 46"/>
                  <a:gd name="T15" fmla="*/ 9 h 39"/>
                  <a:gd name="T16" fmla="*/ 46 w 46"/>
                  <a:gd name="T17" fmla="*/ 36 h 39"/>
                  <a:gd name="T18" fmla="*/ 43 w 46"/>
                  <a:gd name="T19"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6" h="39">
                    <a:moveTo>
                      <a:pt x="43" y="39"/>
                    </a:moveTo>
                    <a:cubicBezTo>
                      <a:pt x="43" y="39"/>
                      <a:pt x="43" y="39"/>
                      <a:pt x="43" y="39"/>
                    </a:cubicBezTo>
                    <a:cubicBezTo>
                      <a:pt x="41" y="39"/>
                      <a:pt x="39" y="38"/>
                      <a:pt x="39" y="36"/>
                    </a:cubicBezTo>
                    <a:cubicBezTo>
                      <a:pt x="39" y="36"/>
                      <a:pt x="38" y="23"/>
                      <a:pt x="27" y="15"/>
                    </a:cubicBezTo>
                    <a:cubicBezTo>
                      <a:pt x="16" y="7"/>
                      <a:pt x="5" y="9"/>
                      <a:pt x="5" y="9"/>
                    </a:cubicBezTo>
                    <a:cubicBezTo>
                      <a:pt x="3" y="10"/>
                      <a:pt x="1" y="8"/>
                      <a:pt x="1" y="6"/>
                    </a:cubicBezTo>
                    <a:cubicBezTo>
                      <a:pt x="0" y="5"/>
                      <a:pt x="1" y="3"/>
                      <a:pt x="3" y="2"/>
                    </a:cubicBezTo>
                    <a:cubicBezTo>
                      <a:pt x="4" y="2"/>
                      <a:pt x="18" y="0"/>
                      <a:pt x="31" y="9"/>
                    </a:cubicBezTo>
                    <a:cubicBezTo>
                      <a:pt x="45" y="19"/>
                      <a:pt x="46" y="35"/>
                      <a:pt x="46" y="36"/>
                    </a:cubicBezTo>
                    <a:cubicBezTo>
                      <a:pt x="46" y="37"/>
                      <a:pt x="45" y="39"/>
                      <a:pt x="43" y="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30" name="Freeform 8"/>
              <p:cNvSpPr>
                <a:spLocks/>
              </p:cNvSpPr>
              <p:nvPr/>
            </p:nvSpPr>
            <p:spPr bwMode="auto">
              <a:xfrm>
                <a:off x="9794875" y="2157413"/>
                <a:ext cx="271463" cy="241300"/>
              </a:xfrm>
              <a:custGeom>
                <a:avLst/>
                <a:gdLst>
                  <a:gd name="T0" fmla="*/ 20 w 29"/>
                  <a:gd name="T1" fmla="*/ 6 h 26"/>
                  <a:gd name="T2" fmla="*/ 3 w 29"/>
                  <a:gd name="T3" fmla="*/ 2 h 26"/>
                  <a:gd name="T4" fmla="*/ 1 w 29"/>
                  <a:gd name="T5" fmla="*/ 6 h 26"/>
                  <a:gd name="T6" fmla="*/ 5 w 29"/>
                  <a:gd name="T7" fmla="*/ 9 h 26"/>
                  <a:gd name="T8" fmla="*/ 16 w 29"/>
                  <a:gd name="T9" fmla="*/ 11 h 26"/>
                  <a:gd name="T10" fmla="*/ 22 w 29"/>
                  <a:gd name="T11" fmla="*/ 22 h 26"/>
                  <a:gd name="T12" fmla="*/ 22 w 29"/>
                  <a:gd name="T13" fmla="*/ 22 h 26"/>
                  <a:gd name="T14" fmla="*/ 26 w 29"/>
                  <a:gd name="T15" fmla="*/ 25 h 26"/>
                  <a:gd name="T16" fmla="*/ 29 w 29"/>
                  <a:gd name="T17" fmla="*/ 22 h 26"/>
                  <a:gd name="T18" fmla="*/ 20 w 29"/>
                  <a:gd name="T19" fmla="*/ 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26">
                    <a:moveTo>
                      <a:pt x="20" y="6"/>
                    </a:moveTo>
                    <a:cubicBezTo>
                      <a:pt x="12" y="0"/>
                      <a:pt x="4" y="2"/>
                      <a:pt x="3" y="2"/>
                    </a:cubicBezTo>
                    <a:cubicBezTo>
                      <a:pt x="1" y="2"/>
                      <a:pt x="0" y="4"/>
                      <a:pt x="1" y="6"/>
                    </a:cubicBezTo>
                    <a:cubicBezTo>
                      <a:pt x="1" y="8"/>
                      <a:pt x="3" y="9"/>
                      <a:pt x="5" y="9"/>
                    </a:cubicBezTo>
                    <a:cubicBezTo>
                      <a:pt x="5" y="9"/>
                      <a:pt x="10" y="8"/>
                      <a:pt x="16" y="11"/>
                    </a:cubicBezTo>
                    <a:cubicBezTo>
                      <a:pt x="21" y="15"/>
                      <a:pt x="22" y="22"/>
                      <a:pt x="22" y="22"/>
                    </a:cubicBezTo>
                    <a:cubicBezTo>
                      <a:pt x="22" y="22"/>
                      <a:pt x="22" y="22"/>
                      <a:pt x="22" y="22"/>
                    </a:cubicBezTo>
                    <a:cubicBezTo>
                      <a:pt x="22" y="22"/>
                      <a:pt x="22" y="26"/>
                      <a:pt x="26" y="25"/>
                    </a:cubicBezTo>
                    <a:cubicBezTo>
                      <a:pt x="29" y="25"/>
                      <a:pt x="29" y="22"/>
                      <a:pt x="29" y="22"/>
                    </a:cubicBezTo>
                    <a:cubicBezTo>
                      <a:pt x="29" y="21"/>
                      <a:pt x="28" y="12"/>
                      <a:pt x="2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sp>
          <p:nvSpPr>
            <p:cNvPr id="237" name="Freeform 58"/>
            <p:cNvSpPr>
              <a:spLocks noEditPoints="1"/>
            </p:cNvSpPr>
            <p:nvPr/>
          </p:nvSpPr>
          <p:spPr bwMode="auto">
            <a:xfrm>
              <a:off x="5427591" y="1137199"/>
              <a:ext cx="260663" cy="608214"/>
            </a:xfrm>
            <a:custGeom>
              <a:avLst/>
              <a:gdLst>
                <a:gd name="T0" fmla="*/ 42 w 219"/>
                <a:gd name="T1" fmla="*/ 330 h 516"/>
                <a:gd name="T2" fmla="*/ 36 w 219"/>
                <a:gd name="T3" fmla="*/ 387 h 516"/>
                <a:gd name="T4" fmla="*/ 177 w 219"/>
                <a:gd name="T5" fmla="*/ 393 h 516"/>
                <a:gd name="T6" fmla="*/ 183 w 219"/>
                <a:gd name="T7" fmla="*/ 336 h 516"/>
                <a:gd name="T8" fmla="*/ 110 w 219"/>
                <a:gd name="T9" fmla="*/ 384 h 516"/>
                <a:gd name="T10" fmla="*/ 110 w 219"/>
                <a:gd name="T11" fmla="*/ 343 h 516"/>
                <a:gd name="T12" fmla="*/ 110 w 219"/>
                <a:gd name="T13" fmla="*/ 384 h 516"/>
                <a:gd name="T14" fmla="*/ 39 w 219"/>
                <a:gd name="T15" fmla="*/ 0 h 516"/>
                <a:gd name="T16" fmla="*/ 0 w 219"/>
                <a:gd name="T17" fmla="*/ 477 h 516"/>
                <a:gd name="T18" fmla="*/ 180 w 219"/>
                <a:gd name="T19" fmla="*/ 516 h 516"/>
                <a:gd name="T20" fmla="*/ 219 w 219"/>
                <a:gd name="T21" fmla="*/ 38 h 516"/>
                <a:gd name="T22" fmla="*/ 46 w 219"/>
                <a:gd name="T23" fmla="*/ 28 h 516"/>
                <a:gd name="T24" fmla="*/ 194 w 219"/>
                <a:gd name="T25" fmla="*/ 49 h 516"/>
                <a:gd name="T26" fmla="*/ 46 w 219"/>
                <a:gd name="T27" fmla="*/ 70 h 516"/>
                <a:gd name="T28" fmla="*/ 46 w 219"/>
                <a:gd name="T29" fmla="*/ 28 h 516"/>
                <a:gd name="T30" fmla="*/ 173 w 219"/>
                <a:gd name="T31" fmla="*/ 84 h 516"/>
                <a:gd name="T32" fmla="*/ 173 w 219"/>
                <a:gd name="T33" fmla="*/ 126 h 516"/>
                <a:gd name="T34" fmla="*/ 25 w 219"/>
                <a:gd name="T35" fmla="*/ 105 h 516"/>
                <a:gd name="T36" fmla="*/ 46 w 219"/>
                <a:gd name="T37" fmla="*/ 141 h 516"/>
                <a:gd name="T38" fmla="*/ 194 w 219"/>
                <a:gd name="T39" fmla="*/ 162 h 516"/>
                <a:gd name="T40" fmla="*/ 46 w 219"/>
                <a:gd name="T41" fmla="*/ 182 h 516"/>
                <a:gd name="T42" fmla="*/ 46 w 219"/>
                <a:gd name="T43" fmla="*/ 141 h 516"/>
                <a:gd name="T44" fmla="*/ 173 w 219"/>
                <a:gd name="T45" fmla="*/ 197 h 516"/>
                <a:gd name="T46" fmla="*/ 173 w 219"/>
                <a:gd name="T47" fmla="*/ 239 h 516"/>
                <a:gd name="T48" fmla="*/ 25 w 219"/>
                <a:gd name="T49" fmla="*/ 218 h 516"/>
                <a:gd name="T50" fmla="*/ 46 w 219"/>
                <a:gd name="T51" fmla="*/ 253 h 516"/>
                <a:gd name="T52" fmla="*/ 194 w 219"/>
                <a:gd name="T53" fmla="*/ 274 h 516"/>
                <a:gd name="T54" fmla="*/ 46 w 219"/>
                <a:gd name="T55" fmla="*/ 295 h 516"/>
                <a:gd name="T56" fmla="*/ 46 w 219"/>
                <a:gd name="T57" fmla="*/ 253 h 516"/>
                <a:gd name="T58" fmla="*/ 46 w 219"/>
                <a:gd name="T59" fmla="*/ 494 h 516"/>
                <a:gd name="T60" fmla="*/ 38 w 219"/>
                <a:gd name="T61" fmla="*/ 426 h 516"/>
                <a:gd name="T62" fmla="*/ 55 w 219"/>
                <a:gd name="T63" fmla="*/ 426 h 516"/>
                <a:gd name="T64" fmla="*/ 80 w 219"/>
                <a:gd name="T65" fmla="*/ 486 h 516"/>
                <a:gd name="T66" fmla="*/ 64 w 219"/>
                <a:gd name="T67" fmla="*/ 486 h 516"/>
                <a:gd name="T68" fmla="*/ 72 w 219"/>
                <a:gd name="T69" fmla="*/ 418 h 516"/>
                <a:gd name="T70" fmla="*/ 80 w 219"/>
                <a:gd name="T71" fmla="*/ 486 h 516"/>
                <a:gd name="T72" fmla="*/ 97 w 219"/>
                <a:gd name="T73" fmla="*/ 494 h 516"/>
                <a:gd name="T74" fmla="*/ 89 w 219"/>
                <a:gd name="T75" fmla="*/ 426 h 516"/>
                <a:gd name="T76" fmla="*/ 105 w 219"/>
                <a:gd name="T77" fmla="*/ 426 h 516"/>
                <a:gd name="T78" fmla="*/ 130 w 219"/>
                <a:gd name="T79" fmla="*/ 486 h 516"/>
                <a:gd name="T80" fmla="*/ 114 w 219"/>
                <a:gd name="T81" fmla="*/ 486 h 516"/>
                <a:gd name="T82" fmla="*/ 122 w 219"/>
                <a:gd name="T83" fmla="*/ 418 h 516"/>
                <a:gd name="T84" fmla="*/ 130 w 219"/>
                <a:gd name="T85" fmla="*/ 486 h 516"/>
                <a:gd name="T86" fmla="*/ 147 w 219"/>
                <a:gd name="T87" fmla="*/ 494 h 516"/>
                <a:gd name="T88" fmla="*/ 139 w 219"/>
                <a:gd name="T89" fmla="*/ 426 h 516"/>
                <a:gd name="T90" fmla="*/ 155 w 219"/>
                <a:gd name="T91" fmla="*/ 426 h 516"/>
                <a:gd name="T92" fmla="*/ 181 w 219"/>
                <a:gd name="T93" fmla="*/ 486 h 516"/>
                <a:gd name="T94" fmla="*/ 164 w 219"/>
                <a:gd name="T95" fmla="*/ 486 h 516"/>
                <a:gd name="T96" fmla="*/ 173 w 219"/>
                <a:gd name="T97" fmla="*/ 418 h 516"/>
                <a:gd name="T98" fmla="*/ 181 w 219"/>
                <a:gd name="T99" fmla="*/ 486 h 516"/>
                <a:gd name="T100" fmla="*/ 177 w 219"/>
                <a:gd name="T101" fmla="*/ 405 h 516"/>
                <a:gd name="T102" fmla="*/ 24 w 219"/>
                <a:gd name="T103" fmla="*/ 387 h 516"/>
                <a:gd name="T104" fmla="*/ 42 w 219"/>
                <a:gd name="T105" fmla="*/ 318 h 516"/>
                <a:gd name="T106" fmla="*/ 195 w 219"/>
                <a:gd name="T107" fmla="*/ 336 h 5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19" h="516">
                  <a:moveTo>
                    <a:pt x="177" y="330"/>
                  </a:moveTo>
                  <a:cubicBezTo>
                    <a:pt x="42" y="330"/>
                    <a:pt x="42" y="330"/>
                    <a:pt x="42" y="330"/>
                  </a:cubicBezTo>
                  <a:cubicBezTo>
                    <a:pt x="39" y="330"/>
                    <a:pt x="36" y="332"/>
                    <a:pt x="36" y="336"/>
                  </a:cubicBezTo>
                  <a:cubicBezTo>
                    <a:pt x="36" y="387"/>
                    <a:pt x="36" y="387"/>
                    <a:pt x="36" y="387"/>
                  </a:cubicBezTo>
                  <a:cubicBezTo>
                    <a:pt x="36" y="390"/>
                    <a:pt x="39" y="393"/>
                    <a:pt x="42" y="393"/>
                  </a:cubicBezTo>
                  <a:cubicBezTo>
                    <a:pt x="177" y="393"/>
                    <a:pt x="177" y="393"/>
                    <a:pt x="177" y="393"/>
                  </a:cubicBezTo>
                  <a:cubicBezTo>
                    <a:pt x="180" y="393"/>
                    <a:pt x="183" y="390"/>
                    <a:pt x="183" y="387"/>
                  </a:cubicBezTo>
                  <a:cubicBezTo>
                    <a:pt x="183" y="336"/>
                    <a:pt x="183" y="336"/>
                    <a:pt x="183" y="336"/>
                  </a:cubicBezTo>
                  <a:cubicBezTo>
                    <a:pt x="183" y="332"/>
                    <a:pt x="180" y="330"/>
                    <a:pt x="177" y="330"/>
                  </a:cubicBezTo>
                  <a:close/>
                  <a:moveTo>
                    <a:pt x="110" y="384"/>
                  </a:moveTo>
                  <a:cubicBezTo>
                    <a:pt x="98" y="384"/>
                    <a:pt x="89" y="375"/>
                    <a:pt x="89" y="363"/>
                  </a:cubicBezTo>
                  <a:cubicBezTo>
                    <a:pt x="89" y="352"/>
                    <a:pt x="98" y="343"/>
                    <a:pt x="110" y="343"/>
                  </a:cubicBezTo>
                  <a:cubicBezTo>
                    <a:pt x="121" y="343"/>
                    <a:pt x="130" y="352"/>
                    <a:pt x="130" y="363"/>
                  </a:cubicBezTo>
                  <a:cubicBezTo>
                    <a:pt x="130" y="375"/>
                    <a:pt x="121" y="384"/>
                    <a:pt x="110" y="384"/>
                  </a:cubicBezTo>
                  <a:close/>
                  <a:moveTo>
                    <a:pt x="180" y="0"/>
                  </a:moveTo>
                  <a:cubicBezTo>
                    <a:pt x="39" y="0"/>
                    <a:pt x="39" y="0"/>
                    <a:pt x="39" y="0"/>
                  </a:cubicBezTo>
                  <a:cubicBezTo>
                    <a:pt x="17" y="0"/>
                    <a:pt x="0" y="17"/>
                    <a:pt x="0" y="38"/>
                  </a:cubicBezTo>
                  <a:cubicBezTo>
                    <a:pt x="0" y="477"/>
                    <a:pt x="0" y="477"/>
                    <a:pt x="0" y="477"/>
                  </a:cubicBezTo>
                  <a:cubicBezTo>
                    <a:pt x="0" y="499"/>
                    <a:pt x="17" y="516"/>
                    <a:pt x="39" y="516"/>
                  </a:cubicBezTo>
                  <a:cubicBezTo>
                    <a:pt x="180" y="516"/>
                    <a:pt x="180" y="516"/>
                    <a:pt x="180" y="516"/>
                  </a:cubicBezTo>
                  <a:cubicBezTo>
                    <a:pt x="202" y="516"/>
                    <a:pt x="219" y="499"/>
                    <a:pt x="219" y="477"/>
                  </a:cubicBezTo>
                  <a:cubicBezTo>
                    <a:pt x="219" y="38"/>
                    <a:pt x="219" y="38"/>
                    <a:pt x="219" y="38"/>
                  </a:cubicBezTo>
                  <a:cubicBezTo>
                    <a:pt x="219" y="17"/>
                    <a:pt x="202" y="0"/>
                    <a:pt x="180" y="0"/>
                  </a:cubicBezTo>
                  <a:close/>
                  <a:moveTo>
                    <a:pt x="46" y="28"/>
                  </a:moveTo>
                  <a:cubicBezTo>
                    <a:pt x="173" y="28"/>
                    <a:pt x="173" y="28"/>
                    <a:pt x="173" y="28"/>
                  </a:cubicBezTo>
                  <a:cubicBezTo>
                    <a:pt x="185" y="28"/>
                    <a:pt x="194" y="37"/>
                    <a:pt x="194" y="49"/>
                  </a:cubicBezTo>
                  <a:cubicBezTo>
                    <a:pt x="194" y="60"/>
                    <a:pt x="185" y="70"/>
                    <a:pt x="173" y="70"/>
                  </a:cubicBezTo>
                  <a:cubicBezTo>
                    <a:pt x="46" y="70"/>
                    <a:pt x="46" y="70"/>
                    <a:pt x="46" y="70"/>
                  </a:cubicBezTo>
                  <a:cubicBezTo>
                    <a:pt x="34" y="70"/>
                    <a:pt x="25" y="60"/>
                    <a:pt x="25" y="49"/>
                  </a:cubicBezTo>
                  <a:cubicBezTo>
                    <a:pt x="25" y="37"/>
                    <a:pt x="34" y="28"/>
                    <a:pt x="46" y="28"/>
                  </a:cubicBezTo>
                  <a:close/>
                  <a:moveTo>
                    <a:pt x="46" y="84"/>
                  </a:moveTo>
                  <a:cubicBezTo>
                    <a:pt x="173" y="84"/>
                    <a:pt x="173" y="84"/>
                    <a:pt x="173" y="84"/>
                  </a:cubicBezTo>
                  <a:cubicBezTo>
                    <a:pt x="185" y="84"/>
                    <a:pt x="194" y="94"/>
                    <a:pt x="194" y="105"/>
                  </a:cubicBezTo>
                  <a:cubicBezTo>
                    <a:pt x="194" y="117"/>
                    <a:pt x="185" y="126"/>
                    <a:pt x="173" y="126"/>
                  </a:cubicBezTo>
                  <a:cubicBezTo>
                    <a:pt x="46" y="126"/>
                    <a:pt x="46" y="126"/>
                    <a:pt x="46" y="126"/>
                  </a:cubicBezTo>
                  <a:cubicBezTo>
                    <a:pt x="34" y="126"/>
                    <a:pt x="25" y="117"/>
                    <a:pt x="25" y="105"/>
                  </a:cubicBezTo>
                  <a:cubicBezTo>
                    <a:pt x="25" y="94"/>
                    <a:pt x="34" y="84"/>
                    <a:pt x="46" y="84"/>
                  </a:cubicBezTo>
                  <a:close/>
                  <a:moveTo>
                    <a:pt x="46" y="141"/>
                  </a:moveTo>
                  <a:cubicBezTo>
                    <a:pt x="173" y="141"/>
                    <a:pt x="173" y="141"/>
                    <a:pt x="173" y="141"/>
                  </a:cubicBezTo>
                  <a:cubicBezTo>
                    <a:pt x="185" y="141"/>
                    <a:pt x="194" y="150"/>
                    <a:pt x="194" y="162"/>
                  </a:cubicBezTo>
                  <a:cubicBezTo>
                    <a:pt x="194" y="173"/>
                    <a:pt x="185" y="182"/>
                    <a:pt x="173" y="182"/>
                  </a:cubicBezTo>
                  <a:cubicBezTo>
                    <a:pt x="46" y="182"/>
                    <a:pt x="46" y="182"/>
                    <a:pt x="46" y="182"/>
                  </a:cubicBezTo>
                  <a:cubicBezTo>
                    <a:pt x="34" y="182"/>
                    <a:pt x="25" y="173"/>
                    <a:pt x="25" y="162"/>
                  </a:cubicBezTo>
                  <a:cubicBezTo>
                    <a:pt x="25" y="150"/>
                    <a:pt x="34" y="141"/>
                    <a:pt x="46" y="141"/>
                  </a:cubicBezTo>
                  <a:close/>
                  <a:moveTo>
                    <a:pt x="46" y="197"/>
                  </a:moveTo>
                  <a:cubicBezTo>
                    <a:pt x="173" y="197"/>
                    <a:pt x="173" y="197"/>
                    <a:pt x="173" y="197"/>
                  </a:cubicBezTo>
                  <a:cubicBezTo>
                    <a:pt x="185" y="197"/>
                    <a:pt x="194" y="206"/>
                    <a:pt x="194" y="218"/>
                  </a:cubicBezTo>
                  <a:cubicBezTo>
                    <a:pt x="194" y="229"/>
                    <a:pt x="185" y="239"/>
                    <a:pt x="173" y="239"/>
                  </a:cubicBezTo>
                  <a:cubicBezTo>
                    <a:pt x="46" y="239"/>
                    <a:pt x="46" y="239"/>
                    <a:pt x="46" y="239"/>
                  </a:cubicBezTo>
                  <a:cubicBezTo>
                    <a:pt x="34" y="239"/>
                    <a:pt x="25" y="229"/>
                    <a:pt x="25" y="218"/>
                  </a:cubicBezTo>
                  <a:cubicBezTo>
                    <a:pt x="25" y="206"/>
                    <a:pt x="34" y="197"/>
                    <a:pt x="46" y="197"/>
                  </a:cubicBezTo>
                  <a:close/>
                  <a:moveTo>
                    <a:pt x="46" y="253"/>
                  </a:moveTo>
                  <a:cubicBezTo>
                    <a:pt x="173" y="253"/>
                    <a:pt x="173" y="253"/>
                    <a:pt x="173" y="253"/>
                  </a:cubicBezTo>
                  <a:cubicBezTo>
                    <a:pt x="185" y="253"/>
                    <a:pt x="194" y="263"/>
                    <a:pt x="194" y="274"/>
                  </a:cubicBezTo>
                  <a:cubicBezTo>
                    <a:pt x="194" y="286"/>
                    <a:pt x="185" y="295"/>
                    <a:pt x="173" y="295"/>
                  </a:cubicBezTo>
                  <a:cubicBezTo>
                    <a:pt x="46" y="295"/>
                    <a:pt x="46" y="295"/>
                    <a:pt x="46" y="295"/>
                  </a:cubicBezTo>
                  <a:cubicBezTo>
                    <a:pt x="34" y="295"/>
                    <a:pt x="25" y="286"/>
                    <a:pt x="25" y="274"/>
                  </a:cubicBezTo>
                  <a:cubicBezTo>
                    <a:pt x="25" y="263"/>
                    <a:pt x="34" y="253"/>
                    <a:pt x="46" y="253"/>
                  </a:cubicBezTo>
                  <a:close/>
                  <a:moveTo>
                    <a:pt x="55" y="486"/>
                  </a:moveTo>
                  <a:cubicBezTo>
                    <a:pt x="55" y="490"/>
                    <a:pt x="51" y="494"/>
                    <a:pt x="46" y="494"/>
                  </a:cubicBezTo>
                  <a:cubicBezTo>
                    <a:pt x="42" y="494"/>
                    <a:pt x="38" y="490"/>
                    <a:pt x="38" y="486"/>
                  </a:cubicBezTo>
                  <a:cubicBezTo>
                    <a:pt x="38" y="426"/>
                    <a:pt x="38" y="426"/>
                    <a:pt x="38" y="426"/>
                  </a:cubicBezTo>
                  <a:cubicBezTo>
                    <a:pt x="38" y="422"/>
                    <a:pt x="42" y="418"/>
                    <a:pt x="46" y="418"/>
                  </a:cubicBezTo>
                  <a:cubicBezTo>
                    <a:pt x="51" y="418"/>
                    <a:pt x="55" y="422"/>
                    <a:pt x="55" y="426"/>
                  </a:cubicBezTo>
                  <a:lnTo>
                    <a:pt x="55" y="486"/>
                  </a:lnTo>
                  <a:close/>
                  <a:moveTo>
                    <a:pt x="80" y="486"/>
                  </a:moveTo>
                  <a:cubicBezTo>
                    <a:pt x="80" y="490"/>
                    <a:pt x="76" y="494"/>
                    <a:pt x="72" y="494"/>
                  </a:cubicBezTo>
                  <a:cubicBezTo>
                    <a:pt x="67" y="494"/>
                    <a:pt x="64" y="490"/>
                    <a:pt x="64" y="486"/>
                  </a:cubicBezTo>
                  <a:cubicBezTo>
                    <a:pt x="64" y="426"/>
                    <a:pt x="64" y="426"/>
                    <a:pt x="64" y="426"/>
                  </a:cubicBezTo>
                  <a:cubicBezTo>
                    <a:pt x="64" y="422"/>
                    <a:pt x="67" y="418"/>
                    <a:pt x="72" y="418"/>
                  </a:cubicBezTo>
                  <a:cubicBezTo>
                    <a:pt x="76" y="418"/>
                    <a:pt x="80" y="422"/>
                    <a:pt x="80" y="426"/>
                  </a:cubicBezTo>
                  <a:lnTo>
                    <a:pt x="80" y="486"/>
                  </a:lnTo>
                  <a:close/>
                  <a:moveTo>
                    <a:pt x="105" y="486"/>
                  </a:moveTo>
                  <a:cubicBezTo>
                    <a:pt x="105" y="490"/>
                    <a:pt x="101" y="494"/>
                    <a:pt x="97" y="494"/>
                  </a:cubicBezTo>
                  <a:cubicBezTo>
                    <a:pt x="92" y="494"/>
                    <a:pt x="89" y="490"/>
                    <a:pt x="89" y="486"/>
                  </a:cubicBezTo>
                  <a:cubicBezTo>
                    <a:pt x="89" y="426"/>
                    <a:pt x="89" y="426"/>
                    <a:pt x="89" y="426"/>
                  </a:cubicBezTo>
                  <a:cubicBezTo>
                    <a:pt x="89" y="422"/>
                    <a:pt x="92" y="418"/>
                    <a:pt x="97" y="418"/>
                  </a:cubicBezTo>
                  <a:cubicBezTo>
                    <a:pt x="101" y="418"/>
                    <a:pt x="105" y="422"/>
                    <a:pt x="105" y="426"/>
                  </a:cubicBezTo>
                  <a:lnTo>
                    <a:pt x="105" y="486"/>
                  </a:lnTo>
                  <a:close/>
                  <a:moveTo>
                    <a:pt x="130" y="486"/>
                  </a:moveTo>
                  <a:cubicBezTo>
                    <a:pt x="130" y="490"/>
                    <a:pt x="127" y="494"/>
                    <a:pt x="122" y="494"/>
                  </a:cubicBezTo>
                  <a:cubicBezTo>
                    <a:pt x="118" y="494"/>
                    <a:pt x="114" y="490"/>
                    <a:pt x="114" y="486"/>
                  </a:cubicBezTo>
                  <a:cubicBezTo>
                    <a:pt x="114" y="426"/>
                    <a:pt x="114" y="426"/>
                    <a:pt x="114" y="426"/>
                  </a:cubicBezTo>
                  <a:cubicBezTo>
                    <a:pt x="114" y="422"/>
                    <a:pt x="118" y="418"/>
                    <a:pt x="122" y="418"/>
                  </a:cubicBezTo>
                  <a:cubicBezTo>
                    <a:pt x="127" y="418"/>
                    <a:pt x="130" y="422"/>
                    <a:pt x="130" y="426"/>
                  </a:cubicBezTo>
                  <a:lnTo>
                    <a:pt x="130" y="486"/>
                  </a:lnTo>
                  <a:close/>
                  <a:moveTo>
                    <a:pt x="155" y="486"/>
                  </a:moveTo>
                  <a:cubicBezTo>
                    <a:pt x="155" y="490"/>
                    <a:pt x="152" y="494"/>
                    <a:pt x="147" y="494"/>
                  </a:cubicBezTo>
                  <a:cubicBezTo>
                    <a:pt x="143" y="494"/>
                    <a:pt x="139" y="490"/>
                    <a:pt x="139" y="486"/>
                  </a:cubicBezTo>
                  <a:cubicBezTo>
                    <a:pt x="139" y="426"/>
                    <a:pt x="139" y="426"/>
                    <a:pt x="139" y="426"/>
                  </a:cubicBezTo>
                  <a:cubicBezTo>
                    <a:pt x="139" y="422"/>
                    <a:pt x="143" y="418"/>
                    <a:pt x="147" y="418"/>
                  </a:cubicBezTo>
                  <a:cubicBezTo>
                    <a:pt x="152" y="418"/>
                    <a:pt x="155" y="422"/>
                    <a:pt x="155" y="426"/>
                  </a:cubicBezTo>
                  <a:lnTo>
                    <a:pt x="155" y="486"/>
                  </a:lnTo>
                  <a:close/>
                  <a:moveTo>
                    <a:pt x="181" y="486"/>
                  </a:moveTo>
                  <a:cubicBezTo>
                    <a:pt x="181" y="490"/>
                    <a:pt x="177" y="494"/>
                    <a:pt x="173" y="494"/>
                  </a:cubicBezTo>
                  <a:cubicBezTo>
                    <a:pt x="168" y="494"/>
                    <a:pt x="164" y="490"/>
                    <a:pt x="164" y="486"/>
                  </a:cubicBezTo>
                  <a:cubicBezTo>
                    <a:pt x="164" y="426"/>
                    <a:pt x="164" y="426"/>
                    <a:pt x="164" y="426"/>
                  </a:cubicBezTo>
                  <a:cubicBezTo>
                    <a:pt x="164" y="422"/>
                    <a:pt x="168" y="418"/>
                    <a:pt x="173" y="418"/>
                  </a:cubicBezTo>
                  <a:cubicBezTo>
                    <a:pt x="177" y="418"/>
                    <a:pt x="181" y="422"/>
                    <a:pt x="181" y="426"/>
                  </a:cubicBezTo>
                  <a:lnTo>
                    <a:pt x="181" y="486"/>
                  </a:lnTo>
                  <a:close/>
                  <a:moveTo>
                    <a:pt x="195" y="387"/>
                  </a:moveTo>
                  <a:cubicBezTo>
                    <a:pt x="195" y="397"/>
                    <a:pt x="187" y="405"/>
                    <a:pt x="177" y="405"/>
                  </a:cubicBezTo>
                  <a:cubicBezTo>
                    <a:pt x="42" y="405"/>
                    <a:pt x="42" y="405"/>
                    <a:pt x="42" y="405"/>
                  </a:cubicBezTo>
                  <a:cubicBezTo>
                    <a:pt x="32" y="405"/>
                    <a:pt x="24" y="397"/>
                    <a:pt x="24" y="387"/>
                  </a:cubicBezTo>
                  <a:cubicBezTo>
                    <a:pt x="24" y="336"/>
                    <a:pt x="24" y="336"/>
                    <a:pt x="24" y="336"/>
                  </a:cubicBezTo>
                  <a:cubicBezTo>
                    <a:pt x="24" y="326"/>
                    <a:pt x="32" y="318"/>
                    <a:pt x="42" y="318"/>
                  </a:cubicBezTo>
                  <a:cubicBezTo>
                    <a:pt x="177" y="318"/>
                    <a:pt x="177" y="318"/>
                    <a:pt x="177" y="318"/>
                  </a:cubicBezTo>
                  <a:cubicBezTo>
                    <a:pt x="187" y="318"/>
                    <a:pt x="195" y="326"/>
                    <a:pt x="195" y="336"/>
                  </a:cubicBezTo>
                  <a:lnTo>
                    <a:pt x="195" y="387"/>
                  </a:lnTo>
                  <a:close/>
                </a:path>
              </a:pathLst>
            </a:custGeom>
            <a:solidFill>
              <a:srgbClr val="92D050"/>
            </a:solidFill>
            <a:ln>
              <a:noFill/>
            </a:ln>
          </p:spPr>
          <p:txBody>
            <a:bodyPr vert="horz" wrap="square" lIns="91440" tIns="45720" rIns="91440" bIns="45720" numCol="1" anchor="t" anchorCtr="0" compatLnSpc="1">
              <a:prstTxWarp prst="textNoShape">
                <a:avLst/>
              </a:prstTxWarp>
            </a:bodyPr>
            <a:lstStyle/>
            <a:p>
              <a:endParaRPr lang="de-DE"/>
            </a:p>
          </p:txBody>
        </p:sp>
        <p:sp>
          <p:nvSpPr>
            <p:cNvPr id="273" name="Freeform 23"/>
            <p:cNvSpPr>
              <a:spLocks noChangeAspect="1" noEditPoints="1"/>
            </p:cNvSpPr>
            <p:nvPr/>
          </p:nvSpPr>
          <p:spPr bwMode="auto">
            <a:xfrm>
              <a:off x="3271981" y="4372263"/>
              <a:ext cx="363336" cy="363335"/>
            </a:xfrm>
            <a:custGeom>
              <a:avLst/>
              <a:gdLst>
                <a:gd name="T0" fmla="*/ 174 w 1212"/>
                <a:gd name="T1" fmla="*/ 0 h 1216"/>
                <a:gd name="T2" fmla="*/ 156 w 1212"/>
                <a:gd name="T3" fmla="*/ 2 h 1216"/>
                <a:gd name="T4" fmla="*/ 122 w 1212"/>
                <a:gd name="T5" fmla="*/ 8 h 1216"/>
                <a:gd name="T6" fmla="*/ 90 w 1212"/>
                <a:gd name="T7" fmla="*/ 22 h 1216"/>
                <a:gd name="T8" fmla="*/ 62 w 1212"/>
                <a:gd name="T9" fmla="*/ 40 h 1216"/>
                <a:gd name="T10" fmla="*/ 40 w 1212"/>
                <a:gd name="T11" fmla="*/ 64 h 1216"/>
                <a:gd name="T12" fmla="*/ 20 w 1212"/>
                <a:gd name="T13" fmla="*/ 92 h 1216"/>
                <a:gd name="T14" fmla="*/ 8 w 1212"/>
                <a:gd name="T15" fmla="*/ 124 h 1216"/>
                <a:gd name="T16" fmla="*/ 0 w 1212"/>
                <a:gd name="T17" fmla="*/ 158 h 1216"/>
                <a:gd name="T18" fmla="*/ 0 w 1212"/>
                <a:gd name="T19" fmla="*/ 1042 h 1216"/>
                <a:gd name="T20" fmla="*/ 0 w 1212"/>
                <a:gd name="T21" fmla="*/ 1060 h 1216"/>
                <a:gd name="T22" fmla="*/ 8 w 1212"/>
                <a:gd name="T23" fmla="*/ 1094 h 1216"/>
                <a:gd name="T24" fmla="*/ 20 w 1212"/>
                <a:gd name="T25" fmla="*/ 1126 h 1216"/>
                <a:gd name="T26" fmla="*/ 40 w 1212"/>
                <a:gd name="T27" fmla="*/ 1152 h 1216"/>
                <a:gd name="T28" fmla="*/ 62 w 1212"/>
                <a:gd name="T29" fmla="*/ 1176 h 1216"/>
                <a:gd name="T30" fmla="*/ 90 w 1212"/>
                <a:gd name="T31" fmla="*/ 1196 h 1216"/>
                <a:gd name="T32" fmla="*/ 122 w 1212"/>
                <a:gd name="T33" fmla="*/ 1208 h 1216"/>
                <a:gd name="T34" fmla="*/ 156 w 1212"/>
                <a:gd name="T35" fmla="*/ 1216 h 1216"/>
                <a:gd name="T36" fmla="*/ 1038 w 1212"/>
                <a:gd name="T37" fmla="*/ 1216 h 1216"/>
                <a:gd name="T38" fmla="*/ 1056 w 1212"/>
                <a:gd name="T39" fmla="*/ 1216 h 1216"/>
                <a:gd name="T40" fmla="*/ 1090 w 1212"/>
                <a:gd name="T41" fmla="*/ 1208 h 1216"/>
                <a:gd name="T42" fmla="*/ 1122 w 1212"/>
                <a:gd name="T43" fmla="*/ 1196 h 1216"/>
                <a:gd name="T44" fmla="*/ 1150 w 1212"/>
                <a:gd name="T45" fmla="*/ 1176 h 1216"/>
                <a:gd name="T46" fmla="*/ 1174 w 1212"/>
                <a:gd name="T47" fmla="*/ 1152 h 1216"/>
                <a:gd name="T48" fmla="*/ 1192 w 1212"/>
                <a:gd name="T49" fmla="*/ 1126 h 1216"/>
                <a:gd name="T50" fmla="*/ 1204 w 1212"/>
                <a:gd name="T51" fmla="*/ 1094 h 1216"/>
                <a:gd name="T52" fmla="*/ 1212 w 1212"/>
                <a:gd name="T53" fmla="*/ 1060 h 1216"/>
                <a:gd name="T54" fmla="*/ 1212 w 1212"/>
                <a:gd name="T55" fmla="*/ 176 h 1216"/>
                <a:gd name="T56" fmla="*/ 1212 w 1212"/>
                <a:gd name="T57" fmla="*/ 158 h 1216"/>
                <a:gd name="T58" fmla="*/ 1204 w 1212"/>
                <a:gd name="T59" fmla="*/ 124 h 1216"/>
                <a:gd name="T60" fmla="*/ 1192 w 1212"/>
                <a:gd name="T61" fmla="*/ 92 h 1216"/>
                <a:gd name="T62" fmla="*/ 1174 w 1212"/>
                <a:gd name="T63" fmla="*/ 64 h 1216"/>
                <a:gd name="T64" fmla="*/ 1150 w 1212"/>
                <a:gd name="T65" fmla="*/ 40 h 1216"/>
                <a:gd name="T66" fmla="*/ 1122 w 1212"/>
                <a:gd name="T67" fmla="*/ 22 h 1216"/>
                <a:gd name="T68" fmla="*/ 1090 w 1212"/>
                <a:gd name="T69" fmla="*/ 8 h 1216"/>
                <a:gd name="T70" fmla="*/ 1056 w 1212"/>
                <a:gd name="T71" fmla="*/ 2 h 1216"/>
                <a:gd name="T72" fmla="*/ 1038 w 1212"/>
                <a:gd name="T73" fmla="*/ 0 h 1216"/>
                <a:gd name="T74" fmla="*/ 888 w 1212"/>
                <a:gd name="T75" fmla="*/ 352 h 1216"/>
                <a:gd name="T76" fmla="*/ 864 w 1212"/>
                <a:gd name="T77" fmla="*/ 354 h 1216"/>
                <a:gd name="T78" fmla="*/ 828 w 1212"/>
                <a:gd name="T79" fmla="*/ 366 h 1216"/>
                <a:gd name="T80" fmla="*/ 808 w 1212"/>
                <a:gd name="T81" fmla="*/ 388 h 1216"/>
                <a:gd name="T82" fmla="*/ 800 w 1212"/>
                <a:gd name="T83" fmla="*/ 420 h 1216"/>
                <a:gd name="T84" fmla="*/ 800 w 1212"/>
                <a:gd name="T85" fmla="*/ 554 h 1216"/>
                <a:gd name="T86" fmla="*/ 954 w 1212"/>
                <a:gd name="T87" fmla="*/ 732 h 1216"/>
                <a:gd name="T88" fmla="*/ 800 w 1212"/>
                <a:gd name="T89" fmla="*/ 1192 h 1216"/>
                <a:gd name="T90" fmla="*/ 614 w 1212"/>
                <a:gd name="T91" fmla="*/ 732 h 1216"/>
                <a:gd name="T92" fmla="*/ 460 w 1212"/>
                <a:gd name="T93" fmla="*/ 554 h 1216"/>
                <a:gd name="T94" fmla="*/ 614 w 1212"/>
                <a:gd name="T95" fmla="*/ 422 h 1216"/>
                <a:gd name="T96" fmla="*/ 616 w 1212"/>
                <a:gd name="T97" fmla="*/ 394 h 1216"/>
                <a:gd name="T98" fmla="*/ 624 w 1212"/>
                <a:gd name="T99" fmla="*/ 342 h 1216"/>
                <a:gd name="T100" fmla="*/ 640 w 1212"/>
                <a:gd name="T101" fmla="*/ 298 h 1216"/>
                <a:gd name="T102" fmla="*/ 664 w 1212"/>
                <a:gd name="T103" fmla="*/ 262 h 1216"/>
                <a:gd name="T104" fmla="*/ 694 w 1212"/>
                <a:gd name="T105" fmla="*/ 232 h 1216"/>
                <a:gd name="T106" fmla="*/ 732 w 1212"/>
                <a:gd name="T107" fmla="*/ 208 h 1216"/>
                <a:gd name="T108" fmla="*/ 774 w 1212"/>
                <a:gd name="T109" fmla="*/ 194 h 1216"/>
                <a:gd name="T110" fmla="*/ 820 w 1212"/>
                <a:gd name="T111" fmla="*/ 186 h 1216"/>
                <a:gd name="T112" fmla="*/ 846 w 1212"/>
                <a:gd name="T113" fmla="*/ 184 h 1216"/>
                <a:gd name="T114" fmla="*/ 932 w 1212"/>
                <a:gd name="T115" fmla="*/ 188 h 1216"/>
                <a:gd name="T116" fmla="*/ 984 w 1212"/>
                <a:gd name="T117" fmla="*/ 352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212" h="1216">
                  <a:moveTo>
                    <a:pt x="1038" y="0"/>
                  </a:moveTo>
                  <a:lnTo>
                    <a:pt x="174" y="0"/>
                  </a:lnTo>
                  <a:lnTo>
                    <a:pt x="174" y="0"/>
                  </a:lnTo>
                  <a:lnTo>
                    <a:pt x="156" y="2"/>
                  </a:lnTo>
                  <a:lnTo>
                    <a:pt x="138" y="4"/>
                  </a:lnTo>
                  <a:lnTo>
                    <a:pt x="122" y="8"/>
                  </a:lnTo>
                  <a:lnTo>
                    <a:pt x="106" y="14"/>
                  </a:lnTo>
                  <a:lnTo>
                    <a:pt x="90" y="22"/>
                  </a:lnTo>
                  <a:lnTo>
                    <a:pt x="76" y="30"/>
                  </a:lnTo>
                  <a:lnTo>
                    <a:pt x="62" y="40"/>
                  </a:lnTo>
                  <a:lnTo>
                    <a:pt x="50" y="52"/>
                  </a:lnTo>
                  <a:lnTo>
                    <a:pt x="40" y="64"/>
                  </a:lnTo>
                  <a:lnTo>
                    <a:pt x="30" y="78"/>
                  </a:lnTo>
                  <a:lnTo>
                    <a:pt x="20" y="92"/>
                  </a:lnTo>
                  <a:lnTo>
                    <a:pt x="14" y="108"/>
                  </a:lnTo>
                  <a:lnTo>
                    <a:pt x="8" y="124"/>
                  </a:lnTo>
                  <a:lnTo>
                    <a:pt x="4" y="140"/>
                  </a:lnTo>
                  <a:lnTo>
                    <a:pt x="0" y="158"/>
                  </a:lnTo>
                  <a:lnTo>
                    <a:pt x="0" y="176"/>
                  </a:lnTo>
                  <a:lnTo>
                    <a:pt x="0" y="1042"/>
                  </a:lnTo>
                  <a:lnTo>
                    <a:pt x="0" y="1042"/>
                  </a:lnTo>
                  <a:lnTo>
                    <a:pt x="0" y="1060"/>
                  </a:lnTo>
                  <a:lnTo>
                    <a:pt x="4" y="1078"/>
                  </a:lnTo>
                  <a:lnTo>
                    <a:pt x="8" y="1094"/>
                  </a:lnTo>
                  <a:lnTo>
                    <a:pt x="14" y="1110"/>
                  </a:lnTo>
                  <a:lnTo>
                    <a:pt x="20" y="1126"/>
                  </a:lnTo>
                  <a:lnTo>
                    <a:pt x="30" y="1140"/>
                  </a:lnTo>
                  <a:lnTo>
                    <a:pt x="40" y="1152"/>
                  </a:lnTo>
                  <a:lnTo>
                    <a:pt x="50" y="1166"/>
                  </a:lnTo>
                  <a:lnTo>
                    <a:pt x="62" y="1176"/>
                  </a:lnTo>
                  <a:lnTo>
                    <a:pt x="76" y="1186"/>
                  </a:lnTo>
                  <a:lnTo>
                    <a:pt x="90" y="1196"/>
                  </a:lnTo>
                  <a:lnTo>
                    <a:pt x="106" y="1202"/>
                  </a:lnTo>
                  <a:lnTo>
                    <a:pt x="122" y="1208"/>
                  </a:lnTo>
                  <a:lnTo>
                    <a:pt x="138" y="1212"/>
                  </a:lnTo>
                  <a:lnTo>
                    <a:pt x="156" y="1216"/>
                  </a:lnTo>
                  <a:lnTo>
                    <a:pt x="174" y="1216"/>
                  </a:lnTo>
                  <a:lnTo>
                    <a:pt x="1038" y="1216"/>
                  </a:lnTo>
                  <a:lnTo>
                    <a:pt x="1038" y="1216"/>
                  </a:lnTo>
                  <a:lnTo>
                    <a:pt x="1056" y="1216"/>
                  </a:lnTo>
                  <a:lnTo>
                    <a:pt x="1074" y="1212"/>
                  </a:lnTo>
                  <a:lnTo>
                    <a:pt x="1090" y="1208"/>
                  </a:lnTo>
                  <a:lnTo>
                    <a:pt x="1106" y="1202"/>
                  </a:lnTo>
                  <a:lnTo>
                    <a:pt x="1122" y="1196"/>
                  </a:lnTo>
                  <a:lnTo>
                    <a:pt x="1136" y="1186"/>
                  </a:lnTo>
                  <a:lnTo>
                    <a:pt x="1150" y="1176"/>
                  </a:lnTo>
                  <a:lnTo>
                    <a:pt x="1162" y="1166"/>
                  </a:lnTo>
                  <a:lnTo>
                    <a:pt x="1174" y="1152"/>
                  </a:lnTo>
                  <a:lnTo>
                    <a:pt x="1184" y="1140"/>
                  </a:lnTo>
                  <a:lnTo>
                    <a:pt x="1192" y="1126"/>
                  </a:lnTo>
                  <a:lnTo>
                    <a:pt x="1200" y="1110"/>
                  </a:lnTo>
                  <a:lnTo>
                    <a:pt x="1204" y="1094"/>
                  </a:lnTo>
                  <a:lnTo>
                    <a:pt x="1210" y="1078"/>
                  </a:lnTo>
                  <a:lnTo>
                    <a:pt x="1212" y="1060"/>
                  </a:lnTo>
                  <a:lnTo>
                    <a:pt x="1212" y="1042"/>
                  </a:lnTo>
                  <a:lnTo>
                    <a:pt x="1212" y="176"/>
                  </a:lnTo>
                  <a:lnTo>
                    <a:pt x="1212" y="176"/>
                  </a:lnTo>
                  <a:lnTo>
                    <a:pt x="1212" y="158"/>
                  </a:lnTo>
                  <a:lnTo>
                    <a:pt x="1210" y="140"/>
                  </a:lnTo>
                  <a:lnTo>
                    <a:pt x="1204" y="124"/>
                  </a:lnTo>
                  <a:lnTo>
                    <a:pt x="1200" y="108"/>
                  </a:lnTo>
                  <a:lnTo>
                    <a:pt x="1192" y="92"/>
                  </a:lnTo>
                  <a:lnTo>
                    <a:pt x="1184" y="78"/>
                  </a:lnTo>
                  <a:lnTo>
                    <a:pt x="1174" y="64"/>
                  </a:lnTo>
                  <a:lnTo>
                    <a:pt x="1162" y="52"/>
                  </a:lnTo>
                  <a:lnTo>
                    <a:pt x="1150" y="40"/>
                  </a:lnTo>
                  <a:lnTo>
                    <a:pt x="1136" y="30"/>
                  </a:lnTo>
                  <a:lnTo>
                    <a:pt x="1122" y="22"/>
                  </a:lnTo>
                  <a:lnTo>
                    <a:pt x="1106" y="14"/>
                  </a:lnTo>
                  <a:lnTo>
                    <a:pt x="1090" y="8"/>
                  </a:lnTo>
                  <a:lnTo>
                    <a:pt x="1074" y="4"/>
                  </a:lnTo>
                  <a:lnTo>
                    <a:pt x="1056" y="2"/>
                  </a:lnTo>
                  <a:lnTo>
                    <a:pt x="1038" y="0"/>
                  </a:lnTo>
                  <a:lnTo>
                    <a:pt x="1038" y="0"/>
                  </a:lnTo>
                  <a:close/>
                  <a:moveTo>
                    <a:pt x="984" y="352"/>
                  </a:moveTo>
                  <a:lnTo>
                    <a:pt x="888" y="352"/>
                  </a:lnTo>
                  <a:lnTo>
                    <a:pt x="888" y="352"/>
                  </a:lnTo>
                  <a:lnTo>
                    <a:pt x="864" y="354"/>
                  </a:lnTo>
                  <a:lnTo>
                    <a:pt x="844" y="358"/>
                  </a:lnTo>
                  <a:lnTo>
                    <a:pt x="828" y="366"/>
                  </a:lnTo>
                  <a:lnTo>
                    <a:pt x="816" y="376"/>
                  </a:lnTo>
                  <a:lnTo>
                    <a:pt x="808" y="388"/>
                  </a:lnTo>
                  <a:lnTo>
                    <a:pt x="804" y="404"/>
                  </a:lnTo>
                  <a:lnTo>
                    <a:pt x="800" y="420"/>
                  </a:lnTo>
                  <a:lnTo>
                    <a:pt x="800" y="438"/>
                  </a:lnTo>
                  <a:lnTo>
                    <a:pt x="800" y="554"/>
                  </a:lnTo>
                  <a:lnTo>
                    <a:pt x="978" y="554"/>
                  </a:lnTo>
                  <a:lnTo>
                    <a:pt x="954" y="732"/>
                  </a:lnTo>
                  <a:lnTo>
                    <a:pt x="800" y="732"/>
                  </a:lnTo>
                  <a:lnTo>
                    <a:pt x="800" y="1192"/>
                  </a:lnTo>
                  <a:lnTo>
                    <a:pt x="614" y="1192"/>
                  </a:lnTo>
                  <a:lnTo>
                    <a:pt x="614" y="732"/>
                  </a:lnTo>
                  <a:lnTo>
                    <a:pt x="460" y="732"/>
                  </a:lnTo>
                  <a:lnTo>
                    <a:pt x="460" y="554"/>
                  </a:lnTo>
                  <a:lnTo>
                    <a:pt x="614" y="554"/>
                  </a:lnTo>
                  <a:lnTo>
                    <a:pt x="614" y="422"/>
                  </a:lnTo>
                  <a:lnTo>
                    <a:pt x="614" y="422"/>
                  </a:lnTo>
                  <a:lnTo>
                    <a:pt x="616" y="394"/>
                  </a:lnTo>
                  <a:lnTo>
                    <a:pt x="620" y="366"/>
                  </a:lnTo>
                  <a:lnTo>
                    <a:pt x="624" y="342"/>
                  </a:lnTo>
                  <a:lnTo>
                    <a:pt x="632" y="320"/>
                  </a:lnTo>
                  <a:lnTo>
                    <a:pt x="640" y="298"/>
                  </a:lnTo>
                  <a:lnTo>
                    <a:pt x="652" y="278"/>
                  </a:lnTo>
                  <a:lnTo>
                    <a:pt x="664" y="262"/>
                  </a:lnTo>
                  <a:lnTo>
                    <a:pt x="678" y="246"/>
                  </a:lnTo>
                  <a:lnTo>
                    <a:pt x="694" y="232"/>
                  </a:lnTo>
                  <a:lnTo>
                    <a:pt x="712" y="218"/>
                  </a:lnTo>
                  <a:lnTo>
                    <a:pt x="732" y="208"/>
                  </a:lnTo>
                  <a:lnTo>
                    <a:pt x="752" y="200"/>
                  </a:lnTo>
                  <a:lnTo>
                    <a:pt x="774" y="194"/>
                  </a:lnTo>
                  <a:lnTo>
                    <a:pt x="796" y="188"/>
                  </a:lnTo>
                  <a:lnTo>
                    <a:pt x="820" y="186"/>
                  </a:lnTo>
                  <a:lnTo>
                    <a:pt x="846" y="184"/>
                  </a:lnTo>
                  <a:lnTo>
                    <a:pt x="846" y="184"/>
                  </a:lnTo>
                  <a:lnTo>
                    <a:pt x="892" y="186"/>
                  </a:lnTo>
                  <a:lnTo>
                    <a:pt x="932" y="188"/>
                  </a:lnTo>
                  <a:lnTo>
                    <a:pt x="984" y="192"/>
                  </a:lnTo>
                  <a:lnTo>
                    <a:pt x="984" y="352"/>
                  </a:lnTo>
                  <a:close/>
                </a:path>
              </a:pathLst>
            </a:custGeom>
            <a:solidFill>
              <a:srgbClr val="8DC63F"/>
            </a:solidFill>
            <a:ln>
              <a:noFill/>
            </a:ln>
          </p:spPr>
          <p:txBody>
            <a:bodyPr vert="horz" wrap="square" lIns="91440" tIns="45720" rIns="91440" bIns="45720" numCol="1" anchor="t" anchorCtr="0" compatLnSpc="1">
              <a:prstTxWarp prst="textNoShape">
                <a:avLst/>
              </a:prstTxWarp>
            </a:bodyPr>
            <a:lstStyle/>
            <a:p>
              <a:endParaRPr lang="en-US" dirty="0"/>
            </a:p>
          </p:txBody>
        </p:sp>
        <p:cxnSp>
          <p:nvCxnSpPr>
            <p:cNvPr id="275" name="Straight Connector 281"/>
            <p:cNvCxnSpPr>
              <a:stCxn id="179" idx="5"/>
              <a:endCxn id="280" idx="12"/>
            </p:cNvCxnSpPr>
            <p:nvPr/>
          </p:nvCxnSpPr>
          <p:spPr>
            <a:xfrm>
              <a:off x="6537716" y="4262093"/>
              <a:ext cx="219417" cy="197687"/>
            </a:xfrm>
            <a:prstGeom prst="line">
              <a:avLst/>
            </a:prstGeom>
            <a:ln w="12700">
              <a:solidFill>
                <a:schemeClr val="tx1"/>
              </a:solidFill>
              <a:prstDash val="sysDash"/>
            </a:ln>
          </p:spPr>
          <p:style>
            <a:lnRef idx="2">
              <a:schemeClr val="accent1"/>
            </a:lnRef>
            <a:fillRef idx="0">
              <a:schemeClr val="accent1"/>
            </a:fillRef>
            <a:effectRef idx="1">
              <a:schemeClr val="accent1"/>
            </a:effectRef>
            <a:fontRef idx="minor">
              <a:schemeClr val="tx1"/>
            </a:fontRef>
          </p:style>
        </p:cxnSp>
        <p:cxnSp>
          <p:nvCxnSpPr>
            <p:cNvPr id="276" name="Straight Connector 284"/>
            <p:cNvCxnSpPr>
              <a:endCxn id="298" idx="8"/>
            </p:cNvCxnSpPr>
            <p:nvPr/>
          </p:nvCxnSpPr>
          <p:spPr>
            <a:xfrm>
              <a:off x="6594249" y="3956247"/>
              <a:ext cx="971508" cy="134961"/>
            </a:xfrm>
            <a:prstGeom prst="line">
              <a:avLst/>
            </a:prstGeom>
            <a:ln w="12700">
              <a:solidFill>
                <a:schemeClr val="tx1"/>
              </a:solidFill>
              <a:prstDash val="sysDash"/>
            </a:ln>
          </p:spPr>
          <p:style>
            <a:lnRef idx="2">
              <a:schemeClr val="accent1"/>
            </a:lnRef>
            <a:fillRef idx="0">
              <a:schemeClr val="accent1"/>
            </a:fillRef>
            <a:effectRef idx="1">
              <a:schemeClr val="accent1"/>
            </a:effectRef>
            <a:fontRef idx="minor">
              <a:schemeClr val="tx1"/>
            </a:fontRef>
          </p:style>
        </p:cxnSp>
        <p:cxnSp>
          <p:nvCxnSpPr>
            <p:cNvPr id="277" name="Straight Connector 286"/>
            <p:cNvCxnSpPr/>
            <p:nvPr/>
          </p:nvCxnSpPr>
          <p:spPr>
            <a:xfrm flipH="1">
              <a:off x="6594249" y="3520097"/>
              <a:ext cx="492536" cy="436149"/>
            </a:xfrm>
            <a:prstGeom prst="line">
              <a:avLst/>
            </a:prstGeom>
            <a:ln w="12700">
              <a:solidFill>
                <a:schemeClr val="tx1"/>
              </a:solidFill>
              <a:prstDash val="sysDash"/>
            </a:ln>
          </p:spPr>
          <p:style>
            <a:lnRef idx="2">
              <a:schemeClr val="accent1"/>
            </a:lnRef>
            <a:fillRef idx="0">
              <a:schemeClr val="accent1"/>
            </a:fillRef>
            <a:effectRef idx="1">
              <a:schemeClr val="accent1"/>
            </a:effectRef>
            <a:fontRef idx="minor">
              <a:schemeClr val="tx1"/>
            </a:fontRef>
          </p:style>
        </p:cxnSp>
        <p:grpSp>
          <p:nvGrpSpPr>
            <p:cNvPr id="278" name="Gruppieren 345"/>
            <p:cNvGrpSpPr>
              <a:grpSpLocks noChangeAspect="1"/>
            </p:cNvGrpSpPr>
            <p:nvPr/>
          </p:nvGrpSpPr>
          <p:grpSpPr>
            <a:xfrm>
              <a:off x="6741274" y="4092448"/>
              <a:ext cx="468915" cy="576929"/>
              <a:chOff x="9448800" y="768350"/>
              <a:chExt cx="3473450" cy="4273550"/>
            </a:xfrm>
            <a:solidFill>
              <a:srgbClr val="8DC63F"/>
            </a:solidFill>
          </p:grpSpPr>
          <p:sp>
            <p:nvSpPr>
              <p:cNvPr id="279" name="Freeform 215"/>
              <p:cNvSpPr>
                <a:spLocks/>
              </p:cNvSpPr>
              <p:nvPr/>
            </p:nvSpPr>
            <p:spPr bwMode="auto">
              <a:xfrm>
                <a:off x="11290300" y="768350"/>
                <a:ext cx="1631950" cy="1955800"/>
              </a:xfrm>
              <a:custGeom>
                <a:avLst/>
                <a:gdLst>
                  <a:gd name="T0" fmla="*/ 820 w 1028"/>
                  <a:gd name="T1" fmla="*/ 140 h 1232"/>
                  <a:gd name="T2" fmla="*/ 728 w 1028"/>
                  <a:gd name="T3" fmla="*/ 104 h 1232"/>
                  <a:gd name="T4" fmla="*/ 632 w 1028"/>
                  <a:gd name="T5" fmla="*/ 100 h 1232"/>
                  <a:gd name="T6" fmla="*/ 534 w 1028"/>
                  <a:gd name="T7" fmla="*/ 124 h 1232"/>
                  <a:gd name="T8" fmla="*/ 442 w 1028"/>
                  <a:gd name="T9" fmla="*/ 168 h 1232"/>
                  <a:gd name="T10" fmla="*/ 354 w 1028"/>
                  <a:gd name="T11" fmla="*/ 228 h 1232"/>
                  <a:gd name="T12" fmla="*/ 284 w 1028"/>
                  <a:gd name="T13" fmla="*/ 288 h 1232"/>
                  <a:gd name="T14" fmla="*/ 222 w 1028"/>
                  <a:gd name="T15" fmla="*/ 344 h 1232"/>
                  <a:gd name="T16" fmla="*/ 156 w 1028"/>
                  <a:gd name="T17" fmla="*/ 380 h 1232"/>
                  <a:gd name="T18" fmla="*/ 132 w 1028"/>
                  <a:gd name="T19" fmla="*/ 380 h 1232"/>
                  <a:gd name="T20" fmla="*/ 110 w 1028"/>
                  <a:gd name="T21" fmla="*/ 366 h 1232"/>
                  <a:gd name="T22" fmla="*/ 94 w 1028"/>
                  <a:gd name="T23" fmla="*/ 340 h 1232"/>
                  <a:gd name="T24" fmla="*/ 80 w 1028"/>
                  <a:gd name="T25" fmla="*/ 288 h 1232"/>
                  <a:gd name="T26" fmla="*/ 80 w 1028"/>
                  <a:gd name="T27" fmla="*/ 176 h 1232"/>
                  <a:gd name="T28" fmla="*/ 102 w 1028"/>
                  <a:gd name="T29" fmla="*/ 48 h 1232"/>
                  <a:gd name="T30" fmla="*/ 104 w 1028"/>
                  <a:gd name="T31" fmla="*/ 34 h 1232"/>
                  <a:gd name="T32" fmla="*/ 94 w 1028"/>
                  <a:gd name="T33" fmla="*/ 14 h 1232"/>
                  <a:gd name="T34" fmla="*/ 74 w 1028"/>
                  <a:gd name="T35" fmla="*/ 2 h 1232"/>
                  <a:gd name="T36" fmla="*/ 60 w 1028"/>
                  <a:gd name="T37" fmla="*/ 2 h 1232"/>
                  <a:gd name="T38" fmla="*/ 40 w 1028"/>
                  <a:gd name="T39" fmla="*/ 10 h 1232"/>
                  <a:gd name="T40" fmla="*/ 28 w 1028"/>
                  <a:gd name="T41" fmla="*/ 30 h 1232"/>
                  <a:gd name="T42" fmla="*/ 16 w 1028"/>
                  <a:gd name="T43" fmla="*/ 88 h 1232"/>
                  <a:gd name="T44" fmla="*/ 0 w 1028"/>
                  <a:gd name="T45" fmla="*/ 228 h 1232"/>
                  <a:gd name="T46" fmla="*/ 8 w 1028"/>
                  <a:gd name="T47" fmla="*/ 320 h 1232"/>
                  <a:gd name="T48" fmla="*/ 40 w 1028"/>
                  <a:gd name="T49" fmla="*/ 398 h 1232"/>
                  <a:gd name="T50" fmla="*/ 56 w 1028"/>
                  <a:gd name="T51" fmla="*/ 420 h 1232"/>
                  <a:gd name="T52" fmla="*/ 110 w 1028"/>
                  <a:gd name="T53" fmla="*/ 454 h 1232"/>
                  <a:gd name="T54" fmla="*/ 164 w 1028"/>
                  <a:gd name="T55" fmla="*/ 458 h 1232"/>
                  <a:gd name="T56" fmla="*/ 218 w 1028"/>
                  <a:gd name="T57" fmla="*/ 438 h 1232"/>
                  <a:gd name="T58" fmla="*/ 304 w 1028"/>
                  <a:gd name="T59" fmla="*/ 374 h 1232"/>
                  <a:gd name="T60" fmla="*/ 370 w 1028"/>
                  <a:gd name="T61" fmla="*/ 316 h 1232"/>
                  <a:gd name="T62" fmla="*/ 426 w 1028"/>
                  <a:gd name="T63" fmla="*/ 270 h 1232"/>
                  <a:gd name="T64" fmla="*/ 508 w 1028"/>
                  <a:gd name="T65" fmla="*/ 218 h 1232"/>
                  <a:gd name="T66" fmla="*/ 590 w 1028"/>
                  <a:gd name="T67" fmla="*/ 186 h 1232"/>
                  <a:gd name="T68" fmla="*/ 680 w 1028"/>
                  <a:gd name="T69" fmla="*/ 172 h 1232"/>
                  <a:gd name="T70" fmla="*/ 740 w 1028"/>
                  <a:gd name="T71" fmla="*/ 184 h 1232"/>
                  <a:gd name="T72" fmla="*/ 784 w 1028"/>
                  <a:gd name="T73" fmla="*/ 206 h 1232"/>
                  <a:gd name="T74" fmla="*/ 816 w 1028"/>
                  <a:gd name="T75" fmla="*/ 232 h 1232"/>
                  <a:gd name="T76" fmla="*/ 864 w 1028"/>
                  <a:gd name="T77" fmla="*/ 284 h 1232"/>
                  <a:gd name="T78" fmla="*/ 902 w 1028"/>
                  <a:gd name="T79" fmla="*/ 338 h 1232"/>
                  <a:gd name="T80" fmla="*/ 940 w 1028"/>
                  <a:gd name="T81" fmla="*/ 434 h 1232"/>
                  <a:gd name="T82" fmla="*/ 952 w 1028"/>
                  <a:gd name="T83" fmla="*/ 556 h 1232"/>
                  <a:gd name="T84" fmla="*/ 934 w 1028"/>
                  <a:gd name="T85" fmla="*/ 674 h 1232"/>
                  <a:gd name="T86" fmla="*/ 896 w 1028"/>
                  <a:gd name="T87" fmla="*/ 782 h 1232"/>
                  <a:gd name="T88" fmla="*/ 860 w 1028"/>
                  <a:gd name="T89" fmla="*/ 852 h 1232"/>
                  <a:gd name="T90" fmla="*/ 792 w 1028"/>
                  <a:gd name="T91" fmla="*/ 954 h 1232"/>
                  <a:gd name="T92" fmla="*/ 656 w 1028"/>
                  <a:gd name="T93" fmla="*/ 1106 h 1232"/>
                  <a:gd name="T94" fmla="*/ 592 w 1028"/>
                  <a:gd name="T95" fmla="*/ 1164 h 1232"/>
                  <a:gd name="T96" fmla="*/ 578 w 1028"/>
                  <a:gd name="T97" fmla="*/ 1182 h 1232"/>
                  <a:gd name="T98" fmla="*/ 578 w 1028"/>
                  <a:gd name="T99" fmla="*/ 1204 h 1232"/>
                  <a:gd name="T100" fmla="*/ 586 w 1028"/>
                  <a:gd name="T101" fmla="*/ 1218 h 1232"/>
                  <a:gd name="T102" fmla="*/ 608 w 1028"/>
                  <a:gd name="T103" fmla="*/ 1232 h 1232"/>
                  <a:gd name="T104" fmla="*/ 628 w 1028"/>
                  <a:gd name="T105" fmla="*/ 1230 h 1232"/>
                  <a:gd name="T106" fmla="*/ 676 w 1028"/>
                  <a:gd name="T107" fmla="*/ 1192 h 1232"/>
                  <a:gd name="T108" fmla="*/ 804 w 1028"/>
                  <a:gd name="T109" fmla="*/ 1060 h 1232"/>
                  <a:gd name="T110" fmla="*/ 878 w 1028"/>
                  <a:gd name="T111" fmla="*/ 964 h 1232"/>
                  <a:gd name="T112" fmla="*/ 948 w 1028"/>
                  <a:gd name="T113" fmla="*/ 852 h 1232"/>
                  <a:gd name="T114" fmla="*/ 990 w 1028"/>
                  <a:gd name="T115" fmla="*/ 756 h 1232"/>
                  <a:gd name="T116" fmla="*/ 1024 w 1028"/>
                  <a:gd name="T117" fmla="*/ 614 h 1232"/>
                  <a:gd name="T118" fmla="*/ 1022 w 1028"/>
                  <a:gd name="T119" fmla="*/ 472 h 1232"/>
                  <a:gd name="T120" fmla="*/ 988 w 1028"/>
                  <a:gd name="T121" fmla="*/ 340 h 1232"/>
                  <a:gd name="T122" fmla="*/ 916 w 1028"/>
                  <a:gd name="T123" fmla="*/ 226 h 1232"/>
                  <a:gd name="T124" fmla="*/ 848 w 1028"/>
                  <a:gd name="T125" fmla="*/ 160 h 1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28" h="1232">
                    <a:moveTo>
                      <a:pt x="848" y="160"/>
                    </a:moveTo>
                    <a:lnTo>
                      <a:pt x="848" y="160"/>
                    </a:lnTo>
                    <a:lnTo>
                      <a:pt x="820" y="140"/>
                    </a:lnTo>
                    <a:lnTo>
                      <a:pt x="790" y="124"/>
                    </a:lnTo>
                    <a:lnTo>
                      <a:pt x="758" y="112"/>
                    </a:lnTo>
                    <a:lnTo>
                      <a:pt x="728" y="104"/>
                    </a:lnTo>
                    <a:lnTo>
                      <a:pt x="696" y="98"/>
                    </a:lnTo>
                    <a:lnTo>
                      <a:pt x="664" y="98"/>
                    </a:lnTo>
                    <a:lnTo>
                      <a:pt x="632" y="100"/>
                    </a:lnTo>
                    <a:lnTo>
                      <a:pt x="600" y="104"/>
                    </a:lnTo>
                    <a:lnTo>
                      <a:pt x="566" y="112"/>
                    </a:lnTo>
                    <a:lnTo>
                      <a:pt x="534" y="124"/>
                    </a:lnTo>
                    <a:lnTo>
                      <a:pt x="504" y="136"/>
                    </a:lnTo>
                    <a:lnTo>
                      <a:pt x="472" y="150"/>
                    </a:lnTo>
                    <a:lnTo>
                      <a:pt x="442" y="168"/>
                    </a:lnTo>
                    <a:lnTo>
                      <a:pt x="412" y="186"/>
                    </a:lnTo>
                    <a:lnTo>
                      <a:pt x="382" y="206"/>
                    </a:lnTo>
                    <a:lnTo>
                      <a:pt x="354" y="228"/>
                    </a:lnTo>
                    <a:lnTo>
                      <a:pt x="354" y="228"/>
                    </a:lnTo>
                    <a:lnTo>
                      <a:pt x="320" y="258"/>
                    </a:lnTo>
                    <a:lnTo>
                      <a:pt x="284" y="288"/>
                    </a:lnTo>
                    <a:lnTo>
                      <a:pt x="284" y="288"/>
                    </a:lnTo>
                    <a:lnTo>
                      <a:pt x="250" y="320"/>
                    </a:lnTo>
                    <a:lnTo>
                      <a:pt x="222" y="344"/>
                    </a:lnTo>
                    <a:lnTo>
                      <a:pt x="196" y="362"/>
                    </a:lnTo>
                    <a:lnTo>
                      <a:pt x="174" y="374"/>
                    </a:lnTo>
                    <a:lnTo>
                      <a:pt x="156" y="380"/>
                    </a:lnTo>
                    <a:lnTo>
                      <a:pt x="148" y="382"/>
                    </a:lnTo>
                    <a:lnTo>
                      <a:pt x="140" y="382"/>
                    </a:lnTo>
                    <a:lnTo>
                      <a:pt x="132" y="380"/>
                    </a:lnTo>
                    <a:lnTo>
                      <a:pt x="124" y="376"/>
                    </a:lnTo>
                    <a:lnTo>
                      <a:pt x="118" y="372"/>
                    </a:lnTo>
                    <a:lnTo>
                      <a:pt x="110" y="366"/>
                    </a:lnTo>
                    <a:lnTo>
                      <a:pt x="110" y="366"/>
                    </a:lnTo>
                    <a:lnTo>
                      <a:pt x="102" y="354"/>
                    </a:lnTo>
                    <a:lnTo>
                      <a:pt x="94" y="340"/>
                    </a:lnTo>
                    <a:lnTo>
                      <a:pt x="88" y="324"/>
                    </a:lnTo>
                    <a:lnTo>
                      <a:pt x="84" y="308"/>
                    </a:lnTo>
                    <a:lnTo>
                      <a:pt x="80" y="288"/>
                    </a:lnTo>
                    <a:lnTo>
                      <a:pt x="78" y="268"/>
                    </a:lnTo>
                    <a:lnTo>
                      <a:pt x="78" y="222"/>
                    </a:lnTo>
                    <a:lnTo>
                      <a:pt x="80" y="176"/>
                    </a:lnTo>
                    <a:lnTo>
                      <a:pt x="86" y="130"/>
                    </a:lnTo>
                    <a:lnTo>
                      <a:pt x="94" y="88"/>
                    </a:lnTo>
                    <a:lnTo>
                      <a:pt x="102" y="48"/>
                    </a:lnTo>
                    <a:lnTo>
                      <a:pt x="102" y="48"/>
                    </a:lnTo>
                    <a:lnTo>
                      <a:pt x="104" y="40"/>
                    </a:lnTo>
                    <a:lnTo>
                      <a:pt x="104" y="34"/>
                    </a:lnTo>
                    <a:lnTo>
                      <a:pt x="102" y="26"/>
                    </a:lnTo>
                    <a:lnTo>
                      <a:pt x="98" y="20"/>
                    </a:lnTo>
                    <a:lnTo>
                      <a:pt x="94" y="14"/>
                    </a:lnTo>
                    <a:lnTo>
                      <a:pt x="88" y="8"/>
                    </a:lnTo>
                    <a:lnTo>
                      <a:pt x="82" y="4"/>
                    </a:lnTo>
                    <a:lnTo>
                      <a:pt x="74" y="2"/>
                    </a:lnTo>
                    <a:lnTo>
                      <a:pt x="74" y="2"/>
                    </a:lnTo>
                    <a:lnTo>
                      <a:pt x="68" y="0"/>
                    </a:lnTo>
                    <a:lnTo>
                      <a:pt x="60" y="2"/>
                    </a:lnTo>
                    <a:lnTo>
                      <a:pt x="52" y="2"/>
                    </a:lnTo>
                    <a:lnTo>
                      <a:pt x="46" y="6"/>
                    </a:lnTo>
                    <a:lnTo>
                      <a:pt x="40" y="10"/>
                    </a:lnTo>
                    <a:lnTo>
                      <a:pt x="34" y="16"/>
                    </a:lnTo>
                    <a:lnTo>
                      <a:pt x="30" y="22"/>
                    </a:lnTo>
                    <a:lnTo>
                      <a:pt x="28" y="30"/>
                    </a:lnTo>
                    <a:lnTo>
                      <a:pt x="28" y="30"/>
                    </a:lnTo>
                    <a:lnTo>
                      <a:pt x="24" y="50"/>
                    </a:lnTo>
                    <a:lnTo>
                      <a:pt x="16" y="88"/>
                    </a:lnTo>
                    <a:lnTo>
                      <a:pt x="8" y="140"/>
                    </a:lnTo>
                    <a:lnTo>
                      <a:pt x="2" y="198"/>
                    </a:lnTo>
                    <a:lnTo>
                      <a:pt x="0" y="228"/>
                    </a:lnTo>
                    <a:lnTo>
                      <a:pt x="2" y="260"/>
                    </a:lnTo>
                    <a:lnTo>
                      <a:pt x="4" y="290"/>
                    </a:lnTo>
                    <a:lnTo>
                      <a:pt x="8" y="320"/>
                    </a:lnTo>
                    <a:lnTo>
                      <a:pt x="16" y="348"/>
                    </a:lnTo>
                    <a:lnTo>
                      <a:pt x="26" y="376"/>
                    </a:lnTo>
                    <a:lnTo>
                      <a:pt x="40" y="398"/>
                    </a:lnTo>
                    <a:lnTo>
                      <a:pt x="48" y="410"/>
                    </a:lnTo>
                    <a:lnTo>
                      <a:pt x="56" y="420"/>
                    </a:lnTo>
                    <a:lnTo>
                      <a:pt x="56" y="420"/>
                    </a:lnTo>
                    <a:lnTo>
                      <a:pt x="74" y="434"/>
                    </a:lnTo>
                    <a:lnTo>
                      <a:pt x="92" y="446"/>
                    </a:lnTo>
                    <a:lnTo>
                      <a:pt x="110" y="454"/>
                    </a:lnTo>
                    <a:lnTo>
                      <a:pt x="128" y="458"/>
                    </a:lnTo>
                    <a:lnTo>
                      <a:pt x="146" y="460"/>
                    </a:lnTo>
                    <a:lnTo>
                      <a:pt x="164" y="458"/>
                    </a:lnTo>
                    <a:lnTo>
                      <a:pt x="182" y="452"/>
                    </a:lnTo>
                    <a:lnTo>
                      <a:pt x="200" y="446"/>
                    </a:lnTo>
                    <a:lnTo>
                      <a:pt x="218" y="438"/>
                    </a:lnTo>
                    <a:lnTo>
                      <a:pt x="236" y="426"/>
                    </a:lnTo>
                    <a:lnTo>
                      <a:pt x="270" y="402"/>
                    </a:lnTo>
                    <a:lnTo>
                      <a:pt x="304" y="374"/>
                    </a:lnTo>
                    <a:lnTo>
                      <a:pt x="336" y="346"/>
                    </a:lnTo>
                    <a:lnTo>
                      <a:pt x="336" y="346"/>
                    </a:lnTo>
                    <a:lnTo>
                      <a:pt x="370" y="316"/>
                    </a:lnTo>
                    <a:lnTo>
                      <a:pt x="402" y="288"/>
                    </a:lnTo>
                    <a:lnTo>
                      <a:pt x="402" y="288"/>
                    </a:lnTo>
                    <a:lnTo>
                      <a:pt x="426" y="270"/>
                    </a:lnTo>
                    <a:lnTo>
                      <a:pt x="462" y="246"/>
                    </a:lnTo>
                    <a:lnTo>
                      <a:pt x="484" y="232"/>
                    </a:lnTo>
                    <a:lnTo>
                      <a:pt x="508" y="218"/>
                    </a:lnTo>
                    <a:lnTo>
                      <a:pt x="532" y="206"/>
                    </a:lnTo>
                    <a:lnTo>
                      <a:pt x="560" y="194"/>
                    </a:lnTo>
                    <a:lnTo>
                      <a:pt x="590" y="186"/>
                    </a:lnTo>
                    <a:lnTo>
                      <a:pt x="618" y="178"/>
                    </a:lnTo>
                    <a:lnTo>
                      <a:pt x="648" y="174"/>
                    </a:lnTo>
                    <a:lnTo>
                      <a:pt x="680" y="172"/>
                    </a:lnTo>
                    <a:lnTo>
                      <a:pt x="710" y="176"/>
                    </a:lnTo>
                    <a:lnTo>
                      <a:pt x="724" y="180"/>
                    </a:lnTo>
                    <a:lnTo>
                      <a:pt x="740" y="184"/>
                    </a:lnTo>
                    <a:lnTo>
                      <a:pt x="754" y="190"/>
                    </a:lnTo>
                    <a:lnTo>
                      <a:pt x="770" y="198"/>
                    </a:lnTo>
                    <a:lnTo>
                      <a:pt x="784" y="206"/>
                    </a:lnTo>
                    <a:lnTo>
                      <a:pt x="798" y="216"/>
                    </a:lnTo>
                    <a:lnTo>
                      <a:pt x="798" y="216"/>
                    </a:lnTo>
                    <a:lnTo>
                      <a:pt x="816" y="232"/>
                    </a:lnTo>
                    <a:lnTo>
                      <a:pt x="834" y="250"/>
                    </a:lnTo>
                    <a:lnTo>
                      <a:pt x="850" y="266"/>
                    </a:lnTo>
                    <a:lnTo>
                      <a:pt x="864" y="284"/>
                    </a:lnTo>
                    <a:lnTo>
                      <a:pt x="878" y="302"/>
                    </a:lnTo>
                    <a:lnTo>
                      <a:pt x="890" y="320"/>
                    </a:lnTo>
                    <a:lnTo>
                      <a:pt x="902" y="338"/>
                    </a:lnTo>
                    <a:lnTo>
                      <a:pt x="912" y="358"/>
                    </a:lnTo>
                    <a:lnTo>
                      <a:pt x="928" y="396"/>
                    </a:lnTo>
                    <a:lnTo>
                      <a:pt x="940" y="434"/>
                    </a:lnTo>
                    <a:lnTo>
                      <a:pt x="948" y="474"/>
                    </a:lnTo>
                    <a:lnTo>
                      <a:pt x="952" y="514"/>
                    </a:lnTo>
                    <a:lnTo>
                      <a:pt x="952" y="556"/>
                    </a:lnTo>
                    <a:lnTo>
                      <a:pt x="948" y="596"/>
                    </a:lnTo>
                    <a:lnTo>
                      <a:pt x="944" y="634"/>
                    </a:lnTo>
                    <a:lnTo>
                      <a:pt x="934" y="674"/>
                    </a:lnTo>
                    <a:lnTo>
                      <a:pt x="924" y="710"/>
                    </a:lnTo>
                    <a:lnTo>
                      <a:pt x="912" y="748"/>
                    </a:lnTo>
                    <a:lnTo>
                      <a:pt x="896" y="782"/>
                    </a:lnTo>
                    <a:lnTo>
                      <a:pt x="880" y="816"/>
                    </a:lnTo>
                    <a:lnTo>
                      <a:pt x="880" y="816"/>
                    </a:lnTo>
                    <a:lnTo>
                      <a:pt x="860" y="852"/>
                    </a:lnTo>
                    <a:lnTo>
                      <a:pt x="838" y="888"/>
                    </a:lnTo>
                    <a:lnTo>
                      <a:pt x="816" y="920"/>
                    </a:lnTo>
                    <a:lnTo>
                      <a:pt x="792" y="954"/>
                    </a:lnTo>
                    <a:lnTo>
                      <a:pt x="744" y="1012"/>
                    </a:lnTo>
                    <a:lnTo>
                      <a:pt x="698" y="1064"/>
                    </a:lnTo>
                    <a:lnTo>
                      <a:pt x="656" y="1106"/>
                    </a:lnTo>
                    <a:lnTo>
                      <a:pt x="622" y="1136"/>
                    </a:lnTo>
                    <a:lnTo>
                      <a:pt x="592" y="1164"/>
                    </a:lnTo>
                    <a:lnTo>
                      <a:pt x="592" y="1164"/>
                    </a:lnTo>
                    <a:lnTo>
                      <a:pt x="586" y="1170"/>
                    </a:lnTo>
                    <a:lnTo>
                      <a:pt x="582" y="1176"/>
                    </a:lnTo>
                    <a:lnTo>
                      <a:pt x="578" y="1182"/>
                    </a:lnTo>
                    <a:lnTo>
                      <a:pt x="578" y="1190"/>
                    </a:lnTo>
                    <a:lnTo>
                      <a:pt x="578" y="1198"/>
                    </a:lnTo>
                    <a:lnTo>
                      <a:pt x="578" y="1204"/>
                    </a:lnTo>
                    <a:lnTo>
                      <a:pt x="582" y="1212"/>
                    </a:lnTo>
                    <a:lnTo>
                      <a:pt x="586" y="1218"/>
                    </a:lnTo>
                    <a:lnTo>
                      <a:pt x="586" y="1218"/>
                    </a:lnTo>
                    <a:lnTo>
                      <a:pt x="592" y="1224"/>
                    </a:lnTo>
                    <a:lnTo>
                      <a:pt x="600" y="1228"/>
                    </a:lnTo>
                    <a:lnTo>
                      <a:pt x="608" y="1232"/>
                    </a:lnTo>
                    <a:lnTo>
                      <a:pt x="616" y="1232"/>
                    </a:lnTo>
                    <a:lnTo>
                      <a:pt x="616" y="1232"/>
                    </a:lnTo>
                    <a:lnTo>
                      <a:pt x="628" y="1230"/>
                    </a:lnTo>
                    <a:lnTo>
                      <a:pt x="640" y="1224"/>
                    </a:lnTo>
                    <a:lnTo>
                      <a:pt x="640" y="1224"/>
                    </a:lnTo>
                    <a:lnTo>
                      <a:pt x="676" y="1192"/>
                    </a:lnTo>
                    <a:lnTo>
                      <a:pt x="712" y="1158"/>
                    </a:lnTo>
                    <a:lnTo>
                      <a:pt x="754" y="1114"/>
                    </a:lnTo>
                    <a:lnTo>
                      <a:pt x="804" y="1060"/>
                    </a:lnTo>
                    <a:lnTo>
                      <a:pt x="828" y="1030"/>
                    </a:lnTo>
                    <a:lnTo>
                      <a:pt x="854" y="998"/>
                    </a:lnTo>
                    <a:lnTo>
                      <a:pt x="878" y="964"/>
                    </a:lnTo>
                    <a:lnTo>
                      <a:pt x="904" y="928"/>
                    </a:lnTo>
                    <a:lnTo>
                      <a:pt x="926" y="890"/>
                    </a:lnTo>
                    <a:lnTo>
                      <a:pt x="948" y="852"/>
                    </a:lnTo>
                    <a:lnTo>
                      <a:pt x="948" y="852"/>
                    </a:lnTo>
                    <a:lnTo>
                      <a:pt x="970" y="804"/>
                    </a:lnTo>
                    <a:lnTo>
                      <a:pt x="990" y="756"/>
                    </a:lnTo>
                    <a:lnTo>
                      <a:pt x="1004" y="710"/>
                    </a:lnTo>
                    <a:lnTo>
                      <a:pt x="1016" y="662"/>
                    </a:lnTo>
                    <a:lnTo>
                      <a:pt x="1024" y="614"/>
                    </a:lnTo>
                    <a:lnTo>
                      <a:pt x="1028" y="566"/>
                    </a:lnTo>
                    <a:lnTo>
                      <a:pt x="1026" y="518"/>
                    </a:lnTo>
                    <a:lnTo>
                      <a:pt x="1022" y="472"/>
                    </a:lnTo>
                    <a:lnTo>
                      <a:pt x="1016" y="428"/>
                    </a:lnTo>
                    <a:lnTo>
                      <a:pt x="1004" y="384"/>
                    </a:lnTo>
                    <a:lnTo>
                      <a:pt x="988" y="340"/>
                    </a:lnTo>
                    <a:lnTo>
                      <a:pt x="968" y="300"/>
                    </a:lnTo>
                    <a:lnTo>
                      <a:pt x="944" y="262"/>
                    </a:lnTo>
                    <a:lnTo>
                      <a:pt x="916" y="226"/>
                    </a:lnTo>
                    <a:lnTo>
                      <a:pt x="884" y="192"/>
                    </a:lnTo>
                    <a:lnTo>
                      <a:pt x="868" y="176"/>
                    </a:lnTo>
                    <a:lnTo>
                      <a:pt x="848" y="160"/>
                    </a:lnTo>
                    <a:lnTo>
                      <a:pt x="848" y="1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80" name="Freeform 216"/>
              <p:cNvSpPr>
                <a:spLocks noEditPoints="1"/>
              </p:cNvSpPr>
              <p:nvPr/>
            </p:nvSpPr>
            <p:spPr bwMode="auto">
              <a:xfrm>
                <a:off x="9448800" y="2270125"/>
                <a:ext cx="2968625" cy="2771775"/>
              </a:xfrm>
              <a:custGeom>
                <a:avLst/>
                <a:gdLst>
                  <a:gd name="T0" fmla="*/ 1614 w 1870"/>
                  <a:gd name="T1" fmla="*/ 386 h 1746"/>
                  <a:gd name="T2" fmla="*/ 1590 w 1870"/>
                  <a:gd name="T3" fmla="*/ 378 h 1746"/>
                  <a:gd name="T4" fmla="*/ 1590 w 1870"/>
                  <a:gd name="T5" fmla="*/ 356 h 1746"/>
                  <a:gd name="T6" fmla="*/ 1716 w 1870"/>
                  <a:gd name="T7" fmla="*/ 252 h 1746"/>
                  <a:gd name="T8" fmla="*/ 1676 w 1870"/>
                  <a:gd name="T9" fmla="*/ 196 h 1746"/>
                  <a:gd name="T10" fmla="*/ 1562 w 1870"/>
                  <a:gd name="T11" fmla="*/ 104 h 1746"/>
                  <a:gd name="T12" fmla="*/ 1430 w 1870"/>
                  <a:gd name="T13" fmla="*/ 40 h 1746"/>
                  <a:gd name="T14" fmla="*/ 1284 w 1870"/>
                  <a:gd name="T15" fmla="*/ 4 h 1746"/>
                  <a:gd name="T16" fmla="*/ 1164 w 1870"/>
                  <a:gd name="T17" fmla="*/ 2 h 1746"/>
                  <a:gd name="T18" fmla="*/ 1002 w 1870"/>
                  <a:gd name="T19" fmla="*/ 32 h 1746"/>
                  <a:gd name="T20" fmla="*/ 218 w 1870"/>
                  <a:gd name="T21" fmla="*/ 578 h 1746"/>
                  <a:gd name="T22" fmla="*/ 148 w 1870"/>
                  <a:gd name="T23" fmla="*/ 652 h 1746"/>
                  <a:gd name="T24" fmla="*/ 74 w 1870"/>
                  <a:gd name="T25" fmla="*/ 768 h 1746"/>
                  <a:gd name="T26" fmla="*/ 24 w 1870"/>
                  <a:gd name="T27" fmla="*/ 898 h 1746"/>
                  <a:gd name="T28" fmla="*/ 2 w 1870"/>
                  <a:gd name="T29" fmla="*/ 1038 h 1746"/>
                  <a:gd name="T30" fmla="*/ 4 w 1870"/>
                  <a:gd name="T31" fmla="*/ 1144 h 1746"/>
                  <a:gd name="T32" fmla="*/ 30 w 1870"/>
                  <a:gd name="T33" fmla="*/ 1274 h 1746"/>
                  <a:gd name="T34" fmla="*/ 80 w 1870"/>
                  <a:gd name="T35" fmla="*/ 1394 h 1746"/>
                  <a:gd name="T36" fmla="*/ 152 w 1870"/>
                  <a:gd name="T37" fmla="*/ 1502 h 1746"/>
                  <a:gd name="T38" fmla="*/ 242 w 1870"/>
                  <a:gd name="T39" fmla="*/ 1592 h 1746"/>
                  <a:gd name="T40" fmla="*/ 348 w 1870"/>
                  <a:gd name="T41" fmla="*/ 1664 h 1746"/>
                  <a:gd name="T42" fmla="*/ 466 w 1870"/>
                  <a:gd name="T43" fmla="*/ 1716 h 1746"/>
                  <a:gd name="T44" fmla="*/ 596 w 1870"/>
                  <a:gd name="T45" fmla="*/ 1742 h 1746"/>
                  <a:gd name="T46" fmla="*/ 708 w 1870"/>
                  <a:gd name="T47" fmla="*/ 1744 h 1746"/>
                  <a:gd name="T48" fmla="*/ 878 w 1870"/>
                  <a:gd name="T49" fmla="*/ 1710 h 1746"/>
                  <a:gd name="T50" fmla="*/ 1652 w 1870"/>
                  <a:gd name="T51" fmla="*/ 1168 h 1746"/>
                  <a:gd name="T52" fmla="*/ 1722 w 1870"/>
                  <a:gd name="T53" fmla="*/ 1092 h 1746"/>
                  <a:gd name="T54" fmla="*/ 1796 w 1870"/>
                  <a:gd name="T55" fmla="*/ 978 h 1746"/>
                  <a:gd name="T56" fmla="*/ 1846 w 1870"/>
                  <a:gd name="T57" fmla="*/ 848 h 1746"/>
                  <a:gd name="T58" fmla="*/ 1870 w 1870"/>
                  <a:gd name="T59" fmla="*/ 708 h 1746"/>
                  <a:gd name="T60" fmla="*/ 1862 w 1870"/>
                  <a:gd name="T61" fmla="*/ 562 h 1746"/>
                  <a:gd name="T62" fmla="*/ 1796 w 1870"/>
                  <a:gd name="T63" fmla="*/ 362 h 1746"/>
                  <a:gd name="T64" fmla="*/ 1740 w 1870"/>
                  <a:gd name="T65" fmla="*/ 282 h 1746"/>
                  <a:gd name="T66" fmla="*/ 1454 w 1870"/>
                  <a:gd name="T67" fmla="*/ 1314 h 1746"/>
                  <a:gd name="T68" fmla="*/ 1026 w 1870"/>
                  <a:gd name="T69" fmla="*/ 800 h 1746"/>
                  <a:gd name="T70" fmla="*/ 786 w 1870"/>
                  <a:gd name="T71" fmla="*/ 468 h 1746"/>
                  <a:gd name="T72" fmla="*/ 822 w 1870"/>
                  <a:gd name="T73" fmla="*/ 424 h 1746"/>
                  <a:gd name="T74" fmla="*/ 1188 w 1870"/>
                  <a:gd name="T75" fmla="*/ 638 h 1746"/>
                  <a:gd name="T76" fmla="*/ 1218 w 1870"/>
                  <a:gd name="T77" fmla="*/ 636 h 1746"/>
                  <a:gd name="T78" fmla="*/ 1232 w 1870"/>
                  <a:gd name="T79" fmla="*/ 662 h 1746"/>
                  <a:gd name="T80" fmla="*/ 1084 w 1870"/>
                  <a:gd name="T81" fmla="*/ 788 h 1746"/>
                  <a:gd name="T82" fmla="*/ 1496 w 1870"/>
                  <a:gd name="T83" fmla="*/ 1278 h 1746"/>
                  <a:gd name="T84" fmla="*/ 1368 w 1870"/>
                  <a:gd name="T85" fmla="*/ 668 h 1746"/>
                  <a:gd name="T86" fmla="*/ 1302 w 1870"/>
                  <a:gd name="T87" fmla="*/ 682 h 1746"/>
                  <a:gd name="T88" fmla="*/ 1240 w 1870"/>
                  <a:gd name="T89" fmla="*/ 642 h 1746"/>
                  <a:gd name="T90" fmla="*/ 1218 w 1870"/>
                  <a:gd name="T91" fmla="*/ 590 h 1746"/>
                  <a:gd name="T92" fmla="*/ 1232 w 1870"/>
                  <a:gd name="T93" fmla="*/ 526 h 1746"/>
                  <a:gd name="T94" fmla="*/ 1442 w 1870"/>
                  <a:gd name="T95" fmla="*/ 360 h 1746"/>
                  <a:gd name="T96" fmla="*/ 1510 w 1870"/>
                  <a:gd name="T97" fmla="*/ 360 h 1746"/>
                  <a:gd name="T98" fmla="*/ 1556 w 1870"/>
                  <a:gd name="T99" fmla="*/ 396 h 1746"/>
                  <a:gd name="T100" fmla="*/ 1580 w 1870"/>
                  <a:gd name="T101" fmla="*/ 466 h 1746"/>
                  <a:gd name="T102" fmla="*/ 1550 w 1870"/>
                  <a:gd name="T103" fmla="*/ 524 h 17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70" h="1746">
                    <a:moveTo>
                      <a:pt x="1734" y="288"/>
                    </a:moveTo>
                    <a:lnTo>
                      <a:pt x="1620" y="382"/>
                    </a:lnTo>
                    <a:lnTo>
                      <a:pt x="1620" y="382"/>
                    </a:lnTo>
                    <a:lnTo>
                      <a:pt x="1614" y="386"/>
                    </a:lnTo>
                    <a:lnTo>
                      <a:pt x="1606" y="386"/>
                    </a:lnTo>
                    <a:lnTo>
                      <a:pt x="1606" y="386"/>
                    </a:lnTo>
                    <a:lnTo>
                      <a:pt x="1598" y="384"/>
                    </a:lnTo>
                    <a:lnTo>
                      <a:pt x="1590" y="378"/>
                    </a:lnTo>
                    <a:lnTo>
                      <a:pt x="1590" y="378"/>
                    </a:lnTo>
                    <a:lnTo>
                      <a:pt x="1588" y="372"/>
                    </a:lnTo>
                    <a:lnTo>
                      <a:pt x="1586" y="364"/>
                    </a:lnTo>
                    <a:lnTo>
                      <a:pt x="1590" y="356"/>
                    </a:lnTo>
                    <a:lnTo>
                      <a:pt x="1594" y="350"/>
                    </a:lnTo>
                    <a:lnTo>
                      <a:pt x="1710" y="256"/>
                    </a:lnTo>
                    <a:lnTo>
                      <a:pt x="1710" y="256"/>
                    </a:lnTo>
                    <a:lnTo>
                      <a:pt x="1716" y="252"/>
                    </a:lnTo>
                    <a:lnTo>
                      <a:pt x="1724" y="252"/>
                    </a:lnTo>
                    <a:lnTo>
                      <a:pt x="1724" y="252"/>
                    </a:lnTo>
                    <a:lnTo>
                      <a:pt x="1700" y="224"/>
                    </a:lnTo>
                    <a:lnTo>
                      <a:pt x="1676" y="196"/>
                    </a:lnTo>
                    <a:lnTo>
                      <a:pt x="1650" y="172"/>
                    </a:lnTo>
                    <a:lnTo>
                      <a:pt x="1622" y="148"/>
                    </a:lnTo>
                    <a:lnTo>
                      <a:pt x="1592" y="126"/>
                    </a:lnTo>
                    <a:lnTo>
                      <a:pt x="1562" y="104"/>
                    </a:lnTo>
                    <a:lnTo>
                      <a:pt x="1530" y="86"/>
                    </a:lnTo>
                    <a:lnTo>
                      <a:pt x="1498" y="68"/>
                    </a:lnTo>
                    <a:lnTo>
                      <a:pt x="1466" y="52"/>
                    </a:lnTo>
                    <a:lnTo>
                      <a:pt x="1430" y="40"/>
                    </a:lnTo>
                    <a:lnTo>
                      <a:pt x="1396" y="28"/>
                    </a:lnTo>
                    <a:lnTo>
                      <a:pt x="1358" y="18"/>
                    </a:lnTo>
                    <a:lnTo>
                      <a:pt x="1322" y="10"/>
                    </a:lnTo>
                    <a:lnTo>
                      <a:pt x="1284" y="4"/>
                    </a:lnTo>
                    <a:lnTo>
                      <a:pt x="1246" y="2"/>
                    </a:lnTo>
                    <a:lnTo>
                      <a:pt x="1208" y="0"/>
                    </a:lnTo>
                    <a:lnTo>
                      <a:pt x="1208" y="0"/>
                    </a:lnTo>
                    <a:lnTo>
                      <a:pt x="1164" y="2"/>
                    </a:lnTo>
                    <a:lnTo>
                      <a:pt x="1122" y="6"/>
                    </a:lnTo>
                    <a:lnTo>
                      <a:pt x="1082" y="12"/>
                    </a:lnTo>
                    <a:lnTo>
                      <a:pt x="1042" y="22"/>
                    </a:lnTo>
                    <a:lnTo>
                      <a:pt x="1002" y="32"/>
                    </a:lnTo>
                    <a:lnTo>
                      <a:pt x="964" y="46"/>
                    </a:lnTo>
                    <a:lnTo>
                      <a:pt x="926" y="62"/>
                    </a:lnTo>
                    <a:lnTo>
                      <a:pt x="890" y="82"/>
                    </a:lnTo>
                    <a:lnTo>
                      <a:pt x="218" y="578"/>
                    </a:lnTo>
                    <a:lnTo>
                      <a:pt x="218" y="578"/>
                    </a:lnTo>
                    <a:lnTo>
                      <a:pt x="194" y="602"/>
                    </a:lnTo>
                    <a:lnTo>
                      <a:pt x="170" y="626"/>
                    </a:lnTo>
                    <a:lnTo>
                      <a:pt x="148" y="652"/>
                    </a:lnTo>
                    <a:lnTo>
                      <a:pt x="128" y="680"/>
                    </a:lnTo>
                    <a:lnTo>
                      <a:pt x="108" y="708"/>
                    </a:lnTo>
                    <a:lnTo>
                      <a:pt x="90" y="738"/>
                    </a:lnTo>
                    <a:lnTo>
                      <a:pt x="74" y="768"/>
                    </a:lnTo>
                    <a:lnTo>
                      <a:pt x="60" y="798"/>
                    </a:lnTo>
                    <a:lnTo>
                      <a:pt x="46" y="830"/>
                    </a:lnTo>
                    <a:lnTo>
                      <a:pt x="34" y="864"/>
                    </a:lnTo>
                    <a:lnTo>
                      <a:pt x="24" y="898"/>
                    </a:lnTo>
                    <a:lnTo>
                      <a:pt x="16" y="932"/>
                    </a:lnTo>
                    <a:lnTo>
                      <a:pt x="10" y="966"/>
                    </a:lnTo>
                    <a:lnTo>
                      <a:pt x="4" y="1002"/>
                    </a:lnTo>
                    <a:lnTo>
                      <a:pt x="2" y="1038"/>
                    </a:lnTo>
                    <a:lnTo>
                      <a:pt x="0" y="1076"/>
                    </a:lnTo>
                    <a:lnTo>
                      <a:pt x="0" y="1076"/>
                    </a:lnTo>
                    <a:lnTo>
                      <a:pt x="2" y="1110"/>
                    </a:lnTo>
                    <a:lnTo>
                      <a:pt x="4" y="1144"/>
                    </a:lnTo>
                    <a:lnTo>
                      <a:pt x="8" y="1178"/>
                    </a:lnTo>
                    <a:lnTo>
                      <a:pt x="14" y="1210"/>
                    </a:lnTo>
                    <a:lnTo>
                      <a:pt x="22" y="1242"/>
                    </a:lnTo>
                    <a:lnTo>
                      <a:pt x="30" y="1274"/>
                    </a:lnTo>
                    <a:lnTo>
                      <a:pt x="42" y="1306"/>
                    </a:lnTo>
                    <a:lnTo>
                      <a:pt x="54" y="1336"/>
                    </a:lnTo>
                    <a:lnTo>
                      <a:pt x="66" y="1366"/>
                    </a:lnTo>
                    <a:lnTo>
                      <a:pt x="80" y="1394"/>
                    </a:lnTo>
                    <a:lnTo>
                      <a:pt x="96" y="1422"/>
                    </a:lnTo>
                    <a:lnTo>
                      <a:pt x="114" y="1450"/>
                    </a:lnTo>
                    <a:lnTo>
                      <a:pt x="132" y="1476"/>
                    </a:lnTo>
                    <a:lnTo>
                      <a:pt x="152" y="1502"/>
                    </a:lnTo>
                    <a:lnTo>
                      <a:pt x="174" y="1526"/>
                    </a:lnTo>
                    <a:lnTo>
                      <a:pt x="196" y="1550"/>
                    </a:lnTo>
                    <a:lnTo>
                      <a:pt x="218" y="1572"/>
                    </a:lnTo>
                    <a:lnTo>
                      <a:pt x="242" y="1592"/>
                    </a:lnTo>
                    <a:lnTo>
                      <a:pt x="268" y="1612"/>
                    </a:lnTo>
                    <a:lnTo>
                      <a:pt x="294" y="1632"/>
                    </a:lnTo>
                    <a:lnTo>
                      <a:pt x="320" y="1648"/>
                    </a:lnTo>
                    <a:lnTo>
                      <a:pt x="348" y="1664"/>
                    </a:lnTo>
                    <a:lnTo>
                      <a:pt x="376" y="1680"/>
                    </a:lnTo>
                    <a:lnTo>
                      <a:pt x="406" y="1692"/>
                    </a:lnTo>
                    <a:lnTo>
                      <a:pt x="436" y="1704"/>
                    </a:lnTo>
                    <a:lnTo>
                      <a:pt x="466" y="1716"/>
                    </a:lnTo>
                    <a:lnTo>
                      <a:pt x="498" y="1724"/>
                    </a:lnTo>
                    <a:lnTo>
                      <a:pt x="530" y="1732"/>
                    </a:lnTo>
                    <a:lnTo>
                      <a:pt x="564" y="1738"/>
                    </a:lnTo>
                    <a:lnTo>
                      <a:pt x="596" y="1742"/>
                    </a:lnTo>
                    <a:lnTo>
                      <a:pt x="630" y="1744"/>
                    </a:lnTo>
                    <a:lnTo>
                      <a:pt x="664" y="1746"/>
                    </a:lnTo>
                    <a:lnTo>
                      <a:pt x="664" y="1746"/>
                    </a:lnTo>
                    <a:lnTo>
                      <a:pt x="708" y="1744"/>
                    </a:lnTo>
                    <a:lnTo>
                      <a:pt x="752" y="1740"/>
                    </a:lnTo>
                    <a:lnTo>
                      <a:pt x="796" y="1732"/>
                    </a:lnTo>
                    <a:lnTo>
                      <a:pt x="838" y="1722"/>
                    </a:lnTo>
                    <a:lnTo>
                      <a:pt x="878" y="1710"/>
                    </a:lnTo>
                    <a:lnTo>
                      <a:pt x="918" y="1694"/>
                    </a:lnTo>
                    <a:lnTo>
                      <a:pt x="956" y="1676"/>
                    </a:lnTo>
                    <a:lnTo>
                      <a:pt x="994" y="1658"/>
                    </a:lnTo>
                    <a:lnTo>
                      <a:pt x="1652" y="1168"/>
                    </a:lnTo>
                    <a:lnTo>
                      <a:pt x="1652" y="1168"/>
                    </a:lnTo>
                    <a:lnTo>
                      <a:pt x="1678" y="1144"/>
                    </a:lnTo>
                    <a:lnTo>
                      <a:pt x="1700" y="1118"/>
                    </a:lnTo>
                    <a:lnTo>
                      <a:pt x="1722" y="1092"/>
                    </a:lnTo>
                    <a:lnTo>
                      <a:pt x="1744" y="1066"/>
                    </a:lnTo>
                    <a:lnTo>
                      <a:pt x="1762" y="1038"/>
                    </a:lnTo>
                    <a:lnTo>
                      <a:pt x="1780" y="1008"/>
                    </a:lnTo>
                    <a:lnTo>
                      <a:pt x="1796" y="978"/>
                    </a:lnTo>
                    <a:lnTo>
                      <a:pt x="1812" y="946"/>
                    </a:lnTo>
                    <a:lnTo>
                      <a:pt x="1824" y="914"/>
                    </a:lnTo>
                    <a:lnTo>
                      <a:pt x="1836" y="882"/>
                    </a:lnTo>
                    <a:lnTo>
                      <a:pt x="1846" y="848"/>
                    </a:lnTo>
                    <a:lnTo>
                      <a:pt x="1854" y="814"/>
                    </a:lnTo>
                    <a:lnTo>
                      <a:pt x="1862" y="780"/>
                    </a:lnTo>
                    <a:lnTo>
                      <a:pt x="1866" y="744"/>
                    </a:lnTo>
                    <a:lnTo>
                      <a:pt x="1870" y="708"/>
                    </a:lnTo>
                    <a:lnTo>
                      <a:pt x="1870" y="670"/>
                    </a:lnTo>
                    <a:lnTo>
                      <a:pt x="1870" y="670"/>
                    </a:lnTo>
                    <a:lnTo>
                      <a:pt x="1868" y="616"/>
                    </a:lnTo>
                    <a:lnTo>
                      <a:pt x="1862" y="562"/>
                    </a:lnTo>
                    <a:lnTo>
                      <a:pt x="1850" y="510"/>
                    </a:lnTo>
                    <a:lnTo>
                      <a:pt x="1836" y="458"/>
                    </a:lnTo>
                    <a:lnTo>
                      <a:pt x="1818" y="410"/>
                    </a:lnTo>
                    <a:lnTo>
                      <a:pt x="1796" y="362"/>
                    </a:lnTo>
                    <a:lnTo>
                      <a:pt x="1770" y="316"/>
                    </a:lnTo>
                    <a:lnTo>
                      <a:pt x="1742" y="274"/>
                    </a:lnTo>
                    <a:lnTo>
                      <a:pt x="1742" y="274"/>
                    </a:lnTo>
                    <a:lnTo>
                      <a:pt x="1740" y="282"/>
                    </a:lnTo>
                    <a:lnTo>
                      <a:pt x="1734" y="288"/>
                    </a:lnTo>
                    <a:lnTo>
                      <a:pt x="1734" y="288"/>
                    </a:lnTo>
                    <a:close/>
                    <a:moveTo>
                      <a:pt x="1454" y="1314"/>
                    </a:moveTo>
                    <a:lnTo>
                      <a:pt x="1454" y="1314"/>
                    </a:lnTo>
                    <a:lnTo>
                      <a:pt x="1288" y="1120"/>
                    </a:lnTo>
                    <a:lnTo>
                      <a:pt x="1148" y="954"/>
                    </a:lnTo>
                    <a:lnTo>
                      <a:pt x="1082" y="872"/>
                    </a:lnTo>
                    <a:lnTo>
                      <a:pt x="1026" y="800"/>
                    </a:lnTo>
                    <a:lnTo>
                      <a:pt x="1026" y="800"/>
                    </a:lnTo>
                    <a:lnTo>
                      <a:pt x="970" y="728"/>
                    </a:lnTo>
                    <a:lnTo>
                      <a:pt x="910" y="644"/>
                    </a:lnTo>
                    <a:lnTo>
                      <a:pt x="786" y="468"/>
                    </a:lnTo>
                    <a:lnTo>
                      <a:pt x="646" y="264"/>
                    </a:lnTo>
                    <a:lnTo>
                      <a:pt x="692" y="234"/>
                    </a:lnTo>
                    <a:lnTo>
                      <a:pt x="692" y="234"/>
                    </a:lnTo>
                    <a:lnTo>
                      <a:pt x="822" y="424"/>
                    </a:lnTo>
                    <a:lnTo>
                      <a:pt x="938" y="590"/>
                    </a:lnTo>
                    <a:lnTo>
                      <a:pt x="998" y="672"/>
                    </a:lnTo>
                    <a:lnTo>
                      <a:pt x="1052" y="744"/>
                    </a:lnTo>
                    <a:lnTo>
                      <a:pt x="1188" y="638"/>
                    </a:lnTo>
                    <a:lnTo>
                      <a:pt x="1188" y="638"/>
                    </a:lnTo>
                    <a:lnTo>
                      <a:pt x="1198" y="634"/>
                    </a:lnTo>
                    <a:lnTo>
                      <a:pt x="1208" y="632"/>
                    </a:lnTo>
                    <a:lnTo>
                      <a:pt x="1218" y="636"/>
                    </a:lnTo>
                    <a:lnTo>
                      <a:pt x="1226" y="642"/>
                    </a:lnTo>
                    <a:lnTo>
                      <a:pt x="1226" y="642"/>
                    </a:lnTo>
                    <a:lnTo>
                      <a:pt x="1232" y="652"/>
                    </a:lnTo>
                    <a:lnTo>
                      <a:pt x="1232" y="662"/>
                    </a:lnTo>
                    <a:lnTo>
                      <a:pt x="1228" y="672"/>
                    </a:lnTo>
                    <a:lnTo>
                      <a:pt x="1222" y="682"/>
                    </a:lnTo>
                    <a:lnTo>
                      <a:pt x="1084" y="788"/>
                    </a:lnTo>
                    <a:lnTo>
                      <a:pt x="1084" y="788"/>
                    </a:lnTo>
                    <a:lnTo>
                      <a:pt x="1142" y="860"/>
                    </a:lnTo>
                    <a:lnTo>
                      <a:pt x="1208" y="938"/>
                    </a:lnTo>
                    <a:lnTo>
                      <a:pt x="1342" y="1098"/>
                    </a:lnTo>
                    <a:lnTo>
                      <a:pt x="1496" y="1278"/>
                    </a:lnTo>
                    <a:lnTo>
                      <a:pt x="1454" y="1314"/>
                    </a:lnTo>
                    <a:close/>
                    <a:moveTo>
                      <a:pt x="1550" y="524"/>
                    </a:moveTo>
                    <a:lnTo>
                      <a:pt x="1368" y="668"/>
                    </a:lnTo>
                    <a:lnTo>
                      <a:pt x="1368" y="668"/>
                    </a:lnTo>
                    <a:lnTo>
                      <a:pt x="1352" y="678"/>
                    </a:lnTo>
                    <a:lnTo>
                      <a:pt x="1336" y="684"/>
                    </a:lnTo>
                    <a:lnTo>
                      <a:pt x="1320" y="684"/>
                    </a:lnTo>
                    <a:lnTo>
                      <a:pt x="1302" y="682"/>
                    </a:lnTo>
                    <a:lnTo>
                      <a:pt x="1286" y="678"/>
                    </a:lnTo>
                    <a:lnTo>
                      <a:pt x="1270" y="670"/>
                    </a:lnTo>
                    <a:lnTo>
                      <a:pt x="1254" y="658"/>
                    </a:lnTo>
                    <a:lnTo>
                      <a:pt x="1240" y="642"/>
                    </a:lnTo>
                    <a:lnTo>
                      <a:pt x="1240" y="642"/>
                    </a:lnTo>
                    <a:lnTo>
                      <a:pt x="1230" y="626"/>
                    </a:lnTo>
                    <a:lnTo>
                      <a:pt x="1222" y="608"/>
                    </a:lnTo>
                    <a:lnTo>
                      <a:pt x="1218" y="590"/>
                    </a:lnTo>
                    <a:lnTo>
                      <a:pt x="1216" y="572"/>
                    </a:lnTo>
                    <a:lnTo>
                      <a:pt x="1218" y="556"/>
                    </a:lnTo>
                    <a:lnTo>
                      <a:pt x="1224" y="540"/>
                    </a:lnTo>
                    <a:lnTo>
                      <a:pt x="1232" y="526"/>
                    </a:lnTo>
                    <a:lnTo>
                      <a:pt x="1244" y="514"/>
                    </a:lnTo>
                    <a:lnTo>
                      <a:pt x="1428" y="370"/>
                    </a:lnTo>
                    <a:lnTo>
                      <a:pt x="1428" y="370"/>
                    </a:lnTo>
                    <a:lnTo>
                      <a:pt x="1442" y="360"/>
                    </a:lnTo>
                    <a:lnTo>
                      <a:pt x="1458" y="356"/>
                    </a:lnTo>
                    <a:lnTo>
                      <a:pt x="1476" y="354"/>
                    </a:lnTo>
                    <a:lnTo>
                      <a:pt x="1492" y="356"/>
                    </a:lnTo>
                    <a:lnTo>
                      <a:pt x="1510" y="360"/>
                    </a:lnTo>
                    <a:lnTo>
                      <a:pt x="1526" y="370"/>
                    </a:lnTo>
                    <a:lnTo>
                      <a:pt x="1542" y="380"/>
                    </a:lnTo>
                    <a:lnTo>
                      <a:pt x="1556" y="396"/>
                    </a:lnTo>
                    <a:lnTo>
                      <a:pt x="1556" y="396"/>
                    </a:lnTo>
                    <a:lnTo>
                      <a:pt x="1566" y="412"/>
                    </a:lnTo>
                    <a:lnTo>
                      <a:pt x="1574" y="430"/>
                    </a:lnTo>
                    <a:lnTo>
                      <a:pt x="1578" y="448"/>
                    </a:lnTo>
                    <a:lnTo>
                      <a:pt x="1580" y="466"/>
                    </a:lnTo>
                    <a:lnTo>
                      <a:pt x="1578" y="482"/>
                    </a:lnTo>
                    <a:lnTo>
                      <a:pt x="1572" y="498"/>
                    </a:lnTo>
                    <a:lnTo>
                      <a:pt x="1562" y="512"/>
                    </a:lnTo>
                    <a:lnTo>
                      <a:pt x="1550" y="524"/>
                    </a:lnTo>
                    <a:lnTo>
                      <a:pt x="1550" y="5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cxnSp>
          <p:nvCxnSpPr>
            <p:cNvPr id="281" name="Straight Connector 291"/>
            <p:cNvCxnSpPr>
              <a:stCxn id="179" idx="2"/>
              <a:endCxn id="297" idx="18"/>
            </p:cNvCxnSpPr>
            <p:nvPr/>
          </p:nvCxnSpPr>
          <p:spPr>
            <a:xfrm flipH="1" flipV="1">
              <a:off x="4992400" y="3727072"/>
              <a:ext cx="926982" cy="278899"/>
            </a:xfrm>
            <a:prstGeom prst="line">
              <a:avLst/>
            </a:prstGeom>
            <a:ln w="12700">
              <a:solidFill>
                <a:schemeClr val="tx1"/>
              </a:solidFill>
              <a:prstDash val="sysDash"/>
            </a:ln>
          </p:spPr>
          <p:style>
            <a:lnRef idx="2">
              <a:schemeClr val="accent1"/>
            </a:lnRef>
            <a:fillRef idx="0">
              <a:schemeClr val="accent1"/>
            </a:fillRef>
            <a:effectRef idx="1">
              <a:schemeClr val="accent1"/>
            </a:effectRef>
            <a:fontRef idx="minor">
              <a:schemeClr val="tx1"/>
            </a:fontRef>
          </p:style>
        </p:cxnSp>
        <p:cxnSp>
          <p:nvCxnSpPr>
            <p:cNvPr id="282" name="Straight Connector 299"/>
            <p:cNvCxnSpPr>
              <a:stCxn id="250" idx="13"/>
              <a:endCxn id="243" idx="11"/>
            </p:cNvCxnSpPr>
            <p:nvPr/>
          </p:nvCxnSpPr>
          <p:spPr>
            <a:xfrm flipH="1" flipV="1">
              <a:off x="1320151" y="2079267"/>
              <a:ext cx="472022" cy="1207224"/>
            </a:xfrm>
            <a:prstGeom prst="line">
              <a:avLst/>
            </a:prstGeom>
            <a:ln w="12700">
              <a:solidFill>
                <a:schemeClr val="tx1"/>
              </a:solidFill>
              <a:prstDash val="sysDash"/>
            </a:ln>
          </p:spPr>
          <p:style>
            <a:lnRef idx="2">
              <a:schemeClr val="accent1"/>
            </a:lnRef>
            <a:fillRef idx="0">
              <a:schemeClr val="accent1"/>
            </a:fillRef>
            <a:effectRef idx="1">
              <a:schemeClr val="accent1"/>
            </a:effectRef>
            <a:fontRef idx="minor">
              <a:schemeClr val="tx1"/>
            </a:fontRef>
          </p:style>
        </p:cxnSp>
        <p:grpSp>
          <p:nvGrpSpPr>
            <p:cNvPr id="286" name="Gruppieren 297"/>
            <p:cNvGrpSpPr>
              <a:grpSpLocks noChangeAspect="1"/>
            </p:cNvGrpSpPr>
            <p:nvPr/>
          </p:nvGrpSpPr>
          <p:grpSpPr>
            <a:xfrm>
              <a:off x="2555955" y="2976325"/>
              <a:ext cx="431081" cy="332024"/>
              <a:chOff x="-873125" y="3895725"/>
              <a:chExt cx="2749550" cy="2117725"/>
            </a:xfrm>
            <a:solidFill>
              <a:srgbClr val="8DC63F"/>
            </a:solidFill>
          </p:grpSpPr>
          <p:sp>
            <p:nvSpPr>
              <p:cNvPr id="287" name="Freeform 26"/>
              <p:cNvSpPr>
                <a:spLocks/>
              </p:cNvSpPr>
              <p:nvPr/>
            </p:nvSpPr>
            <p:spPr bwMode="auto">
              <a:xfrm>
                <a:off x="254000" y="4505325"/>
                <a:ext cx="1622425" cy="1508125"/>
              </a:xfrm>
              <a:custGeom>
                <a:avLst/>
                <a:gdLst>
                  <a:gd name="T0" fmla="*/ 900 w 1022"/>
                  <a:gd name="T1" fmla="*/ 0 h 950"/>
                  <a:gd name="T2" fmla="*/ 608 w 1022"/>
                  <a:gd name="T3" fmla="*/ 0 h 950"/>
                  <a:gd name="T4" fmla="*/ 122 w 1022"/>
                  <a:gd name="T5" fmla="*/ 0 h 950"/>
                  <a:gd name="T6" fmla="*/ 122 w 1022"/>
                  <a:gd name="T7" fmla="*/ 0 h 950"/>
                  <a:gd name="T8" fmla="*/ 108 w 1022"/>
                  <a:gd name="T9" fmla="*/ 0 h 950"/>
                  <a:gd name="T10" fmla="*/ 96 w 1022"/>
                  <a:gd name="T11" fmla="*/ 2 h 950"/>
                  <a:gd name="T12" fmla="*/ 86 w 1022"/>
                  <a:gd name="T13" fmla="*/ 6 h 950"/>
                  <a:gd name="T14" fmla="*/ 74 w 1022"/>
                  <a:gd name="T15" fmla="*/ 10 h 950"/>
                  <a:gd name="T16" fmla="*/ 54 w 1022"/>
                  <a:gd name="T17" fmla="*/ 20 h 950"/>
                  <a:gd name="T18" fmla="*/ 36 w 1022"/>
                  <a:gd name="T19" fmla="*/ 36 h 950"/>
                  <a:gd name="T20" fmla="*/ 20 w 1022"/>
                  <a:gd name="T21" fmla="*/ 54 h 950"/>
                  <a:gd name="T22" fmla="*/ 8 w 1022"/>
                  <a:gd name="T23" fmla="*/ 74 h 950"/>
                  <a:gd name="T24" fmla="*/ 4 w 1022"/>
                  <a:gd name="T25" fmla="*/ 86 h 950"/>
                  <a:gd name="T26" fmla="*/ 2 w 1022"/>
                  <a:gd name="T27" fmla="*/ 98 h 950"/>
                  <a:gd name="T28" fmla="*/ 0 w 1022"/>
                  <a:gd name="T29" fmla="*/ 110 h 950"/>
                  <a:gd name="T30" fmla="*/ 0 w 1022"/>
                  <a:gd name="T31" fmla="*/ 122 h 950"/>
                  <a:gd name="T32" fmla="*/ 0 w 1022"/>
                  <a:gd name="T33" fmla="*/ 620 h 950"/>
                  <a:gd name="T34" fmla="*/ 0 w 1022"/>
                  <a:gd name="T35" fmla="*/ 666 h 950"/>
                  <a:gd name="T36" fmla="*/ 0 w 1022"/>
                  <a:gd name="T37" fmla="*/ 666 h 950"/>
                  <a:gd name="T38" fmla="*/ 0 w 1022"/>
                  <a:gd name="T39" fmla="*/ 680 h 950"/>
                  <a:gd name="T40" fmla="*/ 2 w 1022"/>
                  <a:gd name="T41" fmla="*/ 692 h 950"/>
                  <a:gd name="T42" fmla="*/ 4 w 1022"/>
                  <a:gd name="T43" fmla="*/ 702 h 950"/>
                  <a:gd name="T44" fmla="*/ 8 w 1022"/>
                  <a:gd name="T45" fmla="*/ 714 h 950"/>
                  <a:gd name="T46" fmla="*/ 20 w 1022"/>
                  <a:gd name="T47" fmla="*/ 734 h 950"/>
                  <a:gd name="T48" fmla="*/ 36 w 1022"/>
                  <a:gd name="T49" fmla="*/ 752 h 950"/>
                  <a:gd name="T50" fmla="*/ 54 w 1022"/>
                  <a:gd name="T51" fmla="*/ 768 h 950"/>
                  <a:gd name="T52" fmla="*/ 74 w 1022"/>
                  <a:gd name="T53" fmla="*/ 778 h 950"/>
                  <a:gd name="T54" fmla="*/ 86 w 1022"/>
                  <a:gd name="T55" fmla="*/ 784 h 950"/>
                  <a:gd name="T56" fmla="*/ 96 w 1022"/>
                  <a:gd name="T57" fmla="*/ 786 h 950"/>
                  <a:gd name="T58" fmla="*/ 108 w 1022"/>
                  <a:gd name="T59" fmla="*/ 788 h 950"/>
                  <a:gd name="T60" fmla="*/ 122 w 1022"/>
                  <a:gd name="T61" fmla="*/ 788 h 950"/>
                  <a:gd name="T62" fmla="*/ 602 w 1022"/>
                  <a:gd name="T63" fmla="*/ 788 h 950"/>
                  <a:gd name="T64" fmla="*/ 930 w 1022"/>
                  <a:gd name="T65" fmla="*/ 950 h 950"/>
                  <a:gd name="T66" fmla="*/ 836 w 1022"/>
                  <a:gd name="T67" fmla="*/ 788 h 950"/>
                  <a:gd name="T68" fmla="*/ 900 w 1022"/>
                  <a:gd name="T69" fmla="*/ 788 h 950"/>
                  <a:gd name="T70" fmla="*/ 900 w 1022"/>
                  <a:gd name="T71" fmla="*/ 788 h 950"/>
                  <a:gd name="T72" fmla="*/ 912 w 1022"/>
                  <a:gd name="T73" fmla="*/ 788 h 950"/>
                  <a:gd name="T74" fmla="*/ 924 w 1022"/>
                  <a:gd name="T75" fmla="*/ 786 h 950"/>
                  <a:gd name="T76" fmla="*/ 936 w 1022"/>
                  <a:gd name="T77" fmla="*/ 784 h 950"/>
                  <a:gd name="T78" fmla="*/ 948 w 1022"/>
                  <a:gd name="T79" fmla="*/ 778 h 950"/>
                  <a:gd name="T80" fmla="*/ 968 w 1022"/>
                  <a:gd name="T81" fmla="*/ 768 h 950"/>
                  <a:gd name="T82" fmla="*/ 986 w 1022"/>
                  <a:gd name="T83" fmla="*/ 752 h 950"/>
                  <a:gd name="T84" fmla="*/ 1000 w 1022"/>
                  <a:gd name="T85" fmla="*/ 734 h 950"/>
                  <a:gd name="T86" fmla="*/ 1012 w 1022"/>
                  <a:gd name="T87" fmla="*/ 714 h 950"/>
                  <a:gd name="T88" fmla="*/ 1016 w 1022"/>
                  <a:gd name="T89" fmla="*/ 702 h 950"/>
                  <a:gd name="T90" fmla="*/ 1020 w 1022"/>
                  <a:gd name="T91" fmla="*/ 692 h 950"/>
                  <a:gd name="T92" fmla="*/ 1022 w 1022"/>
                  <a:gd name="T93" fmla="*/ 680 h 950"/>
                  <a:gd name="T94" fmla="*/ 1022 w 1022"/>
                  <a:gd name="T95" fmla="*/ 666 h 950"/>
                  <a:gd name="T96" fmla="*/ 1022 w 1022"/>
                  <a:gd name="T97" fmla="*/ 122 h 950"/>
                  <a:gd name="T98" fmla="*/ 1022 w 1022"/>
                  <a:gd name="T99" fmla="*/ 122 h 950"/>
                  <a:gd name="T100" fmla="*/ 1022 w 1022"/>
                  <a:gd name="T101" fmla="*/ 110 h 950"/>
                  <a:gd name="T102" fmla="*/ 1020 w 1022"/>
                  <a:gd name="T103" fmla="*/ 98 h 950"/>
                  <a:gd name="T104" fmla="*/ 1016 w 1022"/>
                  <a:gd name="T105" fmla="*/ 86 h 950"/>
                  <a:gd name="T106" fmla="*/ 1012 w 1022"/>
                  <a:gd name="T107" fmla="*/ 74 h 950"/>
                  <a:gd name="T108" fmla="*/ 1000 w 1022"/>
                  <a:gd name="T109" fmla="*/ 54 h 950"/>
                  <a:gd name="T110" fmla="*/ 986 w 1022"/>
                  <a:gd name="T111" fmla="*/ 36 h 950"/>
                  <a:gd name="T112" fmla="*/ 968 w 1022"/>
                  <a:gd name="T113" fmla="*/ 20 h 950"/>
                  <a:gd name="T114" fmla="*/ 948 w 1022"/>
                  <a:gd name="T115" fmla="*/ 10 h 950"/>
                  <a:gd name="T116" fmla="*/ 936 w 1022"/>
                  <a:gd name="T117" fmla="*/ 6 h 950"/>
                  <a:gd name="T118" fmla="*/ 924 w 1022"/>
                  <a:gd name="T119" fmla="*/ 2 h 950"/>
                  <a:gd name="T120" fmla="*/ 912 w 1022"/>
                  <a:gd name="T121" fmla="*/ 0 h 950"/>
                  <a:gd name="T122" fmla="*/ 900 w 1022"/>
                  <a:gd name="T123" fmla="*/ 0 h 950"/>
                  <a:gd name="T124" fmla="*/ 900 w 1022"/>
                  <a:gd name="T125" fmla="*/ 0 h 9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22" h="950">
                    <a:moveTo>
                      <a:pt x="900" y="0"/>
                    </a:moveTo>
                    <a:lnTo>
                      <a:pt x="608" y="0"/>
                    </a:lnTo>
                    <a:lnTo>
                      <a:pt x="122" y="0"/>
                    </a:lnTo>
                    <a:lnTo>
                      <a:pt x="122" y="0"/>
                    </a:lnTo>
                    <a:lnTo>
                      <a:pt x="108" y="0"/>
                    </a:lnTo>
                    <a:lnTo>
                      <a:pt x="96" y="2"/>
                    </a:lnTo>
                    <a:lnTo>
                      <a:pt x="86" y="6"/>
                    </a:lnTo>
                    <a:lnTo>
                      <a:pt x="74" y="10"/>
                    </a:lnTo>
                    <a:lnTo>
                      <a:pt x="54" y="20"/>
                    </a:lnTo>
                    <a:lnTo>
                      <a:pt x="36" y="36"/>
                    </a:lnTo>
                    <a:lnTo>
                      <a:pt x="20" y="54"/>
                    </a:lnTo>
                    <a:lnTo>
                      <a:pt x="8" y="74"/>
                    </a:lnTo>
                    <a:lnTo>
                      <a:pt x="4" y="86"/>
                    </a:lnTo>
                    <a:lnTo>
                      <a:pt x="2" y="98"/>
                    </a:lnTo>
                    <a:lnTo>
                      <a:pt x="0" y="110"/>
                    </a:lnTo>
                    <a:lnTo>
                      <a:pt x="0" y="122"/>
                    </a:lnTo>
                    <a:lnTo>
                      <a:pt x="0" y="620"/>
                    </a:lnTo>
                    <a:lnTo>
                      <a:pt x="0" y="666"/>
                    </a:lnTo>
                    <a:lnTo>
                      <a:pt x="0" y="666"/>
                    </a:lnTo>
                    <a:lnTo>
                      <a:pt x="0" y="680"/>
                    </a:lnTo>
                    <a:lnTo>
                      <a:pt x="2" y="692"/>
                    </a:lnTo>
                    <a:lnTo>
                      <a:pt x="4" y="702"/>
                    </a:lnTo>
                    <a:lnTo>
                      <a:pt x="8" y="714"/>
                    </a:lnTo>
                    <a:lnTo>
                      <a:pt x="20" y="734"/>
                    </a:lnTo>
                    <a:lnTo>
                      <a:pt x="36" y="752"/>
                    </a:lnTo>
                    <a:lnTo>
                      <a:pt x="54" y="768"/>
                    </a:lnTo>
                    <a:lnTo>
                      <a:pt x="74" y="778"/>
                    </a:lnTo>
                    <a:lnTo>
                      <a:pt x="86" y="784"/>
                    </a:lnTo>
                    <a:lnTo>
                      <a:pt x="96" y="786"/>
                    </a:lnTo>
                    <a:lnTo>
                      <a:pt x="108" y="788"/>
                    </a:lnTo>
                    <a:lnTo>
                      <a:pt x="122" y="788"/>
                    </a:lnTo>
                    <a:lnTo>
                      <a:pt x="602" y="788"/>
                    </a:lnTo>
                    <a:lnTo>
                      <a:pt x="930" y="950"/>
                    </a:lnTo>
                    <a:lnTo>
                      <a:pt x="836" y="788"/>
                    </a:lnTo>
                    <a:lnTo>
                      <a:pt x="900" y="788"/>
                    </a:lnTo>
                    <a:lnTo>
                      <a:pt x="900" y="788"/>
                    </a:lnTo>
                    <a:lnTo>
                      <a:pt x="912" y="788"/>
                    </a:lnTo>
                    <a:lnTo>
                      <a:pt x="924" y="786"/>
                    </a:lnTo>
                    <a:lnTo>
                      <a:pt x="936" y="784"/>
                    </a:lnTo>
                    <a:lnTo>
                      <a:pt x="948" y="778"/>
                    </a:lnTo>
                    <a:lnTo>
                      <a:pt x="968" y="768"/>
                    </a:lnTo>
                    <a:lnTo>
                      <a:pt x="986" y="752"/>
                    </a:lnTo>
                    <a:lnTo>
                      <a:pt x="1000" y="734"/>
                    </a:lnTo>
                    <a:lnTo>
                      <a:pt x="1012" y="714"/>
                    </a:lnTo>
                    <a:lnTo>
                      <a:pt x="1016" y="702"/>
                    </a:lnTo>
                    <a:lnTo>
                      <a:pt x="1020" y="692"/>
                    </a:lnTo>
                    <a:lnTo>
                      <a:pt x="1022" y="680"/>
                    </a:lnTo>
                    <a:lnTo>
                      <a:pt x="1022" y="666"/>
                    </a:lnTo>
                    <a:lnTo>
                      <a:pt x="1022" y="122"/>
                    </a:lnTo>
                    <a:lnTo>
                      <a:pt x="1022" y="122"/>
                    </a:lnTo>
                    <a:lnTo>
                      <a:pt x="1022" y="110"/>
                    </a:lnTo>
                    <a:lnTo>
                      <a:pt x="1020" y="98"/>
                    </a:lnTo>
                    <a:lnTo>
                      <a:pt x="1016" y="86"/>
                    </a:lnTo>
                    <a:lnTo>
                      <a:pt x="1012" y="74"/>
                    </a:lnTo>
                    <a:lnTo>
                      <a:pt x="1000" y="54"/>
                    </a:lnTo>
                    <a:lnTo>
                      <a:pt x="986" y="36"/>
                    </a:lnTo>
                    <a:lnTo>
                      <a:pt x="968" y="20"/>
                    </a:lnTo>
                    <a:lnTo>
                      <a:pt x="948" y="10"/>
                    </a:lnTo>
                    <a:lnTo>
                      <a:pt x="936" y="6"/>
                    </a:lnTo>
                    <a:lnTo>
                      <a:pt x="924" y="2"/>
                    </a:lnTo>
                    <a:lnTo>
                      <a:pt x="912" y="0"/>
                    </a:lnTo>
                    <a:lnTo>
                      <a:pt x="900" y="0"/>
                    </a:lnTo>
                    <a:lnTo>
                      <a:pt x="900" y="0"/>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288" name="Freeform 27"/>
              <p:cNvSpPr>
                <a:spLocks/>
              </p:cNvSpPr>
              <p:nvPr/>
            </p:nvSpPr>
            <p:spPr bwMode="auto">
              <a:xfrm>
                <a:off x="-873125" y="3895725"/>
                <a:ext cx="2092325" cy="1914525"/>
              </a:xfrm>
              <a:custGeom>
                <a:avLst/>
                <a:gdLst>
                  <a:gd name="T0" fmla="*/ 1318 w 1318"/>
                  <a:gd name="T1" fmla="*/ 356 h 1206"/>
                  <a:gd name="T2" fmla="*/ 1318 w 1318"/>
                  <a:gd name="T3" fmla="*/ 168 h 1206"/>
                  <a:gd name="T4" fmla="*/ 1316 w 1318"/>
                  <a:gd name="T5" fmla="*/ 134 h 1206"/>
                  <a:gd name="T6" fmla="*/ 1306 w 1318"/>
                  <a:gd name="T7" fmla="*/ 102 h 1206"/>
                  <a:gd name="T8" fmla="*/ 1290 w 1318"/>
                  <a:gd name="T9" fmla="*/ 74 h 1206"/>
                  <a:gd name="T10" fmla="*/ 1270 w 1318"/>
                  <a:gd name="T11" fmla="*/ 50 h 1206"/>
                  <a:gd name="T12" fmla="*/ 1244 w 1318"/>
                  <a:gd name="T13" fmla="*/ 28 h 1206"/>
                  <a:gd name="T14" fmla="*/ 1216 w 1318"/>
                  <a:gd name="T15" fmla="*/ 14 h 1206"/>
                  <a:gd name="T16" fmla="*/ 1184 w 1318"/>
                  <a:gd name="T17" fmla="*/ 4 h 1206"/>
                  <a:gd name="T18" fmla="*/ 1152 w 1318"/>
                  <a:gd name="T19" fmla="*/ 0 h 1206"/>
                  <a:gd name="T20" fmla="*/ 220 w 1318"/>
                  <a:gd name="T21" fmla="*/ 0 h 1206"/>
                  <a:gd name="T22" fmla="*/ 168 w 1318"/>
                  <a:gd name="T23" fmla="*/ 0 h 1206"/>
                  <a:gd name="T24" fmla="*/ 134 w 1318"/>
                  <a:gd name="T25" fmla="*/ 4 h 1206"/>
                  <a:gd name="T26" fmla="*/ 102 w 1318"/>
                  <a:gd name="T27" fmla="*/ 14 h 1206"/>
                  <a:gd name="T28" fmla="*/ 74 w 1318"/>
                  <a:gd name="T29" fmla="*/ 28 h 1206"/>
                  <a:gd name="T30" fmla="*/ 50 w 1318"/>
                  <a:gd name="T31" fmla="*/ 50 h 1206"/>
                  <a:gd name="T32" fmla="*/ 28 w 1318"/>
                  <a:gd name="T33" fmla="*/ 74 h 1206"/>
                  <a:gd name="T34" fmla="*/ 14 w 1318"/>
                  <a:gd name="T35" fmla="*/ 102 h 1206"/>
                  <a:gd name="T36" fmla="*/ 4 w 1318"/>
                  <a:gd name="T37" fmla="*/ 134 h 1206"/>
                  <a:gd name="T38" fmla="*/ 0 w 1318"/>
                  <a:gd name="T39" fmla="*/ 168 h 1206"/>
                  <a:gd name="T40" fmla="*/ 0 w 1318"/>
                  <a:gd name="T41" fmla="*/ 836 h 1206"/>
                  <a:gd name="T42" fmla="*/ 2 w 1318"/>
                  <a:gd name="T43" fmla="*/ 854 h 1206"/>
                  <a:gd name="T44" fmla="*/ 8 w 1318"/>
                  <a:gd name="T45" fmla="*/ 886 h 1206"/>
                  <a:gd name="T46" fmla="*/ 20 w 1318"/>
                  <a:gd name="T47" fmla="*/ 916 h 1206"/>
                  <a:gd name="T48" fmla="*/ 38 w 1318"/>
                  <a:gd name="T49" fmla="*/ 942 h 1206"/>
                  <a:gd name="T50" fmla="*/ 62 w 1318"/>
                  <a:gd name="T51" fmla="*/ 966 h 1206"/>
                  <a:gd name="T52" fmla="*/ 88 w 1318"/>
                  <a:gd name="T53" fmla="*/ 984 h 1206"/>
                  <a:gd name="T54" fmla="*/ 118 w 1318"/>
                  <a:gd name="T55" fmla="*/ 996 h 1206"/>
                  <a:gd name="T56" fmla="*/ 150 w 1318"/>
                  <a:gd name="T57" fmla="*/ 1002 h 1206"/>
                  <a:gd name="T58" fmla="*/ 220 w 1318"/>
                  <a:gd name="T59" fmla="*/ 1004 h 1206"/>
                  <a:gd name="T60" fmla="*/ 550 w 1318"/>
                  <a:gd name="T61" fmla="*/ 1004 h 1206"/>
                  <a:gd name="T62" fmla="*/ 680 w 1318"/>
                  <a:gd name="T63" fmla="*/ 506 h 1206"/>
                  <a:gd name="T64" fmla="*/ 682 w 1318"/>
                  <a:gd name="T65" fmla="*/ 490 h 1206"/>
                  <a:gd name="T66" fmla="*/ 688 w 1318"/>
                  <a:gd name="T67" fmla="*/ 460 h 1206"/>
                  <a:gd name="T68" fmla="*/ 700 w 1318"/>
                  <a:gd name="T69" fmla="*/ 434 h 1206"/>
                  <a:gd name="T70" fmla="*/ 716 w 1318"/>
                  <a:gd name="T71" fmla="*/ 410 h 1206"/>
                  <a:gd name="T72" fmla="*/ 736 w 1318"/>
                  <a:gd name="T73" fmla="*/ 390 h 1206"/>
                  <a:gd name="T74" fmla="*/ 760 w 1318"/>
                  <a:gd name="T75" fmla="*/ 374 h 1206"/>
                  <a:gd name="T76" fmla="*/ 786 w 1318"/>
                  <a:gd name="T77" fmla="*/ 362 h 1206"/>
                  <a:gd name="T78" fmla="*/ 816 w 1318"/>
                  <a:gd name="T79" fmla="*/ 356 h 1206"/>
                  <a:gd name="T80" fmla="*/ 832 w 1318"/>
                  <a:gd name="T81" fmla="*/ 356 h 1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318" h="1206">
                    <a:moveTo>
                      <a:pt x="832" y="356"/>
                    </a:moveTo>
                    <a:lnTo>
                      <a:pt x="1318" y="356"/>
                    </a:lnTo>
                    <a:lnTo>
                      <a:pt x="1318" y="168"/>
                    </a:lnTo>
                    <a:lnTo>
                      <a:pt x="1318" y="168"/>
                    </a:lnTo>
                    <a:lnTo>
                      <a:pt x="1318" y="150"/>
                    </a:lnTo>
                    <a:lnTo>
                      <a:pt x="1316" y="134"/>
                    </a:lnTo>
                    <a:lnTo>
                      <a:pt x="1312" y="118"/>
                    </a:lnTo>
                    <a:lnTo>
                      <a:pt x="1306" y="102"/>
                    </a:lnTo>
                    <a:lnTo>
                      <a:pt x="1298" y="88"/>
                    </a:lnTo>
                    <a:lnTo>
                      <a:pt x="1290" y="74"/>
                    </a:lnTo>
                    <a:lnTo>
                      <a:pt x="1280" y="62"/>
                    </a:lnTo>
                    <a:lnTo>
                      <a:pt x="1270" y="50"/>
                    </a:lnTo>
                    <a:lnTo>
                      <a:pt x="1258" y="38"/>
                    </a:lnTo>
                    <a:lnTo>
                      <a:pt x="1244" y="28"/>
                    </a:lnTo>
                    <a:lnTo>
                      <a:pt x="1230" y="20"/>
                    </a:lnTo>
                    <a:lnTo>
                      <a:pt x="1216" y="14"/>
                    </a:lnTo>
                    <a:lnTo>
                      <a:pt x="1200" y="8"/>
                    </a:lnTo>
                    <a:lnTo>
                      <a:pt x="1184" y="4"/>
                    </a:lnTo>
                    <a:lnTo>
                      <a:pt x="1168" y="2"/>
                    </a:lnTo>
                    <a:lnTo>
                      <a:pt x="1152" y="0"/>
                    </a:lnTo>
                    <a:lnTo>
                      <a:pt x="550" y="0"/>
                    </a:lnTo>
                    <a:lnTo>
                      <a:pt x="220" y="0"/>
                    </a:lnTo>
                    <a:lnTo>
                      <a:pt x="168" y="0"/>
                    </a:lnTo>
                    <a:lnTo>
                      <a:pt x="168" y="0"/>
                    </a:lnTo>
                    <a:lnTo>
                      <a:pt x="150" y="2"/>
                    </a:lnTo>
                    <a:lnTo>
                      <a:pt x="134" y="4"/>
                    </a:lnTo>
                    <a:lnTo>
                      <a:pt x="118" y="8"/>
                    </a:lnTo>
                    <a:lnTo>
                      <a:pt x="102" y="14"/>
                    </a:lnTo>
                    <a:lnTo>
                      <a:pt x="88" y="20"/>
                    </a:lnTo>
                    <a:lnTo>
                      <a:pt x="74" y="28"/>
                    </a:lnTo>
                    <a:lnTo>
                      <a:pt x="62" y="38"/>
                    </a:lnTo>
                    <a:lnTo>
                      <a:pt x="50" y="50"/>
                    </a:lnTo>
                    <a:lnTo>
                      <a:pt x="38" y="62"/>
                    </a:lnTo>
                    <a:lnTo>
                      <a:pt x="28" y="74"/>
                    </a:lnTo>
                    <a:lnTo>
                      <a:pt x="20" y="88"/>
                    </a:lnTo>
                    <a:lnTo>
                      <a:pt x="14" y="102"/>
                    </a:lnTo>
                    <a:lnTo>
                      <a:pt x="8" y="118"/>
                    </a:lnTo>
                    <a:lnTo>
                      <a:pt x="4" y="134"/>
                    </a:lnTo>
                    <a:lnTo>
                      <a:pt x="2" y="150"/>
                    </a:lnTo>
                    <a:lnTo>
                      <a:pt x="0" y="168"/>
                    </a:lnTo>
                    <a:lnTo>
                      <a:pt x="0" y="586"/>
                    </a:lnTo>
                    <a:lnTo>
                      <a:pt x="0" y="836"/>
                    </a:lnTo>
                    <a:lnTo>
                      <a:pt x="0" y="836"/>
                    </a:lnTo>
                    <a:lnTo>
                      <a:pt x="2" y="854"/>
                    </a:lnTo>
                    <a:lnTo>
                      <a:pt x="4" y="870"/>
                    </a:lnTo>
                    <a:lnTo>
                      <a:pt x="8" y="886"/>
                    </a:lnTo>
                    <a:lnTo>
                      <a:pt x="14" y="902"/>
                    </a:lnTo>
                    <a:lnTo>
                      <a:pt x="20" y="916"/>
                    </a:lnTo>
                    <a:lnTo>
                      <a:pt x="28" y="930"/>
                    </a:lnTo>
                    <a:lnTo>
                      <a:pt x="38" y="942"/>
                    </a:lnTo>
                    <a:lnTo>
                      <a:pt x="50" y="954"/>
                    </a:lnTo>
                    <a:lnTo>
                      <a:pt x="62" y="966"/>
                    </a:lnTo>
                    <a:lnTo>
                      <a:pt x="74" y="976"/>
                    </a:lnTo>
                    <a:lnTo>
                      <a:pt x="88" y="984"/>
                    </a:lnTo>
                    <a:lnTo>
                      <a:pt x="102" y="990"/>
                    </a:lnTo>
                    <a:lnTo>
                      <a:pt x="118" y="996"/>
                    </a:lnTo>
                    <a:lnTo>
                      <a:pt x="134" y="1000"/>
                    </a:lnTo>
                    <a:lnTo>
                      <a:pt x="150" y="1002"/>
                    </a:lnTo>
                    <a:lnTo>
                      <a:pt x="168" y="1004"/>
                    </a:lnTo>
                    <a:lnTo>
                      <a:pt x="220" y="1004"/>
                    </a:lnTo>
                    <a:lnTo>
                      <a:pt x="64" y="1206"/>
                    </a:lnTo>
                    <a:lnTo>
                      <a:pt x="550" y="1004"/>
                    </a:lnTo>
                    <a:lnTo>
                      <a:pt x="680" y="1004"/>
                    </a:lnTo>
                    <a:lnTo>
                      <a:pt x="680" y="506"/>
                    </a:lnTo>
                    <a:lnTo>
                      <a:pt x="680" y="506"/>
                    </a:lnTo>
                    <a:lnTo>
                      <a:pt x="682" y="490"/>
                    </a:lnTo>
                    <a:lnTo>
                      <a:pt x="684" y="476"/>
                    </a:lnTo>
                    <a:lnTo>
                      <a:pt x="688" y="460"/>
                    </a:lnTo>
                    <a:lnTo>
                      <a:pt x="692" y="448"/>
                    </a:lnTo>
                    <a:lnTo>
                      <a:pt x="700" y="434"/>
                    </a:lnTo>
                    <a:lnTo>
                      <a:pt x="706" y="422"/>
                    </a:lnTo>
                    <a:lnTo>
                      <a:pt x="716" y="410"/>
                    </a:lnTo>
                    <a:lnTo>
                      <a:pt x="724" y="400"/>
                    </a:lnTo>
                    <a:lnTo>
                      <a:pt x="736" y="390"/>
                    </a:lnTo>
                    <a:lnTo>
                      <a:pt x="748" y="380"/>
                    </a:lnTo>
                    <a:lnTo>
                      <a:pt x="760" y="374"/>
                    </a:lnTo>
                    <a:lnTo>
                      <a:pt x="772" y="368"/>
                    </a:lnTo>
                    <a:lnTo>
                      <a:pt x="786" y="362"/>
                    </a:lnTo>
                    <a:lnTo>
                      <a:pt x="802" y="358"/>
                    </a:lnTo>
                    <a:lnTo>
                      <a:pt x="816" y="356"/>
                    </a:lnTo>
                    <a:lnTo>
                      <a:pt x="832" y="356"/>
                    </a:lnTo>
                    <a:lnTo>
                      <a:pt x="832" y="356"/>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cxnSp>
          <p:nvCxnSpPr>
            <p:cNvPr id="289" name="Straight Connector 323"/>
            <p:cNvCxnSpPr>
              <a:stCxn id="288" idx="10"/>
              <a:endCxn id="305" idx="4"/>
            </p:cNvCxnSpPr>
            <p:nvPr/>
          </p:nvCxnSpPr>
          <p:spPr>
            <a:xfrm flipH="1" flipV="1">
              <a:off x="2034489" y="2523484"/>
              <a:ext cx="576222" cy="452841"/>
            </a:xfrm>
            <a:prstGeom prst="line">
              <a:avLst/>
            </a:prstGeom>
            <a:ln w="12700">
              <a:solidFill>
                <a:schemeClr val="tx1"/>
              </a:solidFill>
              <a:prstDash val="sysDash"/>
            </a:ln>
          </p:spPr>
          <p:style>
            <a:lnRef idx="2">
              <a:schemeClr val="accent1"/>
            </a:lnRef>
            <a:fillRef idx="0">
              <a:schemeClr val="accent1"/>
            </a:fillRef>
            <a:effectRef idx="1">
              <a:schemeClr val="accent1"/>
            </a:effectRef>
            <a:fontRef idx="minor">
              <a:schemeClr val="tx1"/>
            </a:fontRef>
          </p:style>
        </p:cxnSp>
        <p:cxnSp>
          <p:nvCxnSpPr>
            <p:cNvPr id="290" name="Straight Connector 325"/>
            <p:cNvCxnSpPr>
              <a:endCxn id="273" idx="8"/>
            </p:cNvCxnSpPr>
            <p:nvPr/>
          </p:nvCxnSpPr>
          <p:spPr>
            <a:xfrm>
              <a:off x="2710000" y="3964654"/>
              <a:ext cx="561981" cy="454819"/>
            </a:xfrm>
            <a:prstGeom prst="line">
              <a:avLst/>
            </a:prstGeom>
            <a:ln w="12700">
              <a:solidFill>
                <a:schemeClr val="tx1"/>
              </a:solidFill>
              <a:prstDash val="sysDash"/>
            </a:ln>
          </p:spPr>
          <p:style>
            <a:lnRef idx="2">
              <a:schemeClr val="accent1"/>
            </a:lnRef>
            <a:fillRef idx="0">
              <a:schemeClr val="accent1"/>
            </a:fillRef>
            <a:effectRef idx="1">
              <a:schemeClr val="accent1"/>
            </a:effectRef>
            <a:fontRef idx="minor">
              <a:schemeClr val="tx1"/>
            </a:fontRef>
          </p:style>
        </p:cxnSp>
        <p:cxnSp>
          <p:nvCxnSpPr>
            <p:cNvPr id="291" name="Straight Connector 331"/>
            <p:cNvCxnSpPr>
              <a:stCxn id="272" idx="30"/>
              <a:endCxn id="287" idx="47"/>
            </p:cNvCxnSpPr>
            <p:nvPr/>
          </p:nvCxnSpPr>
          <p:spPr>
            <a:xfrm flipH="1" flipV="1">
              <a:off x="2987036" y="3237663"/>
              <a:ext cx="277907" cy="255965"/>
            </a:xfrm>
            <a:prstGeom prst="line">
              <a:avLst/>
            </a:prstGeom>
            <a:ln w="12700">
              <a:solidFill>
                <a:schemeClr val="tx1"/>
              </a:solidFill>
              <a:prstDash val="sysDash"/>
            </a:ln>
          </p:spPr>
          <p:style>
            <a:lnRef idx="2">
              <a:schemeClr val="accent1"/>
            </a:lnRef>
            <a:fillRef idx="0">
              <a:schemeClr val="accent1"/>
            </a:fillRef>
            <a:effectRef idx="1">
              <a:schemeClr val="accent1"/>
            </a:effectRef>
            <a:fontRef idx="minor">
              <a:schemeClr val="tx1"/>
            </a:fontRef>
          </p:style>
        </p:cxnSp>
        <p:cxnSp>
          <p:nvCxnSpPr>
            <p:cNvPr id="293" name="Straight Connector 339"/>
            <p:cNvCxnSpPr>
              <a:stCxn id="306" idx="31"/>
              <a:endCxn id="309" idx="2"/>
            </p:cNvCxnSpPr>
            <p:nvPr/>
          </p:nvCxnSpPr>
          <p:spPr>
            <a:xfrm flipH="1" flipV="1">
              <a:off x="2320431" y="1620306"/>
              <a:ext cx="552579" cy="632415"/>
            </a:xfrm>
            <a:prstGeom prst="line">
              <a:avLst/>
            </a:prstGeom>
            <a:ln w="12700">
              <a:solidFill>
                <a:schemeClr val="tx1"/>
              </a:solidFill>
              <a:prstDash val="sysDash"/>
            </a:ln>
          </p:spPr>
          <p:style>
            <a:lnRef idx="2">
              <a:schemeClr val="accent1"/>
            </a:lnRef>
            <a:fillRef idx="0">
              <a:schemeClr val="accent1"/>
            </a:fillRef>
            <a:effectRef idx="1">
              <a:schemeClr val="accent1"/>
            </a:effectRef>
            <a:fontRef idx="minor">
              <a:schemeClr val="tx1"/>
            </a:fontRef>
          </p:style>
        </p:cxnSp>
        <p:cxnSp>
          <p:nvCxnSpPr>
            <p:cNvPr id="294" name="Straight Connector 342"/>
            <p:cNvCxnSpPr>
              <a:stCxn id="348" idx="49"/>
              <a:endCxn id="248" idx="32"/>
            </p:cNvCxnSpPr>
            <p:nvPr/>
          </p:nvCxnSpPr>
          <p:spPr>
            <a:xfrm flipV="1">
              <a:off x="3292011" y="1844267"/>
              <a:ext cx="340029" cy="534424"/>
            </a:xfrm>
            <a:prstGeom prst="line">
              <a:avLst/>
            </a:prstGeom>
            <a:ln w="12700">
              <a:solidFill>
                <a:schemeClr val="tx1"/>
              </a:solidFill>
              <a:prstDash val="sysDash"/>
            </a:ln>
          </p:spPr>
          <p:style>
            <a:lnRef idx="2">
              <a:schemeClr val="accent1"/>
            </a:lnRef>
            <a:fillRef idx="0">
              <a:schemeClr val="accent1"/>
            </a:fillRef>
            <a:effectRef idx="1">
              <a:schemeClr val="accent1"/>
            </a:effectRef>
            <a:fontRef idx="minor">
              <a:schemeClr val="tx1"/>
            </a:fontRef>
          </p:style>
        </p:cxnSp>
        <p:cxnSp>
          <p:nvCxnSpPr>
            <p:cNvPr id="295" name="Straight Connector 349"/>
            <p:cNvCxnSpPr>
              <a:stCxn id="316" idx="50"/>
            </p:cNvCxnSpPr>
            <p:nvPr/>
          </p:nvCxnSpPr>
          <p:spPr>
            <a:xfrm flipV="1">
              <a:off x="6590065" y="1726452"/>
              <a:ext cx="290303" cy="1372539"/>
            </a:xfrm>
            <a:prstGeom prst="line">
              <a:avLst/>
            </a:prstGeom>
            <a:ln w="12700">
              <a:solidFill>
                <a:schemeClr val="tx1"/>
              </a:solidFill>
              <a:prstDash val="sysDash"/>
            </a:ln>
          </p:spPr>
          <p:style>
            <a:lnRef idx="2">
              <a:schemeClr val="accent1"/>
            </a:lnRef>
            <a:fillRef idx="0">
              <a:schemeClr val="accent1"/>
            </a:fillRef>
            <a:effectRef idx="1">
              <a:schemeClr val="accent1"/>
            </a:effectRef>
            <a:fontRef idx="minor">
              <a:schemeClr val="tx1"/>
            </a:fontRef>
          </p:style>
        </p:cxnSp>
        <p:cxnSp>
          <p:nvCxnSpPr>
            <p:cNvPr id="296" name="Straight Connector 343"/>
            <p:cNvCxnSpPr>
              <a:stCxn id="232" idx="3"/>
              <a:endCxn id="309" idx="3"/>
            </p:cNvCxnSpPr>
            <p:nvPr/>
          </p:nvCxnSpPr>
          <p:spPr>
            <a:xfrm flipH="1">
              <a:off x="2681790" y="1369619"/>
              <a:ext cx="413106" cy="116822"/>
            </a:xfrm>
            <a:prstGeom prst="line">
              <a:avLst/>
            </a:prstGeom>
            <a:ln w="12700">
              <a:solidFill>
                <a:schemeClr val="tx1"/>
              </a:solidFill>
              <a:prstDash val="sysDash"/>
            </a:ln>
          </p:spPr>
          <p:style>
            <a:lnRef idx="2">
              <a:schemeClr val="accent1"/>
            </a:lnRef>
            <a:fillRef idx="0">
              <a:schemeClr val="accent1"/>
            </a:fillRef>
            <a:effectRef idx="1">
              <a:schemeClr val="accent1"/>
            </a:effectRef>
            <a:fontRef idx="minor">
              <a:schemeClr val="tx1"/>
            </a:fontRef>
          </p:style>
        </p:cxnSp>
        <p:sp>
          <p:nvSpPr>
            <p:cNvPr id="297" name="Freeform 13"/>
            <p:cNvSpPr>
              <a:spLocks noChangeAspect="1" noEditPoints="1"/>
            </p:cNvSpPr>
            <p:nvPr/>
          </p:nvSpPr>
          <p:spPr bwMode="auto">
            <a:xfrm>
              <a:off x="4755072" y="3678472"/>
              <a:ext cx="237328" cy="364497"/>
            </a:xfrm>
            <a:custGeom>
              <a:avLst/>
              <a:gdLst>
                <a:gd name="T0" fmla="*/ 121 w 586"/>
                <a:gd name="T1" fmla="*/ 0 h 900"/>
                <a:gd name="T2" fmla="*/ 85 w 586"/>
                <a:gd name="T3" fmla="*/ 6 h 900"/>
                <a:gd name="T4" fmla="*/ 54 w 586"/>
                <a:gd name="T5" fmla="*/ 21 h 900"/>
                <a:gd name="T6" fmla="*/ 28 w 586"/>
                <a:gd name="T7" fmla="*/ 44 h 900"/>
                <a:gd name="T8" fmla="*/ 10 w 586"/>
                <a:gd name="T9" fmla="*/ 73 h 900"/>
                <a:gd name="T10" fmla="*/ 1 w 586"/>
                <a:gd name="T11" fmla="*/ 108 h 900"/>
                <a:gd name="T12" fmla="*/ 0 w 586"/>
                <a:gd name="T13" fmla="*/ 780 h 900"/>
                <a:gd name="T14" fmla="*/ 6 w 586"/>
                <a:gd name="T15" fmla="*/ 816 h 900"/>
                <a:gd name="T16" fmla="*/ 21 w 586"/>
                <a:gd name="T17" fmla="*/ 848 h 900"/>
                <a:gd name="T18" fmla="*/ 44 w 586"/>
                <a:gd name="T19" fmla="*/ 872 h 900"/>
                <a:gd name="T20" fmla="*/ 74 w 586"/>
                <a:gd name="T21" fmla="*/ 892 h 900"/>
                <a:gd name="T22" fmla="*/ 109 w 586"/>
                <a:gd name="T23" fmla="*/ 900 h 900"/>
                <a:gd name="T24" fmla="*/ 466 w 586"/>
                <a:gd name="T25" fmla="*/ 900 h 900"/>
                <a:gd name="T26" fmla="*/ 502 w 586"/>
                <a:gd name="T27" fmla="*/ 894 h 900"/>
                <a:gd name="T28" fmla="*/ 534 w 586"/>
                <a:gd name="T29" fmla="*/ 881 h 900"/>
                <a:gd name="T30" fmla="*/ 558 w 586"/>
                <a:gd name="T31" fmla="*/ 857 h 900"/>
                <a:gd name="T32" fmla="*/ 576 w 586"/>
                <a:gd name="T33" fmla="*/ 827 h 900"/>
                <a:gd name="T34" fmla="*/ 586 w 586"/>
                <a:gd name="T35" fmla="*/ 792 h 900"/>
                <a:gd name="T36" fmla="*/ 586 w 586"/>
                <a:gd name="T37" fmla="*/ 120 h 900"/>
                <a:gd name="T38" fmla="*/ 580 w 586"/>
                <a:gd name="T39" fmla="*/ 84 h 900"/>
                <a:gd name="T40" fmla="*/ 565 w 586"/>
                <a:gd name="T41" fmla="*/ 52 h 900"/>
                <a:gd name="T42" fmla="*/ 543 w 586"/>
                <a:gd name="T43" fmla="*/ 28 h 900"/>
                <a:gd name="T44" fmla="*/ 513 w 586"/>
                <a:gd name="T45" fmla="*/ 10 h 900"/>
                <a:gd name="T46" fmla="*/ 478 w 586"/>
                <a:gd name="T47" fmla="*/ 0 h 900"/>
                <a:gd name="T48" fmla="*/ 294 w 586"/>
                <a:gd name="T49" fmla="*/ 871 h 900"/>
                <a:gd name="T50" fmla="*/ 276 w 586"/>
                <a:gd name="T51" fmla="*/ 867 h 900"/>
                <a:gd name="T52" fmla="*/ 255 w 586"/>
                <a:gd name="T53" fmla="*/ 850 h 900"/>
                <a:gd name="T54" fmla="*/ 248 w 586"/>
                <a:gd name="T55" fmla="*/ 826 h 900"/>
                <a:gd name="T56" fmla="*/ 251 w 586"/>
                <a:gd name="T57" fmla="*/ 808 h 900"/>
                <a:gd name="T58" fmla="*/ 267 w 586"/>
                <a:gd name="T59" fmla="*/ 787 h 900"/>
                <a:gd name="T60" fmla="*/ 294 w 586"/>
                <a:gd name="T61" fmla="*/ 780 h 900"/>
                <a:gd name="T62" fmla="*/ 312 w 586"/>
                <a:gd name="T63" fmla="*/ 783 h 900"/>
                <a:gd name="T64" fmla="*/ 331 w 586"/>
                <a:gd name="T65" fmla="*/ 799 h 900"/>
                <a:gd name="T66" fmla="*/ 339 w 586"/>
                <a:gd name="T67" fmla="*/ 826 h 900"/>
                <a:gd name="T68" fmla="*/ 335 w 586"/>
                <a:gd name="T69" fmla="*/ 842 h 900"/>
                <a:gd name="T70" fmla="*/ 319 w 586"/>
                <a:gd name="T71" fmla="*/ 863 h 900"/>
                <a:gd name="T72" fmla="*/ 294 w 586"/>
                <a:gd name="T73" fmla="*/ 871 h 900"/>
                <a:gd name="T74" fmla="*/ 229 w 586"/>
                <a:gd name="T75" fmla="*/ 70 h 900"/>
                <a:gd name="T76" fmla="*/ 219 w 586"/>
                <a:gd name="T77" fmla="*/ 66 h 900"/>
                <a:gd name="T78" fmla="*/ 215 w 586"/>
                <a:gd name="T79" fmla="*/ 57 h 900"/>
                <a:gd name="T80" fmla="*/ 223 w 586"/>
                <a:gd name="T81" fmla="*/ 44 h 900"/>
                <a:gd name="T82" fmla="*/ 358 w 586"/>
                <a:gd name="T83" fmla="*/ 44 h 900"/>
                <a:gd name="T84" fmla="*/ 370 w 586"/>
                <a:gd name="T85" fmla="*/ 51 h 900"/>
                <a:gd name="T86" fmla="*/ 370 w 586"/>
                <a:gd name="T87" fmla="*/ 62 h 900"/>
                <a:gd name="T88" fmla="*/ 358 w 586"/>
                <a:gd name="T89" fmla="*/ 70 h 900"/>
                <a:gd name="T90" fmla="*/ 543 w 586"/>
                <a:gd name="T91" fmla="*/ 700 h 900"/>
                <a:gd name="T92" fmla="*/ 536 w 586"/>
                <a:gd name="T93" fmla="*/ 725 h 900"/>
                <a:gd name="T94" fmla="*/ 517 w 586"/>
                <a:gd name="T95" fmla="*/ 742 h 900"/>
                <a:gd name="T96" fmla="*/ 88 w 586"/>
                <a:gd name="T97" fmla="*/ 746 h 900"/>
                <a:gd name="T98" fmla="*/ 70 w 586"/>
                <a:gd name="T99" fmla="*/ 742 h 900"/>
                <a:gd name="T100" fmla="*/ 51 w 586"/>
                <a:gd name="T101" fmla="*/ 725 h 900"/>
                <a:gd name="T102" fmla="*/ 43 w 586"/>
                <a:gd name="T103" fmla="*/ 700 h 900"/>
                <a:gd name="T104" fmla="*/ 44 w 586"/>
                <a:gd name="T105" fmla="*/ 152 h 900"/>
                <a:gd name="T106" fmla="*/ 57 w 586"/>
                <a:gd name="T107" fmla="*/ 128 h 900"/>
                <a:gd name="T108" fmla="*/ 79 w 586"/>
                <a:gd name="T109" fmla="*/ 116 h 900"/>
                <a:gd name="T110" fmla="*/ 499 w 586"/>
                <a:gd name="T111" fmla="*/ 116 h 900"/>
                <a:gd name="T112" fmla="*/ 524 w 586"/>
                <a:gd name="T113" fmla="*/ 123 h 900"/>
                <a:gd name="T114" fmla="*/ 540 w 586"/>
                <a:gd name="T115" fmla="*/ 143 h 900"/>
                <a:gd name="T116" fmla="*/ 543 w 586"/>
                <a:gd name="T117" fmla="*/ 700 h 9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86" h="900">
                  <a:moveTo>
                    <a:pt x="466" y="0"/>
                  </a:moveTo>
                  <a:lnTo>
                    <a:pt x="121" y="0"/>
                  </a:lnTo>
                  <a:lnTo>
                    <a:pt x="121" y="0"/>
                  </a:lnTo>
                  <a:lnTo>
                    <a:pt x="109" y="0"/>
                  </a:lnTo>
                  <a:lnTo>
                    <a:pt x="97" y="3"/>
                  </a:lnTo>
                  <a:lnTo>
                    <a:pt x="85" y="6"/>
                  </a:lnTo>
                  <a:lnTo>
                    <a:pt x="74" y="10"/>
                  </a:lnTo>
                  <a:lnTo>
                    <a:pt x="63" y="14"/>
                  </a:lnTo>
                  <a:lnTo>
                    <a:pt x="54" y="21"/>
                  </a:lnTo>
                  <a:lnTo>
                    <a:pt x="44" y="28"/>
                  </a:lnTo>
                  <a:lnTo>
                    <a:pt x="36" y="34"/>
                  </a:lnTo>
                  <a:lnTo>
                    <a:pt x="28" y="44"/>
                  </a:lnTo>
                  <a:lnTo>
                    <a:pt x="21" y="52"/>
                  </a:lnTo>
                  <a:lnTo>
                    <a:pt x="15" y="62"/>
                  </a:lnTo>
                  <a:lnTo>
                    <a:pt x="10" y="73"/>
                  </a:lnTo>
                  <a:lnTo>
                    <a:pt x="6" y="84"/>
                  </a:lnTo>
                  <a:lnTo>
                    <a:pt x="3" y="95"/>
                  </a:lnTo>
                  <a:lnTo>
                    <a:pt x="1" y="108"/>
                  </a:lnTo>
                  <a:lnTo>
                    <a:pt x="0" y="120"/>
                  </a:lnTo>
                  <a:lnTo>
                    <a:pt x="0" y="780"/>
                  </a:lnTo>
                  <a:lnTo>
                    <a:pt x="0" y="780"/>
                  </a:lnTo>
                  <a:lnTo>
                    <a:pt x="1" y="792"/>
                  </a:lnTo>
                  <a:lnTo>
                    <a:pt x="3" y="805"/>
                  </a:lnTo>
                  <a:lnTo>
                    <a:pt x="6" y="816"/>
                  </a:lnTo>
                  <a:lnTo>
                    <a:pt x="10" y="827"/>
                  </a:lnTo>
                  <a:lnTo>
                    <a:pt x="15" y="838"/>
                  </a:lnTo>
                  <a:lnTo>
                    <a:pt x="21" y="848"/>
                  </a:lnTo>
                  <a:lnTo>
                    <a:pt x="28" y="857"/>
                  </a:lnTo>
                  <a:lnTo>
                    <a:pt x="36" y="866"/>
                  </a:lnTo>
                  <a:lnTo>
                    <a:pt x="44" y="872"/>
                  </a:lnTo>
                  <a:lnTo>
                    <a:pt x="54" y="881"/>
                  </a:lnTo>
                  <a:lnTo>
                    <a:pt x="63" y="886"/>
                  </a:lnTo>
                  <a:lnTo>
                    <a:pt x="74" y="892"/>
                  </a:lnTo>
                  <a:lnTo>
                    <a:pt x="85" y="894"/>
                  </a:lnTo>
                  <a:lnTo>
                    <a:pt x="97" y="899"/>
                  </a:lnTo>
                  <a:lnTo>
                    <a:pt x="109" y="900"/>
                  </a:lnTo>
                  <a:lnTo>
                    <a:pt x="121" y="900"/>
                  </a:lnTo>
                  <a:lnTo>
                    <a:pt x="466" y="900"/>
                  </a:lnTo>
                  <a:lnTo>
                    <a:pt x="466" y="900"/>
                  </a:lnTo>
                  <a:lnTo>
                    <a:pt x="478" y="900"/>
                  </a:lnTo>
                  <a:lnTo>
                    <a:pt x="491" y="899"/>
                  </a:lnTo>
                  <a:lnTo>
                    <a:pt x="502" y="894"/>
                  </a:lnTo>
                  <a:lnTo>
                    <a:pt x="513" y="892"/>
                  </a:lnTo>
                  <a:lnTo>
                    <a:pt x="524" y="886"/>
                  </a:lnTo>
                  <a:lnTo>
                    <a:pt x="534" y="881"/>
                  </a:lnTo>
                  <a:lnTo>
                    <a:pt x="543" y="872"/>
                  </a:lnTo>
                  <a:lnTo>
                    <a:pt x="552" y="866"/>
                  </a:lnTo>
                  <a:lnTo>
                    <a:pt x="558" y="857"/>
                  </a:lnTo>
                  <a:lnTo>
                    <a:pt x="565" y="848"/>
                  </a:lnTo>
                  <a:lnTo>
                    <a:pt x="572" y="838"/>
                  </a:lnTo>
                  <a:lnTo>
                    <a:pt x="576" y="827"/>
                  </a:lnTo>
                  <a:lnTo>
                    <a:pt x="580" y="816"/>
                  </a:lnTo>
                  <a:lnTo>
                    <a:pt x="583" y="805"/>
                  </a:lnTo>
                  <a:lnTo>
                    <a:pt x="586" y="792"/>
                  </a:lnTo>
                  <a:lnTo>
                    <a:pt x="586" y="780"/>
                  </a:lnTo>
                  <a:lnTo>
                    <a:pt x="586" y="120"/>
                  </a:lnTo>
                  <a:lnTo>
                    <a:pt x="586" y="120"/>
                  </a:lnTo>
                  <a:lnTo>
                    <a:pt x="586" y="108"/>
                  </a:lnTo>
                  <a:lnTo>
                    <a:pt x="583" y="95"/>
                  </a:lnTo>
                  <a:lnTo>
                    <a:pt x="580" y="84"/>
                  </a:lnTo>
                  <a:lnTo>
                    <a:pt x="576" y="73"/>
                  </a:lnTo>
                  <a:lnTo>
                    <a:pt x="572" y="62"/>
                  </a:lnTo>
                  <a:lnTo>
                    <a:pt x="565" y="52"/>
                  </a:lnTo>
                  <a:lnTo>
                    <a:pt x="558" y="44"/>
                  </a:lnTo>
                  <a:lnTo>
                    <a:pt x="552" y="34"/>
                  </a:lnTo>
                  <a:lnTo>
                    <a:pt x="543" y="28"/>
                  </a:lnTo>
                  <a:lnTo>
                    <a:pt x="534" y="21"/>
                  </a:lnTo>
                  <a:lnTo>
                    <a:pt x="524" y="14"/>
                  </a:lnTo>
                  <a:lnTo>
                    <a:pt x="513" y="10"/>
                  </a:lnTo>
                  <a:lnTo>
                    <a:pt x="502" y="6"/>
                  </a:lnTo>
                  <a:lnTo>
                    <a:pt x="491" y="3"/>
                  </a:lnTo>
                  <a:lnTo>
                    <a:pt x="478" y="0"/>
                  </a:lnTo>
                  <a:lnTo>
                    <a:pt x="466" y="0"/>
                  </a:lnTo>
                  <a:lnTo>
                    <a:pt x="466" y="0"/>
                  </a:lnTo>
                  <a:close/>
                  <a:moveTo>
                    <a:pt x="294" y="871"/>
                  </a:moveTo>
                  <a:lnTo>
                    <a:pt x="294" y="871"/>
                  </a:lnTo>
                  <a:lnTo>
                    <a:pt x="284" y="870"/>
                  </a:lnTo>
                  <a:lnTo>
                    <a:pt x="276" y="867"/>
                  </a:lnTo>
                  <a:lnTo>
                    <a:pt x="267" y="863"/>
                  </a:lnTo>
                  <a:lnTo>
                    <a:pt x="261" y="857"/>
                  </a:lnTo>
                  <a:lnTo>
                    <a:pt x="255" y="850"/>
                  </a:lnTo>
                  <a:lnTo>
                    <a:pt x="251" y="842"/>
                  </a:lnTo>
                  <a:lnTo>
                    <a:pt x="248" y="834"/>
                  </a:lnTo>
                  <a:lnTo>
                    <a:pt x="248" y="826"/>
                  </a:lnTo>
                  <a:lnTo>
                    <a:pt x="248" y="826"/>
                  </a:lnTo>
                  <a:lnTo>
                    <a:pt x="248" y="816"/>
                  </a:lnTo>
                  <a:lnTo>
                    <a:pt x="251" y="808"/>
                  </a:lnTo>
                  <a:lnTo>
                    <a:pt x="255" y="799"/>
                  </a:lnTo>
                  <a:lnTo>
                    <a:pt x="261" y="792"/>
                  </a:lnTo>
                  <a:lnTo>
                    <a:pt x="267" y="787"/>
                  </a:lnTo>
                  <a:lnTo>
                    <a:pt x="276" y="783"/>
                  </a:lnTo>
                  <a:lnTo>
                    <a:pt x="284" y="780"/>
                  </a:lnTo>
                  <a:lnTo>
                    <a:pt x="294" y="780"/>
                  </a:lnTo>
                  <a:lnTo>
                    <a:pt x="294" y="780"/>
                  </a:lnTo>
                  <a:lnTo>
                    <a:pt x="302" y="780"/>
                  </a:lnTo>
                  <a:lnTo>
                    <a:pt x="312" y="783"/>
                  </a:lnTo>
                  <a:lnTo>
                    <a:pt x="319" y="787"/>
                  </a:lnTo>
                  <a:lnTo>
                    <a:pt x="325" y="792"/>
                  </a:lnTo>
                  <a:lnTo>
                    <a:pt x="331" y="799"/>
                  </a:lnTo>
                  <a:lnTo>
                    <a:pt x="335" y="808"/>
                  </a:lnTo>
                  <a:lnTo>
                    <a:pt x="338" y="816"/>
                  </a:lnTo>
                  <a:lnTo>
                    <a:pt x="339" y="826"/>
                  </a:lnTo>
                  <a:lnTo>
                    <a:pt x="339" y="826"/>
                  </a:lnTo>
                  <a:lnTo>
                    <a:pt x="338" y="834"/>
                  </a:lnTo>
                  <a:lnTo>
                    <a:pt x="335" y="842"/>
                  </a:lnTo>
                  <a:lnTo>
                    <a:pt x="331" y="850"/>
                  </a:lnTo>
                  <a:lnTo>
                    <a:pt x="325" y="857"/>
                  </a:lnTo>
                  <a:lnTo>
                    <a:pt x="319" y="863"/>
                  </a:lnTo>
                  <a:lnTo>
                    <a:pt x="312" y="867"/>
                  </a:lnTo>
                  <a:lnTo>
                    <a:pt x="302" y="870"/>
                  </a:lnTo>
                  <a:lnTo>
                    <a:pt x="294" y="871"/>
                  </a:lnTo>
                  <a:lnTo>
                    <a:pt x="294" y="871"/>
                  </a:lnTo>
                  <a:close/>
                  <a:moveTo>
                    <a:pt x="358" y="70"/>
                  </a:moveTo>
                  <a:lnTo>
                    <a:pt x="229" y="70"/>
                  </a:lnTo>
                  <a:lnTo>
                    <a:pt x="229" y="70"/>
                  </a:lnTo>
                  <a:lnTo>
                    <a:pt x="223" y="69"/>
                  </a:lnTo>
                  <a:lnTo>
                    <a:pt x="219" y="66"/>
                  </a:lnTo>
                  <a:lnTo>
                    <a:pt x="216" y="62"/>
                  </a:lnTo>
                  <a:lnTo>
                    <a:pt x="215" y="57"/>
                  </a:lnTo>
                  <a:lnTo>
                    <a:pt x="215" y="57"/>
                  </a:lnTo>
                  <a:lnTo>
                    <a:pt x="216" y="51"/>
                  </a:lnTo>
                  <a:lnTo>
                    <a:pt x="219" y="47"/>
                  </a:lnTo>
                  <a:lnTo>
                    <a:pt x="223" y="44"/>
                  </a:lnTo>
                  <a:lnTo>
                    <a:pt x="229" y="44"/>
                  </a:lnTo>
                  <a:lnTo>
                    <a:pt x="358" y="44"/>
                  </a:lnTo>
                  <a:lnTo>
                    <a:pt x="358" y="44"/>
                  </a:lnTo>
                  <a:lnTo>
                    <a:pt x="363" y="44"/>
                  </a:lnTo>
                  <a:lnTo>
                    <a:pt x="367" y="47"/>
                  </a:lnTo>
                  <a:lnTo>
                    <a:pt x="370" y="51"/>
                  </a:lnTo>
                  <a:lnTo>
                    <a:pt x="371" y="57"/>
                  </a:lnTo>
                  <a:lnTo>
                    <a:pt x="371" y="57"/>
                  </a:lnTo>
                  <a:lnTo>
                    <a:pt x="370" y="62"/>
                  </a:lnTo>
                  <a:lnTo>
                    <a:pt x="367" y="66"/>
                  </a:lnTo>
                  <a:lnTo>
                    <a:pt x="363" y="69"/>
                  </a:lnTo>
                  <a:lnTo>
                    <a:pt x="358" y="70"/>
                  </a:lnTo>
                  <a:lnTo>
                    <a:pt x="358" y="70"/>
                  </a:lnTo>
                  <a:close/>
                  <a:moveTo>
                    <a:pt x="543" y="700"/>
                  </a:moveTo>
                  <a:lnTo>
                    <a:pt x="543" y="700"/>
                  </a:lnTo>
                  <a:lnTo>
                    <a:pt x="543" y="710"/>
                  </a:lnTo>
                  <a:lnTo>
                    <a:pt x="540" y="718"/>
                  </a:lnTo>
                  <a:lnTo>
                    <a:pt x="536" y="725"/>
                  </a:lnTo>
                  <a:lnTo>
                    <a:pt x="531" y="732"/>
                  </a:lnTo>
                  <a:lnTo>
                    <a:pt x="524" y="737"/>
                  </a:lnTo>
                  <a:lnTo>
                    <a:pt x="517" y="742"/>
                  </a:lnTo>
                  <a:lnTo>
                    <a:pt x="507" y="744"/>
                  </a:lnTo>
                  <a:lnTo>
                    <a:pt x="499" y="746"/>
                  </a:lnTo>
                  <a:lnTo>
                    <a:pt x="88" y="746"/>
                  </a:lnTo>
                  <a:lnTo>
                    <a:pt x="88" y="746"/>
                  </a:lnTo>
                  <a:lnTo>
                    <a:pt x="79" y="744"/>
                  </a:lnTo>
                  <a:lnTo>
                    <a:pt x="70" y="742"/>
                  </a:lnTo>
                  <a:lnTo>
                    <a:pt x="63" y="737"/>
                  </a:lnTo>
                  <a:lnTo>
                    <a:pt x="57" y="732"/>
                  </a:lnTo>
                  <a:lnTo>
                    <a:pt x="51" y="725"/>
                  </a:lnTo>
                  <a:lnTo>
                    <a:pt x="47" y="718"/>
                  </a:lnTo>
                  <a:lnTo>
                    <a:pt x="44" y="710"/>
                  </a:lnTo>
                  <a:lnTo>
                    <a:pt x="43" y="700"/>
                  </a:lnTo>
                  <a:lnTo>
                    <a:pt x="43" y="161"/>
                  </a:lnTo>
                  <a:lnTo>
                    <a:pt x="43" y="161"/>
                  </a:lnTo>
                  <a:lnTo>
                    <a:pt x="44" y="152"/>
                  </a:lnTo>
                  <a:lnTo>
                    <a:pt x="47" y="143"/>
                  </a:lnTo>
                  <a:lnTo>
                    <a:pt x="51" y="135"/>
                  </a:lnTo>
                  <a:lnTo>
                    <a:pt x="57" y="128"/>
                  </a:lnTo>
                  <a:lnTo>
                    <a:pt x="63" y="123"/>
                  </a:lnTo>
                  <a:lnTo>
                    <a:pt x="70" y="119"/>
                  </a:lnTo>
                  <a:lnTo>
                    <a:pt x="79" y="116"/>
                  </a:lnTo>
                  <a:lnTo>
                    <a:pt x="88" y="116"/>
                  </a:lnTo>
                  <a:lnTo>
                    <a:pt x="499" y="116"/>
                  </a:lnTo>
                  <a:lnTo>
                    <a:pt x="499" y="116"/>
                  </a:lnTo>
                  <a:lnTo>
                    <a:pt x="507" y="116"/>
                  </a:lnTo>
                  <a:lnTo>
                    <a:pt x="517" y="119"/>
                  </a:lnTo>
                  <a:lnTo>
                    <a:pt x="524" y="123"/>
                  </a:lnTo>
                  <a:lnTo>
                    <a:pt x="531" y="128"/>
                  </a:lnTo>
                  <a:lnTo>
                    <a:pt x="536" y="135"/>
                  </a:lnTo>
                  <a:lnTo>
                    <a:pt x="540" y="143"/>
                  </a:lnTo>
                  <a:lnTo>
                    <a:pt x="543" y="152"/>
                  </a:lnTo>
                  <a:lnTo>
                    <a:pt x="543" y="161"/>
                  </a:lnTo>
                  <a:lnTo>
                    <a:pt x="543" y="700"/>
                  </a:lnTo>
                  <a:close/>
                </a:path>
              </a:pathLst>
            </a:custGeom>
            <a:solidFill>
              <a:srgbClr val="92D050"/>
            </a:solidFill>
            <a:ln>
              <a:noFill/>
            </a:ln>
            <a:extLst/>
          </p:spPr>
          <p:txBody>
            <a:bodyPr vert="horz" wrap="square" lIns="91440" tIns="45720" rIns="91440" bIns="45720" numCol="1" anchor="t" anchorCtr="0" compatLnSpc="1">
              <a:prstTxWarp prst="textNoShape">
                <a:avLst/>
              </a:prstTxWarp>
              <a:noAutofit/>
            </a:bodyPr>
            <a:lstStyle/>
            <a:p>
              <a:endParaRPr lang="en-GB" dirty="0"/>
            </a:p>
          </p:txBody>
        </p:sp>
        <p:sp>
          <p:nvSpPr>
            <p:cNvPr id="298" name="Freeform 13"/>
            <p:cNvSpPr>
              <a:spLocks noChangeAspect="1" noEditPoints="1"/>
            </p:cNvSpPr>
            <p:nvPr/>
          </p:nvSpPr>
          <p:spPr bwMode="auto">
            <a:xfrm>
              <a:off x="7554063" y="3619003"/>
              <a:ext cx="326311" cy="501160"/>
            </a:xfrm>
            <a:custGeom>
              <a:avLst/>
              <a:gdLst>
                <a:gd name="T0" fmla="*/ 121 w 586"/>
                <a:gd name="T1" fmla="*/ 0 h 900"/>
                <a:gd name="T2" fmla="*/ 85 w 586"/>
                <a:gd name="T3" fmla="*/ 6 h 900"/>
                <a:gd name="T4" fmla="*/ 54 w 586"/>
                <a:gd name="T5" fmla="*/ 21 h 900"/>
                <a:gd name="T6" fmla="*/ 28 w 586"/>
                <a:gd name="T7" fmla="*/ 44 h 900"/>
                <a:gd name="T8" fmla="*/ 10 w 586"/>
                <a:gd name="T9" fmla="*/ 73 h 900"/>
                <a:gd name="T10" fmla="*/ 1 w 586"/>
                <a:gd name="T11" fmla="*/ 108 h 900"/>
                <a:gd name="T12" fmla="*/ 0 w 586"/>
                <a:gd name="T13" fmla="*/ 780 h 900"/>
                <a:gd name="T14" fmla="*/ 6 w 586"/>
                <a:gd name="T15" fmla="*/ 816 h 900"/>
                <a:gd name="T16" fmla="*/ 21 w 586"/>
                <a:gd name="T17" fmla="*/ 848 h 900"/>
                <a:gd name="T18" fmla="*/ 44 w 586"/>
                <a:gd name="T19" fmla="*/ 872 h 900"/>
                <a:gd name="T20" fmla="*/ 74 w 586"/>
                <a:gd name="T21" fmla="*/ 892 h 900"/>
                <a:gd name="T22" fmla="*/ 109 w 586"/>
                <a:gd name="T23" fmla="*/ 900 h 900"/>
                <a:gd name="T24" fmla="*/ 466 w 586"/>
                <a:gd name="T25" fmla="*/ 900 h 900"/>
                <a:gd name="T26" fmla="*/ 502 w 586"/>
                <a:gd name="T27" fmla="*/ 894 h 900"/>
                <a:gd name="T28" fmla="*/ 534 w 586"/>
                <a:gd name="T29" fmla="*/ 881 h 900"/>
                <a:gd name="T30" fmla="*/ 558 w 586"/>
                <a:gd name="T31" fmla="*/ 857 h 900"/>
                <a:gd name="T32" fmla="*/ 576 w 586"/>
                <a:gd name="T33" fmla="*/ 827 h 900"/>
                <a:gd name="T34" fmla="*/ 586 w 586"/>
                <a:gd name="T35" fmla="*/ 792 h 900"/>
                <a:gd name="T36" fmla="*/ 586 w 586"/>
                <a:gd name="T37" fmla="*/ 120 h 900"/>
                <a:gd name="T38" fmla="*/ 580 w 586"/>
                <a:gd name="T39" fmla="*/ 84 h 900"/>
                <a:gd name="T40" fmla="*/ 565 w 586"/>
                <a:gd name="T41" fmla="*/ 52 h 900"/>
                <a:gd name="T42" fmla="*/ 543 w 586"/>
                <a:gd name="T43" fmla="*/ 28 h 900"/>
                <a:gd name="T44" fmla="*/ 513 w 586"/>
                <a:gd name="T45" fmla="*/ 10 h 900"/>
                <a:gd name="T46" fmla="*/ 478 w 586"/>
                <a:gd name="T47" fmla="*/ 0 h 900"/>
                <a:gd name="T48" fmla="*/ 294 w 586"/>
                <a:gd name="T49" fmla="*/ 871 h 900"/>
                <a:gd name="T50" fmla="*/ 276 w 586"/>
                <a:gd name="T51" fmla="*/ 867 h 900"/>
                <a:gd name="T52" fmla="*/ 255 w 586"/>
                <a:gd name="T53" fmla="*/ 850 h 900"/>
                <a:gd name="T54" fmla="*/ 248 w 586"/>
                <a:gd name="T55" fmla="*/ 826 h 900"/>
                <a:gd name="T56" fmla="*/ 251 w 586"/>
                <a:gd name="T57" fmla="*/ 808 h 900"/>
                <a:gd name="T58" fmla="*/ 267 w 586"/>
                <a:gd name="T59" fmla="*/ 787 h 900"/>
                <a:gd name="T60" fmla="*/ 294 w 586"/>
                <a:gd name="T61" fmla="*/ 780 h 900"/>
                <a:gd name="T62" fmla="*/ 312 w 586"/>
                <a:gd name="T63" fmla="*/ 783 h 900"/>
                <a:gd name="T64" fmla="*/ 331 w 586"/>
                <a:gd name="T65" fmla="*/ 799 h 900"/>
                <a:gd name="T66" fmla="*/ 339 w 586"/>
                <a:gd name="T67" fmla="*/ 826 h 900"/>
                <a:gd name="T68" fmla="*/ 335 w 586"/>
                <a:gd name="T69" fmla="*/ 842 h 900"/>
                <a:gd name="T70" fmla="*/ 319 w 586"/>
                <a:gd name="T71" fmla="*/ 863 h 900"/>
                <a:gd name="T72" fmla="*/ 294 w 586"/>
                <a:gd name="T73" fmla="*/ 871 h 900"/>
                <a:gd name="T74" fmla="*/ 229 w 586"/>
                <a:gd name="T75" fmla="*/ 70 h 900"/>
                <a:gd name="T76" fmla="*/ 219 w 586"/>
                <a:gd name="T77" fmla="*/ 66 h 900"/>
                <a:gd name="T78" fmla="*/ 215 w 586"/>
                <a:gd name="T79" fmla="*/ 57 h 900"/>
                <a:gd name="T80" fmla="*/ 223 w 586"/>
                <a:gd name="T81" fmla="*/ 44 h 900"/>
                <a:gd name="T82" fmla="*/ 358 w 586"/>
                <a:gd name="T83" fmla="*/ 44 h 900"/>
                <a:gd name="T84" fmla="*/ 370 w 586"/>
                <a:gd name="T85" fmla="*/ 51 h 900"/>
                <a:gd name="T86" fmla="*/ 370 w 586"/>
                <a:gd name="T87" fmla="*/ 62 h 900"/>
                <a:gd name="T88" fmla="*/ 358 w 586"/>
                <a:gd name="T89" fmla="*/ 70 h 900"/>
                <a:gd name="T90" fmla="*/ 543 w 586"/>
                <a:gd name="T91" fmla="*/ 700 h 900"/>
                <a:gd name="T92" fmla="*/ 536 w 586"/>
                <a:gd name="T93" fmla="*/ 725 h 900"/>
                <a:gd name="T94" fmla="*/ 517 w 586"/>
                <a:gd name="T95" fmla="*/ 742 h 900"/>
                <a:gd name="T96" fmla="*/ 88 w 586"/>
                <a:gd name="T97" fmla="*/ 746 h 900"/>
                <a:gd name="T98" fmla="*/ 70 w 586"/>
                <a:gd name="T99" fmla="*/ 742 h 900"/>
                <a:gd name="T100" fmla="*/ 51 w 586"/>
                <a:gd name="T101" fmla="*/ 725 h 900"/>
                <a:gd name="T102" fmla="*/ 43 w 586"/>
                <a:gd name="T103" fmla="*/ 700 h 900"/>
                <a:gd name="T104" fmla="*/ 44 w 586"/>
                <a:gd name="T105" fmla="*/ 152 h 900"/>
                <a:gd name="T106" fmla="*/ 57 w 586"/>
                <a:gd name="T107" fmla="*/ 128 h 900"/>
                <a:gd name="T108" fmla="*/ 79 w 586"/>
                <a:gd name="T109" fmla="*/ 116 h 900"/>
                <a:gd name="T110" fmla="*/ 499 w 586"/>
                <a:gd name="T111" fmla="*/ 116 h 900"/>
                <a:gd name="T112" fmla="*/ 524 w 586"/>
                <a:gd name="T113" fmla="*/ 123 h 900"/>
                <a:gd name="T114" fmla="*/ 540 w 586"/>
                <a:gd name="T115" fmla="*/ 143 h 900"/>
                <a:gd name="T116" fmla="*/ 543 w 586"/>
                <a:gd name="T117" fmla="*/ 700 h 9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86" h="900">
                  <a:moveTo>
                    <a:pt x="466" y="0"/>
                  </a:moveTo>
                  <a:lnTo>
                    <a:pt x="121" y="0"/>
                  </a:lnTo>
                  <a:lnTo>
                    <a:pt x="121" y="0"/>
                  </a:lnTo>
                  <a:lnTo>
                    <a:pt x="109" y="0"/>
                  </a:lnTo>
                  <a:lnTo>
                    <a:pt x="97" y="3"/>
                  </a:lnTo>
                  <a:lnTo>
                    <a:pt x="85" y="6"/>
                  </a:lnTo>
                  <a:lnTo>
                    <a:pt x="74" y="10"/>
                  </a:lnTo>
                  <a:lnTo>
                    <a:pt x="63" y="14"/>
                  </a:lnTo>
                  <a:lnTo>
                    <a:pt x="54" y="21"/>
                  </a:lnTo>
                  <a:lnTo>
                    <a:pt x="44" y="28"/>
                  </a:lnTo>
                  <a:lnTo>
                    <a:pt x="36" y="34"/>
                  </a:lnTo>
                  <a:lnTo>
                    <a:pt x="28" y="44"/>
                  </a:lnTo>
                  <a:lnTo>
                    <a:pt x="21" y="52"/>
                  </a:lnTo>
                  <a:lnTo>
                    <a:pt x="15" y="62"/>
                  </a:lnTo>
                  <a:lnTo>
                    <a:pt x="10" y="73"/>
                  </a:lnTo>
                  <a:lnTo>
                    <a:pt x="6" y="84"/>
                  </a:lnTo>
                  <a:lnTo>
                    <a:pt x="3" y="95"/>
                  </a:lnTo>
                  <a:lnTo>
                    <a:pt x="1" y="108"/>
                  </a:lnTo>
                  <a:lnTo>
                    <a:pt x="0" y="120"/>
                  </a:lnTo>
                  <a:lnTo>
                    <a:pt x="0" y="780"/>
                  </a:lnTo>
                  <a:lnTo>
                    <a:pt x="0" y="780"/>
                  </a:lnTo>
                  <a:lnTo>
                    <a:pt x="1" y="792"/>
                  </a:lnTo>
                  <a:lnTo>
                    <a:pt x="3" y="805"/>
                  </a:lnTo>
                  <a:lnTo>
                    <a:pt x="6" y="816"/>
                  </a:lnTo>
                  <a:lnTo>
                    <a:pt x="10" y="827"/>
                  </a:lnTo>
                  <a:lnTo>
                    <a:pt x="15" y="838"/>
                  </a:lnTo>
                  <a:lnTo>
                    <a:pt x="21" y="848"/>
                  </a:lnTo>
                  <a:lnTo>
                    <a:pt x="28" y="857"/>
                  </a:lnTo>
                  <a:lnTo>
                    <a:pt x="36" y="866"/>
                  </a:lnTo>
                  <a:lnTo>
                    <a:pt x="44" y="872"/>
                  </a:lnTo>
                  <a:lnTo>
                    <a:pt x="54" y="881"/>
                  </a:lnTo>
                  <a:lnTo>
                    <a:pt x="63" y="886"/>
                  </a:lnTo>
                  <a:lnTo>
                    <a:pt x="74" y="892"/>
                  </a:lnTo>
                  <a:lnTo>
                    <a:pt x="85" y="894"/>
                  </a:lnTo>
                  <a:lnTo>
                    <a:pt x="97" y="899"/>
                  </a:lnTo>
                  <a:lnTo>
                    <a:pt x="109" y="900"/>
                  </a:lnTo>
                  <a:lnTo>
                    <a:pt x="121" y="900"/>
                  </a:lnTo>
                  <a:lnTo>
                    <a:pt x="466" y="900"/>
                  </a:lnTo>
                  <a:lnTo>
                    <a:pt x="466" y="900"/>
                  </a:lnTo>
                  <a:lnTo>
                    <a:pt x="478" y="900"/>
                  </a:lnTo>
                  <a:lnTo>
                    <a:pt x="491" y="899"/>
                  </a:lnTo>
                  <a:lnTo>
                    <a:pt x="502" y="894"/>
                  </a:lnTo>
                  <a:lnTo>
                    <a:pt x="513" y="892"/>
                  </a:lnTo>
                  <a:lnTo>
                    <a:pt x="524" y="886"/>
                  </a:lnTo>
                  <a:lnTo>
                    <a:pt x="534" y="881"/>
                  </a:lnTo>
                  <a:lnTo>
                    <a:pt x="543" y="872"/>
                  </a:lnTo>
                  <a:lnTo>
                    <a:pt x="552" y="866"/>
                  </a:lnTo>
                  <a:lnTo>
                    <a:pt x="558" y="857"/>
                  </a:lnTo>
                  <a:lnTo>
                    <a:pt x="565" y="848"/>
                  </a:lnTo>
                  <a:lnTo>
                    <a:pt x="572" y="838"/>
                  </a:lnTo>
                  <a:lnTo>
                    <a:pt x="576" y="827"/>
                  </a:lnTo>
                  <a:lnTo>
                    <a:pt x="580" y="816"/>
                  </a:lnTo>
                  <a:lnTo>
                    <a:pt x="583" y="805"/>
                  </a:lnTo>
                  <a:lnTo>
                    <a:pt x="586" y="792"/>
                  </a:lnTo>
                  <a:lnTo>
                    <a:pt x="586" y="780"/>
                  </a:lnTo>
                  <a:lnTo>
                    <a:pt x="586" y="120"/>
                  </a:lnTo>
                  <a:lnTo>
                    <a:pt x="586" y="120"/>
                  </a:lnTo>
                  <a:lnTo>
                    <a:pt x="586" y="108"/>
                  </a:lnTo>
                  <a:lnTo>
                    <a:pt x="583" y="95"/>
                  </a:lnTo>
                  <a:lnTo>
                    <a:pt x="580" y="84"/>
                  </a:lnTo>
                  <a:lnTo>
                    <a:pt x="576" y="73"/>
                  </a:lnTo>
                  <a:lnTo>
                    <a:pt x="572" y="62"/>
                  </a:lnTo>
                  <a:lnTo>
                    <a:pt x="565" y="52"/>
                  </a:lnTo>
                  <a:lnTo>
                    <a:pt x="558" y="44"/>
                  </a:lnTo>
                  <a:lnTo>
                    <a:pt x="552" y="34"/>
                  </a:lnTo>
                  <a:lnTo>
                    <a:pt x="543" y="28"/>
                  </a:lnTo>
                  <a:lnTo>
                    <a:pt x="534" y="21"/>
                  </a:lnTo>
                  <a:lnTo>
                    <a:pt x="524" y="14"/>
                  </a:lnTo>
                  <a:lnTo>
                    <a:pt x="513" y="10"/>
                  </a:lnTo>
                  <a:lnTo>
                    <a:pt x="502" y="6"/>
                  </a:lnTo>
                  <a:lnTo>
                    <a:pt x="491" y="3"/>
                  </a:lnTo>
                  <a:lnTo>
                    <a:pt x="478" y="0"/>
                  </a:lnTo>
                  <a:lnTo>
                    <a:pt x="466" y="0"/>
                  </a:lnTo>
                  <a:lnTo>
                    <a:pt x="466" y="0"/>
                  </a:lnTo>
                  <a:close/>
                  <a:moveTo>
                    <a:pt x="294" y="871"/>
                  </a:moveTo>
                  <a:lnTo>
                    <a:pt x="294" y="871"/>
                  </a:lnTo>
                  <a:lnTo>
                    <a:pt x="284" y="870"/>
                  </a:lnTo>
                  <a:lnTo>
                    <a:pt x="276" y="867"/>
                  </a:lnTo>
                  <a:lnTo>
                    <a:pt x="267" y="863"/>
                  </a:lnTo>
                  <a:lnTo>
                    <a:pt x="261" y="857"/>
                  </a:lnTo>
                  <a:lnTo>
                    <a:pt x="255" y="850"/>
                  </a:lnTo>
                  <a:lnTo>
                    <a:pt x="251" y="842"/>
                  </a:lnTo>
                  <a:lnTo>
                    <a:pt x="248" y="834"/>
                  </a:lnTo>
                  <a:lnTo>
                    <a:pt x="248" y="826"/>
                  </a:lnTo>
                  <a:lnTo>
                    <a:pt x="248" y="826"/>
                  </a:lnTo>
                  <a:lnTo>
                    <a:pt x="248" y="816"/>
                  </a:lnTo>
                  <a:lnTo>
                    <a:pt x="251" y="808"/>
                  </a:lnTo>
                  <a:lnTo>
                    <a:pt x="255" y="799"/>
                  </a:lnTo>
                  <a:lnTo>
                    <a:pt x="261" y="792"/>
                  </a:lnTo>
                  <a:lnTo>
                    <a:pt x="267" y="787"/>
                  </a:lnTo>
                  <a:lnTo>
                    <a:pt x="276" y="783"/>
                  </a:lnTo>
                  <a:lnTo>
                    <a:pt x="284" y="780"/>
                  </a:lnTo>
                  <a:lnTo>
                    <a:pt x="294" y="780"/>
                  </a:lnTo>
                  <a:lnTo>
                    <a:pt x="294" y="780"/>
                  </a:lnTo>
                  <a:lnTo>
                    <a:pt x="302" y="780"/>
                  </a:lnTo>
                  <a:lnTo>
                    <a:pt x="312" y="783"/>
                  </a:lnTo>
                  <a:lnTo>
                    <a:pt x="319" y="787"/>
                  </a:lnTo>
                  <a:lnTo>
                    <a:pt x="325" y="792"/>
                  </a:lnTo>
                  <a:lnTo>
                    <a:pt x="331" y="799"/>
                  </a:lnTo>
                  <a:lnTo>
                    <a:pt x="335" y="808"/>
                  </a:lnTo>
                  <a:lnTo>
                    <a:pt x="338" y="816"/>
                  </a:lnTo>
                  <a:lnTo>
                    <a:pt x="339" y="826"/>
                  </a:lnTo>
                  <a:lnTo>
                    <a:pt x="339" y="826"/>
                  </a:lnTo>
                  <a:lnTo>
                    <a:pt x="338" y="834"/>
                  </a:lnTo>
                  <a:lnTo>
                    <a:pt x="335" y="842"/>
                  </a:lnTo>
                  <a:lnTo>
                    <a:pt x="331" y="850"/>
                  </a:lnTo>
                  <a:lnTo>
                    <a:pt x="325" y="857"/>
                  </a:lnTo>
                  <a:lnTo>
                    <a:pt x="319" y="863"/>
                  </a:lnTo>
                  <a:lnTo>
                    <a:pt x="312" y="867"/>
                  </a:lnTo>
                  <a:lnTo>
                    <a:pt x="302" y="870"/>
                  </a:lnTo>
                  <a:lnTo>
                    <a:pt x="294" y="871"/>
                  </a:lnTo>
                  <a:lnTo>
                    <a:pt x="294" y="871"/>
                  </a:lnTo>
                  <a:close/>
                  <a:moveTo>
                    <a:pt x="358" y="70"/>
                  </a:moveTo>
                  <a:lnTo>
                    <a:pt x="229" y="70"/>
                  </a:lnTo>
                  <a:lnTo>
                    <a:pt x="229" y="70"/>
                  </a:lnTo>
                  <a:lnTo>
                    <a:pt x="223" y="69"/>
                  </a:lnTo>
                  <a:lnTo>
                    <a:pt x="219" y="66"/>
                  </a:lnTo>
                  <a:lnTo>
                    <a:pt x="216" y="62"/>
                  </a:lnTo>
                  <a:lnTo>
                    <a:pt x="215" y="57"/>
                  </a:lnTo>
                  <a:lnTo>
                    <a:pt x="215" y="57"/>
                  </a:lnTo>
                  <a:lnTo>
                    <a:pt x="216" y="51"/>
                  </a:lnTo>
                  <a:lnTo>
                    <a:pt x="219" y="47"/>
                  </a:lnTo>
                  <a:lnTo>
                    <a:pt x="223" y="44"/>
                  </a:lnTo>
                  <a:lnTo>
                    <a:pt x="229" y="44"/>
                  </a:lnTo>
                  <a:lnTo>
                    <a:pt x="358" y="44"/>
                  </a:lnTo>
                  <a:lnTo>
                    <a:pt x="358" y="44"/>
                  </a:lnTo>
                  <a:lnTo>
                    <a:pt x="363" y="44"/>
                  </a:lnTo>
                  <a:lnTo>
                    <a:pt x="367" y="47"/>
                  </a:lnTo>
                  <a:lnTo>
                    <a:pt x="370" y="51"/>
                  </a:lnTo>
                  <a:lnTo>
                    <a:pt x="371" y="57"/>
                  </a:lnTo>
                  <a:lnTo>
                    <a:pt x="371" y="57"/>
                  </a:lnTo>
                  <a:lnTo>
                    <a:pt x="370" y="62"/>
                  </a:lnTo>
                  <a:lnTo>
                    <a:pt x="367" y="66"/>
                  </a:lnTo>
                  <a:lnTo>
                    <a:pt x="363" y="69"/>
                  </a:lnTo>
                  <a:lnTo>
                    <a:pt x="358" y="70"/>
                  </a:lnTo>
                  <a:lnTo>
                    <a:pt x="358" y="70"/>
                  </a:lnTo>
                  <a:close/>
                  <a:moveTo>
                    <a:pt x="543" y="700"/>
                  </a:moveTo>
                  <a:lnTo>
                    <a:pt x="543" y="700"/>
                  </a:lnTo>
                  <a:lnTo>
                    <a:pt x="543" y="710"/>
                  </a:lnTo>
                  <a:lnTo>
                    <a:pt x="540" y="718"/>
                  </a:lnTo>
                  <a:lnTo>
                    <a:pt x="536" y="725"/>
                  </a:lnTo>
                  <a:lnTo>
                    <a:pt x="531" y="732"/>
                  </a:lnTo>
                  <a:lnTo>
                    <a:pt x="524" y="737"/>
                  </a:lnTo>
                  <a:lnTo>
                    <a:pt x="517" y="742"/>
                  </a:lnTo>
                  <a:lnTo>
                    <a:pt x="507" y="744"/>
                  </a:lnTo>
                  <a:lnTo>
                    <a:pt x="499" y="746"/>
                  </a:lnTo>
                  <a:lnTo>
                    <a:pt x="88" y="746"/>
                  </a:lnTo>
                  <a:lnTo>
                    <a:pt x="88" y="746"/>
                  </a:lnTo>
                  <a:lnTo>
                    <a:pt x="79" y="744"/>
                  </a:lnTo>
                  <a:lnTo>
                    <a:pt x="70" y="742"/>
                  </a:lnTo>
                  <a:lnTo>
                    <a:pt x="63" y="737"/>
                  </a:lnTo>
                  <a:lnTo>
                    <a:pt x="57" y="732"/>
                  </a:lnTo>
                  <a:lnTo>
                    <a:pt x="51" y="725"/>
                  </a:lnTo>
                  <a:lnTo>
                    <a:pt x="47" y="718"/>
                  </a:lnTo>
                  <a:lnTo>
                    <a:pt x="44" y="710"/>
                  </a:lnTo>
                  <a:lnTo>
                    <a:pt x="43" y="700"/>
                  </a:lnTo>
                  <a:lnTo>
                    <a:pt x="43" y="161"/>
                  </a:lnTo>
                  <a:lnTo>
                    <a:pt x="43" y="161"/>
                  </a:lnTo>
                  <a:lnTo>
                    <a:pt x="44" y="152"/>
                  </a:lnTo>
                  <a:lnTo>
                    <a:pt x="47" y="143"/>
                  </a:lnTo>
                  <a:lnTo>
                    <a:pt x="51" y="135"/>
                  </a:lnTo>
                  <a:lnTo>
                    <a:pt x="57" y="128"/>
                  </a:lnTo>
                  <a:lnTo>
                    <a:pt x="63" y="123"/>
                  </a:lnTo>
                  <a:lnTo>
                    <a:pt x="70" y="119"/>
                  </a:lnTo>
                  <a:lnTo>
                    <a:pt x="79" y="116"/>
                  </a:lnTo>
                  <a:lnTo>
                    <a:pt x="88" y="116"/>
                  </a:lnTo>
                  <a:lnTo>
                    <a:pt x="499" y="116"/>
                  </a:lnTo>
                  <a:lnTo>
                    <a:pt x="499" y="116"/>
                  </a:lnTo>
                  <a:lnTo>
                    <a:pt x="507" y="116"/>
                  </a:lnTo>
                  <a:lnTo>
                    <a:pt x="517" y="119"/>
                  </a:lnTo>
                  <a:lnTo>
                    <a:pt x="524" y="123"/>
                  </a:lnTo>
                  <a:lnTo>
                    <a:pt x="531" y="128"/>
                  </a:lnTo>
                  <a:lnTo>
                    <a:pt x="536" y="135"/>
                  </a:lnTo>
                  <a:lnTo>
                    <a:pt x="540" y="143"/>
                  </a:lnTo>
                  <a:lnTo>
                    <a:pt x="543" y="152"/>
                  </a:lnTo>
                  <a:lnTo>
                    <a:pt x="543" y="161"/>
                  </a:lnTo>
                  <a:lnTo>
                    <a:pt x="543" y="700"/>
                  </a:lnTo>
                  <a:close/>
                </a:path>
              </a:pathLst>
            </a:custGeom>
            <a:solidFill>
              <a:srgbClr val="92D050"/>
            </a:solidFill>
            <a:ln>
              <a:noFill/>
            </a:ln>
            <a:extLst/>
          </p:spPr>
          <p:txBody>
            <a:bodyPr vert="horz" wrap="square" lIns="91440" tIns="45720" rIns="91440" bIns="45720" numCol="1" anchor="t" anchorCtr="0" compatLnSpc="1">
              <a:prstTxWarp prst="textNoShape">
                <a:avLst/>
              </a:prstTxWarp>
              <a:noAutofit/>
            </a:bodyPr>
            <a:lstStyle/>
            <a:p>
              <a:endParaRPr lang="en-GB" dirty="0"/>
            </a:p>
          </p:txBody>
        </p:sp>
        <p:sp>
          <p:nvSpPr>
            <p:cNvPr id="302" name="Freeform 6"/>
            <p:cNvSpPr>
              <a:spLocks noChangeAspect="1" noEditPoints="1"/>
            </p:cNvSpPr>
            <p:nvPr/>
          </p:nvSpPr>
          <p:spPr bwMode="auto">
            <a:xfrm>
              <a:off x="7684162" y="1745413"/>
              <a:ext cx="311199" cy="378895"/>
            </a:xfrm>
            <a:custGeom>
              <a:avLst/>
              <a:gdLst>
                <a:gd name="T0" fmla="*/ 604 w 616"/>
                <a:gd name="T1" fmla="*/ 136 h 750"/>
                <a:gd name="T2" fmla="*/ 494 w 616"/>
                <a:gd name="T3" fmla="*/ 14 h 750"/>
                <a:gd name="T4" fmla="*/ 494 w 616"/>
                <a:gd name="T5" fmla="*/ 14 h 750"/>
                <a:gd name="T6" fmla="*/ 478 w 616"/>
                <a:gd name="T7" fmla="*/ 4 h 750"/>
                <a:gd name="T8" fmla="*/ 456 w 616"/>
                <a:gd name="T9" fmla="*/ 0 h 750"/>
                <a:gd name="T10" fmla="*/ 44 w 616"/>
                <a:gd name="T11" fmla="*/ 0 h 750"/>
                <a:gd name="T12" fmla="*/ 44 w 616"/>
                <a:gd name="T13" fmla="*/ 0 h 750"/>
                <a:gd name="T14" fmla="*/ 28 w 616"/>
                <a:gd name="T15" fmla="*/ 4 h 750"/>
                <a:gd name="T16" fmla="*/ 12 w 616"/>
                <a:gd name="T17" fmla="*/ 14 h 750"/>
                <a:gd name="T18" fmla="*/ 0 w 616"/>
                <a:gd name="T19" fmla="*/ 30 h 750"/>
                <a:gd name="T20" fmla="*/ 0 w 616"/>
                <a:gd name="T21" fmla="*/ 46 h 750"/>
                <a:gd name="T22" fmla="*/ 0 w 616"/>
                <a:gd name="T23" fmla="*/ 704 h 750"/>
                <a:gd name="T24" fmla="*/ 0 w 616"/>
                <a:gd name="T25" fmla="*/ 704 h 750"/>
                <a:gd name="T26" fmla="*/ 0 w 616"/>
                <a:gd name="T27" fmla="*/ 722 h 750"/>
                <a:gd name="T28" fmla="*/ 12 w 616"/>
                <a:gd name="T29" fmla="*/ 738 h 750"/>
                <a:gd name="T30" fmla="*/ 28 w 616"/>
                <a:gd name="T31" fmla="*/ 746 h 750"/>
                <a:gd name="T32" fmla="*/ 44 w 616"/>
                <a:gd name="T33" fmla="*/ 750 h 750"/>
                <a:gd name="T34" fmla="*/ 570 w 616"/>
                <a:gd name="T35" fmla="*/ 750 h 750"/>
                <a:gd name="T36" fmla="*/ 570 w 616"/>
                <a:gd name="T37" fmla="*/ 750 h 750"/>
                <a:gd name="T38" fmla="*/ 588 w 616"/>
                <a:gd name="T39" fmla="*/ 746 h 750"/>
                <a:gd name="T40" fmla="*/ 604 w 616"/>
                <a:gd name="T41" fmla="*/ 738 h 750"/>
                <a:gd name="T42" fmla="*/ 612 w 616"/>
                <a:gd name="T43" fmla="*/ 722 h 750"/>
                <a:gd name="T44" fmla="*/ 616 w 616"/>
                <a:gd name="T45" fmla="*/ 704 h 750"/>
                <a:gd name="T46" fmla="*/ 616 w 616"/>
                <a:gd name="T47" fmla="*/ 168 h 750"/>
                <a:gd name="T48" fmla="*/ 616 w 616"/>
                <a:gd name="T49" fmla="*/ 168 h 750"/>
                <a:gd name="T50" fmla="*/ 612 w 616"/>
                <a:gd name="T51" fmla="*/ 152 h 750"/>
                <a:gd name="T52" fmla="*/ 604 w 616"/>
                <a:gd name="T53" fmla="*/ 136 h 750"/>
                <a:gd name="T54" fmla="*/ 604 w 616"/>
                <a:gd name="T55" fmla="*/ 136 h 750"/>
                <a:gd name="T56" fmla="*/ 604 w 616"/>
                <a:gd name="T57" fmla="*/ 136 h 750"/>
                <a:gd name="T58" fmla="*/ 604 w 616"/>
                <a:gd name="T59" fmla="*/ 136 h 750"/>
                <a:gd name="T60" fmla="*/ 362 w 616"/>
                <a:gd name="T61" fmla="*/ 372 h 750"/>
                <a:gd name="T62" fmla="*/ 362 w 616"/>
                <a:gd name="T63" fmla="*/ 372 h 750"/>
                <a:gd name="T64" fmla="*/ 472 w 616"/>
                <a:gd name="T65" fmla="*/ 372 h 750"/>
                <a:gd name="T66" fmla="*/ 306 w 616"/>
                <a:gd name="T67" fmla="*/ 652 h 750"/>
                <a:gd name="T68" fmla="*/ 142 w 616"/>
                <a:gd name="T69" fmla="*/ 372 h 750"/>
                <a:gd name="T70" fmla="*/ 252 w 616"/>
                <a:gd name="T71" fmla="*/ 372 h 750"/>
                <a:gd name="T72" fmla="*/ 252 w 616"/>
                <a:gd name="T73" fmla="*/ 110 h 750"/>
                <a:gd name="T74" fmla="*/ 362 w 616"/>
                <a:gd name="T75" fmla="*/ 110 h 750"/>
                <a:gd name="T76" fmla="*/ 362 w 616"/>
                <a:gd name="T77" fmla="*/ 372 h 750"/>
                <a:gd name="T78" fmla="*/ 362 w 616"/>
                <a:gd name="T79" fmla="*/ 372 h 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616" h="750">
                  <a:moveTo>
                    <a:pt x="604" y="136"/>
                  </a:moveTo>
                  <a:lnTo>
                    <a:pt x="494" y="14"/>
                  </a:lnTo>
                  <a:lnTo>
                    <a:pt x="494" y="14"/>
                  </a:lnTo>
                  <a:lnTo>
                    <a:pt x="478" y="4"/>
                  </a:lnTo>
                  <a:lnTo>
                    <a:pt x="456" y="0"/>
                  </a:lnTo>
                  <a:lnTo>
                    <a:pt x="44" y="0"/>
                  </a:lnTo>
                  <a:lnTo>
                    <a:pt x="44" y="0"/>
                  </a:lnTo>
                  <a:lnTo>
                    <a:pt x="28" y="4"/>
                  </a:lnTo>
                  <a:lnTo>
                    <a:pt x="12" y="14"/>
                  </a:lnTo>
                  <a:lnTo>
                    <a:pt x="0" y="30"/>
                  </a:lnTo>
                  <a:lnTo>
                    <a:pt x="0" y="46"/>
                  </a:lnTo>
                  <a:lnTo>
                    <a:pt x="0" y="704"/>
                  </a:lnTo>
                  <a:lnTo>
                    <a:pt x="0" y="704"/>
                  </a:lnTo>
                  <a:lnTo>
                    <a:pt x="0" y="722"/>
                  </a:lnTo>
                  <a:lnTo>
                    <a:pt x="12" y="738"/>
                  </a:lnTo>
                  <a:lnTo>
                    <a:pt x="28" y="746"/>
                  </a:lnTo>
                  <a:lnTo>
                    <a:pt x="44" y="750"/>
                  </a:lnTo>
                  <a:lnTo>
                    <a:pt x="570" y="750"/>
                  </a:lnTo>
                  <a:lnTo>
                    <a:pt x="570" y="750"/>
                  </a:lnTo>
                  <a:lnTo>
                    <a:pt x="588" y="746"/>
                  </a:lnTo>
                  <a:lnTo>
                    <a:pt x="604" y="738"/>
                  </a:lnTo>
                  <a:lnTo>
                    <a:pt x="612" y="722"/>
                  </a:lnTo>
                  <a:lnTo>
                    <a:pt x="616" y="704"/>
                  </a:lnTo>
                  <a:lnTo>
                    <a:pt x="616" y="168"/>
                  </a:lnTo>
                  <a:lnTo>
                    <a:pt x="616" y="168"/>
                  </a:lnTo>
                  <a:lnTo>
                    <a:pt x="612" y="152"/>
                  </a:lnTo>
                  <a:lnTo>
                    <a:pt x="604" y="136"/>
                  </a:lnTo>
                  <a:lnTo>
                    <a:pt x="604" y="136"/>
                  </a:lnTo>
                  <a:lnTo>
                    <a:pt x="604" y="136"/>
                  </a:lnTo>
                  <a:lnTo>
                    <a:pt x="604" y="136"/>
                  </a:lnTo>
                  <a:close/>
                  <a:moveTo>
                    <a:pt x="362" y="372"/>
                  </a:moveTo>
                  <a:lnTo>
                    <a:pt x="362" y="372"/>
                  </a:lnTo>
                  <a:lnTo>
                    <a:pt x="472" y="372"/>
                  </a:lnTo>
                  <a:lnTo>
                    <a:pt x="306" y="652"/>
                  </a:lnTo>
                  <a:lnTo>
                    <a:pt x="142" y="372"/>
                  </a:lnTo>
                  <a:lnTo>
                    <a:pt x="252" y="372"/>
                  </a:lnTo>
                  <a:lnTo>
                    <a:pt x="252" y="110"/>
                  </a:lnTo>
                  <a:lnTo>
                    <a:pt x="362" y="110"/>
                  </a:lnTo>
                  <a:lnTo>
                    <a:pt x="362" y="372"/>
                  </a:lnTo>
                  <a:lnTo>
                    <a:pt x="362" y="372"/>
                  </a:lnTo>
                  <a:close/>
                </a:path>
              </a:pathLst>
            </a:custGeom>
            <a:solidFill>
              <a:srgbClr val="8DC63F"/>
            </a:solidFill>
            <a:ln>
              <a:noFill/>
            </a:ln>
          </p:spPr>
          <p:txBody>
            <a:bodyPr vert="horz" wrap="square" lIns="91440" tIns="45720" rIns="91440" bIns="45720" numCol="1" anchor="t" anchorCtr="0" compatLnSpc="1">
              <a:prstTxWarp prst="textNoShape">
                <a:avLst/>
              </a:prstTxWarp>
            </a:bodyPr>
            <a:lstStyle/>
            <a:p>
              <a:endParaRPr lang="de-DE"/>
            </a:p>
          </p:txBody>
        </p:sp>
        <p:sp>
          <p:nvSpPr>
            <p:cNvPr id="306" name="Freeform 116"/>
            <p:cNvSpPr>
              <a:spLocks noEditPoints="1"/>
            </p:cNvSpPr>
            <p:nvPr/>
          </p:nvSpPr>
          <p:spPr bwMode="auto">
            <a:xfrm>
              <a:off x="2637651" y="2192072"/>
              <a:ext cx="386460" cy="335684"/>
            </a:xfrm>
            <a:custGeom>
              <a:avLst/>
              <a:gdLst>
                <a:gd name="T0" fmla="*/ 725 w 821"/>
                <a:gd name="T1" fmla="*/ 332 h 714"/>
                <a:gd name="T2" fmla="*/ 813 w 821"/>
                <a:gd name="T3" fmla="*/ 28 h 714"/>
                <a:gd name="T4" fmla="*/ 487 w 821"/>
                <a:gd name="T5" fmla="*/ 172 h 714"/>
                <a:gd name="T6" fmla="*/ 329 w 821"/>
                <a:gd name="T7" fmla="*/ 166 h 714"/>
                <a:gd name="T8" fmla="*/ 56 w 821"/>
                <a:gd name="T9" fmla="*/ 28 h 714"/>
                <a:gd name="T10" fmla="*/ 55 w 821"/>
                <a:gd name="T11" fmla="*/ 22 h 714"/>
                <a:gd name="T12" fmla="*/ 51 w 821"/>
                <a:gd name="T13" fmla="*/ 12 h 714"/>
                <a:gd name="T14" fmla="*/ 43 w 821"/>
                <a:gd name="T15" fmla="*/ 4 h 714"/>
                <a:gd name="T16" fmla="*/ 34 w 821"/>
                <a:gd name="T17" fmla="*/ 0 h 714"/>
                <a:gd name="T18" fmla="*/ 29 w 821"/>
                <a:gd name="T19" fmla="*/ 0 h 714"/>
                <a:gd name="T20" fmla="*/ 17 w 821"/>
                <a:gd name="T21" fmla="*/ 2 h 714"/>
                <a:gd name="T22" fmla="*/ 9 w 821"/>
                <a:gd name="T23" fmla="*/ 8 h 714"/>
                <a:gd name="T24" fmla="*/ 3 w 821"/>
                <a:gd name="T25" fmla="*/ 17 h 714"/>
                <a:gd name="T26" fmla="*/ 0 w 821"/>
                <a:gd name="T27" fmla="*/ 28 h 714"/>
                <a:gd name="T28" fmla="*/ 0 w 821"/>
                <a:gd name="T29" fmla="*/ 687 h 714"/>
                <a:gd name="T30" fmla="*/ 3 w 821"/>
                <a:gd name="T31" fmla="*/ 698 h 714"/>
                <a:gd name="T32" fmla="*/ 9 w 821"/>
                <a:gd name="T33" fmla="*/ 707 h 714"/>
                <a:gd name="T34" fmla="*/ 17 w 821"/>
                <a:gd name="T35" fmla="*/ 712 h 714"/>
                <a:gd name="T36" fmla="*/ 29 w 821"/>
                <a:gd name="T37" fmla="*/ 714 h 714"/>
                <a:gd name="T38" fmla="*/ 687 w 821"/>
                <a:gd name="T39" fmla="*/ 714 h 714"/>
                <a:gd name="T40" fmla="*/ 698 w 821"/>
                <a:gd name="T41" fmla="*/ 712 h 714"/>
                <a:gd name="T42" fmla="*/ 707 w 821"/>
                <a:gd name="T43" fmla="*/ 707 h 714"/>
                <a:gd name="T44" fmla="*/ 713 w 821"/>
                <a:gd name="T45" fmla="*/ 698 h 714"/>
                <a:gd name="T46" fmla="*/ 716 w 821"/>
                <a:gd name="T47" fmla="*/ 687 h 714"/>
                <a:gd name="T48" fmla="*/ 715 w 821"/>
                <a:gd name="T49" fmla="*/ 682 h 714"/>
                <a:gd name="T50" fmla="*/ 710 w 821"/>
                <a:gd name="T51" fmla="*/ 672 h 714"/>
                <a:gd name="T52" fmla="*/ 703 w 821"/>
                <a:gd name="T53" fmla="*/ 664 h 714"/>
                <a:gd name="T54" fmla="*/ 694 w 821"/>
                <a:gd name="T55" fmla="*/ 660 h 714"/>
                <a:gd name="T56" fmla="*/ 107 w 821"/>
                <a:gd name="T57" fmla="*/ 660 h 714"/>
                <a:gd name="T58" fmla="*/ 428 w 821"/>
                <a:gd name="T59" fmla="*/ 578 h 714"/>
                <a:gd name="T60" fmla="*/ 427 w 821"/>
                <a:gd name="T61" fmla="*/ 319 h 714"/>
                <a:gd name="T62" fmla="*/ 500 w 821"/>
                <a:gd name="T63" fmla="*/ 129 h 714"/>
                <a:gd name="T64" fmla="*/ 777 w 821"/>
                <a:gd name="T65" fmla="*/ 319 h 714"/>
                <a:gd name="T66" fmla="*/ 434 w 821"/>
                <a:gd name="T67" fmla="*/ 519 h 714"/>
                <a:gd name="T68" fmla="*/ 56 w 821"/>
                <a:gd name="T69" fmla="*/ 659 h 714"/>
                <a:gd name="T70" fmla="*/ 337 w 821"/>
                <a:gd name="T71" fmla="*/ 232 h 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21" h="714">
                  <a:moveTo>
                    <a:pt x="428" y="578"/>
                  </a:moveTo>
                  <a:lnTo>
                    <a:pt x="725" y="332"/>
                  </a:lnTo>
                  <a:lnTo>
                    <a:pt x="821" y="404"/>
                  </a:lnTo>
                  <a:lnTo>
                    <a:pt x="813" y="28"/>
                  </a:lnTo>
                  <a:lnTo>
                    <a:pt x="402" y="104"/>
                  </a:lnTo>
                  <a:lnTo>
                    <a:pt x="487" y="172"/>
                  </a:lnTo>
                  <a:lnTo>
                    <a:pt x="422" y="256"/>
                  </a:lnTo>
                  <a:lnTo>
                    <a:pt x="329" y="166"/>
                  </a:lnTo>
                  <a:lnTo>
                    <a:pt x="56" y="585"/>
                  </a:lnTo>
                  <a:lnTo>
                    <a:pt x="56" y="28"/>
                  </a:lnTo>
                  <a:lnTo>
                    <a:pt x="56" y="28"/>
                  </a:lnTo>
                  <a:lnTo>
                    <a:pt x="55" y="22"/>
                  </a:lnTo>
                  <a:lnTo>
                    <a:pt x="54" y="17"/>
                  </a:lnTo>
                  <a:lnTo>
                    <a:pt x="51" y="12"/>
                  </a:lnTo>
                  <a:lnTo>
                    <a:pt x="48" y="8"/>
                  </a:lnTo>
                  <a:lnTo>
                    <a:pt x="43" y="4"/>
                  </a:lnTo>
                  <a:lnTo>
                    <a:pt x="39" y="2"/>
                  </a:lnTo>
                  <a:lnTo>
                    <a:pt x="34" y="0"/>
                  </a:lnTo>
                  <a:lnTo>
                    <a:pt x="29" y="0"/>
                  </a:lnTo>
                  <a:lnTo>
                    <a:pt x="29" y="0"/>
                  </a:lnTo>
                  <a:lnTo>
                    <a:pt x="22" y="0"/>
                  </a:lnTo>
                  <a:lnTo>
                    <a:pt x="17" y="2"/>
                  </a:lnTo>
                  <a:lnTo>
                    <a:pt x="13" y="4"/>
                  </a:lnTo>
                  <a:lnTo>
                    <a:pt x="9" y="8"/>
                  </a:lnTo>
                  <a:lnTo>
                    <a:pt x="6" y="12"/>
                  </a:lnTo>
                  <a:lnTo>
                    <a:pt x="3" y="17"/>
                  </a:lnTo>
                  <a:lnTo>
                    <a:pt x="2" y="22"/>
                  </a:lnTo>
                  <a:lnTo>
                    <a:pt x="0" y="28"/>
                  </a:lnTo>
                  <a:lnTo>
                    <a:pt x="0" y="687"/>
                  </a:lnTo>
                  <a:lnTo>
                    <a:pt x="0" y="687"/>
                  </a:lnTo>
                  <a:lnTo>
                    <a:pt x="2" y="692"/>
                  </a:lnTo>
                  <a:lnTo>
                    <a:pt x="3" y="698"/>
                  </a:lnTo>
                  <a:lnTo>
                    <a:pt x="6" y="703"/>
                  </a:lnTo>
                  <a:lnTo>
                    <a:pt x="9" y="707"/>
                  </a:lnTo>
                  <a:lnTo>
                    <a:pt x="13" y="710"/>
                  </a:lnTo>
                  <a:lnTo>
                    <a:pt x="17" y="712"/>
                  </a:lnTo>
                  <a:lnTo>
                    <a:pt x="22" y="714"/>
                  </a:lnTo>
                  <a:lnTo>
                    <a:pt x="29" y="714"/>
                  </a:lnTo>
                  <a:lnTo>
                    <a:pt x="687" y="714"/>
                  </a:lnTo>
                  <a:lnTo>
                    <a:pt x="687" y="714"/>
                  </a:lnTo>
                  <a:lnTo>
                    <a:pt x="694" y="714"/>
                  </a:lnTo>
                  <a:lnTo>
                    <a:pt x="698" y="712"/>
                  </a:lnTo>
                  <a:lnTo>
                    <a:pt x="703" y="710"/>
                  </a:lnTo>
                  <a:lnTo>
                    <a:pt x="707" y="707"/>
                  </a:lnTo>
                  <a:lnTo>
                    <a:pt x="710" y="703"/>
                  </a:lnTo>
                  <a:lnTo>
                    <a:pt x="713" y="698"/>
                  </a:lnTo>
                  <a:lnTo>
                    <a:pt x="715" y="692"/>
                  </a:lnTo>
                  <a:lnTo>
                    <a:pt x="716" y="687"/>
                  </a:lnTo>
                  <a:lnTo>
                    <a:pt x="716" y="687"/>
                  </a:lnTo>
                  <a:lnTo>
                    <a:pt x="715" y="682"/>
                  </a:lnTo>
                  <a:lnTo>
                    <a:pt x="713" y="677"/>
                  </a:lnTo>
                  <a:lnTo>
                    <a:pt x="710" y="672"/>
                  </a:lnTo>
                  <a:lnTo>
                    <a:pt x="707" y="667"/>
                  </a:lnTo>
                  <a:lnTo>
                    <a:pt x="703" y="664"/>
                  </a:lnTo>
                  <a:lnTo>
                    <a:pt x="698" y="662"/>
                  </a:lnTo>
                  <a:lnTo>
                    <a:pt x="694" y="660"/>
                  </a:lnTo>
                  <a:lnTo>
                    <a:pt x="687" y="660"/>
                  </a:lnTo>
                  <a:lnTo>
                    <a:pt x="107" y="660"/>
                  </a:lnTo>
                  <a:lnTo>
                    <a:pt x="346" y="474"/>
                  </a:lnTo>
                  <a:lnTo>
                    <a:pt x="428" y="578"/>
                  </a:lnTo>
                  <a:close/>
                  <a:moveTo>
                    <a:pt x="337" y="232"/>
                  </a:moveTo>
                  <a:lnTo>
                    <a:pt x="427" y="319"/>
                  </a:lnTo>
                  <a:lnTo>
                    <a:pt x="546" y="166"/>
                  </a:lnTo>
                  <a:lnTo>
                    <a:pt x="500" y="129"/>
                  </a:lnTo>
                  <a:lnTo>
                    <a:pt x="772" y="78"/>
                  </a:lnTo>
                  <a:lnTo>
                    <a:pt x="777" y="319"/>
                  </a:lnTo>
                  <a:lnTo>
                    <a:pt x="724" y="279"/>
                  </a:lnTo>
                  <a:lnTo>
                    <a:pt x="434" y="519"/>
                  </a:lnTo>
                  <a:lnTo>
                    <a:pt x="352" y="414"/>
                  </a:lnTo>
                  <a:lnTo>
                    <a:pt x="56" y="659"/>
                  </a:lnTo>
                  <a:lnTo>
                    <a:pt x="56" y="641"/>
                  </a:lnTo>
                  <a:lnTo>
                    <a:pt x="337" y="232"/>
                  </a:lnTo>
                  <a:close/>
                </a:path>
              </a:pathLst>
            </a:custGeom>
            <a:solidFill>
              <a:srgbClr val="8DC6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cxnSp>
          <p:nvCxnSpPr>
            <p:cNvPr id="307" name="Straight Connector 391"/>
            <p:cNvCxnSpPr>
              <a:endCxn id="305" idx="7"/>
            </p:cNvCxnSpPr>
            <p:nvPr/>
          </p:nvCxnSpPr>
          <p:spPr>
            <a:xfrm flipH="1">
              <a:off x="2034489" y="1779226"/>
              <a:ext cx="243355" cy="417510"/>
            </a:xfrm>
            <a:prstGeom prst="line">
              <a:avLst/>
            </a:prstGeom>
            <a:ln w="12700">
              <a:solidFill>
                <a:schemeClr val="tx1"/>
              </a:solidFill>
              <a:prstDash val="sysDash"/>
            </a:ln>
          </p:spPr>
          <p:style>
            <a:lnRef idx="2">
              <a:schemeClr val="accent1"/>
            </a:lnRef>
            <a:fillRef idx="0">
              <a:schemeClr val="accent1"/>
            </a:fillRef>
            <a:effectRef idx="1">
              <a:schemeClr val="accent1"/>
            </a:effectRef>
            <a:fontRef idx="minor">
              <a:schemeClr val="tx1"/>
            </a:fontRef>
          </p:style>
        </p:cxnSp>
        <p:cxnSp>
          <p:nvCxnSpPr>
            <p:cNvPr id="308" name="Straight Connector 392"/>
            <p:cNvCxnSpPr>
              <a:stCxn id="309" idx="1"/>
            </p:cNvCxnSpPr>
            <p:nvPr/>
          </p:nvCxnSpPr>
          <p:spPr>
            <a:xfrm flipH="1" flipV="1">
              <a:off x="1729839" y="1345489"/>
              <a:ext cx="229232" cy="140952"/>
            </a:xfrm>
            <a:prstGeom prst="line">
              <a:avLst/>
            </a:prstGeom>
            <a:ln w="12700">
              <a:solidFill>
                <a:schemeClr val="tx1"/>
              </a:solidFill>
              <a:prstDash val="sysDash"/>
            </a:ln>
          </p:spPr>
          <p:style>
            <a:lnRef idx="2">
              <a:schemeClr val="accent1"/>
            </a:lnRef>
            <a:fillRef idx="0">
              <a:schemeClr val="accent1"/>
            </a:fillRef>
            <a:effectRef idx="1">
              <a:schemeClr val="accent1"/>
            </a:effectRef>
            <a:fontRef idx="minor">
              <a:schemeClr val="tx1"/>
            </a:fontRef>
          </p:style>
        </p:cxnSp>
        <p:cxnSp>
          <p:nvCxnSpPr>
            <p:cNvPr id="310" name="Straight Connector 396"/>
            <p:cNvCxnSpPr>
              <a:stCxn id="305" idx="6"/>
              <a:endCxn id="243" idx="2"/>
            </p:cNvCxnSpPr>
            <p:nvPr/>
          </p:nvCxnSpPr>
          <p:spPr>
            <a:xfrm flipH="1" flipV="1">
              <a:off x="1199888" y="1976950"/>
              <a:ext cx="599086" cy="219786"/>
            </a:xfrm>
            <a:prstGeom prst="line">
              <a:avLst/>
            </a:prstGeom>
            <a:ln w="12700">
              <a:solidFill>
                <a:schemeClr val="tx1"/>
              </a:solidFill>
              <a:prstDash val="sysDash"/>
            </a:ln>
          </p:spPr>
          <p:style>
            <a:lnRef idx="2">
              <a:schemeClr val="accent1"/>
            </a:lnRef>
            <a:fillRef idx="0">
              <a:schemeClr val="accent1"/>
            </a:fillRef>
            <a:effectRef idx="1">
              <a:schemeClr val="accent1"/>
            </a:effectRef>
            <a:fontRef idx="minor">
              <a:schemeClr val="tx1"/>
            </a:fontRef>
          </p:style>
        </p:cxnSp>
        <p:cxnSp>
          <p:nvCxnSpPr>
            <p:cNvPr id="311" name="Straight Connector 399"/>
            <p:cNvCxnSpPr>
              <a:stCxn id="252" idx="11"/>
            </p:cNvCxnSpPr>
            <p:nvPr/>
          </p:nvCxnSpPr>
          <p:spPr>
            <a:xfrm flipV="1">
              <a:off x="6280285" y="1988334"/>
              <a:ext cx="405090" cy="404826"/>
            </a:xfrm>
            <a:prstGeom prst="line">
              <a:avLst/>
            </a:prstGeom>
            <a:ln w="12700">
              <a:solidFill>
                <a:schemeClr val="tx1"/>
              </a:solidFill>
              <a:prstDash val="sysDash"/>
            </a:ln>
          </p:spPr>
          <p:style>
            <a:lnRef idx="2">
              <a:schemeClr val="accent1"/>
            </a:lnRef>
            <a:fillRef idx="0">
              <a:schemeClr val="accent1"/>
            </a:fillRef>
            <a:effectRef idx="1">
              <a:schemeClr val="accent1"/>
            </a:effectRef>
            <a:fontRef idx="minor">
              <a:schemeClr val="tx1"/>
            </a:fontRef>
          </p:style>
        </p:cxnSp>
        <p:cxnSp>
          <p:nvCxnSpPr>
            <p:cNvPr id="312" name="Straight Connector 401"/>
            <p:cNvCxnSpPr>
              <a:stCxn id="284" idx="0"/>
            </p:cNvCxnSpPr>
            <p:nvPr/>
          </p:nvCxnSpPr>
          <p:spPr>
            <a:xfrm flipV="1">
              <a:off x="5517339" y="1329972"/>
              <a:ext cx="1052555" cy="857730"/>
            </a:xfrm>
            <a:prstGeom prst="line">
              <a:avLst/>
            </a:prstGeom>
            <a:ln w="12700">
              <a:solidFill>
                <a:schemeClr val="tx1"/>
              </a:solidFill>
              <a:prstDash val="sysDash"/>
            </a:ln>
          </p:spPr>
          <p:style>
            <a:lnRef idx="2">
              <a:schemeClr val="accent1"/>
            </a:lnRef>
            <a:fillRef idx="0">
              <a:schemeClr val="accent1"/>
            </a:fillRef>
            <a:effectRef idx="1">
              <a:schemeClr val="accent1"/>
            </a:effectRef>
            <a:fontRef idx="minor">
              <a:schemeClr val="tx1"/>
            </a:fontRef>
          </p:style>
        </p:cxnSp>
        <p:grpSp>
          <p:nvGrpSpPr>
            <p:cNvPr id="314" name="Gruppieren 28"/>
            <p:cNvGrpSpPr>
              <a:grpSpLocks noChangeAspect="1"/>
            </p:cNvGrpSpPr>
            <p:nvPr/>
          </p:nvGrpSpPr>
          <p:grpSpPr>
            <a:xfrm>
              <a:off x="6280285" y="2913959"/>
              <a:ext cx="631616" cy="578283"/>
              <a:chOff x="9612313" y="1685925"/>
              <a:chExt cx="4324350" cy="3959225"/>
            </a:xfrm>
            <a:solidFill>
              <a:srgbClr val="8DC63F"/>
            </a:solidFill>
          </p:grpSpPr>
          <p:sp>
            <p:nvSpPr>
              <p:cNvPr id="315" name="Freeform 6"/>
              <p:cNvSpPr>
                <a:spLocks/>
              </p:cNvSpPr>
              <p:nvPr/>
            </p:nvSpPr>
            <p:spPr bwMode="auto">
              <a:xfrm>
                <a:off x="12349163" y="1685925"/>
                <a:ext cx="1587500" cy="946150"/>
              </a:xfrm>
              <a:custGeom>
                <a:avLst/>
                <a:gdLst>
                  <a:gd name="T0" fmla="*/ 1000 w 1000"/>
                  <a:gd name="T1" fmla="*/ 52 h 596"/>
                  <a:gd name="T2" fmla="*/ 996 w 1000"/>
                  <a:gd name="T3" fmla="*/ 46 h 596"/>
                  <a:gd name="T4" fmla="*/ 912 w 1000"/>
                  <a:gd name="T5" fmla="*/ 0 h 596"/>
                  <a:gd name="T6" fmla="*/ 904 w 1000"/>
                  <a:gd name="T7" fmla="*/ 0 h 596"/>
                  <a:gd name="T8" fmla="*/ 900 w 1000"/>
                  <a:gd name="T9" fmla="*/ 4 h 596"/>
                  <a:gd name="T10" fmla="*/ 882 w 1000"/>
                  <a:gd name="T11" fmla="*/ 32 h 596"/>
                  <a:gd name="T12" fmla="*/ 844 w 1000"/>
                  <a:gd name="T13" fmla="*/ 80 h 596"/>
                  <a:gd name="T14" fmla="*/ 802 w 1000"/>
                  <a:gd name="T15" fmla="*/ 112 h 596"/>
                  <a:gd name="T16" fmla="*/ 754 w 1000"/>
                  <a:gd name="T17" fmla="*/ 136 h 596"/>
                  <a:gd name="T18" fmla="*/ 704 w 1000"/>
                  <a:gd name="T19" fmla="*/ 148 h 596"/>
                  <a:gd name="T20" fmla="*/ 652 w 1000"/>
                  <a:gd name="T21" fmla="*/ 156 h 596"/>
                  <a:gd name="T22" fmla="*/ 572 w 1000"/>
                  <a:gd name="T23" fmla="*/ 158 h 596"/>
                  <a:gd name="T24" fmla="*/ 518 w 1000"/>
                  <a:gd name="T25" fmla="*/ 156 h 596"/>
                  <a:gd name="T26" fmla="*/ 436 w 1000"/>
                  <a:gd name="T27" fmla="*/ 156 h 596"/>
                  <a:gd name="T28" fmla="*/ 358 w 1000"/>
                  <a:gd name="T29" fmla="*/ 162 h 596"/>
                  <a:gd name="T30" fmla="*/ 280 w 1000"/>
                  <a:gd name="T31" fmla="*/ 180 h 596"/>
                  <a:gd name="T32" fmla="*/ 210 w 1000"/>
                  <a:gd name="T33" fmla="*/ 212 h 596"/>
                  <a:gd name="T34" fmla="*/ 160 w 1000"/>
                  <a:gd name="T35" fmla="*/ 248 h 596"/>
                  <a:gd name="T36" fmla="*/ 128 w 1000"/>
                  <a:gd name="T37" fmla="*/ 276 h 596"/>
                  <a:gd name="T38" fmla="*/ 100 w 1000"/>
                  <a:gd name="T39" fmla="*/ 310 h 596"/>
                  <a:gd name="T40" fmla="*/ 74 w 1000"/>
                  <a:gd name="T41" fmla="*/ 350 h 596"/>
                  <a:gd name="T42" fmla="*/ 48 w 1000"/>
                  <a:gd name="T43" fmla="*/ 396 h 596"/>
                  <a:gd name="T44" fmla="*/ 26 w 1000"/>
                  <a:gd name="T45" fmla="*/ 448 h 596"/>
                  <a:gd name="T46" fmla="*/ 0 w 1000"/>
                  <a:gd name="T47" fmla="*/ 538 h 596"/>
                  <a:gd name="T48" fmla="*/ 0 w 1000"/>
                  <a:gd name="T49" fmla="*/ 544 h 596"/>
                  <a:gd name="T50" fmla="*/ 4 w 1000"/>
                  <a:gd name="T51" fmla="*/ 548 h 596"/>
                  <a:gd name="T52" fmla="*/ 92 w 1000"/>
                  <a:gd name="T53" fmla="*/ 596 h 596"/>
                  <a:gd name="T54" fmla="*/ 100 w 1000"/>
                  <a:gd name="T55" fmla="*/ 596 h 596"/>
                  <a:gd name="T56" fmla="*/ 102 w 1000"/>
                  <a:gd name="T57" fmla="*/ 594 h 596"/>
                  <a:gd name="T58" fmla="*/ 104 w 1000"/>
                  <a:gd name="T59" fmla="*/ 590 h 596"/>
                  <a:gd name="T60" fmla="*/ 136 w 1000"/>
                  <a:gd name="T61" fmla="*/ 492 h 596"/>
                  <a:gd name="T62" fmla="*/ 174 w 1000"/>
                  <a:gd name="T63" fmla="*/ 416 h 596"/>
                  <a:gd name="T64" fmla="*/ 220 w 1000"/>
                  <a:gd name="T65" fmla="*/ 358 h 596"/>
                  <a:gd name="T66" fmla="*/ 274 w 1000"/>
                  <a:gd name="T67" fmla="*/ 318 h 596"/>
                  <a:gd name="T68" fmla="*/ 330 w 1000"/>
                  <a:gd name="T69" fmla="*/ 290 h 596"/>
                  <a:gd name="T70" fmla="*/ 390 w 1000"/>
                  <a:gd name="T71" fmla="*/ 276 h 596"/>
                  <a:gd name="T72" fmla="*/ 452 w 1000"/>
                  <a:gd name="T73" fmla="*/ 270 h 596"/>
                  <a:gd name="T74" fmla="*/ 514 w 1000"/>
                  <a:gd name="T75" fmla="*/ 270 h 596"/>
                  <a:gd name="T76" fmla="*/ 580 w 1000"/>
                  <a:gd name="T77" fmla="*/ 272 h 596"/>
                  <a:gd name="T78" fmla="*/ 682 w 1000"/>
                  <a:gd name="T79" fmla="*/ 268 h 596"/>
                  <a:gd name="T80" fmla="*/ 746 w 1000"/>
                  <a:gd name="T81" fmla="*/ 260 h 596"/>
                  <a:gd name="T82" fmla="*/ 810 w 1000"/>
                  <a:gd name="T83" fmla="*/ 240 h 596"/>
                  <a:gd name="T84" fmla="*/ 870 w 1000"/>
                  <a:gd name="T85" fmla="*/ 208 h 596"/>
                  <a:gd name="T86" fmla="*/ 924 w 1000"/>
                  <a:gd name="T87" fmla="*/ 162 h 596"/>
                  <a:gd name="T88" fmla="*/ 976 w 1000"/>
                  <a:gd name="T89" fmla="*/ 98 h 596"/>
                  <a:gd name="T90" fmla="*/ 1000 w 1000"/>
                  <a:gd name="T91" fmla="*/ 58 h 596"/>
                  <a:gd name="T92" fmla="*/ 1000 w 1000"/>
                  <a:gd name="T93" fmla="*/ 52 h 5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000" h="596">
                    <a:moveTo>
                      <a:pt x="1000" y="52"/>
                    </a:moveTo>
                    <a:lnTo>
                      <a:pt x="1000" y="52"/>
                    </a:lnTo>
                    <a:lnTo>
                      <a:pt x="998" y="48"/>
                    </a:lnTo>
                    <a:lnTo>
                      <a:pt x="996" y="46"/>
                    </a:lnTo>
                    <a:lnTo>
                      <a:pt x="912" y="0"/>
                    </a:lnTo>
                    <a:lnTo>
                      <a:pt x="912" y="0"/>
                    </a:lnTo>
                    <a:lnTo>
                      <a:pt x="908" y="0"/>
                    </a:lnTo>
                    <a:lnTo>
                      <a:pt x="904" y="0"/>
                    </a:lnTo>
                    <a:lnTo>
                      <a:pt x="902" y="2"/>
                    </a:lnTo>
                    <a:lnTo>
                      <a:pt x="900" y="4"/>
                    </a:lnTo>
                    <a:lnTo>
                      <a:pt x="900" y="4"/>
                    </a:lnTo>
                    <a:lnTo>
                      <a:pt x="882" y="32"/>
                    </a:lnTo>
                    <a:lnTo>
                      <a:pt x="864" y="58"/>
                    </a:lnTo>
                    <a:lnTo>
                      <a:pt x="844" y="80"/>
                    </a:lnTo>
                    <a:lnTo>
                      <a:pt x="824" y="98"/>
                    </a:lnTo>
                    <a:lnTo>
                      <a:pt x="802" y="112"/>
                    </a:lnTo>
                    <a:lnTo>
                      <a:pt x="778" y="124"/>
                    </a:lnTo>
                    <a:lnTo>
                      <a:pt x="754" y="136"/>
                    </a:lnTo>
                    <a:lnTo>
                      <a:pt x="730" y="142"/>
                    </a:lnTo>
                    <a:lnTo>
                      <a:pt x="704" y="148"/>
                    </a:lnTo>
                    <a:lnTo>
                      <a:pt x="680" y="152"/>
                    </a:lnTo>
                    <a:lnTo>
                      <a:pt x="652" y="156"/>
                    </a:lnTo>
                    <a:lnTo>
                      <a:pt x="626" y="156"/>
                    </a:lnTo>
                    <a:lnTo>
                      <a:pt x="572" y="158"/>
                    </a:lnTo>
                    <a:lnTo>
                      <a:pt x="518" y="156"/>
                    </a:lnTo>
                    <a:lnTo>
                      <a:pt x="518" y="156"/>
                    </a:lnTo>
                    <a:lnTo>
                      <a:pt x="478" y="154"/>
                    </a:lnTo>
                    <a:lnTo>
                      <a:pt x="436" y="156"/>
                    </a:lnTo>
                    <a:lnTo>
                      <a:pt x="396" y="158"/>
                    </a:lnTo>
                    <a:lnTo>
                      <a:pt x="358" y="162"/>
                    </a:lnTo>
                    <a:lnTo>
                      <a:pt x="318" y="170"/>
                    </a:lnTo>
                    <a:lnTo>
                      <a:pt x="280" y="180"/>
                    </a:lnTo>
                    <a:lnTo>
                      <a:pt x="244" y="194"/>
                    </a:lnTo>
                    <a:lnTo>
                      <a:pt x="210" y="212"/>
                    </a:lnTo>
                    <a:lnTo>
                      <a:pt x="176" y="234"/>
                    </a:lnTo>
                    <a:lnTo>
                      <a:pt x="160" y="248"/>
                    </a:lnTo>
                    <a:lnTo>
                      <a:pt x="144" y="262"/>
                    </a:lnTo>
                    <a:lnTo>
                      <a:pt x="128" y="276"/>
                    </a:lnTo>
                    <a:lnTo>
                      <a:pt x="114" y="292"/>
                    </a:lnTo>
                    <a:lnTo>
                      <a:pt x="100" y="310"/>
                    </a:lnTo>
                    <a:lnTo>
                      <a:pt x="86" y="330"/>
                    </a:lnTo>
                    <a:lnTo>
                      <a:pt x="74" y="350"/>
                    </a:lnTo>
                    <a:lnTo>
                      <a:pt x="60" y="372"/>
                    </a:lnTo>
                    <a:lnTo>
                      <a:pt x="48" y="396"/>
                    </a:lnTo>
                    <a:lnTo>
                      <a:pt x="38" y="422"/>
                    </a:lnTo>
                    <a:lnTo>
                      <a:pt x="26" y="448"/>
                    </a:lnTo>
                    <a:lnTo>
                      <a:pt x="16" y="476"/>
                    </a:lnTo>
                    <a:lnTo>
                      <a:pt x="0" y="538"/>
                    </a:lnTo>
                    <a:lnTo>
                      <a:pt x="0" y="538"/>
                    </a:lnTo>
                    <a:lnTo>
                      <a:pt x="0" y="544"/>
                    </a:lnTo>
                    <a:lnTo>
                      <a:pt x="4" y="548"/>
                    </a:lnTo>
                    <a:lnTo>
                      <a:pt x="4" y="548"/>
                    </a:lnTo>
                    <a:lnTo>
                      <a:pt x="92" y="596"/>
                    </a:lnTo>
                    <a:lnTo>
                      <a:pt x="92" y="596"/>
                    </a:lnTo>
                    <a:lnTo>
                      <a:pt x="96" y="596"/>
                    </a:lnTo>
                    <a:lnTo>
                      <a:pt x="100" y="596"/>
                    </a:lnTo>
                    <a:lnTo>
                      <a:pt x="100" y="596"/>
                    </a:lnTo>
                    <a:lnTo>
                      <a:pt x="102" y="594"/>
                    </a:lnTo>
                    <a:lnTo>
                      <a:pt x="104" y="590"/>
                    </a:lnTo>
                    <a:lnTo>
                      <a:pt x="104" y="590"/>
                    </a:lnTo>
                    <a:lnTo>
                      <a:pt x="118" y="538"/>
                    </a:lnTo>
                    <a:lnTo>
                      <a:pt x="136" y="492"/>
                    </a:lnTo>
                    <a:lnTo>
                      <a:pt x="154" y="450"/>
                    </a:lnTo>
                    <a:lnTo>
                      <a:pt x="174" y="416"/>
                    </a:lnTo>
                    <a:lnTo>
                      <a:pt x="196" y="384"/>
                    </a:lnTo>
                    <a:lnTo>
                      <a:pt x="220" y="358"/>
                    </a:lnTo>
                    <a:lnTo>
                      <a:pt x="246" y="336"/>
                    </a:lnTo>
                    <a:lnTo>
                      <a:pt x="274" y="318"/>
                    </a:lnTo>
                    <a:lnTo>
                      <a:pt x="302" y="302"/>
                    </a:lnTo>
                    <a:lnTo>
                      <a:pt x="330" y="290"/>
                    </a:lnTo>
                    <a:lnTo>
                      <a:pt x="360" y="282"/>
                    </a:lnTo>
                    <a:lnTo>
                      <a:pt x="390" y="276"/>
                    </a:lnTo>
                    <a:lnTo>
                      <a:pt x="420" y="272"/>
                    </a:lnTo>
                    <a:lnTo>
                      <a:pt x="452" y="270"/>
                    </a:lnTo>
                    <a:lnTo>
                      <a:pt x="482" y="268"/>
                    </a:lnTo>
                    <a:lnTo>
                      <a:pt x="514" y="270"/>
                    </a:lnTo>
                    <a:lnTo>
                      <a:pt x="514" y="270"/>
                    </a:lnTo>
                    <a:lnTo>
                      <a:pt x="580" y="272"/>
                    </a:lnTo>
                    <a:lnTo>
                      <a:pt x="648" y="270"/>
                    </a:lnTo>
                    <a:lnTo>
                      <a:pt x="682" y="268"/>
                    </a:lnTo>
                    <a:lnTo>
                      <a:pt x="714" y="264"/>
                    </a:lnTo>
                    <a:lnTo>
                      <a:pt x="746" y="260"/>
                    </a:lnTo>
                    <a:lnTo>
                      <a:pt x="778" y="250"/>
                    </a:lnTo>
                    <a:lnTo>
                      <a:pt x="810" y="240"/>
                    </a:lnTo>
                    <a:lnTo>
                      <a:pt x="840" y="226"/>
                    </a:lnTo>
                    <a:lnTo>
                      <a:pt x="870" y="208"/>
                    </a:lnTo>
                    <a:lnTo>
                      <a:pt x="898" y="188"/>
                    </a:lnTo>
                    <a:lnTo>
                      <a:pt x="924" y="162"/>
                    </a:lnTo>
                    <a:lnTo>
                      <a:pt x="952" y="132"/>
                    </a:lnTo>
                    <a:lnTo>
                      <a:pt x="976" y="98"/>
                    </a:lnTo>
                    <a:lnTo>
                      <a:pt x="1000" y="58"/>
                    </a:lnTo>
                    <a:lnTo>
                      <a:pt x="1000" y="58"/>
                    </a:lnTo>
                    <a:lnTo>
                      <a:pt x="1000" y="54"/>
                    </a:lnTo>
                    <a:lnTo>
                      <a:pt x="1000" y="52"/>
                    </a:lnTo>
                    <a:lnTo>
                      <a:pt x="1000"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16" name="Freeform 7"/>
              <p:cNvSpPr>
                <a:spLocks noEditPoints="1"/>
              </p:cNvSpPr>
              <p:nvPr/>
            </p:nvSpPr>
            <p:spPr bwMode="auto">
              <a:xfrm>
                <a:off x="9612313" y="1933575"/>
                <a:ext cx="4108450" cy="3711575"/>
              </a:xfrm>
              <a:custGeom>
                <a:avLst/>
                <a:gdLst>
                  <a:gd name="T0" fmla="*/ 1480 w 2588"/>
                  <a:gd name="T1" fmla="*/ 356 h 2338"/>
                  <a:gd name="T2" fmla="*/ 1418 w 2588"/>
                  <a:gd name="T3" fmla="*/ 192 h 2338"/>
                  <a:gd name="T4" fmla="*/ 1312 w 2588"/>
                  <a:gd name="T5" fmla="*/ 88 h 2338"/>
                  <a:gd name="T6" fmla="*/ 1130 w 2588"/>
                  <a:gd name="T7" fmla="*/ 16 h 2338"/>
                  <a:gd name="T8" fmla="*/ 990 w 2588"/>
                  <a:gd name="T9" fmla="*/ 2 h 2338"/>
                  <a:gd name="T10" fmla="*/ 844 w 2588"/>
                  <a:gd name="T11" fmla="*/ 50 h 2338"/>
                  <a:gd name="T12" fmla="*/ 516 w 2588"/>
                  <a:gd name="T13" fmla="*/ 364 h 2338"/>
                  <a:gd name="T14" fmla="*/ 188 w 2588"/>
                  <a:gd name="T15" fmla="*/ 778 h 2338"/>
                  <a:gd name="T16" fmla="*/ 14 w 2588"/>
                  <a:gd name="T17" fmla="*/ 1100 h 2338"/>
                  <a:gd name="T18" fmla="*/ 20 w 2588"/>
                  <a:gd name="T19" fmla="*/ 1250 h 2338"/>
                  <a:gd name="T20" fmla="*/ 138 w 2588"/>
                  <a:gd name="T21" fmla="*/ 1350 h 2338"/>
                  <a:gd name="T22" fmla="*/ 330 w 2588"/>
                  <a:gd name="T23" fmla="*/ 1350 h 2338"/>
                  <a:gd name="T24" fmla="*/ 748 w 2588"/>
                  <a:gd name="T25" fmla="*/ 1184 h 2338"/>
                  <a:gd name="T26" fmla="*/ 1690 w 2588"/>
                  <a:gd name="T27" fmla="*/ 1900 h 2338"/>
                  <a:gd name="T28" fmla="*/ 1786 w 2588"/>
                  <a:gd name="T29" fmla="*/ 2236 h 2338"/>
                  <a:gd name="T30" fmla="*/ 1920 w 2588"/>
                  <a:gd name="T31" fmla="*/ 2330 h 2338"/>
                  <a:gd name="T32" fmla="*/ 2064 w 2588"/>
                  <a:gd name="T33" fmla="*/ 2314 h 2338"/>
                  <a:gd name="T34" fmla="*/ 2208 w 2588"/>
                  <a:gd name="T35" fmla="*/ 2138 h 2338"/>
                  <a:gd name="T36" fmla="*/ 2396 w 2588"/>
                  <a:gd name="T37" fmla="*/ 1744 h 2338"/>
                  <a:gd name="T38" fmla="*/ 2560 w 2588"/>
                  <a:gd name="T39" fmla="*/ 1172 h 2338"/>
                  <a:gd name="T40" fmla="*/ 2588 w 2588"/>
                  <a:gd name="T41" fmla="*/ 968 h 2338"/>
                  <a:gd name="T42" fmla="*/ 2554 w 2588"/>
                  <a:gd name="T43" fmla="*/ 806 h 2338"/>
                  <a:gd name="T44" fmla="*/ 2462 w 2588"/>
                  <a:gd name="T45" fmla="*/ 704 h 2338"/>
                  <a:gd name="T46" fmla="*/ 2314 w 2588"/>
                  <a:gd name="T47" fmla="*/ 632 h 2338"/>
                  <a:gd name="T48" fmla="*/ 2066 w 2588"/>
                  <a:gd name="T49" fmla="*/ 606 h 2338"/>
                  <a:gd name="T50" fmla="*/ 1888 w 2588"/>
                  <a:gd name="T51" fmla="*/ 632 h 2338"/>
                  <a:gd name="T52" fmla="*/ 756 w 2588"/>
                  <a:gd name="T53" fmla="*/ 270 h 2338"/>
                  <a:gd name="T54" fmla="*/ 862 w 2588"/>
                  <a:gd name="T55" fmla="*/ 290 h 2338"/>
                  <a:gd name="T56" fmla="*/ 898 w 2588"/>
                  <a:gd name="T57" fmla="*/ 408 h 2338"/>
                  <a:gd name="T58" fmla="*/ 822 w 2588"/>
                  <a:gd name="T59" fmla="*/ 484 h 2338"/>
                  <a:gd name="T60" fmla="*/ 718 w 2588"/>
                  <a:gd name="T61" fmla="*/ 464 h 2338"/>
                  <a:gd name="T62" fmla="*/ 682 w 2588"/>
                  <a:gd name="T63" fmla="*/ 346 h 2338"/>
                  <a:gd name="T64" fmla="*/ 964 w 2588"/>
                  <a:gd name="T65" fmla="*/ 800 h 2338"/>
                  <a:gd name="T66" fmla="*/ 840 w 2588"/>
                  <a:gd name="T67" fmla="*/ 812 h 2338"/>
                  <a:gd name="T68" fmla="*/ 780 w 2588"/>
                  <a:gd name="T69" fmla="*/ 724 h 2338"/>
                  <a:gd name="T70" fmla="*/ 822 w 2588"/>
                  <a:gd name="T71" fmla="*/ 624 h 2338"/>
                  <a:gd name="T72" fmla="*/ 946 w 2588"/>
                  <a:gd name="T73" fmla="*/ 612 h 2338"/>
                  <a:gd name="T74" fmla="*/ 1004 w 2588"/>
                  <a:gd name="T75" fmla="*/ 700 h 2338"/>
                  <a:gd name="T76" fmla="*/ 1026 w 2588"/>
                  <a:gd name="T77" fmla="*/ 222 h 2338"/>
                  <a:gd name="T78" fmla="*/ 1136 w 2588"/>
                  <a:gd name="T79" fmla="*/ 162 h 2338"/>
                  <a:gd name="T80" fmla="*/ 1224 w 2588"/>
                  <a:gd name="T81" fmla="*/ 222 h 2338"/>
                  <a:gd name="T82" fmla="*/ 1226 w 2588"/>
                  <a:gd name="T83" fmla="*/ 328 h 2338"/>
                  <a:gd name="T84" fmla="*/ 1116 w 2588"/>
                  <a:gd name="T85" fmla="*/ 386 h 2338"/>
                  <a:gd name="T86" fmla="*/ 1026 w 2588"/>
                  <a:gd name="T87" fmla="*/ 328 h 2338"/>
                  <a:gd name="T88" fmla="*/ 1026 w 2588"/>
                  <a:gd name="T89" fmla="*/ 222 h 2338"/>
                  <a:gd name="T90" fmla="*/ 1262 w 2588"/>
                  <a:gd name="T91" fmla="*/ 718 h 2338"/>
                  <a:gd name="T92" fmla="*/ 1156 w 2588"/>
                  <a:gd name="T93" fmla="*/ 696 h 2338"/>
                  <a:gd name="T94" fmla="*/ 1120 w 2588"/>
                  <a:gd name="T95" fmla="*/ 578 h 2338"/>
                  <a:gd name="T96" fmla="*/ 1196 w 2588"/>
                  <a:gd name="T97" fmla="*/ 502 h 2338"/>
                  <a:gd name="T98" fmla="*/ 1300 w 2588"/>
                  <a:gd name="T99" fmla="*/ 522 h 2338"/>
                  <a:gd name="T100" fmla="*/ 1336 w 2588"/>
                  <a:gd name="T101" fmla="*/ 642 h 2338"/>
                  <a:gd name="T102" fmla="*/ 2280 w 2588"/>
                  <a:gd name="T103" fmla="*/ 1292 h 2338"/>
                  <a:gd name="T104" fmla="*/ 2192 w 2588"/>
                  <a:gd name="T105" fmla="*/ 1350 h 2338"/>
                  <a:gd name="T106" fmla="*/ 2086 w 2588"/>
                  <a:gd name="T107" fmla="*/ 1350 h 2338"/>
                  <a:gd name="T108" fmla="*/ 2008 w 2588"/>
                  <a:gd name="T109" fmla="*/ 1302 h 2338"/>
                  <a:gd name="T110" fmla="*/ 1958 w 2588"/>
                  <a:gd name="T111" fmla="*/ 1210 h 2338"/>
                  <a:gd name="T112" fmla="*/ 1970 w 2588"/>
                  <a:gd name="T113" fmla="*/ 1104 h 2338"/>
                  <a:gd name="T114" fmla="*/ 2024 w 2588"/>
                  <a:gd name="T115" fmla="*/ 1030 h 2338"/>
                  <a:gd name="T116" fmla="*/ 2122 w 2588"/>
                  <a:gd name="T117" fmla="*/ 992 h 2338"/>
                  <a:gd name="T118" fmla="*/ 2226 w 2588"/>
                  <a:gd name="T119" fmla="*/ 1012 h 2338"/>
                  <a:gd name="T120" fmla="*/ 2294 w 2588"/>
                  <a:gd name="T121" fmla="*/ 1074 h 2338"/>
                  <a:gd name="T122" fmla="*/ 2324 w 2588"/>
                  <a:gd name="T123" fmla="*/ 1174 h 2338"/>
                  <a:gd name="T124" fmla="*/ 2300 w 2588"/>
                  <a:gd name="T125" fmla="*/ 1262 h 2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588" h="2338">
                    <a:moveTo>
                      <a:pt x="1888" y="632"/>
                    </a:moveTo>
                    <a:lnTo>
                      <a:pt x="1482" y="412"/>
                    </a:lnTo>
                    <a:lnTo>
                      <a:pt x="1482" y="412"/>
                    </a:lnTo>
                    <a:lnTo>
                      <a:pt x="1482" y="396"/>
                    </a:lnTo>
                    <a:lnTo>
                      <a:pt x="1482" y="378"/>
                    </a:lnTo>
                    <a:lnTo>
                      <a:pt x="1480" y="356"/>
                    </a:lnTo>
                    <a:lnTo>
                      <a:pt x="1474" y="328"/>
                    </a:lnTo>
                    <a:lnTo>
                      <a:pt x="1468" y="296"/>
                    </a:lnTo>
                    <a:lnTo>
                      <a:pt x="1456" y="262"/>
                    </a:lnTo>
                    <a:lnTo>
                      <a:pt x="1440" y="228"/>
                    </a:lnTo>
                    <a:lnTo>
                      <a:pt x="1430" y="210"/>
                    </a:lnTo>
                    <a:lnTo>
                      <a:pt x="1418" y="192"/>
                    </a:lnTo>
                    <a:lnTo>
                      <a:pt x="1404" y="174"/>
                    </a:lnTo>
                    <a:lnTo>
                      <a:pt x="1390" y="156"/>
                    </a:lnTo>
                    <a:lnTo>
                      <a:pt x="1374" y="138"/>
                    </a:lnTo>
                    <a:lnTo>
                      <a:pt x="1356" y="120"/>
                    </a:lnTo>
                    <a:lnTo>
                      <a:pt x="1334" y="104"/>
                    </a:lnTo>
                    <a:lnTo>
                      <a:pt x="1312" y="88"/>
                    </a:lnTo>
                    <a:lnTo>
                      <a:pt x="1288" y="74"/>
                    </a:lnTo>
                    <a:lnTo>
                      <a:pt x="1262" y="60"/>
                    </a:lnTo>
                    <a:lnTo>
                      <a:pt x="1232" y="46"/>
                    </a:lnTo>
                    <a:lnTo>
                      <a:pt x="1202" y="34"/>
                    </a:lnTo>
                    <a:lnTo>
                      <a:pt x="1168" y="24"/>
                    </a:lnTo>
                    <a:lnTo>
                      <a:pt x="1130" y="16"/>
                    </a:lnTo>
                    <a:lnTo>
                      <a:pt x="1092" y="8"/>
                    </a:lnTo>
                    <a:lnTo>
                      <a:pt x="1050" y="2"/>
                    </a:lnTo>
                    <a:lnTo>
                      <a:pt x="1050" y="2"/>
                    </a:lnTo>
                    <a:lnTo>
                      <a:pt x="1030" y="0"/>
                    </a:lnTo>
                    <a:lnTo>
                      <a:pt x="1010" y="0"/>
                    </a:lnTo>
                    <a:lnTo>
                      <a:pt x="990" y="2"/>
                    </a:lnTo>
                    <a:lnTo>
                      <a:pt x="970" y="4"/>
                    </a:lnTo>
                    <a:lnTo>
                      <a:pt x="948" y="8"/>
                    </a:lnTo>
                    <a:lnTo>
                      <a:pt x="928" y="14"/>
                    </a:lnTo>
                    <a:lnTo>
                      <a:pt x="908" y="22"/>
                    </a:lnTo>
                    <a:lnTo>
                      <a:pt x="886" y="30"/>
                    </a:lnTo>
                    <a:lnTo>
                      <a:pt x="844" y="50"/>
                    </a:lnTo>
                    <a:lnTo>
                      <a:pt x="802" y="76"/>
                    </a:lnTo>
                    <a:lnTo>
                      <a:pt x="762" y="106"/>
                    </a:lnTo>
                    <a:lnTo>
                      <a:pt x="720" y="140"/>
                    </a:lnTo>
                    <a:lnTo>
                      <a:pt x="720" y="140"/>
                    </a:lnTo>
                    <a:lnTo>
                      <a:pt x="618" y="250"/>
                    </a:lnTo>
                    <a:lnTo>
                      <a:pt x="516" y="364"/>
                    </a:lnTo>
                    <a:lnTo>
                      <a:pt x="416" y="478"/>
                    </a:lnTo>
                    <a:lnTo>
                      <a:pt x="368" y="536"/>
                    </a:lnTo>
                    <a:lnTo>
                      <a:pt x="320" y="596"/>
                    </a:lnTo>
                    <a:lnTo>
                      <a:pt x="274" y="656"/>
                    </a:lnTo>
                    <a:lnTo>
                      <a:pt x="230" y="716"/>
                    </a:lnTo>
                    <a:lnTo>
                      <a:pt x="188" y="778"/>
                    </a:lnTo>
                    <a:lnTo>
                      <a:pt x="148" y="840"/>
                    </a:lnTo>
                    <a:lnTo>
                      <a:pt x="110" y="904"/>
                    </a:lnTo>
                    <a:lnTo>
                      <a:pt x="76" y="968"/>
                    </a:lnTo>
                    <a:lnTo>
                      <a:pt x="44" y="1034"/>
                    </a:lnTo>
                    <a:lnTo>
                      <a:pt x="14" y="1100"/>
                    </a:lnTo>
                    <a:lnTo>
                      <a:pt x="14" y="1100"/>
                    </a:lnTo>
                    <a:lnTo>
                      <a:pt x="6" y="1128"/>
                    </a:lnTo>
                    <a:lnTo>
                      <a:pt x="0" y="1154"/>
                    </a:lnTo>
                    <a:lnTo>
                      <a:pt x="0" y="1180"/>
                    </a:lnTo>
                    <a:lnTo>
                      <a:pt x="4" y="1204"/>
                    </a:lnTo>
                    <a:lnTo>
                      <a:pt x="10" y="1228"/>
                    </a:lnTo>
                    <a:lnTo>
                      <a:pt x="20" y="1250"/>
                    </a:lnTo>
                    <a:lnTo>
                      <a:pt x="34" y="1272"/>
                    </a:lnTo>
                    <a:lnTo>
                      <a:pt x="50" y="1290"/>
                    </a:lnTo>
                    <a:lnTo>
                      <a:pt x="68" y="1308"/>
                    </a:lnTo>
                    <a:lnTo>
                      <a:pt x="88" y="1324"/>
                    </a:lnTo>
                    <a:lnTo>
                      <a:pt x="112" y="1338"/>
                    </a:lnTo>
                    <a:lnTo>
                      <a:pt x="138" y="1350"/>
                    </a:lnTo>
                    <a:lnTo>
                      <a:pt x="164" y="1358"/>
                    </a:lnTo>
                    <a:lnTo>
                      <a:pt x="192" y="1366"/>
                    </a:lnTo>
                    <a:lnTo>
                      <a:pt x="222" y="1370"/>
                    </a:lnTo>
                    <a:lnTo>
                      <a:pt x="252" y="1372"/>
                    </a:lnTo>
                    <a:lnTo>
                      <a:pt x="252" y="1372"/>
                    </a:lnTo>
                    <a:lnTo>
                      <a:pt x="330" y="1350"/>
                    </a:lnTo>
                    <a:lnTo>
                      <a:pt x="404" y="1326"/>
                    </a:lnTo>
                    <a:lnTo>
                      <a:pt x="478" y="1300"/>
                    </a:lnTo>
                    <a:lnTo>
                      <a:pt x="548" y="1272"/>
                    </a:lnTo>
                    <a:lnTo>
                      <a:pt x="618" y="1244"/>
                    </a:lnTo>
                    <a:lnTo>
                      <a:pt x="684" y="1214"/>
                    </a:lnTo>
                    <a:lnTo>
                      <a:pt x="748" y="1184"/>
                    </a:lnTo>
                    <a:lnTo>
                      <a:pt x="810" y="1154"/>
                    </a:lnTo>
                    <a:lnTo>
                      <a:pt x="1646" y="1608"/>
                    </a:lnTo>
                    <a:lnTo>
                      <a:pt x="1646" y="1608"/>
                    </a:lnTo>
                    <a:lnTo>
                      <a:pt x="1666" y="1748"/>
                    </a:lnTo>
                    <a:lnTo>
                      <a:pt x="1678" y="1824"/>
                    </a:lnTo>
                    <a:lnTo>
                      <a:pt x="1690" y="1900"/>
                    </a:lnTo>
                    <a:lnTo>
                      <a:pt x="1706" y="1978"/>
                    </a:lnTo>
                    <a:lnTo>
                      <a:pt x="1724" y="2058"/>
                    </a:lnTo>
                    <a:lnTo>
                      <a:pt x="1744" y="2134"/>
                    </a:lnTo>
                    <a:lnTo>
                      <a:pt x="1768" y="2212"/>
                    </a:lnTo>
                    <a:lnTo>
                      <a:pt x="1768" y="2212"/>
                    </a:lnTo>
                    <a:lnTo>
                      <a:pt x="1786" y="2236"/>
                    </a:lnTo>
                    <a:lnTo>
                      <a:pt x="1806" y="2258"/>
                    </a:lnTo>
                    <a:lnTo>
                      <a:pt x="1828" y="2278"/>
                    </a:lnTo>
                    <a:lnTo>
                      <a:pt x="1850" y="2296"/>
                    </a:lnTo>
                    <a:lnTo>
                      <a:pt x="1872" y="2310"/>
                    </a:lnTo>
                    <a:lnTo>
                      <a:pt x="1896" y="2322"/>
                    </a:lnTo>
                    <a:lnTo>
                      <a:pt x="1920" y="2330"/>
                    </a:lnTo>
                    <a:lnTo>
                      <a:pt x="1944" y="2336"/>
                    </a:lnTo>
                    <a:lnTo>
                      <a:pt x="1968" y="2338"/>
                    </a:lnTo>
                    <a:lnTo>
                      <a:pt x="1994" y="2338"/>
                    </a:lnTo>
                    <a:lnTo>
                      <a:pt x="2018" y="2334"/>
                    </a:lnTo>
                    <a:lnTo>
                      <a:pt x="2040" y="2326"/>
                    </a:lnTo>
                    <a:lnTo>
                      <a:pt x="2064" y="2314"/>
                    </a:lnTo>
                    <a:lnTo>
                      <a:pt x="2086" y="2300"/>
                    </a:lnTo>
                    <a:lnTo>
                      <a:pt x="2106" y="2280"/>
                    </a:lnTo>
                    <a:lnTo>
                      <a:pt x="2126" y="2258"/>
                    </a:lnTo>
                    <a:lnTo>
                      <a:pt x="2126" y="2258"/>
                    </a:lnTo>
                    <a:lnTo>
                      <a:pt x="2170" y="2198"/>
                    </a:lnTo>
                    <a:lnTo>
                      <a:pt x="2208" y="2138"/>
                    </a:lnTo>
                    <a:lnTo>
                      <a:pt x="2246" y="2076"/>
                    </a:lnTo>
                    <a:lnTo>
                      <a:pt x="2280" y="2012"/>
                    </a:lnTo>
                    <a:lnTo>
                      <a:pt x="2312" y="1946"/>
                    </a:lnTo>
                    <a:lnTo>
                      <a:pt x="2342" y="1880"/>
                    </a:lnTo>
                    <a:lnTo>
                      <a:pt x="2370" y="1812"/>
                    </a:lnTo>
                    <a:lnTo>
                      <a:pt x="2396" y="1744"/>
                    </a:lnTo>
                    <a:lnTo>
                      <a:pt x="2420" y="1674"/>
                    </a:lnTo>
                    <a:lnTo>
                      <a:pt x="2442" y="1604"/>
                    </a:lnTo>
                    <a:lnTo>
                      <a:pt x="2464" y="1534"/>
                    </a:lnTo>
                    <a:lnTo>
                      <a:pt x="2486" y="1462"/>
                    </a:lnTo>
                    <a:lnTo>
                      <a:pt x="2524" y="1316"/>
                    </a:lnTo>
                    <a:lnTo>
                      <a:pt x="2560" y="1172"/>
                    </a:lnTo>
                    <a:lnTo>
                      <a:pt x="2560" y="1172"/>
                    </a:lnTo>
                    <a:lnTo>
                      <a:pt x="2572" y="1114"/>
                    </a:lnTo>
                    <a:lnTo>
                      <a:pt x="2582" y="1056"/>
                    </a:lnTo>
                    <a:lnTo>
                      <a:pt x="2586" y="1028"/>
                    </a:lnTo>
                    <a:lnTo>
                      <a:pt x="2588" y="998"/>
                    </a:lnTo>
                    <a:lnTo>
                      <a:pt x="2588" y="968"/>
                    </a:lnTo>
                    <a:lnTo>
                      <a:pt x="2586" y="940"/>
                    </a:lnTo>
                    <a:lnTo>
                      <a:pt x="2584" y="912"/>
                    </a:lnTo>
                    <a:lnTo>
                      <a:pt x="2580" y="884"/>
                    </a:lnTo>
                    <a:lnTo>
                      <a:pt x="2574" y="858"/>
                    </a:lnTo>
                    <a:lnTo>
                      <a:pt x="2564" y="832"/>
                    </a:lnTo>
                    <a:lnTo>
                      <a:pt x="2554" y="806"/>
                    </a:lnTo>
                    <a:lnTo>
                      <a:pt x="2542" y="784"/>
                    </a:lnTo>
                    <a:lnTo>
                      <a:pt x="2526" y="762"/>
                    </a:lnTo>
                    <a:lnTo>
                      <a:pt x="2508" y="742"/>
                    </a:lnTo>
                    <a:lnTo>
                      <a:pt x="2508" y="742"/>
                    </a:lnTo>
                    <a:lnTo>
                      <a:pt x="2486" y="722"/>
                    </a:lnTo>
                    <a:lnTo>
                      <a:pt x="2462" y="704"/>
                    </a:lnTo>
                    <a:lnTo>
                      <a:pt x="2440" y="688"/>
                    </a:lnTo>
                    <a:lnTo>
                      <a:pt x="2416" y="674"/>
                    </a:lnTo>
                    <a:lnTo>
                      <a:pt x="2390" y="660"/>
                    </a:lnTo>
                    <a:lnTo>
                      <a:pt x="2366" y="650"/>
                    </a:lnTo>
                    <a:lnTo>
                      <a:pt x="2340" y="640"/>
                    </a:lnTo>
                    <a:lnTo>
                      <a:pt x="2314" y="632"/>
                    </a:lnTo>
                    <a:lnTo>
                      <a:pt x="2288" y="624"/>
                    </a:lnTo>
                    <a:lnTo>
                      <a:pt x="2264" y="618"/>
                    </a:lnTo>
                    <a:lnTo>
                      <a:pt x="2212" y="610"/>
                    </a:lnTo>
                    <a:lnTo>
                      <a:pt x="2160" y="606"/>
                    </a:lnTo>
                    <a:lnTo>
                      <a:pt x="2112" y="604"/>
                    </a:lnTo>
                    <a:lnTo>
                      <a:pt x="2066" y="606"/>
                    </a:lnTo>
                    <a:lnTo>
                      <a:pt x="2024" y="608"/>
                    </a:lnTo>
                    <a:lnTo>
                      <a:pt x="1986" y="612"/>
                    </a:lnTo>
                    <a:lnTo>
                      <a:pt x="1952" y="618"/>
                    </a:lnTo>
                    <a:lnTo>
                      <a:pt x="1904" y="628"/>
                    </a:lnTo>
                    <a:lnTo>
                      <a:pt x="1888" y="632"/>
                    </a:lnTo>
                    <a:lnTo>
                      <a:pt x="1888" y="632"/>
                    </a:lnTo>
                    <a:close/>
                    <a:moveTo>
                      <a:pt x="690" y="324"/>
                    </a:moveTo>
                    <a:lnTo>
                      <a:pt x="690" y="324"/>
                    </a:lnTo>
                    <a:lnTo>
                      <a:pt x="702" y="306"/>
                    </a:lnTo>
                    <a:lnTo>
                      <a:pt x="718" y="290"/>
                    </a:lnTo>
                    <a:lnTo>
                      <a:pt x="736" y="278"/>
                    </a:lnTo>
                    <a:lnTo>
                      <a:pt x="756" y="270"/>
                    </a:lnTo>
                    <a:lnTo>
                      <a:pt x="778" y="264"/>
                    </a:lnTo>
                    <a:lnTo>
                      <a:pt x="800" y="264"/>
                    </a:lnTo>
                    <a:lnTo>
                      <a:pt x="822" y="268"/>
                    </a:lnTo>
                    <a:lnTo>
                      <a:pt x="842" y="278"/>
                    </a:lnTo>
                    <a:lnTo>
                      <a:pt x="842" y="278"/>
                    </a:lnTo>
                    <a:lnTo>
                      <a:pt x="862" y="290"/>
                    </a:lnTo>
                    <a:lnTo>
                      <a:pt x="878" y="306"/>
                    </a:lnTo>
                    <a:lnTo>
                      <a:pt x="890" y="324"/>
                    </a:lnTo>
                    <a:lnTo>
                      <a:pt x="898" y="344"/>
                    </a:lnTo>
                    <a:lnTo>
                      <a:pt x="902" y="366"/>
                    </a:lnTo>
                    <a:lnTo>
                      <a:pt x="902" y="386"/>
                    </a:lnTo>
                    <a:lnTo>
                      <a:pt x="898" y="408"/>
                    </a:lnTo>
                    <a:lnTo>
                      <a:pt x="890" y="430"/>
                    </a:lnTo>
                    <a:lnTo>
                      <a:pt x="890" y="430"/>
                    </a:lnTo>
                    <a:lnTo>
                      <a:pt x="876" y="448"/>
                    </a:lnTo>
                    <a:lnTo>
                      <a:pt x="862" y="464"/>
                    </a:lnTo>
                    <a:lnTo>
                      <a:pt x="842" y="476"/>
                    </a:lnTo>
                    <a:lnTo>
                      <a:pt x="822" y="484"/>
                    </a:lnTo>
                    <a:lnTo>
                      <a:pt x="802" y="488"/>
                    </a:lnTo>
                    <a:lnTo>
                      <a:pt x="780" y="490"/>
                    </a:lnTo>
                    <a:lnTo>
                      <a:pt x="758" y="486"/>
                    </a:lnTo>
                    <a:lnTo>
                      <a:pt x="736" y="476"/>
                    </a:lnTo>
                    <a:lnTo>
                      <a:pt x="736" y="476"/>
                    </a:lnTo>
                    <a:lnTo>
                      <a:pt x="718" y="464"/>
                    </a:lnTo>
                    <a:lnTo>
                      <a:pt x="702" y="448"/>
                    </a:lnTo>
                    <a:lnTo>
                      <a:pt x="690" y="430"/>
                    </a:lnTo>
                    <a:lnTo>
                      <a:pt x="682" y="410"/>
                    </a:lnTo>
                    <a:lnTo>
                      <a:pt x="678" y="388"/>
                    </a:lnTo>
                    <a:lnTo>
                      <a:pt x="678" y="366"/>
                    </a:lnTo>
                    <a:lnTo>
                      <a:pt x="682" y="346"/>
                    </a:lnTo>
                    <a:lnTo>
                      <a:pt x="690" y="324"/>
                    </a:lnTo>
                    <a:lnTo>
                      <a:pt x="690" y="324"/>
                    </a:lnTo>
                    <a:close/>
                    <a:moveTo>
                      <a:pt x="992" y="766"/>
                    </a:moveTo>
                    <a:lnTo>
                      <a:pt x="992" y="766"/>
                    </a:lnTo>
                    <a:lnTo>
                      <a:pt x="980" y="784"/>
                    </a:lnTo>
                    <a:lnTo>
                      <a:pt x="964" y="800"/>
                    </a:lnTo>
                    <a:lnTo>
                      <a:pt x="946" y="812"/>
                    </a:lnTo>
                    <a:lnTo>
                      <a:pt x="926" y="820"/>
                    </a:lnTo>
                    <a:lnTo>
                      <a:pt x="904" y="824"/>
                    </a:lnTo>
                    <a:lnTo>
                      <a:pt x="882" y="824"/>
                    </a:lnTo>
                    <a:lnTo>
                      <a:pt x="860" y="820"/>
                    </a:lnTo>
                    <a:lnTo>
                      <a:pt x="840" y="812"/>
                    </a:lnTo>
                    <a:lnTo>
                      <a:pt x="840" y="812"/>
                    </a:lnTo>
                    <a:lnTo>
                      <a:pt x="820" y="800"/>
                    </a:lnTo>
                    <a:lnTo>
                      <a:pt x="806" y="784"/>
                    </a:lnTo>
                    <a:lnTo>
                      <a:pt x="794" y="766"/>
                    </a:lnTo>
                    <a:lnTo>
                      <a:pt x="784" y="746"/>
                    </a:lnTo>
                    <a:lnTo>
                      <a:pt x="780" y="724"/>
                    </a:lnTo>
                    <a:lnTo>
                      <a:pt x="780" y="702"/>
                    </a:lnTo>
                    <a:lnTo>
                      <a:pt x="784" y="680"/>
                    </a:lnTo>
                    <a:lnTo>
                      <a:pt x="794" y="660"/>
                    </a:lnTo>
                    <a:lnTo>
                      <a:pt x="794" y="660"/>
                    </a:lnTo>
                    <a:lnTo>
                      <a:pt x="806" y="640"/>
                    </a:lnTo>
                    <a:lnTo>
                      <a:pt x="822" y="624"/>
                    </a:lnTo>
                    <a:lnTo>
                      <a:pt x="840" y="612"/>
                    </a:lnTo>
                    <a:lnTo>
                      <a:pt x="860" y="604"/>
                    </a:lnTo>
                    <a:lnTo>
                      <a:pt x="880" y="600"/>
                    </a:lnTo>
                    <a:lnTo>
                      <a:pt x="902" y="600"/>
                    </a:lnTo>
                    <a:lnTo>
                      <a:pt x="924" y="604"/>
                    </a:lnTo>
                    <a:lnTo>
                      <a:pt x="946" y="612"/>
                    </a:lnTo>
                    <a:lnTo>
                      <a:pt x="946" y="612"/>
                    </a:lnTo>
                    <a:lnTo>
                      <a:pt x="964" y="626"/>
                    </a:lnTo>
                    <a:lnTo>
                      <a:pt x="980" y="642"/>
                    </a:lnTo>
                    <a:lnTo>
                      <a:pt x="992" y="660"/>
                    </a:lnTo>
                    <a:lnTo>
                      <a:pt x="1000" y="680"/>
                    </a:lnTo>
                    <a:lnTo>
                      <a:pt x="1004" y="700"/>
                    </a:lnTo>
                    <a:lnTo>
                      <a:pt x="1006" y="722"/>
                    </a:lnTo>
                    <a:lnTo>
                      <a:pt x="1000" y="744"/>
                    </a:lnTo>
                    <a:lnTo>
                      <a:pt x="992" y="766"/>
                    </a:lnTo>
                    <a:lnTo>
                      <a:pt x="992" y="766"/>
                    </a:lnTo>
                    <a:close/>
                    <a:moveTo>
                      <a:pt x="1026" y="222"/>
                    </a:moveTo>
                    <a:lnTo>
                      <a:pt x="1026" y="222"/>
                    </a:lnTo>
                    <a:lnTo>
                      <a:pt x="1038" y="202"/>
                    </a:lnTo>
                    <a:lnTo>
                      <a:pt x="1054" y="186"/>
                    </a:lnTo>
                    <a:lnTo>
                      <a:pt x="1072" y="174"/>
                    </a:lnTo>
                    <a:lnTo>
                      <a:pt x="1092" y="166"/>
                    </a:lnTo>
                    <a:lnTo>
                      <a:pt x="1114" y="162"/>
                    </a:lnTo>
                    <a:lnTo>
                      <a:pt x="1136" y="162"/>
                    </a:lnTo>
                    <a:lnTo>
                      <a:pt x="1158" y="166"/>
                    </a:lnTo>
                    <a:lnTo>
                      <a:pt x="1178" y="174"/>
                    </a:lnTo>
                    <a:lnTo>
                      <a:pt x="1178" y="174"/>
                    </a:lnTo>
                    <a:lnTo>
                      <a:pt x="1198" y="188"/>
                    </a:lnTo>
                    <a:lnTo>
                      <a:pt x="1212" y="202"/>
                    </a:lnTo>
                    <a:lnTo>
                      <a:pt x="1224" y="222"/>
                    </a:lnTo>
                    <a:lnTo>
                      <a:pt x="1234" y="242"/>
                    </a:lnTo>
                    <a:lnTo>
                      <a:pt x="1238" y="262"/>
                    </a:lnTo>
                    <a:lnTo>
                      <a:pt x="1238" y="284"/>
                    </a:lnTo>
                    <a:lnTo>
                      <a:pt x="1234" y="306"/>
                    </a:lnTo>
                    <a:lnTo>
                      <a:pt x="1226" y="328"/>
                    </a:lnTo>
                    <a:lnTo>
                      <a:pt x="1226" y="328"/>
                    </a:lnTo>
                    <a:lnTo>
                      <a:pt x="1212" y="346"/>
                    </a:lnTo>
                    <a:lnTo>
                      <a:pt x="1196" y="362"/>
                    </a:lnTo>
                    <a:lnTo>
                      <a:pt x="1178" y="374"/>
                    </a:lnTo>
                    <a:lnTo>
                      <a:pt x="1158" y="382"/>
                    </a:lnTo>
                    <a:lnTo>
                      <a:pt x="1138" y="386"/>
                    </a:lnTo>
                    <a:lnTo>
                      <a:pt x="1116" y="386"/>
                    </a:lnTo>
                    <a:lnTo>
                      <a:pt x="1094" y="382"/>
                    </a:lnTo>
                    <a:lnTo>
                      <a:pt x="1072" y="374"/>
                    </a:lnTo>
                    <a:lnTo>
                      <a:pt x="1072" y="374"/>
                    </a:lnTo>
                    <a:lnTo>
                      <a:pt x="1054" y="360"/>
                    </a:lnTo>
                    <a:lnTo>
                      <a:pt x="1038" y="346"/>
                    </a:lnTo>
                    <a:lnTo>
                      <a:pt x="1026" y="328"/>
                    </a:lnTo>
                    <a:lnTo>
                      <a:pt x="1018" y="308"/>
                    </a:lnTo>
                    <a:lnTo>
                      <a:pt x="1014" y="286"/>
                    </a:lnTo>
                    <a:lnTo>
                      <a:pt x="1012" y="264"/>
                    </a:lnTo>
                    <a:lnTo>
                      <a:pt x="1018" y="242"/>
                    </a:lnTo>
                    <a:lnTo>
                      <a:pt x="1026" y="222"/>
                    </a:lnTo>
                    <a:lnTo>
                      <a:pt x="1026" y="222"/>
                    </a:lnTo>
                    <a:close/>
                    <a:moveTo>
                      <a:pt x="1328" y="662"/>
                    </a:moveTo>
                    <a:lnTo>
                      <a:pt x="1328" y="662"/>
                    </a:lnTo>
                    <a:lnTo>
                      <a:pt x="1316" y="682"/>
                    </a:lnTo>
                    <a:lnTo>
                      <a:pt x="1300" y="698"/>
                    </a:lnTo>
                    <a:lnTo>
                      <a:pt x="1282" y="710"/>
                    </a:lnTo>
                    <a:lnTo>
                      <a:pt x="1262" y="718"/>
                    </a:lnTo>
                    <a:lnTo>
                      <a:pt x="1240" y="722"/>
                    </a:lnTo>
                    <a:lnTo>
                      <a:pt x="1218" y="722"/>
                    </a:lnTo>
                    <a:lnTo>
                      <a:pt x="1196" y="718"/>
                    </a:lnTo>
                    <a:lnTo>
                      <a:pt x="1176" y="710"/>
                    </a:lnTo>
                    <a:lnTo>
                      <a:pt x="1176" y="710"/>
                    </a:lnTo>
                    <a:lnTo>
                      <a:pt x="1156" y="696"/>
                    </a:lnTo>
                    <a:lnTo>
                      <a:pt x="1140" y="680"/>
                    </a:lnTo>
                    <a:lnTo>
                      <a:pt x="1128" y="662"/>
                    </a:lnTo>
                    <a:lnTo>
                      <a:pt x="1120" y="642"/>
                    </a:lnTo>
                    <a:lnTo>
                      <a:pt x="1116" y="622"/>
                    </a:lnTo>
                    <a:lnTo>
                      <a:pt x="1116" y="600"/>
                    </a:lnTo>
                    <a:lnTo>
                      <a:pt x="1120" y="578"/>
                    </a:lnTo>
                    <a:lnTo>
                      <a:pt x="1128" y="556"/>
                    </a:lnTo>
                    <a:lnTo>
                      <a:pt x="1128" y="556"/>
                    </a:lnTo>
                    <a:lnTo>
                      <a:pt x="1142" y="538"/>
                    </a:lnTo>
                    <a:lnTo>
                      <a:pt x="1156" y="522"/>
                    </a:lnTo>
                    <a:lnTo>
                      <a:pt x="1176" y="510"/>
                    </a:lnTo>
                    <a:lnTo>
                      <a:pt x="1196" y="502"/>
                    </a:lnTo>
                    <a:lnTo>
                      <a:pt x="1216" y="498"/>
                    </a:lnTo>
                    <a:lnTo>
                      <a:pt x="1238" y="498"/>
                    </a:lnTo>
                    <a:lnTo>
                      <a:pt x="1260" y="502"/>
                    </a:lnTo>
                    <a:lnTo>
                      <a:pt x="1282" y="510"/>
                    </a:lnTo>
                    <a:lnTo>
                      <a:pt x="1282" y="510"/>
                    </a:lnTo>
                    <a:lnTo>
                      <a:pt x="1300" y="522"/>
                    </a:lnTo>
                    <a:lnTo>
                      <a:pt x="1316" y="538"/>
                    </a:lnTo>
                    <a:lnTo>
                      <a:pt x="1328" y="556"/>
                    </a:lnTo>
                    <a:lnTo>
                      <a:pt x="1336" y="576"/>
                    </a:lnTo>
                    <a:lnTo>
                      <a:pt x="1340" y="598"/>
                    </a:lnTo>
                    <a:lnTo>
                      <a:pt x="1340" y="620"/>
                    </a:lnTo>
                    <a:lnTo>
                      <a:pt x="1336" y="642"/>
                    </a:lnTo>
                    <a:lnTo>
                      <a:pt x="1328" y="662"/>
                    </a:lnTo>
                    <a:lnTo>
                      <a:pt x="1328" y="662"/>
                    </a:lnTo>
                    <a:close/>
                    <a:moveTo>
                      <a:pt x="2300" y="1262"/>
                    </a:moveTo>
                    <a:lnTo>
                      <a:pt x="2300" y="1262"/>
                    </a:lnTo>
                    <a:lnTo>
                      <a:pt x="2290" y="1278"/>
                    </a:lnTo>
                    <a:lnTo>
                      <a:pt x="2280" y="1292"/>
                    </a:lnTo>
                    <a:lnTo>
                      <a:pt x="2268" y="1306"/>
                    </a:lnTo>
                    <a:lnTo>
                      <a:pt x="2254" y="1318"/>
                    </a:lnTo>
                    <a:lnTo>
                      <a:pt x="2240" y="1328"/>
                    </a:lnTo>
                    <a:lnTo>
                      <a:pt x="2224" y="1338"/>
                    </a:lnTo>
                    <a:lnTo>
                      <a:pt x="2208" y="1344"/>
                    </a:lnTo>
                    <a:lnTo>
                      <a:pt x="2192" y="1350"/>
                    </a:lnTo>
                    <a:lnTo>
                      <a:pt x="2174" y="1354"/>
                    </a:lnTo>
                    <a:lnTo>
                      <a:pt x="2156" y="1358"/>
                    </a:lnTo>
                    <a:lnTo>
                      <a:pt x="2140" y="1358"/>
                    </a:lnTo>
                    <a:lnTo>
                      <a:pt x="2122" y="1358"/>
                    </a:lnTo>
                    <a:lnTo>
                      <a:pt x="2104" y="1354"/>
                    </a:lnTo>
                    <a:lnTo>
                      <a:pt x="2086" y="1350"/>
                    </a:lnTo>
                    <a:lnTo>
                      <a:pt x="2068" y="1344"/>
                    </a:lnTo>
                    <a:lnTo>
                      <a:pt x="2052" y="1336"/>
                    </a:lnTo>
                    <a:lnTo>
                      <a:pt x="2052" y="1336"/>
                    </a:lnTo>
                    <a:lnTo>
                      <a:pt x="2036" y="1326"/>
                    </a:lnTo>
                    <a:lnTo>
                      <a:pt x="2020" y="1316"/>
                    </a:lnTo>
                    <a:lnTo>
                      <a:pt x="2008" y="1302"/>
                    </a:lnTo>
                    <a:lnTo>
                      <a:pt x="1996" y="1290"/>
                    </a:lnTo>
                    <a:lnTo>
                      <a:pt x="1986" y="1274"/>
                    </a:lnTo>
                    <a:lnTo>
                      <a:pt x="1976" y="1260"/>
                    </a:lnTo>
                    <a:lnTo>
                      <a:pt x="1968" y="1244"/>
                    </a:lnTo>
                    <a:lnTo>
                      <a:pt x="1964" y="1226"/>
                    </a:lnTo>
                    <a:lnTo>
                      <a:pt x="1958" y="1210"/>
                    </a:lnTo>
                    <a:lnTo>
                      <a:pt x="1956" y="1192"/>
                    </a:lnTo>
                    <a:lnTo>
                      <a:pt x="1956" y="1174"/>
                    </a:lnTo>
                    <a:lnTo>
                      <a:pt x="1956" y="1156"/>
                    </a:lnTo>
                    <a:lnTo>
                      <a:pt x="1958" y="1138"/>
                    </a:lnTo>
                    <a:lnTo>
                      <a:pt x="1964" y="1122"/>
                    </a:lnTo>
                    <a:lnTo>
                      <a:pt x="1970" y="1104"/>
                    </a:lnTo>
                    <a:lnTo>
                      <a:pt x="1978" y="1086"/>
                    </a:lnTo>
                    <a:lnTo>
                      <a:pt x="1978" y="1086"/>
                    </a:lnTo>
                    <a:lnTo>
                      <a:pt x="1988" y="1070"/>
                    </a:lnTo>
                    <a:lnTo>
                      <a:pt x="1998" y="1056"/>
                    </a:lnTo>
                    <a:lnTo>
                      <a:pt x="2012" y="1042"/>
                    </a:lnTo>
                    <a:lnTo>
                      <a:pt x="2024" y="1030"/>
                    </a:lnTo>
                    <a:lnTo>
                      <a:pt x="2040" y="1020"/>
                    </a:lnTo>
                    <a:lnTo>
                      <a:pt x="2054" y="1012"/>
                    </a:lnTo>
                    <a:lnTo>
                      <a:pt x="2070" y="1004"/>
                    </a:lnTo>
                    <a:lnTo>
                      <a:pt x="2088" y="998"/>
                    </a:lnTo>
                    <a:lnTo>
                      <a:pt x="2104" y="994"/>
                    </a:lnTo>
                    <a:lnTo>
                      <a:pt x="2122" y="992"/>
                    </a:lnTo>
                    <a:lnTo>
                      <a:pt x="2140" y="990"/>
                    </a:lnTo>
                    <a:lnTo>
                      <a:pt x="2158" y="992"/>
                    </a:lnTo>
                    <a:lnTo>
                      <a:pt x="2174" y="994"/>
                    </a:lnTo>
                    <a:lnTo>
                      <a:pt x="2192" y="998"/>
                    </a:lnTo>
                    <a:lnTo>
                      <a:pt x="2210" y="1004"/>
                    </a:lnTo>
                    <a:lnTo>
                      <a:pt x="2226" y="1012"/>
                    </a:lnTo>
                    <a:lnTo>
                      <a:pt x="2226" y="1012"/>
                    </a:lnTo>
                    <a:lnTo>
                      <a:pt x="2242" y="1022"/>
                    </a:lnTo>
                    <a:lnTo>
                      <a:pt x="2258" y="1034"/>
                    </a:lnTo>
                    <a:lnTo>
                      <a:pt x="2270" y="1046"/>
                    </a:lnTo>
                    <a:lnTo>
                      <a:pt x="2282" y="1060"/>
                    </a:lnTo>
                    <a:lnTo>
                      <a:pt x="2294" y="1074"/>
                    </a:lnTo>
                    <a:lnTo>
                      <a:pt x="2302" y="1090"/>
                    </a:lnTo>
                    <a:lnTo>
                      <a:pt x="2310" y="1106"/>
                    </a:lnTo>
                    <a:lnTo>
                      <a:pt x="2316" y="1122"/>
                    </a:lnTo>
                    <a:lnTo>
                      <a:pt x="2320" y="1140"/>
                    </a:lnTo>
                    <a:lnTo>
                      <a:pt x="2322" y="1156"/>
                    </a:lnTo>
                    <a:lnTo>
                      <a:pt x="2324" y="1174"/>
                    </a:lnTo>
                    <a:lnTo>
                      <a:pt x="2322" y="1192"/>
                    </a:lnTo>
                    <a:lnTo>
                      <a:pt x="2320" y="1210"/>
                    </a:lnTo>
                    <a:lnTo>
                      <a:pt x="2316" y="1228"/>
                    </a:lnTo>
                    <a:lnTo>
                      <a:pt x="2308" y="1246"/>
                    </a:lnTo>
                    <a:lnTo>
                      <a:pt x="2300" y="1262"/>
                    </a:lnTo>
                    <a:lnTo>
                      <a:pt x="2300" y="12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cxnSp>
          <p:nvCxnSpPr>
            <p:cNvPr id="318" name="Straight Connector 442"/>
            <p:cNvCxnSpPr>
              <a:endCxn id="317" idx="59"/>
            </p:cNvCxnSpPr>
            <p:nvPr/>
          </p:nvCxnSpPr>
          <p:spPr>
            <a:xfrm flipH="1">
              <a:off x="4530349" y="4216602"/>
              <a:ext cx="1621720" cy="233710"/>
            </a:xfrm>
            <a:prstGeom prst="line">
              <a:avLst/>
            </a:prstGeom>
            <a:ln w="12700">
              <a:solidFill>
                <a:schemeClr val="tx1"/>
              </a:solidFill>
              <a:prstDash val="sysDash"/>
            </a:ln>
          </p:spPr>
          <p:style>
            <a:lnRef idx="2">
              <a:schemeClr val="accent1"/>
            </a:lnRef>
            <a:fillRef idx="0">
              <a:schemeClr val="accent1"/>
            </a:fillRef>
            <a:effectRef idx="1">
              <a:schemeClr val="accent1"/>
            </a:effectRef>
            <a:fontRef idx="minor">
              <a:schemeClr val="tx1"/>
            </a:fontRef>
          </p:style>
        </p:cxnSp>
        <p:grpSp>
          <p:nvGrpSpPr>
            <p:cNvPr id="319" name="Gruppieren 10"/>
            <p:cNvGrpSpPr>
              <a:grpSpLocks noChangeAspect="1"/>
            </p:cNvGrpSpPr>
            <p:nvPr/>
          </p:nvGrpSpPr>
          <p:grpSpPr>
            <a:xfrm>
              <a:off x="7304849" y="2375950"/>
              <a:ext cx="521815" cy="513474"/>
              <a:chOff x="-1323975" y="5200651"/>
              <a:chExt cx="893762" cy="879475"/>
            </a:xfrm>
            <a:solidFill>
              <a:srgbClr val="8DC63F"/>
            </a:solidFill>
          </p:grpSpPr>
          <p:sp>
            <p:nvSpPr>
              <p:cNvPr id="320" name="Oval 5"/>
              <p:cNvSpPr>
                <a:spLocks noChangeArrowheads="1"/>
              </p:cNvSpPr>
              <p:nvPr/>
            </p:nvSpPr>
            <p:spPr bwMode="auto">
              <a:xfrm>
                <a:off x="-1054100" y="5200651"/>
                <a:ext cx="368300" cy="3683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21" name="Oval 452"/>
              <p:cNvSpPr>
                <a:spLocks noChangeArrowheads="1"/>
              </p:cNvSpPr>
              <p:nvPr/>
            </p:nvSpPr>
            <p:spPr bwMode="auto">
              <a:xfrm>
                <a:off x="-1323975" y="5851526"/>
                <a:ext cx="228600" cy="228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22" name="Oval 453"/>
              <p:cNvSpPr>
                <a:spLocks noChangeArrowheads="1"/>
              </p:cNvSpPr>
              <p:nvPr/>
            </p:nvSpPr>
            <p:spPr bwMode="auto">
              <a:xfrm>
                <a:off x="-990600" y="5851526"/>
                <a:ext cx="228600" cy="228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23" name="Oval 454"/>
              <p:cNvSpPr>
                <a:spLocks noChangeArrowheads="1"/>
              </p:cNvSpPr>
              <p:nvPr/>
            </p:nvSpPr>
            <p:spPr bwMode="auto">
              <a:xfrm>
                <a:off x="-658813" y="5851526"/>
                <a:ext cx="228600" cy="228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24" name="Freeform 455"/>
              <p:cNvSpPr>
                <a:spLocks/>
              </p:cNvSpPr>
              <p:nvPr/>
            </p:nvSpPr>
            <p:spPr bwMode="auto">
              <a:xfrm>
                <a:off x="-1216025" y="5595938"/>
                <a:ext cx="682625" cy="211138"/>
              </a:xfrm>
              <a:custGeom>
                <a:avLst/>
                <a:gdLst>
                  <a:gd name="T0" fmla="*/ 6 w 421"/>
                  <a:gd name="T1" fmla="*/ 115 h 130"/>
                  <a:gd name="T2" fmla="*/ 12 w 421"/>
                  <a:gd name="T3" fmla="*/ 109 h 130"/>
                  <a:gd name="T4" fmla="*/ 12 w 421"/>
                  <a:gd name="T5" fmla="*/ 69 h 130"/>
                  <a:gd name="T6" fmla="*/ 203 w 421"/>
                  <a:gd name="T7" fmla="*/ 69 h 130"/>
                  <a:gd name="T8" fmla="*/ 203 w 421"/>
                  <a:gd name="T9" fmla="*/ 124 h 130"/>
                  <a:gd name="T10" fmla="*/ 209 w 421"/>
                  <a:gd name="T11" fmla="*/ 130 h 130"/>
                  <a:gd name="T12" fmla="*/ 216 w 421"/>
                  <a:gd name="T13" fmla="*/ 124 h 130"/>
                  <a:gd name="T14" fmla="*/ 216 w 421"/>
                  <a:gd name="T15" fmla="*/ 69 h 130"/>
                  <a:gd name="T16" fmla="*/ 409 w 421"/>
                  <a:gd name="T17" fmla="*/ 69 h 130"/>
                  <a:gd name="T18" fmla="*/ 409 w 421"/>
                  <a:gd name="T19" fmla="*/ 112 h 130"/>
                  <a:gd name="T20" fmla="*/ 415 w 421"/>
                  <a:gd name="T21" fmla="*/ 118 h 130"/>
                  <a:gd name="T22" fmla="*/ 421 w 421"/>
                  <a:gd name="T23" fmla="*/ 112 h 130"/>
                  <a:gd name="T24" fmla="*/ 421 w 421"/>
                  <a:gd name="T25" fmla="*/ 63 h 130"/>
                  <a:gd name="T26" fmla="*/ 415 w 421"/>
                  <a:gd name="T27" fmla="*/ 57 h 130"/>
                  <a:gd name="T28" fmla="*/ 216 w 421"/>
                  <a:gd name="T29" fmla="*/ 57 h 130"/>
                  <a:gd name="T30" fmla="*/ 216 w 421"/>
                  <a:gd name="T31" fmla="*/ 7 h 130"/>
                  <a:gd name="T32" fmla="*/ 209 w 421"/>
                  <a:gd name="T33" fmla="*/ 0 h 130"/>
                  <a:gd name="T34" fmla="*/ 203 w 421"/>
                  <a:gd name="T35" fmla="*/ 7 h 130"/>
                  <a:gd name="T36" fmla="*/ 203 w 421"/>
                  <a:gd name="T37" fmla="*/ 57 h 130"/>
                  <a:gd name="T38" fmla="*/ 6 w 421"/>
                  <a:gd name="T39" fmla="*/ 57 h 130"/>
                  <a:gd name="T40" fmla="*/ 0 w 421"/>
                  <a:gd name="T41" fmla="*/ 63 h 130"/>
                  <a:gd name="T42" fmla="*/ 0 w 421"/>
                  <a:gd name="T43" fmla="*/ 109 h 130"/>
                  <a:gd name="T44" fmla="*/ 6 w 421"/>
                  <a:gd name="T45" fmla="*/ 115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21" h="130">
                    <a:moveTo>
                      <a:pt x="6" y="115"/>
                    </a:moveTo>
                    <a:cubicBezTo>
                      <a:pt x="10" y="115"/>
                      <a:pt x="12" y="112"/>
                      <a:pt x="12" y="109"/>
                    </a:cubicBezTo>
                    <a:cubicBezTo>
                      <a:pt x="12" y="69"/>
                      <a:pt x="12" y="69"/>
                      <a:pt x="12" y="69"/>
                    </a:cubicBezTo>
                    <a:cubicBezTo>
                      <a:pt x="203" y="69"/>
                      <a:pt x="203" y="69"/>
                      <a:pt x="203" y="69"/>
                    </a:cubicBezTo>
                    <a:cubicBezTo>
                      <a:pt x="203" y="124"/>
                      <a:pt x="203" y="124"/>
                      <a:pt x="203" y="124"/>
                    </a:cubicBezTo>
                    <a:cubicBezTo>
                      <a:pt x="203" y="127"/>
                      <a:pt x="206" y="130"/>
                      <a:pt x="209" y="130"/>
                    </a:cubicBezTo>
                    <a:cubicBezTo>
                      <a:pt x="213" y="130"/>
                      <a:pt x="216" y="127"/>
                      <a:pt x="216" y="124"/>
                    </a:cubicBezTo>
                    <a:cubicBezTo>
                      <a:pt x="216" y="69"/>
                      <a:pt x="216" y="69"/>
                      <a:pt x="216" y="69"/>
                    </a:cubicBezTo>
                    <a:cubicBezTo>
                      <a:pt x="409" y="69"/>
                      <a:pt x="409" y="69"/>
                      <a:pt x="409" y="69"/>
                    </a:cubicBezTo>
                    <a:cubicBezTo>
                      <a:pt x="409" y="112"/>
                      <a:pt x="409" y="112"/>
                      <a:pt x="409" y="112"/>
                    </a:cubicBezTo>
                    <a:cubicBezTo>
                      <a:pt x="409" y="115"/>
                      <a:pt x="412" y="118"/>
                      <a:pt x="415" y="118"/>
                    </a:cubicBezTo>
                    <a:cubicBezTo>
                      <a:pt x="418" y="118"/>
                      <a:pt x="421" y="115"/>
                      <a:pt x="421" y="112"/>
                    </a:cubicBezTo>
                    <a:cubicBezTo>
                      <a:pt x="421" y="63"/>
                      <a:pt x="421" y="63"/>
                      <a:pt x="421" y="63"/>
                    </a:cubicBezTo>
                    <a:cubicBezTo>
                      <a:pt x="421" y="60"/>
                      <a:pt x="418" y="57"/>
                      <a:pt x="415" y="57"/>
                    </a:cubicBezTo>
                    <a:cubicBezTo>
                      <a:pt x="216" y="57"/>
                      <a:pt x="216" y="57"/>
                      <a:pt x="216" y="57"/>
                    </a:cubicBezTo>
                    <a:cubicBezTo>
                      <a:pt x="216" y="7"/>
                      <a:pt x="216" y="7"/>
                      <a:pt x="216" y="7"/>
                    </a:cubicBezTo>
                    <a:cubicBezTo>
                      <a:pt x="216" y="3"/>
                      <a:pt x="213" y="0"/>
                      <a:pt x="209" y="0"/>
                    </a:cubicBezTo>
                    <a:cubicBezTo>
                      <a:pt x="206" y="0"/>
                      <a:pt x="203" y="3"/>
                      <a:pt x="203" y="7"/>
                    </a:cubicBezTo>
                    <a:cubicBezTo>
                      <a:pt x="203" y="57"/>
                      <a:pt x="203" y="57"/>
                      <a:pt x="203" y="57"/>
                    </a:cubicBezTo>
                    <a:cubicBezTo>
                      <a:pt x="6" y="57"/>
                      <a:pt x="6" y="57"/>
                      <a:pt x="6" y="57"/>
                    </a:cubicBezTo>
                    <a:cubicBezTo>
                      <a:pt x="3" y="57"/>
                      <a:pt x="0" y="60"/>
                      <a:pt x="0" y="63"/>
                    </a:cubicBezTo>
                    <a:cubicBezTo>
                      <a:pt x="0" y="109"/>
                      <a:pt x="0" y="109"/>
                      <a:pt x="0" y="109"/>
                    </a:cubicBezTo>
                    <a:cubicBezTo>
                      <a:pt x="0" y="112"/>
                      <a:pt x="3" y="115"/>
                      <a:pt x="6" y="1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grpSp>
          <p:nvGrpSpPr>
            <p:cNvPr id="325" name="Gruppieren 202"/>
            <p:cNvGrpSpPr>
              <a:grpSpLocks noChangeAspect="1"/>
            </p:cNvGrpSpPr>
            <p:nvPr/>
          </p:nvGrpSpPr>
          <p:grpSpPr>
            <a:xfrm>
              <a:off x="977925" y="2714504"/>
              <a:ext cx="443925" cy="330583"/>
              <a:chOff x="9747250" y="1889125"/>
              <a:chExt cx="969963" cy="722313"/>
            </a:xfrm>
            <a:solidFill>
              <a:srgbClr val="8DC63F"/>
            </a:solidFill>
          </p:grpSpPr>
          <p:sp>
            <p:nvSpPr>
              <p:cNvPr id="326" name="Freeform 48"/>
              <p:cNvSpPr>
                <a:spLocks/>
              </p:cNvSpPr>
              <p:nvPr/>
            </p:nvSpPr>
            <p:spPr bwMode="auto">
              <a:xfrm>
                <a:off x="9801225" y="1889125"/>
                <a:ext cx="887413" cy="671513"/>
              </a:xfrm>
              <a:custGeom>
                <a:avLst/>
                <a:gdLst>
                  <a:gd name="T0" fmla="*/ 732 w 763"/>
                  <a:gd name="T1" fmla="*/ 274 h 578"/>
                  <a:gd name="T2" fmla="*/ 725 w 763"/>
                  <a:gd name="T3" fmla="*/ 275 h 578"/>
                  <a:gd name="T4" fmla="*/ 576 w 763"/>
                  <a:gd name="T5" fmla="*/ 49 h 578"/>
                  <a:gd name="T6" fmla="*/ 582 w 763"/>
                  <a:gd name="T7" fmla="*/ 31 h 578"/>
                  <a:gd name="T8" fmla="*/ 551 w 763"/>
                  <a:gd name="T9" fmla="*/ 0 h 578"/>
                  <a:gd name="T10" fmla="*/ 520 w 763"/>
                  <a:gd name="T11" fmla="*/ 31 h 578"/>
                  <a:gd name="T12" fmla="*/ 528 w 763"/>
                  <a:gd name="T13" fmla="*/ 51 h 578"/>
                  <a:gd name="T14" fmla="*/ 332 w 763"/>
                  <a:gd name="T15" fmla="*/ 387 h 578"/>
                  <a:gd name="T16" fmla="*/ 308 w 763"/>
                  <a:gd name="T17" fmla="*/ 393 h 578"/>
                  <a:gd name="T18" fmla="*/ 194 w 763"/>
                  <a:gd name="T19" fmla="*/ 320 h 578"/>
                  <a:gd name="T20" fmla="*/ 194 w 763"/>
                  <a:gd name="T21" fmla="*/ 313 h 578"/>
                  <a:gd name="T22" fmla="*/ 164 w 763"/>
                  <a:gd name="T23" fmla="*/ 283 h 578"/>
                  <a:gd name="T24" fmla="*/ 133 w 763"/>
                  <a:gd name="T25" fmla="*/ 313 h 578"/>
                  <a:gd name="T26" fmla="*/ 140 w 763"/>
                  <a:gd name="T27" fmla="*/ 333 h 578"/>
                  <a:gd name="T28" fmla="*/ 36 w 763"/>
                  <a:gd name="T29" fmla="*/ 517 h 578"/>
                  <a:gd name="T30" fmla="*/ 31 w 763"/>
                  <a:gd name="T31" fmla="*/ 516 h 578"/>
                  <a:gd name="T32" fmla="*/ 0 w 763"/>
                  <a:gd name="T33" fmla="*/ 547 h 578"/>
                  <a:gd name="T34" fmla="*/ 31 w 763"/>
                  <a:gd name="T35" fmla="*/ 578 h 578"/>
                  <a:gd name="T36" fmla="*/ 62 w 763"/>
                  <a:gd name="T37" fmla="*/ 547 h 578"/>
                  <a:gd name="T38" fmla="*/ 55 w 763"/>
                  <a:gd name="T39" fmla="*/ 527 h 578"/>
                  <a:gd name="T40" fmla="*/ 159 w 763"/>
                  <a:gd name="T41" fmla="*/ 344 h 578"/>
                  <a:gd name="T42" fmla="*/ 182 w 763"/>
                  <a:gd name="T43" fmla="*/ 338 h 578"/>
                  <a:gd name="T44" fmla="*/ 296 w 763"/>
                  <a:gd name="T45" fmla="*/ 411 h 578"/>
                  <a:gd name="T46" fmla="*/ 296 w 763"/>
                  <a:gd name="T47" fmla="*/ 417 h 578"/>
                  <a:gd name="T48" fmla="*/ 326 w 763"/>
                  <a:gd name="T49" fmla="*/ 448 h 578"/>
                  <a:gd name="T50" fmla="*/ 357 w 763"/>
                  <a:gd name="T51" fmla="*/ 417 h 578"/>
                  <a:gd name="T52" fmla="*/ 350 w 763"/>
                  <a:gd name="T53" fmla="*/ 398 h 578"/>
                  <a:gd name="T54" fmla="*/ 546 w 763"/>
                  <a:gd name="T55" fmla="*/ 62 h 578"/>
                  <a:gd name="T56" fmla="*/ 558 w 763"/>
                  <a:gd name="T57" fmla="*/ 61 h 578"/>
                  <a:gd name="T58" fmla="*/ 707 w 763"/>
                  <a:gd name="T59" fmla="*/ 286 h 578"/>
                  <a:gd name="T60" fmla="*/ 701 w 763"/>
                  <a:gd name="T61" fmla="*/ 305 h 578"/>
                  <a:gd name="T62" fmla="*/ 732 w 763"/>
                  <a:gd name="T63" fmla="*/ 335 h 578"/>
                  <a:gd name="T64" fmla="*/ 763 w 763"/>
                  <a:gd name="T65" fmla="*/ 305 h 578"/>
                  <a:gd name="T66" fmla="*/ 732 w 763"/>
                  <a:gd name="T67" fmla="*/ 274 h 5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63" h="578">
                    <a:moveTo>
                      <a:pt x="732" y="274"/>
                    </a:moveTo>
                    <a:cubicBezTo>
                      <a:pt x="730" y="274"/>
                      <a:pt x="727" y="274"/>
                      <a:pt x="725" y="275"/>
                    </a:cubicBezTo>
                    <a:cubicBezTo>
                      <a:pt x="576" y="49"/>
                      <a:pt x="576" y="49"/>
                      <a:pt x="576" y="49"/>
                    </a:cubicBezTo>
                    <a:cubicBezTo>
                      <a:pt x="580" y="44"/>
                      <a:pt x="582" y="38"/>
                      <a:pt x="582" y="31"/>
                    </a:cubicBezTo>
                    <a:cubicBezTo>
                      <a:pt x="582" y="14"/>
                      <a:pt x="568" y="0"/>
                      <a:pt x="551" y="0"/>
                    </a:cubicBezTo>
                    <a:cubicBezTo>
                      <a:pt x="534" y="0"/>
                      <a:pt x="520" y="14"/>
                      <a:pt x="520" y="31"/>
                    </a:cubicBezTo>
                    <a:cubicBezTo>
                      <a:pt x="520" y="38"/>
                      <a:pt x="523" y="45"/>
                      <a:pt x="528" y="51"/>
                    </a:cubicBezTo>
                    <a:cubicBezTo>
                      <a:pt x="332" y="387"/>
                      <a:pt x="332" y="387"/>
                      <a:pt x="332" y="387"/>
                    </a:cubicBezTo>
                    <a:cubicBezTo>
                      <a:pt x="323" y="385"/>
                      <a:pt x="314" y="388"/>
                      <a:pt x="308" y="393"/>
                    </a:cubicBezTo>
                    <a:cubicBezTo>
                      <a:pt x="194" y="320"/>
                      <a:pt x="194" y="320"/>
                      <a:pt x="194" y="320"/>
                    </a:cubicBezTo>
                    <a:cubicBezTo>
                      <a:pt x="194" y="318"/>
                      <a:pt x="194" y="316"/>
                      <a:pt x="194" y="313"/>
                    </a:cubicBezTo>
                    <a:cubicBezTo>
                      <a:pt x="194" y="296"/>
                      <a:pt x="181" y="283"/>
                      <a:pt x="164" y="283"/>
                    </a:cubicBezTo>
                    <a:cubicBezTo>
                      <a:pt x="147" y="283"/>
                      <a:pt x="133" y="296"/>
                      <a:pt x="133" y="313"/>
                    </a:cubicBezTo>
                    <a:cubicBezTo>
                      <a:pt x="133" y="321"/>
                      <a:pt x="135" y="328"/>
                      <a:pt x="140" y="333"/>
                    </a:cubicBezTo>
                    <a:cubicBezTo>
                      <a:pt x="36" y="517"/>
                      <a:pt x="36" y="517"/>
                      <a:pt x="36" y="517"/>
                    </a:cubicBezTo>
                    <a:cubicBezTo>
                      <a:pt x="34" y="516"/>
                      <a:pt x="33" y="516"/>
                      <a:pt x="31" y="516"/>
                    </a:cubicBezTo>
                    <a:cubicBezTo>
                      <a:pt x="14" y="516"/>
                      <a:pt x="0" y="530"/>
                      <a:pt x="0" y="547"/>
                    </a:cubicBezTo>
                    <a:cubicBezTo>
                      <a:pt x="0" y="564"/>
                      <a:pt x="14" y="578"/>
                      <a:pt x="31" y="578"/>
                    </a:cubicBezTo>
                    <a:cubicBezTo>
                      <a:pt x="48" y="578"/>
                      <a:pt x="62" y="564"/>
                      <a:pt x="62" y="547"/>
                    </a:cubicBezTo>
                    <a:cubicBezTo>
                      <a:pt x="62" y="540"/>
                      <a:pt x="59" y="533"/>
                      <a:pt x="55" y="527"/>
                    </a:cubicBezTo>
                    <a:cubicBezTo>
                      <a:pt x="159" y="344"/>
                      <a:pt x="159" y="344"/>
                      <a:pt x="159" y="344"/>
                    </a:cubicBezTo>
                    <a:cubicBezTo>
                      <a:pt x="168" y="345"/>
                      <a:pt x="176" y="343"/>
                      <a:pt x="182" y="338"/>
                    </a:cubicBezTo>
                    <a:cubicBezTo>
                      <a:pt x="296" y="411"/>
                      <a:pt x="296" y="411"/>
                      <a:pt x="296" y="411"/>
                    </a:cubicBezTo>
                    <a:cubicBezTo>
                      <a:pt x="296" y="413"/>
                      <a:pt x="296" y="415"/>
                      <a:pt x="296" y="417"/>
                    </a:cubicBezTo>
                    <a:cubicBezTo>
                      <a:pt x="296" y="434"/>
                      <a:pt x="309" y="448"/>
                      <a:pt x="326" y="448"/>
                    </a:cubicBezTo>
                    <a:cubicBezTo>
                      <a:pt x="343" y="448"/>
                      <a:pt x="357" y="434"/>
                      <a:pt x="357" y="417"/>
                    </a:cubicBezTo>
                    <a:cubicBezTo>
                      <a:pt x="357" y="410"/>
                      <a:pt x="355" y="403"/>
                      <a:pt x="350" y="398"/>
                    </a:cubicBezTo>
                    <a:cubicBezTo>
                      <a:pt x="546" y="62"/>
                      <a:pt x="546" y="62"/>
                      <a:pt x="546" y="62"/>
                    </a:cubicBezTo>
                    <a:cubicBezTo>
                      <a:pt x="550" y="62"/>
                      <a:pt x="554" y="62"/>
                      <a:pt x="558" y="61"/>
                    </a:cubicBezTo>
                    <a:cubicBezTo>
                      <a:pt x="707" y="286"/>
                      <a:pt x="707" y="286"/>
                      <a:pt x="707" y="286"/>
                    </a:cubicBezTo>
                    <a:cubicBezTo>
                      <a:pt x="703" y="292"/>
                      <a:pt x="701" y="298"/>
                      <a:pt x="701" y="305"/>
                    </a:cubicBezTo>
                    <a:cubicBezTo>
                      <a:pt x="701" y="322"/>
                      <a:pt x="715" y="335"/>
                      <a:pt x="732" y="335"/>
                    </a:cubicBezTo>
                    <a:cubicBezTo>
                      <a:pt x="749" y="335"/>
                      <a:pt x="763" y="322"/>
                      <a:pt x="763" y="305"/>
                    </a:cubicBezTo>
                    <a:cubicBezTo>
                      <a:pt x="763" y="288"/>
                      <a:pt x="749" y="274"/>
                      <a:pt x="732" y="27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327" name="Freeform 49"/>
              <p:cNvSpPr>
                <a:spLocks/>
              </p:cNvSpPr>
              <p:nvPr/>
            </p:nvSpPr>
            <p:spPr bwMode="auto">
              <a:xfrm>
                <a:off x="9994900" y="2525713"/>
                <a:ext cx="76200" cy="85725"/>
              </a:xfrm>
              <a:custGeom>
                <a:avLst/>
                <a:gdLst>
                  <a:gd name="T0" fmla="*/ 50 w 65"/>
                  <a:gd name="T1" fmla="*/ 17 h 74"/>
                  <a:gd name="T2" fmla="*/ 51 w 65"/>
                  <a:gd name="T3" fmla="*/ 14 h 74"/>
                  <a:gd name="T4" fmla="*/ 43 w 65"/>
                  <a:gd name="T5" fmla="*/ 1 h 74"/>
                  <a:gd name="T6" fmla="*/ 30 w 65"/>
                  <a:gd name="T7" fmla="*/ 9 h 74"/>
                  <a:gd name="T8" fmla="*/ 30 w 65"/>
                  <a:gd name="T9" fmla="*/ 12 h 74"/>
                  <a:gd name="T10" fmla="*/ 20 w 65"/>
                  <a:gd name="T11" fmla="*/ 15 h 74"/>
                  <a:gd name="T12" fmla="*/ 19 w 65"/>
                  <a:gd name="T13" fmla="*/ 13 h 74"/>
                  <a:gd name="T14" fmla="*/ 3 w 65"/>
                  <a:gd name="T15" fmla="*/ 13 h 74"/>
                  <a:gd name="T16" fmla="*/ 0 w 65"/>
                  <a:gd name="T17" fmla="*/ 21 h 74"/>
                  <a:gd name="T18" fmla="*/ 4 w 65"/>
                  <a:gd name="T19" fmla="*/ 28 h 74"/>
                  <a:gd name="T20" fmla="*/ 6 w 65"/>
                  <a:gd name="T21" fmla="*/ 30 h 74"/>
                  <a:gd name="T22" fmla="*/ 3 w 65"/>
                  <a:gd name="T23" fmla="*/ 43 h 74"/>
                  <a:gd name="T24" fmla="*/ 34 w 65"/>
                  <a:gd name="T25" fmla="*/ 74 h 74"/>
                  <a:gd name="T26" fmla="*/ 65 w 65"/>
                  <a:gd name="T27" fmla="*/ 43 h 74"/>
                  <a:gd name="T28" fmla="*/ 50 w 65"/>
                  <a:gd name="T29" fmla="*/ 17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 h="74">
                    <a:moveTo>
                      <a:pt x="50" y="17"/>
                    </a:moveTo>
                    <a:cubicBezTo>
                      <a:pt x="51" y="14"/>
                      <a:pt x="51" y="14"/>
                      <a:pt x="51" y="14"/>
                    </a:cubicBezTo>
                    <a:cubicBezTo>
                      <a:pt x="52" y="8"/>
                      <a:pt x="49" y="2"/>
                      <a:pt x="43" y="1"/>
                    </a:cubicBezTo>
                    <a:cubicBezTo>
                      <a:pt x="37" y="0"/>
                      <a:pt x="31" y="4"/>
                      <a:pt x="30" y="9"/>
                    </a:cubicBezTo>
                    <a:cubicBezTo>
                      <a:pt x="30" y="12"/>
                      <a:pt x="30" y="12"/>
                      <a:pt x="30" y="12"/>
                    </a:cubicBezTo>
                    <a:cubicBezTo>
                      <a:pt x="26" y="13"/>
                      <a:pt x="23" y="14"/>
                      <a:pt x="20" y="15"/>
                    </a:cubicBezTo>
                    <a:cubicBezTo>
                      <a:pt x="19" y="13"/>
                      <a:pt x="19" y="13"/>
                      <a:pt x="19" y="13"/>
                    </a:cubicBezTo>
                    <a:cubicBezTo>
                      <a:pt x="14" y="9"/>
                      <a:pt x="7" y="9"/>
                      <a:pt x="3" y="13"/>
                    </a:cubicBezTo>
                    <a:cubicBezTo>
                      <a:pt x="1" y="15"/>
                      <a:pt x="0" y="18"/>
                      <a:pt x="0" y="21"/>
                    </a:cubicBezTo>
                    <a:cubicBezTo>
                      <a:pt x="0" y="24"/>
                      <a:pt x="2" y="26"/>
                      <a:pt x="4" y="28"/>
                    </a:cubicBezTo>
                    <a:cubicBezTo>
                      <a:pt x="6" y="30"/>
                      <a:pt x="6" y="30"/>
                      <a:pt x="6" y="30"/>
                    </a:cubicBezTo>
                    <a:cubicBezTo>
                      <a:pt x="4" y="34"/>
                      <a:pt x="3" y="38"/>
                      <a:pt x="3" y="43"/>
                    </a:cubicBezTo>
                    <a:cubicBezTo>
                      <a:pt x="3" y="60"/>
                      <a:pt x="17" y="74"/>
                      <a:pt x="34" y="74"/>
                    </a:cubicBezTo>
                    <a:cubicBezTo>
                      <a:pt x="51" y="74"/>
                      <a:pt x="65" y="60"/>
                      <a:pt x="65" y="43"/>
                    </a:cubicBezTo>
                    <a:cubicBezTo>
                      <a:pt x="65" y="32"/>
                      <a:pt x="59" y="22"/>
                      <a:pt x="50" y="1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328" name="Freeform 50"/>
              <p:cNvSpPr>
                <a:spLocks/>
              </p:cNvSpPr>
              <p:nvPr/>
            </p:nvSpPr>
            <p:spPr bwMode="auto">
              <a:xfrm>
                <a:off x="10136188" y="1906588"/>
                <a:ext cx="71438" cy="88900"/>
              </a:xfrm>
              <a:custGeom>
                <a:avLst/>
                <a:gdLst>
                  <a:gd name="T0" fmla="*/ 56 w 62"/>
                  <a:gd name="T1" fmla="*/ 49 h 76"/>
                  <a:gd name="T2" fmla="*/ 62 w 62"/>
                  <a:gd name="T3" fmla="*/ 31 h 76"/>
                  <a:gd name="T4" fmla="*/ 31 w 62"/>
                  <a:gd name="T5" fmla="*/ 0 h 76"/>
                  <a:gd name="T6" fmla="*/ 0 w 62"/>
                  <a:gd name="T7" fmla="*/ 31 h 76"/>
                  <a:gd name="T8" fmla="*/ 15 w 62"/>
                  <a:gd name="T9" fmla="*/ 57 h 76"/>
                  <a:gd name="T10" fmla="*/ 13 w 62"/>
                  <a:gd name="T11" fmla="*/ 63 h 76"/>
                  <a:gd name="T12" fmla="*/ 21 w 62"/>
                  <a:gd name="T13" fmla="*/ 75 h 76"/>
                  <a:gd name="T14" fmla="*/ 24 w 62"/>
                  <a:gd name="T15" fmla="*/ 76 h 76"/>
                  <a:gd name="T16" fmla="*/ 34 w 62"/>
                  <a:gd name="T17" fmla="*/ 67 h 76"/>
                  <a:gd name="T18" fmla="*/ 35 w 62"/>
                  <a:gd name="T19" fmla="*/ 61 h 76"/>
                  <a:gd name="T20" fmla="*/ 38 w 62"/>
                  <a:gd name="T21" fmla="*/ 61 h 76"/>
                  <a:gd name="T22" fmla="*/ 40 w 62"/>
                  <a:gd name="T23" fmla="*/ 63 h 76"/>
                  <a:gd name="T24" fmla="*/ 55 w 62"/>
                  <a:gd name="T25" fmla="*/ 66 h 76"/>
                  <a:gd name="T26" fmla="*/ 58 w 62"/>
                  <a:gd name="T27" fmla="*/ 51 h 76"/>
                  <a:gd name="T28" fmla="*/ 56 w 62"/>
                  <a:gd name="T29" fmla="*/ 49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2" h="76">
                    <a:moveTo>
                      <a:pt x="56" y="49"/>
                    </a:moveTo>
                    <a:cubicBezTo>
                      <a:pt x="60" y="44"/>
                      <a:pt x="62" y="37"/>
                      <a:pt x="62" y="31"/>
                    </a:cubicBezTo>
                    <a:cubicBezTo>
                      <a:pt x="62" y="14"/>
                      <a:pt x="48" y="0"/>
                      <a:pt x="31" y="0"/>
                    </a:cubicBezTo>
                    <a:cubicBezTo>
                      <a:pt x="14" y="0"/>
                      <a:pt x="0" y="14"/>
                      <a:pt x="0" y="31"/>
                    </a:cubicBezTo>
                    <a:cubicBezTo>
                      <a:pt x="0" y="41"/>
                      <a:pt x="6" y="51"/>
                      <a:pt x="15" y="57"/>
                    </a:cubicBezTo>
                    <a:cubicBezTo>
                      <a:pt x="13" y="63"/>
                      <a:pt x="13" y="63"/>
                      <a:pt x="13" y="63"/>
                    </a:cubicBezTo>
                    <a:cubicBezTo>
                      <a:pt x="12" y="69"/>
                      <a:pt x="16" y="74"/>
                      <a:pt x="21" y="75"/>
                    </a:cubicBezTo>
                    <a:cubicBezTo>
                      <a:pt x="22" y="76"/>
                      <a:pt x="23" y="76"/>
                      <a:pt x="24" y="76"/>
                    </a:cubicBezTo>
                    <a:cubicBezTo>
                      <a:pt x="29" y="76"/>
                      <a:pt x="33" y="72"/>
                      <a:pt x="34" y="67"/>
                    </a:cubicBezTo>
                    <a:cubicBezTo>
                      <a:pt x="35" y="61"/>
                      <a:pt x="35" y="61"/>
                      <a:pt x="35" y="61"/>
                    </a:cubicBezTo>
                    <a:cubicBezTo>
                      <a:pt x="36" y="61"/>
                      <a:pt x="37" y="61"/>
                      <a:pt x="38" y="61"/>
                    </a:cubicBezTo>
                    <a:cubicBezTo>
                      <a:pt x="40" y="63"/>
                      <a:pt x="40" y="63"/>
                      <a:pt x="40" y="63"/>
                    </a:cubicBezTo>
                    <a:cubicBezTo>
                      <a:pt x="43" y="68"/>
                      <a:pt x="50" y="69"/>
                      <a:pt x="55" y="66"/>
                    </a:cubicBezTo>
                    <a:cubicBezTo>
                      <a:pt x="59" y="63"/>
                      <a:pt x="61" y="56"/>
                      <a:pt x="58" y="51"/>
                    </a:cubicBezTo>
                    <a:lnTo>
                      <a:pt x="56" y="4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329" name="Freeform 51"/>
              <p:cNvSpPr>
                <a:spLocks/>
              </p:cNvSpPr>
              <p:nvPr/>
            </p:nvSpPr>
            <p:spPr bwMode="auto">
              <a:xfrm>
                <a:off x="10625138" y="1965325"/>
                <a:ext cx="92075" cy="103188"/>
              </a:xfrm>
              <a:custGeom>
                <a:avLst/>
                <a:gdLst>
                  <a:gd name="T0" fmla="*/ 49 w 79"/>
                  <a:gd name="T1" fmla="*/ 0 h 89"/>
                  <a:gd name="T2" fmla="*/ 18 w 79"/>
                  <a:gd name="T3" fmla="*/ 31 h 89"/>
                  <a:gd name="T4" fmla="*/ 23 w 79"/>
                  <a:gd name="T5" fmla="*/ 47 h 89"/>
                  <a:gd name="T6" fmla="*/ 3 w 79"/>
                  <a:gd name="T7" fmla="*/ 72 h 89"/>
                  <a:gd name="T8" fmla="*/ 5 w 79"/>
                  <a:gd name="T9" fmla="*/ 87 h 89"/>
                  <a:gd name="T10" fmla="*/ 12 w 79"/>
                  <a:gd name="T11" fmla="*/ 89 h 89"/>
                  <a:gd name="T12" fmla="*/ 20 w 79"/>
                  <a:gd name="T13" fmla="*/ 85 h 89"/>
                  <a:gd name="T14" fmla="*/ 39 w 79"/>
                  <a:gd name="T15" fmla="*/ 60 h 89"/>
                  <a:gd name="T16" fmla="*/ 49 w 79"/>
                  <a:gd name="T17" fmla="*/ 62 h 89"/>
                  <a:gd name="T18" fmla="*/ 79 w 79"/>
                  <a:gd name="T19" fmla="*/ 31 h 89"/>
                  <a:gd name="T20" fmla="*/ 49 w 79"/>
                  <a:gd name="T21"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9" h="89">
                    <a:moveTo>
                      <a:pt x="49" y="0"/>
                    </a:moveTo>
                    <a:cubicBezTo>
                      <a:pt x="32" y="0"/>
                      <a:pt x="18" y="14"/>
                      <a:pt x="18" y="31"/>
                    </a:cubicBezTo>
                    <a:cubicBezTo>
                      <a:pt x="18" y="37"/>
                      <a:pt x="19" y="42"/>
                      <a:pt x="23" y="47"/>
                    </a:cubicBezTo>
                    <a:cubicBezTo>
                      <a:pt x="3" y="72"/>
                      <a:pt x="3" y="72"/>
                      <a:pt x="3" y="72"/>
                    </a:cubicBezTo>
                    <a:cubicBezTo>
                      <a:pt x="0" y="77"/>
                      <a:pt x="1" y="84"/>
                      <a:pt x="5" y="87"/>
                    </a:cubicBezTo>
                    <a:cubicBezTo>
                      <a:pt x="7" y="89"/>
                      <a:pt x="9" y="89"/>
                      <a:pt x="12" y="89"/>
                    </a:cubicBezTo>
                    <a:cubicBezTo>
                      <a:pt x="15" y="89"/>
                      <a:pt x="18" y="88"/>
                      <a:pt x="20" y="85"/>
                    </a:cubicBezTo>
                    <a:cubicBezTo>
                      <a:pt x="39" y="60"/>
                      <a:pt x="39" y="60"/>
                      <a:pt x="39" y="60"/>
                    </a:cubicBezTo>
                    <a:cubicBezTo>
                      <a:pt x="42" y="61"/>
                      <a:pt x="45" y="62"/>
                      <a:pt x="49" y="62"/>
                    </a:cubicBezTo>
                    <a:cubicBezTo>
                      <a:pt x="66" y="62"/>
                      <a:pt x="79" y="48"/>
                      <a:pt x="79" y="31"/>
                    </a:cubicBezTo>
                    <a:cubicBezTo>
                      <a:pt x="79" y="14"/>
                      <a:pt x="66" y="0"/>
                      <a:pt x="49"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330" name="Freeform 52"/>
              <p:cNvSpPr>
                <a:spLocks/>
              </p:cNvSpPr>
              <p:nvPr/>
            </p:nvSpPr>
            <p:spPr bwMode="auto">
              <a:xfrm>
                <a:off x="9747250" y="2295525"/>
                <a:ext cx="76200" cy="74613"/>
              </a:xfrm>
              <a:custGeom>
                <a:avLst/>
                <a:gdLst>
                  <a:gd name="T0" fmla="*/ 59 w 66"/>
                  <a:gd name="T1" fmla="*/ 43 h 64"/>
                  <a:gd name="T2" fmla="*/ 62 w 66"/>
                  <a:gd name="T3" fmla="*/ 31 h 64"/>
                  <a:gd name="T4" fmla="*/ 31 w 66"/>
                  <a:gd name="T5" fmla="*/ 0 h 64"/>
                  <a:gd name="T6" fmla="*/ 0 w 66"/>
                  <a:gd name="T7" fmla="*/ 31 h 64"/>
                  <a:gd name="T8" fmla="*/ 31 w 66"/>
                  <a:gd name="T9" fmla="*/ 62 h 64"/>
                  <a:gd name="T10" fmla="*/ 44 w 66"/>
                  <a:gd name="T11" fmla="*/ 59 h 64"/>
                  <a:gd name="T12" fmla="*/ 47 w 66"/>
                  <a:gd name="T13" fmla="*/ 61 h 64"/>
                  <a:gd name="T14" fmla="*/ 54 w 66"/>
                  <a:gd name="T15" fmla="*/ 64 h 64"/>
                  <a:gd name="T16" fmla="*/ 62 w 66"/>
                  <a:gd name="T17" fmla="*/ 61 h 64"/>
                  <a:gd name="T18" fmla="*/ 62 w 66"/>
                  <a:gd name="T19" fmla="*/ 46 h 64"/>
                  <a:gd name="T20" fmla="*/ 59 w 66"/>
                  <a:gd name="T21" fmla="*/ 4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6" h="64">
                    <a:moveTo>
                      <a:pt x="59" y="43"/>
                    </a:moveTo>
                    <a:cubicBezTo>
                      <a:pt x="61" y="40"/>
                      <a:pt x="62" y="35"/>
                      <a:pt x="62" y="31"/>
                    </a:cubicBezTo>
                    <a:cubicBezTo>
                      <a:pt x="62" y="14"/>
                      <a:pt x="48" y="0"/>
                      <a:pt x="31" y="0"/>
                    </a:cubicBezTo>
                    <a:cubicBezTo>
                      <a:pt x="14" y="0"/>
                      <a:pt x="0" y="14"/>
                      <a:pt x="0" y="31"/>
                    </a:cubicBezTo>
                    <a:cubicBezTo>
                      <a:pt x="0" y="48"/>
                      <a:pt x="14" y="62"/>
                      <a:pt x="31" y="62"/>
                    </a:cubicBezTo>
                    <a:cubicBezTo>
                      <a:pt x="35" y="62"/>
                      <a:pt x="40" y="61"/>
                      <a:pt x="44" y="59"/>
                    </a:cubicBezTo>
                    <a:cubicBezTo>
                      <a:pt x="47" y="61"/>
                      <a:pt x="47" y="61"/>
                      <a:pt x="47" y="61"/>
                    </a:cubicBezTo>
                    <a:cubicBezTo>
                      <a:pt x="49" y="63"/>
                      <a:pt x="51" y="64"/>
                      <a:pt x="54" y="64"/>
                    </a:cubicBezTo>
                    <a:cubicBezTo>
                      <a:pt x="57" y="64"/>
                      <a:pt x="60" y="63"/>
                      <a:pt x="62" y="61"/>
                    </a:cubicBezTo>
                    <a:cubicBezTo>
                      <a:pt x="66" y="57"/>
                      <a:pt x="66" y="50"/>
                      <a:pt x="62" y="46"/>
                    </a:cubicBezTo>
                    <a:lnTo>
                      <a:pt x="59" y="4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331" name="Freeform 53"/>
              <p:cNvSpPr>
                <a:spLocks/>
              </p:cNvSpPr>
              <p:nvPr/>
            </p:nvSpPr>
            <p:spPr bwMode="auto">
              <a:xfrm>
                <a:off x="9940925" y="2482850"/>
                <a:ext cx="49213" cy="47625"/>
              </a:xfrm>
              <a:custGeom>
                <a:avLst/>
                <a:gdLst>
                  <a:gd name="T0" fmla="*/ 18 w 43"/>
                  <a:gd name="T1" fmla="*/ 4 h 42"/>
                  <a:gd name="T2" fmla="*/ 3 w 43"/>
                  <a:gd name="T3" fmla="*/ 4 h 42"/>
                  <a:gd name="T4" fmla="*/ 0 w 43"/>
                  <a:gd name="T5" fmla="*/ 12 h 42"/>
                  <a:gd name="T6" fmla="*/ 3 w 43"/>
                  <a:gd name="T7" fmla="*/ 19 h 42"/>
                  <a:gd name="T8" fmla="*/ 24 w 43"/>
                  <a:gd name="T9" fmla="*/ 39 h 42"/>
                  <a:gd name="T10" fmla="*/ 31 w 43"/>
                  <a:gd name="T11" fmla="*/ 42 h 42"/>
                  <a:gd name="T12" fmla="*/ 39 w 43"/>
                  <a:gd name="T13" fmla="*/ 39 h 42"/>
                  <a:gd name="T14" fmla="*/ 38 w 43"/>
                  <a:gd name="T15" fmla="*/ 24 h 42"/>
                  <a:gd name="T16" fmla="*/ 18 w 43"/>
                  <a:gd name="T17" fmla="*/ 4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 h="42">
                    <a:moveTo>
                      <a:pt x="18" y="4"/>
                    </a:moveTo>
                    <a:cubicBezTo>
                      <a:pt x="14" y="0"/>
                      <a:pt x="7" y="0"/>
                      <a:pt x="3" y="4"/>
                    </a:cubicBezTo>
                    <a:cubicBezTo>
                      <a:pt x="1" y="6"/>
                      <a:pt x="0" y="9"/>
                      <a:pt x="0" y="12"/>
                    </a:cubicBezTo>
                    <a:cubicBezTo>
                      <a:pt x="0" y="15"/>
                      <a:pt x="1" y="17"/>
                      <a:pt x="3" y="19"/>
                    </a:cubicBezTo>
                    <a:cubicBezTo>
                      <a:pt x="24" y="39"/>
                      <a:pt x="24" y="39"/>
                      <a:pt x="24" y="39"/>
                    </a:cubicBezTo>
                    <a:cubicBezTo>
                      <a:pt x="26" y="41"/>
                      <a:pt x="28" y="42"/>
                      <a:pt x="31" y="42"/>
                    </a:cubicBezTo>
                    <a:cubicBezTo>
                      <a:pt x="34" y="42"/>
                      <a:pt x="37" y="41"/>
                      <a:pt x="39" y="39"/>
                    </a:cubicBezTo>
                    <a:cubicBezTo>
                      <a:pt x="43" y="35"/>
                      <a:pt x="43" y="28"/>
                      <a:pt x="38" y="24"/>
                    </a:cubicBezTo>
                    <a:lnTo>
                      <a:pt x="18" y="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332" name="Freeform 54"/>
              <p:cNvSpPr>
                <a:spLocks/>
              </p:cNvSpPr>
              <p:nvPr/>
            </p:nvSpPr>
            <p:spPr bwMode="auto">
              <a:xfrm>
                <a:off x="9828213" y="2374900"/>
                <a:ext cx="52388" cy="49213"/>
              </a:xfrm>
              <a:custGeom>
                <a:avLst/>
                <a:gdLst>
                  <a:gd name="T0" fmla="*/ 19 w 44"/>
                  <a:gd name="T1" fmla="*/ 4 h 42"/>
                  <a:gd name="T2" fmla="*/ 4 w 44"/>
                  <a:gd name="T3" fmla="*/ 4 h 42"/>
                  <a:gd name="T4" fmla="*/ 4 w 44"/>
                  <a:gd name="T5" fmla="*/ 19 h 42"/>
                  <a:gd name="T6" fmla="*/ 24 w 44"/>
                  <a:gd name="T7" fmla="*/ 39 h 42"/>
                  <a:gd name="T8" fmla="*/ 32 w 44"/>
                  <a:gd name="T9" fmla="*/ 42 h 42"/>
                  <a:gd name="T10" fmla="*/ 39 w 44"/>
                  <a:gd name="T11" fmla="*/ 38 h 42"/>
                  <a:gd name="T12" fmla="*/ 39 w 44"/>
                  <a:gd name="T13" fmla="*/ 23 h 42"/>
                  <a:gd name="T14" fmla="*/ 19 w 44"/>
                  <a:gd name="T15" fmla="*/ 4 h 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4" h="42">
                    <a:moveTo>
                      <a:pt x="19" y="4"/>
                    </a:moveTo>
                    <a:cubicBezTo>
                      <a:pt x="15" y="0"/>
                      <a:pt x="8" y="0"/>
                      <a:pt x="4" y="4"/>
                    </a:cubicBezTo>
                    <a:cubicBezTo>
                      <a:pt x="0" y="8"/>
                      <a:pt x="0" y="15"/>
                      <a:pt x="4" y="19"/>
                    </a:cubicBezTo>
                    <a:cubicBezTo>
                      <a:pt x="24" y="39"/>
                      <a:pt x="24" y="39"/>
                      <a:pt x="24" y="39"/>
                    </a:cubicBezTo>
                    <a:cubicBezTo>
                      <a:pt x="26" y="41"/>
                      <a:pt x="29" y="42"/>
                      <a:pt x="32" y="42"/>
                    </a:cubicBezTo>
                    <a:cubicBezTo>
                      <a:pt x="35" y="42"/>
                      <a:pt x="37" y="40"/>
                      <a:pt x="39" y="38"/>
                    </a:cubicBezTo>
                    <a:cubicBezTo>
                      <a:pt x="44" y="34"/>
                      <a:pt x="43" y="27"/>
                      <a:pt x="39" y="23"/>
                    </a:cubicBezTo>
                    <a:lnTo>
                      <a:pt x="19" y="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333" name="Freeform 55"/>
              <p:cNvSpPr>
                <a:spLocks/>
              </p:cNvSpPr>
              <p:nvPr/>
            </p:nvSpPr>
            <p:spPr bwMode="auto">
              <a:xfrm>
                <a:off x="9883775" y="2428875"/>
                <a:ext cx="50800" cy="49213"/>
              </a:xfrm>
              <a:custGeom>
                <a:avLst/>
                <a:gdLst>
                  <a:gd name="T0" fmla="*/ 19 w 44"/>
                  <a:gd name="T1" fmla="*/ 4 h 42"/>
                  <a:gd name="T2" fmla="*/ 4 w 44"/>
                  <a:gd name="T3" fmla="*/ 4 h 42"/>
                  <a:gd name="T4" fmla="*/ 5 w 44"/>
                  <a:gd name="T5" fmla="*/ 19 h 42"/>
                  <a:gd name="T6" fmla="*/ 25 w 44"/>
                  <a:gd name="T7" fmla="*/ 39 h 42"/>
                  <a:gd name="T8" fmla="*/ 32 w 44"/>
                  <a:gd name="T9" fmla="*/ 42 h 42"/>
                  <a:gd name="T10" fmla="*/ 40 w 44"/>
                  <a:gd name="T11" fmla="*/ 39 h 42"/>
                  <a:gd name="T12" fmla="*/ 40 w 44"/>
                  <a:gd name="T13" fmla="*/ 24 h 42"/>
                  <a:gd name="T14" fmla="*/ 19 w 44"/>
                  <a:gd name="T15" fmla="*/ 4 h 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4" h="42">
                    <a:moveTo>
                      <a:pt x="19" y="4"/>
                    </a:moveTo>
                    <a:cubicBezTo>
                      <a:pt x="15" y="0"/>
                      <a:pt x="8" y="0"/>
                      <a:pt x="4" y="4"/>
                    </a:cubicBezTo>
                    <a:cubicBezTo>
                      <a:pt x="0" y="8"/>
                      <a:pt x="0" y="15"/>
                      <a:pt x="5" y="19"/>
                    </a:cubicBezTo>
                    <a:cubicBezTo>
                      <a:pt x="25" y="39"/>
                      <a:pt x="25" y="39"/>
                      <a:pt x="25" y="39"/>
                    </a:cubicBezTo>
                    <a:cubicBezTo>
                      <a:pt x="27" y="41"/>
                      <a:pt x="30" y="42"/>
                      <a:pt x="32" y="42"/>
                    </a:cubicBezTo>
                    <a:cubicBezTo>
                      <a:pt x="35" y="42"/>
                      <a:pt x="38" y="41"/>
                      <a:pt x="40" y="39"/>
                    </a:cubicBezTo>
                    <a:cubicBezTo>
                      <a:pt x="44" y="34"/>
                      <a:pt x="44" y="28"/>
                      <a:pt x="40" y="24"/>
                    </a:cubicBezTo>
                    <a:lnTo>
                      <a:pt x="19" y="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334" name="Freeform 56"/>
              <p:cNvSpPr>
                <a:spLocks/>
              </p:cNvSpPr>
              <p:nvPr/>
            </p:nvSpPr>
            <p:spPr bwMode="auto">
              <a:xfrm>
                <a:off x="10093325" y="2187575"/>
                <a:ext cx="36513" cy="60325"/>
              </a:xfrm>
              <a:custGeom>
                <a:avLst/>
                <a:gdLst>
                  <a:gd name="T0" fmla="*/ 21 w 31"/>
                  <a:gd name="T1" fmla="*/ 1 h 53"/>
                  <a:gd name="T2" fmla="*/ 9 w 31"/>
                  <a:gd name="T3" fmla="*/ 9 h 53"/>
                  <a:gd name="T4" fmla="*/ 2 w 31"/>
                  <a:gd name="T5" fmla="*/ 40 h 53"/>
                  <a:gd name="T6" fmla="*/ 10 w 31"/>
                  <a:gd name="T7" fmla="*/ 53 h 53"/>
                  <a:gd name="T8" fmla="*/ 12 w 31"/>
                  <a:gd name="T9" fmla="*/ 53 h 53"/>
                  <a:gd name="T10" fmla="*/ 23 w 31"/>
                  <a:gd name="T11" fmla="*/ 45 h 53"/>
                  <a:gd name="T12" fmla="*/ 29 w 31"/>
                  <a:gd name="T13" fmla="*/ 14 h 53"/>
                  <a:gd name="T14" fmla="*/ 21 w 31"/>
                  <a:gd name="T15" fmla="*/ 1 h 5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1" h="53">
                    <a:moveTo>
                      <a:pt x="21" y="1"/>
                    </a:moveTo>
                    <a:cubicBezTo>
                      <a:pt x="16" y="0"/>
                      <a:pt x="10" y="3"/>
                      <a:pt x="9" y="9"/>
                    </a:cubicBezTo>
                    <a:cubicBezTo>
                      <a:pt x="2" y="40"/>
                      <a:pt x="2" y="40"/>
                      <a:pt x="2" y="40"/>
                    </a:cubicBezTo>
                    <a:cubicBezTo>
                      <a:pt x="0" y="46"/>
                      <a:pt x="4" y="52"/>
                      <a:pt x="10" y="53"/>
                    </a:cubicBezTo>
                    <a:cubicBezTo>
                      <a:pt x="11" y="53"/>
                      <a:pt x="11" y="53"/>
                      <a:pt x="12" y="53"/>
                    </a:cubicBezTo>
                    <a:cubicBezTo>
                      <a:pt x="17" y="53"/>
                      <a:pt x="21" y="50"/>
                      <a:pt x="23" y="45"/>
                    </a:cubicBezTo>
                    <a:cubicBezTo>
                      <a:pt x="29" y="14"/>
                      <a:pt x="29" y="14"/>
                      <a:pt x="29" y="14"/>
                    </a:cubicBezTo>
                    <a:cubicBezTo>
                      <a:pt x="31" y="8"/>
                      <a:pt x="27" y="2"/>
                      <a:pt x="21" y="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335" name="Freeform 57"/>
              <p:cNvSpPr>
                <a:spLocks/>
              </p:cNvSpPr>
              <p:nvPr/>
            </p:nvSpPr>
            <p:spPr bwMode="auto">
              <a:xfrm>
                <a:off x="10075863" y="2270125"/>
                <a:ext cx="34925" cy="63500"/>
              </a:xfrm>
              <a:custGeom>
                <a:avLst/>
                <a:gdLst>
                  <a:gd name="T0" fmla="*/ 20 w 29"/>
                  <a:gd name="T1" fmla="*/ 2 h 54"/>
                  <a:gd name="T2" fmla="*/ 8 w 29"/>
                  <a:gd name="T3" fmla="*/ 10 h 54"/>
                  <a:gd name="T4" fmla="*/ 1 w 29"/>
                  <a:gd name="T5" fmla="*/ 41 h 54"/>
                  <a:gd name="T6" fmla="*/ 9 w 29"/>
                  <a:gd name="T7" fmla="*/ 54 h 54"/>
                  <a:gd name="T8" fmla="*/ 11 w 29"/>
                  <a:gd name="T9" fmla="*/ 54 h 54"/>
                  <a:gd name="T10" fmla="*/ 22 w 29"/>
                  <a:gd name="T11" fmla="*/ 46 h 54"/>
                  <a:gd name="T12" fmla="*/ 29 w 29"/>
                  <a:gd name="T13" fmla="*/ 14 h 54"/>
                  <a:gd name="T14" fmla="*/ 27 w 29"/>
                  <a:gd name="T15" fmla="*/ 6 h 54"/>
                  <a:gd name="T16" fmla="*/ 20 w 29"/>
                  <a:gd name="T17" fmla="*/ 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54">
                    <a:moveTo>
                      <a:pt x="20" y="2"/>
                    </a:moveTo>
                    <a:cubicBezTo>
                      <a:pt x="15" y="0"/>
                      <a:pt x="9" y="4"/>
                      <a:pt x="8" y="10"/>
                    </a:cubicBezTo>
                    <a:cubicBezTo>
                      <a:pt x="1" y="41"/>
                      <a:pt x="1" y="41"/>
                      <a:pt x="1" y="41"/>
                    </a:cubicBezTo>
                    <a:cubicBezTo>
                      <a:pt x="0" y="47"/>
                      <a:pt x="3" y="52"/>
                      <a:pt x="9" y="54"/>
                    </a:cubicBezTo>
                    <a:cubicBezTo>
                      <a:pt x="10" y="54"/>
                      <a:pt x="11" y="54"/>
                      <a:pt x="11" y="54"/>
                    </a:cubicBezTo>
                    <a:cubicBezTo>
                      <a:pt x="16" y="54"/>
                      <a:pt x="21" y="50"/>
                      <a:pt x="22" y="46"/>
                    </a:cubicBezTo>
                    <a:cubicBezTo>
                      <a:pt x="29" y="14"/>
                      <a:pt x="29" y="14"/>
                      <a:pt x="29" y="14"/>
                    </a:cubicBezTo>
                    <a:cubicBezTo>
                      <a:pt x="29" y="12"/>
                      <a:pt x="29" y="9"/>
                      <a:pt x="27" y="6"/>
                    </a:cubicBezTo>
                    <a:cubicBezTo>
                      <a:pt x="26" y="4"/>
                      <a:pt x="23" y="2"/>
                      <a:pt x="20" y="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336" name="Freeform 58"/>
              <p:cNvSpPr>
                <a:spLocks/>
              </p:cNvSpPr>
              <p:nvPr/>
            </p:nvSpPr>
            <p:spPr bwMode="auto">
              <a:xfrm>
                <a:off x="10058400" y="2355850"/>
                <a:ext cx="34925" cy="61913"/>
              </a:xfrm>
              <a:custGeom>
                <a:avLst/>
                <a:gdLst>
                  <a:gd name="T0" fmla="*/ 21 w 30"/>
                  <a:gd name="T1" fmla="*/ 2 h 54"/>
                  <a:gd name="T2" fmla="*/ 8 w 30"/>
                  <a:gd name="T3" fmla="*/ 10 h 54"/>
                  <a:gd name="T4" fmla="*/ 1 w 30"/>
                  <a:gd name="T5" fmla="*/ 41 h 54"/>
                  <a:gd name="T6" fmla="*/ 9 w 30"/>
                  <a:gd name="T7" fmla="*/ 54 h 54"/>
                  <a:gd name="T8" fmla="*/ 11 w 30"/>
                  <a:gd name="T9" fmla="*/ 54 h 54"/>
                  <a:gd name="T10" fmla="*/ 22 w 30"/>
                  <a:gd name="T11" fmla="*/ 45 h 54"/>
                  <a:gd name="T12" fmla="*/ 29 w 30"/>
                  <a:gd name="T13" fmla="*/ 14 h 54"/>
                  <a:gd name="T14" fmla="*/ 21 w 30"/>
                  <a:gd name="T15" fmla="*/ 2 h 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 h="54">
                    <a:moveTo>
                      <a:pt x="21" y="2"/>
                    </a:moveTo>
                    <a:cubicBezTo>
                      <a:pt x="15" y="0"/>
                      <a:pt x="9" y="4"/>
                      <a:pt x="8" y="10"/>
                    </a:cubicBezTo>
                    <a:cubicBezTo>
                      <a:pt x="1" y="41"/>
                      <a:pt x="1" y="41"/>
                      <a:pt x="1" y="41"/>
                    </a:cubicBezTo>
                    <a:cubicBezTo>
                      <a:pt x="0" y="47"/>
                      <a:pt x="3" y="52"/>
                      <a:pt x="9" y="54"/>
                    </a:cubicBezTo>
                    <a:cubicBezTo>
                      <a:pt x="10" y="54"/>
                      <a:pt x="11" y="54"/>
                      <a:pt x="11" y="54"/>
                    </a:cubicBezTo>
                    <a:cubicBezTo>
                      <a:pt x="16" y="54"/>
                      <a:pt x="21" y="50"/>
                      <a:pt x="22" y="45"/>
                    </a:cubicBezTo>
                    <a:cubicBezTo>
                      <a:pt x="29" y="14"/>
                      <a:pt x="29" y="14"/>
                      <a:pt x="29" y="14"/>
                    </a:cubicBezTo>
                    <a:cubicBezTo>
                      <a:pt x="30" y="8"/>
                      <a:pt x="26" y="3"/>
                      <a:pt x="21" y="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337" name="Freeform 59"/>
              <p:cNvSpPr>
                <a:spLocks/>
              </p:cNvSpPr>
              <p:nvPr/>
            </p:nvSpPr>
            <p:spPr bwMode="auto">
              <a:xfrm>
                <a:off x="10040938" y="2439988"/>
                <a:ext cx="33338" cy="63500"/>
              </a:xfrm>
              <a:custGeom>
                <a:avLst/>
                <a:gdLst>
                  <a:gd name="T0" fmla="*/ 20 w 29"/>
                  <a:gd name="T1" fmla="*/ 1 h 54"/>
                  <a:gd name="T2" fmla="*/ 7 w 29"/>
                  <a:gd name="T3" fmla="*/ 9 h 54"/>
                  <a:gd name="T4" fmla="*/ 0 w 29"/>
                  <a:gd name="T5" fmla="*/ 41 h 54"/>
                  <a:gd name="T6" fmla="*/ 2 w 29"/>
                  <a:gd name="T7" fmla="*/ 49 h 54"/>
                  <a:gd name="T8" fmla="*/ 8 w 29"/>
                  <a:gd name="T9" fmla="*/ 53 h 54"/>
                  <a:gd name="T10" fmla="*/ 11 w 29"/>
                  <a:gd name="T11" fmla="*/ 54 h 54"/>
                  <a:gd name="T12" fmla="*/ 21 w 29"/>
                  <a:gd name="T13" fmla="*/ 45 h 54"/>
                  <a:gd name="T14" fmla="*/ 28 w 29"/>
                  <a:gd name="T15" fmla="*/ 14 h 54"/>
                  <a:gd name="T16" fmla="*/ 20 w 29"/>
                  <a:gd name="T17" fmla="*/ 1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54">
                    <a:moveTo>
                      <a:pt x="20" y="1"/>
                    </a:moveTo>
                    <a:cubicBezTo>
                      <a:pt x="14" y="0"/>
                      <a:pt x="8" y="4"/>
                      <a:pt x="7" y="9"/>
                    </a:cubicBezTo>
                    <a:cubicBezTo>
                      <a:pt x="0" y="41"/>
                      <a:pt x="0" y="41"/>
                      <a:pt x="0" y="41"/>
                    </a:cubicBezTo>
                    <a:cubicBezTo>
                      <a:pt x="0" y="43"/>
                      <a:pt x="0" y="46"/>
                      <a:pt x="2" y="49"/>
                    </a:cubicBezTo>
                    <a:cubicBezTo>
                      <a:pt x="3" y="51"/>
                      <a:pt x="6" y="53"/>
                      <a:pt x="8" y="53"/>
                    </a:cubicBezTo>
                    <a:cubicBezTo>
                      <a:pt x="9" y="54"/>
                      <a:pt x="10" y="54"/>
                      <a:pt x="11" y="54"/>
                    </a:cubicBezTo>
                    <a:cubicBezTo>
                      <a:pt x="16" y="54"/>
                      <a:pt x="20" y="50"/>
                      <a:pt x="21" y="45"/>
                    </a:cubicBezTo>
                    <a:cubicBezTo>
                      <a:pt x="28" y="14"/>
                      <a:pt x="28" y="14"/>
                      <a:pt x="28" y="14"/>
                    </a:cubicBezTo>
                    <a:cubicBezTo>
                      <a:pt x="29" y="8"/>
                      <a:pt x="25" y="3"/>
                      <a:pt x="20" y="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338" name="Freeform 60"/>
              <p:cNvSpPr>
                <a:spLocks/>
              </p:cNvSpPr>
              <p:nvPr/>
            </p:nvSpPr>
            <p:spPr bwMode="auto">
              <a:xfrm>
                <a:off x="10131425" y="2017713"/>
                <a:ext cx="34925" cy="60325"/>
              </a:xfrm>
              <a:custGeom>
                <a:avLst/>
                <a:gdLst>
                  <a:gd name="T0" fmla="*/ 21 w 30"/>
                  <a:gd name="T1" fmla="*/ 1 h 53"/>
                  <a:gd name="T2" fmla="*/ 8 w 30"/>
                  <a:gd name="T3" fmla="*/ 9 h 53"/>
                  <a:gd name="T4" fmla="*/ 1 w 30"/>
                  <a:gd name="T5" fmla="*/ 41 h 53"/>
                  <a:gd name="T6" fmla="*/ 10 w 30"/>
                  <a:gd name="T7" fmla="*/ 53 h 53"/>
                  <a:gd name="T8" fmla="*/ 12 w 30"/>
                  <a:gd name="T9" fmla="*/ 53 h 53"/>
                  <a:gd name="T10" fmla="*/ 22 w 30"/>
                  <a:gd name="T11" fmla="*/ 45 h 53"/>
                  <a:gd name="T12" fmla="*/ 29 w 30"/>
                  <a:gd name="T13" fmla="*/ 14 h 53"/>
                  <a:gd name="T14" fmla="*/ 28 w 30"/>
                  <a:gd name="T15" fmla="*/ 6 h 53"/>
                  <a:gd name="T16" fmla="*/ 21 w 30"/>
                  <a:gd name="T17" fmla="*/ 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 h="53">
                    <a:moveTo>
                      <a:pt x="21" y="1"/>
                    </a:moveTo>
                    <a:cubicBezTo>
                      <a:pt x="15" y="0"/>
                      <a:pt x="9" y="4"/>
                      <a:pt x="8" y="9"/>
                    </a:cubicBezTo>
                    <a:cubicBezTo>
                      <a:pt x="1" y="41"/>
                      <a:pt x="1" y="41"/>
                      <a:pt x="1" y="41"/>
                    </a:cubicBezTo>
                    <a:cubicBezTo>
                      <a:pt x="0" y="46"/>
                      <a:pt x="4" y="52"/>
                      <a:pt x="10" y="53"/>
                    </a:cubicBezTo>
                    <a:cubicBezTo>
                      <a:pt x="10" y="53"/>
                      <a:pt x="11" y="53"/>
                      <a:pt x="12" y="53"/>
                    </a:cubicBezTo>
                    <a:cubicBezTo>
                      <a:pt x="17" y="53"/>
                      <a:pt x="21" y="50"/>
                      <a:pt x="22" y="45"/>
                    </a:cubicBezTo>
                    <a:cubicBezTo>
                      <a:pt x="29" y="14"/>
                      <a:pt x="29" y="14"/>
                      <a:pt x="29" y="14"/>
                    </a:cubicBezTo>
                    <a:cubicBezTo>
                      <a:pt x="30" y="11"/>
                      <a:pt x="29" y="8"/>
                      <a:pt x="28" y="6"/>
                    </a:cubicBezTo>
                    <a:cubicBezTo>
                      <a:pt x="26" y="3"/>
                      <a:pt x="24" y="2"/>
                      <a:pt x="21" y="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339" name="Freeform 61"/>
              <p:cNvSpPr>
                <a:spLocks/>
              </p:cNvSpPr>
              <p:nvPr/>
            </p:nvSpPr>
            <p:spPr bwMode="auto">
              <a:xfrm>
                <a:off x="10112375" y="2101850"/>
                <a:ext cx="34925" cy="61913"/>
              </a:xfrm>
              <a:custGeom>
                <a:avLst/>
                <a:gdLst>
                  <a:gd name="T0" fmla="*/ 21 w 30"/>
                  <a:gd name="T1" fmla="*/ 1 h 53"/>
                  <a:gd name="T2" fmla="*/ 8 w 30"/>
                  <a:gd name="T3" fmla="*/ 9 h 53"/>
                  <a:gd name="T4" fmla="*/ 2 w 30"/>
                  <a:gd name="T5" fmla="*/ 40 h 53"/>
                  <a:gd name="T6" fmla="*/ 10 w 30"/>
                  <a:gd name="T7" fmla="*/ 53 h 53"/>
                  <a:gd name="T8" fmla="*/ 12 w 30"/>
                  <a:gd name="T9" fmla="*/ 53 h 53"/>
                  <a:gd name="T10" fmla="*/ 22 w 30"/>
                  <a:gd name="T11" fmla="*/ 45 h 53"/>
                  <a:gd name="T12" fmla="*/ 29 w 30"/>
                  <a:gd name="T13" fmla="*/ 14 h 53"/>
                  <a:gd name="T14" fmla="*/ 21 w 30"/>
                  <a:gd name="T15" fmla="*/ 1 h 5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 h="53">
                    <a:moveTo>
                      <a:pt x="21" y="1"/>
                    </a:moveTo>
                    <a:cubicBezTo>
                      <a:pt x="15" y="0"/>
                      <a:pt x="10" y="4"/>
                      <a:pt x="8" y="9"/>
                    </a:cubicBezTo>
                    <a:cubicBezTo>
                      <a:pt x="2" y="40"/>
                      <a:pt x="2" y="40"/>
                      <a:pt x="2" y="40"/>
                    </a:cubicBezTo>
                    <a:cubicBezTo>
                      <a:pt x="0" y="46"/>
                      <a:pt x="4" y="52"/>
                      <a:pt x="10" y="53"/>
                    </a:cubicBezTo>
                    <a:cubicBezTo>
                      <a:pt x="10" y="53"/>
                      <a:pt x="11" y="53"/>
                      <a:pt x="12" y="53"/>
                    </a:cubicBezTo>
                    <a:cubicBezTo>
                      <a:pt x="17" y="53"/>
                      <a:pt x="21" y="50"/>
                      <a:pt x="22" y="45"/>
                    </a:cubicBezTo>
                    <a:cubicBezTo>
                      <a:pt x="29" y="14"/>
                      <a:pt x="29" y="14"/>
                      <a:pt x="29" y="14"/>
                    </a:cubicBezTo>
                    <a:cubicBezTo>
                      <a:pt x="30" y="8"/>
                      <a:pt x="27" y="2"/>
                      <a:pt x="21" y="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340" name="Freeform 62"/>
              <p:cNvSpPr>
                <a:spLocks/>
              </p:cNvSpPr>
              <p:nvPr/>
            </p:nvSpPr>
            <p:spPr bwMode="auto">
              <a:xfrm>
                <a:off x="10301288" y="2144713"/>
                <a:ext cx="47625" cy="58738"/>
              </a:xfrm>
              <a:custGeom>
                <a:avLst/>
                <a:gdLst>
                  <a:gd name="T0" fmla="*/ 21 w 42"/>
                  <a:gd name="T1" fmla="*/ 7 h 50"/>
                  <a:gd name="T2" fmla="*/ 6 w 42"/>
                  <a:gd name="T3" fmla="*/ 4 h 50"/>
                  <a:gd name="T4" fmla="*/ 3 w 42"/>
                  <a:gd name="T5" fmla="*/ 18 h 50"/>
                  <a:gd name="T6" fmla="*/ 21 w 42"/>
                  <a:gd name="T7" fmla="*/ 45 h 50"/>
                  <a:gd name="T8" fmla="*/ 29 w 42"/>
                  <a:gd name="T9" fmla="*/ 50 h 50"/>
                  <a:gd name="T10" fmla="*/ 35 w 42"/>
                  <a:gd name="T11" fmla="*/ 48 h 50"/>
                  <a:gd name="T12" fmla="*/ 38 w 42"/>
                  <a:gd name="T13" fmla="*/ 33 h 50"/>
                  <a:gd name="T14" fmla="*/ 21 w 42"/>
                  <a:gd name="T15" fmla="*/ 7 h 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2" h="50">
                    <a:moveTo>
                      <a:pt x="21" y="7"/>
                    </a:moveTo>
                    <a:cubicBezTo>
                      <a:pt x="18" y="2"/>
                      <a:pt x="11" y="0"/>
                      <a:pt x="6" y="4"/>
                    </a:cubicBezTo>
                    <a:cubicBezTo>
                      <a:pt x="1" y="7"/>
                      <a:pt x="0" y="13"/>
                      <a:pt x="3" y="18"/>
                    </a:cubicBezTo>
                    <a:cubicBezTo>
                      <a:pt x="21" y="45"/>
                      <a:pt x="21" y="45"/>
                      <a:pt x="21" y="45"/>
                    </a:cubicBezTo>
                    <a:cubicBezTo>
                      <a:pt x="23" y="48"/>
                      <a:pt x="26" y="50"/>
                      <a:pt x="29" y="50"/>
                    </a:cubicBezTo>
                    <a:cubicBezTo>
                      <a:pt x="32" y="50"/>
                      <a:pt x="34" y="49"/>
                      <a:pt x="35" y="48"/>
                    </a:cubicBezTo>
                    <a:cubicBezTo>
                      <a:pt x="40" y="45"/>
                      <a:pt x="42" y="38"/>
                      <a:pt x="38" y="33"/>
                    </a:cubicBezTo>
                    <a:lnTo>
                      <a:pt x="21" y="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341" name="Freeform 63"/>
              <p:cNvSpPr>
                <a:spLocks/>
              </p:cNvSpPr>
              <p:nvPr/>
            </p:nvSpPr>
            <p:spPr bwMode="auto">
              <a:xfrm>
                <a:off x="10348913" y="2217738"/>
                <a:ext cx="46038" cy="57150"/>
              </a:xfrm>
              <a:custGeom>
                <a:avLst/>
                <a:gdLst>
                  <a:gd name="T0" fmla="*/ 40 w 40"/>
                  <a:gd name="T1" fmla="*/ 41 h 49"/>
                  <a:gd name="T2" fmla="*/ 38 w 40"/>
                  <a:gd name="T3" fmla="*/ 33 h 49"/>
                  <a:gd name="T4" fmla="*/ 21 w 40"/>
                  <a:gd name="T5" fmla="*/ 6 h 49"/>
                  <a:gd name="T6" fmla="*/ 6 w 40"/>
                  <a:gd name="T7" fmla="*/ 3 h 49"/>
                  <a:gd name="T8" fmla="*/ 3 w 40"/>
                  <a:gd name="T9" fmla="*/ 18 h 49"/>
                  <a:gd name="T10" fmla="*/ 20 w 40"/>
                  <a:gd name="T11" fmla="*/ 44 h 49"/>
                  <a:gd name="T12" fmla="*/ 29 w 40"/>
                  <a:gd name="T13" fmla="*/ 49 h 49"/>
                  <a:gd name="T14" fmla="*/ 35 w 40"/>
                  <a:gd name="T15" fmla="*/ 47 h 49"/>
                  <a:gd name="T16" fmla="*/ 40 w 40"/>
                  <a:gd name="T17" fmla="*/ 4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49">
                    <a:moveTo>
                      <a:pt x="40" y="41"/>
                    </a:moveTo>
                    <a:cubicBezTo>
                      <a:pt x="40" y="38"/>
                      <a:pt x="40" y="35"/>
                      <a:pt x="38" y="33"/>
                    </a:cubicBezTo>
                    <a:cubicBezTo>
                      <a:pt x="21" y="6"/>
                      <a:pt x="21" y="6"/>
                      <a:pt x="21" y="6"/>
                    </a:cubicBezTo>
                    <a:cubicBezTo>
                      <a:pt x="18" y="1"/>
                      <a:pt x="11" y="0"/>
                      <a:pt x="6" y="3"/>
                    </a:cubicBezTo>
                    <a:cubicBezTo>
                      <a:pt x="1" y="6"/>
                      <a:pt x="0" y="13"/>
                      <a:pt x="3" y="18"/>
                    </a:cubicBezTo>
                    <a:cubicBezTo>
                      <a:pt x="20" y="44"/>
                      <a:pt x="20" y="44"/>
                      <a:pt x="20" y="44"/>
                    </a:cubicBezTo>
                    <a:cubicBezTo>
                      <a:pt x="22" y="47"/>
                      <a:pt x="26" y="49"/>
                      <a:pt x="29" y="49"/>
                    </a:cubicBezTo>
                    <a:cubicBezTo>
                      <a:pt x="31" y="49"/>
                      <a:pt x="34" y="48"/>
                      <a:pt x="35" y="47"/>
                    </a:cubicBezTo>
                    <a:cubicBezTo>
                      <a:pt x="38" y="46"/>
                      <a:pt x="39" y="43"/>
                      <a:pt x="40" y="4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342" name="Freeform 64"/>
              <p:cNvSpPr>
                <a:spLocks/>
              </p:cNvSpPr>
              <p:nvPr/>
            </p:nvSpPr>
            <p:spPr bwMode="auto">
              <a:xfrm>
                <a:off x="10206038" y="2000250"/>
                <a:ext cx="47625" cy="57150"/>
              </a:xfrm>
              <a:custGeom>
                <a:avLst/>
                <a:gdLst>
                  <a:gd name="T0" fmla="*/ 21 w 42"/>
                  <a:gd name="T1" fmla="*/ 6 h 49"/>
                  <a:gd name="T2" fmla="*/ 6 w 42"/>
                  <a:gd name="T3" fmla="*/ 3 h 49"/>
                  <a:gd name="T4" fmla="*/ 3 w 42"/>
                  <a:gd name="T5" fmla="*/ 18 h 49"/>
                  <a:gd name="T6" fmla="*/ 21 w 42"/>
                  <a:gd name="T7" fmla="*/ 44 h 49"/>
                  <a:gd name="T8" fmla="*/ 30 w 42"/>
                  <a:gd name="T9" fmla="*/ 49 h 49"/>
                  <a:gd name="T10" fmla="*/ 35 w 42"/>
                  <a:gd name="T11" fmla="*/ 47 h 49"/>
                  <a:gd name="T12" fmla="*/ 39 w 42"/>
                  <a:gd name="T13" fmla="*/ 33 h 49"/>
                  <a:gd name="T14" fmla="*/ 21 w 42"/>
                  <a:gd name="T15" fmla="*/ 6 h 4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2" h="49">
                    <a:moveTo>
                      <a:pt x="21" y="6"/>
                    </a:moveTo>
                    <a:cubicBezTo>
                      <a:pt x="18" y="1"/>
                      <a:pt x="11" y="0"/>
                      <a:pt x="6" y="3"/>
                    </a:cubicBezTo>
                    <a:cubicBezTo>
                      <a:pt x="1" y="6"/>
                      <a:pt x="0" y="13"/>
                      <a:pt x="3" y="18"/>
                    </a:cubicBezTo>
                    <a:cubicBezTo>
                      <a:pt x="21" y="44"/>
                      <a:pt x="21" y="44"/>
                      <a:pt x="21" y="44"/>
                    </a:cubicBezTo>
                    <a:cubicBezTo>
                      <a:pt x="23" y="47"/>
                      <a:pt x="26" y="49"/>
                      <a:pt x="30" y="49"/>
                    </a:cubicBezTo>
                    <a:cubicBezTo>
                      <a:pt x="32" y="49"/>
                      <a:pt x="34" y="49"/>
                      <a:pt x="35" y="47"/>
                    </a:cubicBezTo>
                    <a:cubicBezTo>
                      <a:pt x="40" y="44"/>
                      <a:pt x="42" y="38"/>
                      <a:pt x="39" y="33"/>
                    </a:cubicBezTo>
                    <a:lnTo>
                      <a:pt x="21" y="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343" name="Freeform 65"/>
              <p:cNvSpPr>
                <a:spLocks/>
              </p:cNvSpPr>
              <p:nvPr/>
            </p:nvSpPr>
            <p:spPr bwMode="auto">
              <a:xfrm>
                <a:off x="10253663" y="2073275"/>
                <a:ext cx="47625" cy="57150"/>
              </a:xfrm>
              <a:custGeom>
                <a:avLst/>
                <a:gdLst>
                  <a:gd name="T0" fmla="*/ 21 w 41"/>
                  <a:gd name="T1" fmla="*/ 6 h 50"/>
                  <a:gd name="T2" fmla="*/ 6 w 41"/>
                  <a:gd name="T3" fmla="*/ 3 h 50"/>
                  <a:gd name="T4" fmla="*/ 3 w 41"/>
                  <a:gd name="T5" fmla="*/ 18 h 50"/>
                  <a:gd name="T6" fmla="*/ 21 w 41"/>
                  <a:gd name="T7" fmla="*/ 45 h 50"/>
                  <a:gd name="T8" fmla="*/ 30 w 41"/>
                  <a:gd name="T9" fmla="*/ 50 h 50"/>
                  <a:gd name="T10" fmla="*/ 35 w 41"/>
                  <a:gd name="T11" fmla="*/ 48 h 50"/>
                  <a:gd name="T12" fmla="*/ 40 w 41"/>
                  <a:gd name="T13" fmla="*/ 41 h 50"/>
                  <a:gd name="T14" fmla="*/ 38 w 41"/>
                  <a:gd name="T15" fmla="*/ 33 h 50"/>
                  <a:gd name="T16" fmla="*/ 21 w 41"/>
                  <a:gd name="T17" fmla="*/ 6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50">
                    <a:moveTo>
                      <a:pt x="21" y="6"/>
                    </a:moveTo>
                    <a:cubicBezTo>
                      <a:pt x="18" y="2"/>
                      <a:pt x="11" y="0"/>
                      <a:pt x="6" y="3"/>
                    </a:cubicBezTo>
                    <a:cubicBezTo>
                      <a:pt x="1" y="7"/>
                      <a:pt x="0" y="13"/>
                      <a:pt x="3" y="18"/>
                    </a:cubicBezTo>
                    <a:cubicBezTo>
                      <a:pt x="21" y="45"/>
                      <a:pt x="21" y="45"/>
                      <a:pt x="21" y="45"/>
                    </a:cubicBezTo>
                    <a:cubicBezTo>
                      <a:pt x="23" y="48"/>
                      <a:pt x="26" y="50"/>
                      <a:pt x="30" y="50"/>
                    </a:cubicBezTo>
                    <a:cubicBezTo>
                      <a:pt x="32" y="50"/>
                      <a:pt x="34" y="49"/>
                      <a:pt x="35" y="48"/>
                    </a:cubicBezTo>
                    <a:cubicBezTo>
                      <a:pt x="38" y="46"/>
                      <a:pt x="39" y="44"/>
                      <a:pt x="40" y="41"/>
                    </a:cubicBezTo>
                    <a:cubicBezTo>
                      <a:pt x="41" y="38"/>
                      <a:pt x="40" y="35"/>
                      <a:pt x="38" y="33"/>
                    </a:cubicBezTo>
                    <a:lnTo>
                      <a:pt x="21" y="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344" name="Freeform 66"/>
              <p:cNvSpPr>
                <a:spLocks/>
              </p:cNvSpPr>
              <p:nvPr/>
            </p:nvSpPr>
            <p:spPr bwMode="auto">
              <a:xfrm>
                <a:off x="10571163" y="2082800"/>
                <a:ext cx="52388" cy="55563"/>
              </a:xfrm>
              <a:custGeom>
                <a:avLst/>
                <a:gdLst>
                  <a:gd name="T0" fmla="*/ 23 w 44"/>
                  <a:gd name="T1" fmla="*/ 5 h 48"/>
                  <a:gd name="T2" fmla="*/ 4 w 44"/>
                  <a:gd name="T3" fmla="*/ 30 h 48"/>
                  <a:gd name="T4" fmla="*/ 6 w 44"/>
                  <a:gd name="T5" fmla="*/ 45 h 48"/>
                  <a:gd name="T6" fmla="*/ 12 w 44"/>
                  <a:gd name="T7" fmla="*/ 48 h 48"/>
                  <a:gd name="T8" fmla="*/ 21 w 44"/>
                  <a:gd name="T9" fmla="*/ 43 h 48"/>
                  <a:gd name="T10" fmla="*/ 40 w 44"/>
                  <a:gd name="T11" fmla="*/ 18 h 48"/>
                  <a:gd name="T12" fmla="*/ 38 w 44"/>
                  <a:gd name="T13" fmla="*/ 3 h 48"/>
                  <a:gd name="T14" fmla="*/ 23 w 44"/>
                  <a:gd name="T15" fmla="*/ 5 h 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4" h="48">
                    <a:moveTo>
                      <a:pt x="23" y="5"/>
                    </a:moveTo>
                    <a:cubicBezTo>
                      <a:pt x="4" y="30"/>
                      <a:pt x="4" y="30"/>
                      <a:pt x="4" y="30"/>
                    </a:cubicBezTo>
                    <a:cubicBezTo>
                      <a:pt x="0" y="35"/>
                      <a:pt x="1" y="42"/>
                      <a:pt x="6" y="45"/>
                    </a:cubicBezTo>
                    <a:cubicBezTo>
                      <a:pt x="8" y="47"/>
                      <a:pt x="10" y="48"/>
                      <a:pt x="12" y="48"/>
                    </a:cubicBezTo>
                    <a:cubicBezTo>
                      <a:pt x="16" y="48"/>
                      <a:pt x="19" y="46"/>
                      <a:pt x="21" y="43"/>
                    </a:cubicBezTo>
                    <a:cubicBezTo>
                      <a:pt x="40" y="18"/>
                      <a:pt x="40" y="18"/>
                      <a:pt x="40" y="18"/>
                    </a:cubicBezTo>
                    <a:cubicBezTo>
                      <a:pt x="44" y="13"/>
                      <a:pt x="43" y="7"/>
                      <a:pt x="38" y="3"/>
                    </a:cubicBezTo>
                    <a:cubicBezTo>
                      <a:pt x="34" y="0"/>
                      <a:pt x="27" y="1"/>
                      <a:pt x="23" y="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345" name="Freeform 67"/>
              <p:cNvSpPr>
                <a:spLocks/>
              </p:cNvSpPr>
              <p:nvPr/>
            </p:nvSpPr>
            <p:spPr bwMode="auto">
              <a:xfrm>
                <a:off x="10518775" y="2151063"/>
                <a:ext cx="50800" cy="55563"/>
              </a:xfrm>
              <a:custGeom>
                <a:avLst/>
                <a:gdLst>
                  <a:gd name="T0" fmla="*/ 23 w 43"/>
                  <a:gd name="T1" fmla="*/ 5 h 48"/>
                  <a:gd name="T2" fmla="*/ 3 w 43"/>
                  <a:gd name="T3" fmla="*/ 30 h 48"/>
                  <a:gd name="T4" fmla="*/ 5 w 43"/>
                  <a:gd name="T5" fmla="*/ 45 h 48"/>
                  <a:gd name="T6" fmla="*/ 12 w 43"/>
                  <a:gd name="T7" fmla="*/ 48 h 48"/>
                  <a:gd name="T8" fmla="*/ 20 w 43"/>
                  <a:gd name="T9" fmla="*/ 43 h 48"/>
                  <a:gd name="T10" fmla="*/ 40 w 43"/>
                  <a:gd name="T11" fmla="*/ 18 h 48"/>
                  <a:gd name="T12" fmla="*/ 38 w 43"/>
                  <a:gd name="T13" fmla="*/ 3 h 48"/>
                  <a:gd name="T14" fmla="*/ 23 w 43"/>
                  <a:gd name="T15" fmla="*/ 5 h 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3" h="48">
                    <a:moveTo>
                      <a:pt x="23" y="5"/>
                    </a:moveTo>
                    <a:cubicBezTo>
                      <a:pt x="3" y="30"/>
                      <a:pt x="3" y="30"/>
                      <a:pt x="3" y="30"/>
                    </a:cubicBezTo>
                    <a:cubicBezTo>
                      <a:pt x="0" y="35"/>
                      <a:pt x="1" y="42"/>
                      <a:pt x="5" y="45"/>
                    </a:cubicBezTo>
                    <a:cubicBezTo>
                      <a:pt x="7" y="47"/>
                      <a:pt x="9" y="48"/>
                      <a:pt x="12" y="48"/>
                    </a:cubicBezTo>
                    <a:cubicBezTo>
                      <a:pt x="15" y="48"/>
                      <a:pt x="18" y="46"/>
                      <a:pt x="20" y="43"/>
                    </a:cubicBezTo>
                    <a:cubicBezTo>
                      <a:pt x="40" y="18"/>
                      <a:pt x="40" y="18"/>
                      <a:pt x="40" y="18"/>
                    </a:cubicBezTo>
                    <a:cubicBezTo>
                      <a:pt x="43" y="13"/>
                      <a:pt x="42" y="7"/>
                      <a:pt x="38" y="3"/>
                    </a:cubicBezTo>
                    <a:cubicBezTo>
                      <a:pt x="33" y="0"/>
                      <a:pt x="26" y="1"/>
                      <a:pt x="23" y="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346" name="Freeform 68"/>
              <p:cNvSpPr>
                <a:spLocks/>
              </p:cNvSpPr>
              <p:nvPr/>
            </p:nvSpPr>
            <p:spPr bwMode="auto">
              <a:xfrm>
                <a:off x="10391775" y="2287588"/>
                <a:ext cx="71438" cy="79375"/>
              </a:xfrm>
              <a:custGeom>
                <a:avLst/>
                <a:gdLst>
                  <a:gd name="T0" fmla="*/ 59 w 62"/>
                  <a:gd name="T1" fmla="*/ 18 h 68"/>
                  <a:gd name="T2" fmla="*/ 57 w 62"/>
                  <a:gd name="T3" fmla="*/ 3 h 68"/>
                  <a:gd name="T4" fmla="*/ 42 w 62"/>
                  <a:gd name="T5" fmla="*/ 5 h 68"/>
                  <a:gd name="T6" fmla="*/ 40 w 62"/>
                  <a:gd name="T7" fmla="*/ 8 h 68"/>
                  <a:gd name="T8" fmla="*/ 24 w 62"/>
                  <a:gd name="T9" fmla="*/ 7 h 68"/>
                  <a:gd name="T10" fmla="*/ 10 w 62"/>
                  <a:gd name="T11" fmla="*/ 5 h 68"/>
                  <a:gd name="T12" fmla="*/ 5 w 62"/>
                  <a:gd name="T13" fmla="*/ 12 h 68"/>
                  <a:gd name="T14" fmla="*/ 6 w 62"/>
                  <a:gd name="T15" fmla="*/ 19 h 68"/>
                  <a:gd name="T16" fmla="*/ 0 w 62"/>
                  <a:gd name="T17" fmla="*/ 37 h 68"/>
                  <a:gd name="T18" fmla="*/ 31 w 62"/>
                  <a:gd name="T19" fmla="*/ 68 h 68"/>
                  <a:gd name="T20" fmla="*/ 62 w 62"/>
                  <a:gd name="T21" fmla="*/ 37 h 68"/>
                  <a:gd name="T22" fmla="*/ 57 w 62"/>
                  <a:gd name="T23" fmla="*/ 21 h 68"/>
                  <a:gd name="T24" fmla="*/ 59 w 62"/>
                  <a:gd name="T25" fmla="*/ 18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68">
                    <a:moveTo>
                      <a:pt x="59" y="18"/>
                    </a:moveTo>
                    <a:cubicBezTo>
                      <a:pt x="62" y="14"/>
                      <a:pt x="62" y="7"/>
                      <a:pt x="57" y="3"/>
                    </a:cubicBezTo>
                    <a:cubicBezTo>
                      <a:pt x="52" y="0"/>
                      <a:pt x="45" y="1"/>
                      <a:pt x="42" y="5"/>
                    </a:cubicBezTo>
                    <a:cubicBezTo>
                      <a:pt x="40" y="8"/>
                      <a:pt x="40" y="8"/>
                      <a:pt x="40" y="8"/>
                    </a:cubicBezTo>
                    <a:cubicBezTo>
                      <a:pt x="35" y="6"/>
                      <a:pt x="29" y="6"/>
                      <a:pt x="24" y="7"/>
                    </a:cubicBezTo>
                    <a:cubicBezTo>
                      <a:pt x="20" y="3"/>
                      <a:pt x="14" y="2"/>
                      <a:pt x="10" y="5"/>
                    </a:cubicBezTo>
                    <a:cubicBezTo>
                      <a:pt x="8" y="7"/>
                      <a:pt x="6" y="9"/>
                      <a:pt x="5" y="12"/>
                    </a:cubicBezTo>
                    <a:cubicBezTo>
                      <a:pt x="5" y="14"/>
                      <a:pt x="5" y="16"/>
                      <a:pt x="6" y="19"/>
                    </a:cubicBezTo>
                    <a:cubicBezTo>
                      <a:pt x="2" y="24"/>
                      <a:pt x="0" y="30"/>
                      <a:pt x="0" y="37"/>
                    </a:cubicBezTo>
                    <a:cubicBezTo>
                      <a:pt x="0" y="54"/>
                      <a:pt x="14" y="68"/>
                      <a:pt x="31" y="68"/>
                    </a:cubicBezTo>
                    <a:cubicBezTo>
                      <a:pt x="48" y="68"/>
                      <a:pt x="62" y="54"/>
                      <a:pt x="62" y="37"/>
                    </a:cubicBezTo>
                    <a:cubicBezTo>
                      <a:pt x="62" y="31"/>
                      <a:pt x="60" y="26"/>
                      <a:pt x="57" y="21"/>
                    </a:cubicBezTo>
                    <a:lnTo>
                      <a:pt x="59" y="1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347" name="Freeform 69"/>
              <p:cNvSpPr>
                <a:spLocks/>
              </p:cNvSpPr>
              <p:nvPr/>
            </p:nvSpPr>
            <p:spPr bwMode="auto">
              <a:xfrm>
                <a:off x="10466388" y="2219325"/>
                <a:ext cx="50800" cy="55563"/>
              </a:xfrm>
              <a:custGeom>
                <a:avLst/>
                <a:gdLst>
                  <a:gd name="T0" fmla="*/ 23 w 44"/>
                  <a:gd name="T1" fmla="*/ 5 h 48"/>
                  <a:gd name="T2" fmla="*/ 4 w 44"/>
                  <a:gd name="T3" fmla="*/ 30 h 48"/>
                  <a:gd name="T4" fmla="*/ 6 w 44"/>
                  <a:gd name="T5" fmla="*/ 45 h 48"/>
                  <a:gd name="T6" fmla="*/ 12 w 44"/>
                  <a:gd name="T7" fmla="*/ 48 h 48"/>
                  <a:gd name="T8" fmla="*/ 21 w 44"/>
                  <a:gd name="T9" fmla="*/ 43 h 48"/>
                  <a:gd name="T10" fmla="*/ 40 w 44"/>
                  <a:gd name="T11" fmla="*/ 18 h 48"/>
                  <a:gd name="T12" fmla="*/ 38 w 44"/>
                  <a:gd name="T13" fmla="*/ 3 h 48"/>
                  <a:gd name="T14" fmla="*/ 23 w 44"/>
                  <a:gd name="T15" fmla="*/ 5 h 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4" h="48">
                    <a:moveTo>
                      <a:pt x="23" y="5"/>
                    </a:moveTo>
                    <a:cubicBezTo>
                      <a:pt x="4" y="30"/>
                      <a:pt x="4" y="30"/>
                      <a:pt x="4" y="30"/>
                    </a:cubicBezTo>
                    <a:cubicBezTo>
                      <a:pt x="0" y="35"/>
                      <a:pt x="1" y="42"/>
                      <a:pt x="6" y="45"/>
                    </a:cubicBezTo>
                    <a:cubicBezTo>
                      <a:pt x="8" y="47"/>
                      <a:pt x="10" y="48"/>
                      <a:pt x="12" y="48"/>
                    </a:cubicBezTo>
                    <a:cubicBezTo>
                      <a:pt x="16" y="48"/>
                      <a:pt x="19" y="46"/>
                      <a:pt x="21" y="43"/>
                    </a:cubicBezTo>
                    <a:cubicBezTo>
                      <a:pt x="40" y="18"/>
                      <a:pt x="40" y="18"/>
                      <a:pt x="40" y="18"/>
                    </a:cubicBezTo>
                    <a:cubicBezTo>
                      <a:pt x="44" y="13"/>
                      <a:pt x="43" y="7"/>
                      <a:pt x="38" y="3"/>
                    </a:cubicBezTo>
                    <a:cubicBezTo>
                      <a:pt x="34" y="0"/>
                      <a:pt x="27" y="1"/>
                      <a:pt x="23" y="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de-DE"/>
              </a:p>
            </p:txBody>
          </p:sp>
        </p:grpSp>
        <p:sp>
          <p:nvSpPr>
            <p:cNvPr id="348" name="Freeform 11"/>
            <p:cNvSpPr>
              <a:spLocks noChangeAspect="1" noEditPoints="1"/>
            </p:cNvSpPr>
            <p:nvPr/>
          </p:nvSpPr>
          <p:spPr bwMode="auto">
            <a:xfrm>
              <a:off x="3079774" y="2311491"/>
              <a:ext cx="605287" cy="614957"/>
            </a:xfrm>
            <a:custGeom>
              <a:avLst/>
              <a:gdLst>
                <a:gd name="T0" fmla="*/ 2108 w 2504"/>
                <a:gd name="T1" fmla="*/ 896 h 2544"/>
                <a:gd name="T2" fmla="*/ 1988 w 2504"/>
                <a:gd name="T3" fmla="*/ 756 h 2544"/>
                <a:gd name="T4" fmla="*/ 2000 w 2504"/>
                <a:gd name="T5" fmla="*/ 386 h 2544"/>
                <a:gd name="T6" fmla="*/ 1582 w 2504"/>
                <a:gd name="T7" fmla="*/ 372 h 2544"/>
                <a:gd name="T8" fmla="*/ 1452 w 2504"/>
                <a:gd name="T9" fmla="*/ 358 h 2544"/>
                <a:gd name="T10" fmla="*/ 890 w 2504"/>
                <a:gd name="T11" fmla="*/ 12 h 2544"/>
                <a:gd name="T12" fmla="*/ 710 w 2504"/>
                <a:gd name="T13" fmla="*/ 74 h 2544"/>
                <a:gd name="T14" fmla="*/ 304 w 2504"/>
                <a:gd name="T15" fmla="*/ 752 h 2544"/>
                <a:gd name="T16" fmla="*/ 208 w 2504"/>
                <a:gd name="T17" fmla="*/ 848 h 2544"/>
                <a:gd name="T18" fmla="*/ 78 w 2504"/>
                <a:gd name="T19" fmla="*/ 1528 h 2544"/>
                <a:gd name="T20" fmla="*/ 38 w 2504"/>
                <a:gd name="T21" fmla="*/ 1812 h 2544"/>
                <a:gd name="T22" fmla="*/ 296 w 2504"/>
                <a:gd name="T23" fmla="*/ 1890 h 2544"/>
                <a:gd name="T24" fmla="*/ 554 w 2504"/>
                <a:gd name="T25" fmla="*/ 2278 h 2544"/>
                <a:gd name="T26" fmla="*/ 1308 w 2504"/>
                <a:gd name="T27" fmla="*/ 2418 h 2544"/>
                <a:gd name="T28" fmla="*/ 1450 w 2504"/>
                <a:gd name="T29" fmla="*/ 2544 h 2544"/>
                <a:gd name="T30" fmla="*/ 1794 w 2504"/>
                <a:gd name="T31" fmla="*/ 2428 h 2544"/>
                <a:gd name="T32" fmla="*/ 1932 w 2504"/>
                <a:gd name="T33" fmla="*/ 2402 h 2544"/>
                <a:gd name="T34" fmla="*/ 2374 w 2504"/>
                <a:gd name="T35" fmla="*/ 1940 h 2544"/>
                <a:gd name="T36" fmla="*/ 2494 w 2504"/>
                <a:gd name="T37" fmla="*/ 1680 h 2544"/>
                <a:gd name="T38" fmla="*/ 1348 w 2504"/>
                <a:gd name="T39" fmla="*/ 1824 h 2544"/>
                <a:gd name="T40" fmla="*/ 1578 w 2504"/>
                <a:gd name="T41" fmla="*/ 1818 h 2544"/>
                <a:gd name="T42" fmla="*/ 618 w 2504"/>
                <a:gd name="T43" fmla="*/ 1248 h 2544"/>
                <a:gd name="T44" fmla="*/ 1152 w 2504"/>
                <a:gd name="T45" fmla="*/ 1114 h 2544"/>
                <a:gd name="T46" fmla="*/ 1200 w 2504"/>
                <a:gd name="T47" fmla="*/ 1256 h 2544"/>
                <a:gd name="T48" fmla="*/ 1156 w 2504"/>
                <a:gd name="T49" fmla="*/ 1162 h 2544"/>
                <a:gd name="T50" fmla="*/ 1278 w 2504"/>
                <a:gd name="T51" fmla="*/ 1576 h 2544"/>
                <a:gd name="T52" fmla="*/ 1100 w 2504"/>
                <a:gd name="T53" fmla="*/ 1734 h 2544"/>
                <a:gd name="T54" fmla="*/ 1426 w 2504"/>
                <a:gd name="T55" fmla="*/ 1576 h 2544"/>
                <a:gd name="T56" fmla="*/ 1396 w 2504"/>
                <a:gd name="T57" fmla="*/ 1570 h 2544"/>
                <a:gd name="T58" fmla="*/ 650 w 2504"/>
                <a:gd name="T59" fmla="*/ 1084 h 2544"/>
                <a:gd name="T60" fmla="*/ 806 w 2504"/>
                <a:gd name="T61" fmla="*/ 1534 h 2544"/>
                <a:gd name="T62" fmla="*/ 1576 w 2504"/>
                <a:gd name="T63" fmla="*/ 1090 h 2544"/>
                <a:gd name="T64" fmla="*/ 1824 w 2504"/>
                <a:gd name="T65" fmla="*/ 888 h 2544"/>
                <a:gd name="T66" fmla="*/ 1394 w 2504"/>
                <a:gd name="T67" fmla="*/ 912 h 2544"/>
                <a:gd name="T68" fmla="*/ 1204 w 2504"/>
                <a:gd name="T69" fmla="*/ 984 h 2544"/>
                <a:gd name="T70" fmla="*/ 542 w 2504"/>
                <a:gd name="T71" fmla="*/ 1284 h 2544"/>
                <a:gd name="T72" fmla="*/ 1710 w 2504"/>
                <a:gd name="T73" fmla="*/ 1794 h 2544"/>
                <a:gd name="T74" fmla="*/ 1652 w 2504"/>
                <a:gd name="T75" fmla="*/ 1300 h 2544"/>
                <a:gd name="T76" fmla="*/ 712 w 2504"/>
                <a:gd name="T77" fmla="*/ 1510 h 2544"/>
                <a:gd name="T78" fmla="*/ 682 w 2504"/>
                <a:gd name="T79" fmla="*/ 1768 h 2544"/>
                <a:gd name="T80" fmla="*/ 1426 w 2504"/>
                <a:gd name="T81" fmla="*/ 2262 h 2544"/>
                <a:gd name="T82" fmla="*/ 1648 w 2504"/>
                <a:gd name="T83" fmla="*/ 1900 h 2544"/>
                <a:gd name="T84" fmla="*/ 1850 w 2504"/>
                <a:gd name="T85" fmla="*/ 814 h 2544"/>
                <a:gd name="T86" fmla="*/ 1606 w 2504"/>
                <a:gd name="T87" fmla="*/ 820 h 2544"/>
                <a:gd name="T88" fmla="*/ 336 w 2504"/>
                <a:gd name="T89" fmla="*/ 838 h 2544"/>
                <a:gd name="T90" fmla="*/ 428 w 2504"/>
                <a:gd name="T91" fmla="*/ 1694 h 2544"/>
                <a:gd name="T92" fmla="*/ 636 w 2504"/>
                <a:gd name="T93" fmla="*/ 2166 h 2544"/>
                <a:gd name="T94" fmla="*/ 2114 w 2504"/>
                <a:gd name="T95" fmla="*/ 1864 h 2544"/>
                <a:gd name="T96" fmla="*/ 844 w 2504"/>
                <a:gd name="T97" fmla="*/ 676 h 2544"/>
                <a:gd name="T98" fmla="*/ 878 w 2504"/>
                <a:gd name="T99" fmla="*/ 278 h 2544"/>
                <a:gd name="T100" fmla="*/ 2158 w 2504"/>
                <a:gd name="T101" fmla="*/ 1578 h 2544"/>
                <a:gd name="T102" fmla="*/ 1882 w 2504"/>
                <a:gd name="T103" fmla="*/ 782 h 2544"/>
                <a:gd name="T104" fmla="*/ 768 w 2504"/>
                <a:gd name="T105" fmla="*/ 606 h 2544"/>
                <a:gd name="T106" fmla="*/ 766 w 2504"/>
                <a:gd name="T107" fmla="*/ 266 h 2544"/>
                <a:gd name="T108" fmla="*/ 378 w 2504"/>
                <a:gd name="T109" fmla="*/ 1142 h 2544"/>
                <a:gd name="T110" fmla="*/ 278 w 2504"/>
                <a:gd name="T111" fmla="*/ 884 h 2544"/>
                <a:gd name="T112" fmla="*/ 416 w 2504"/>
                <a:gd name="T113" fmla="*/ 1766 h 2544"/>
                <a:gd name="T114" fmla="*/ 1224 w 2504"/>
                <a:gd name="T115" fmla="*/ 1968 h 2544"/>
                <a:gd name="T116" fmla="*/ 652 w 2504"/>
                <a:gd name="T117" fmla="*/ 2200 h 2544"/>
                <a:gd name="T118" fmla="*/ 1570 w 2504"/>
                <a:gd name="T119" fmla="*/ 2326 h 2544"/>
                <a:gd name="T120" fmla="*/ 1444 w 2504"/>
                <a:gd name="T121" fmla="*/ 378 h 25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504" h="2544">
                  <a:moveTo>
                    <a:pt x="2290" y="1530"/>
                  </a:moveTo>
                  <a:lnTo>
                    <a:pt x="2290" y="1530"/>
                  </a:lnTo>
                  <a:lnTo>
                    <a:pt x="2274" y="1532"/>
                  </a:lnTo>
                  <a:lnTo>
                    <a:pt x="2258" y="1532"/>
                  </a:lnTo>
                  <a:lnTo>
                    <a:pt x="2242" y="1536"/>
                  </a:lnTo>
                  <a:lnTo>
                    <a:pt x="2226" y="1540"/>
                  </a:lnTo>
                  <a:lnTo>
                    <a:pt x="2028" y="1024"/>
                  </a:lnTo>
                  <a:lnTo>
                    <a:pt x="2028" y="1024"/>
                  </a:lnTo>
                  <a:lnTo>
                    <a:pt x="2046" y="1014"/>
                  </a:lnTo>
                  <a:lnTo>
                    <a:pt x="2060" y="1002"/>
                  </a:lnTo>
                  <a:lnTo>
                    <a:pt x="2074" y="988"/>
                  </a:lnTo>
                  <a:lnTo>
                    <a:pt x="2086" y="972"/>
                  </a:lnTo>
                  <a:lnTo>
                    <a:pt x="2094" y="954"/>
                  </a:lnTo>
                  <a:lnTo>
                    <a:pt x="2102" y="936"/>
                  </a:lnTo>
                  <a:lnTo>
                    <a:pt x="2106" y="916"/>
                  </a:lnTo>
                  <a:lnTo>
                    <a:pt x="2108" y="896"/>
                  </a:lnTo>
                  <a:lnTo>
                    <a:pt x="2108" y="896"/>
                  </a:lnTo>
                  <a:lnTo>
                    <a:pt x="2106" y="882"/>
                  </a:lnTo>
                  <a:lnTo>
                    <a:pt x="2104" y="868"/>
                  </a:lnTo>
                  <a:lnTo>
                    <a:pt x="2102" y="856"/>
                  </a:lnTo>
                  <a:lnTo>
                    <a:pt x="2098" y="842"/>
                  </a:lnTo>
                  <a:lnTo>
                    <a:pt x="2092" y="830"/>
                  </a:lnTo>
                  <a:lnTo>
                    <a:pt x="2084" y="820"/>
                  </a:lnTo>
                  <a:lnTo>
                    <a:pt x="2078" y="808"/>
                  </a:lnTo>
                  <a:lnTo>
                    <a:pt x="2068" y="798"/>
                  </a:lnTo>
                  <a:lnTo>
                    <a:pt x="2060" y="790"/>
                  </a:lnTo>
                  <a:lnTo>
                    <a:pt x="2048" y="782"/>
                  </a:lnTo>
                  <a:lnTo>
                    <a:pt x="2038" y="774"/>
                  </a:lnTo>
                  <a:lnTo>
                    <a:pt x="2026" y="768"/>
                  </a:lnTo>
                  <a:lnTo>
                    <a:pt x="2014" y="762"/>
                  </a:lnTo>
                  <a:lnTo>
                    <a:pt x="2000" y="758"/>
                  </a:lnTo>
                  <a:lnTo>
                    <a:pt x="1988" y="756"/>
                  </a:lnTo>
                  <a:lnTo>
                    <a:pt x="1974" y="754"/>
                  </a:lnTo>
                  <a:lnTo>
                    <a:pt x="1964" y="506"/>
                  </a:lnTo>
                  <a:lnTo>
                    <a:pt x="1964" y="506"/>
                  </a:lnTo>
                  <a:lnTo>
                    <a:pt x="1976" y="502"/>
                  </a:lnTo>
                  <a:lnTo>
                    <a:pt x="1986" y="496"/>
                  </a:lnTo>
                  <a:lnTo>
                    <a:pt x="1996" y="490"/>
                  </a:lnTo>
                  <a:lnTo>
                    <a:pt x="2004" y="480"/>
                  </a:lnTo>
                  <a:lnTo>
                    <a:pt x="2012" y="470"/>
                  </a:lnTo>
                  <a:lnTo>
                    <a:pt x="2016" y="460"/>
                  </a:lnTo>
                  <a:lnTo>
                    <a:pt x="2020" y="448"/>
                  </a:lnTo>
                  <a:lnTo>
                    <a:pt x="2020" y="436"/>
                  </a:lnTo>
                  <a:lnTo>
                    <a:pt x="2020" y="436"/>
                  </a:lnTo>
                  <a:lnTo>
                    <a:pt x="2018" y="422"/>
                  </a:lnTo>
                  <a:lnTo>
                    <a:pt x="2014" y="408"/>
                  </a:lnTo>
                  <a:lnTo>
                    <a:pt x="2008" y="396"/>
                  </a:lnTo>
                  <a:lnTo>
                    <a:pt x="2000" y="386"/>
                  </a:lnTo>
                  <a:lnTo>
                    <a:pt x="1988" y="376"/>
                  </a:lnTo>
                  <a:lnTo>
                    <a:pt x="1976" y="370"/>
                  </a:lnTo>
                  <a:lnTo>
                    <a:pt x="1964" y="366"/>
                  </a:lnTo>
                  <a:lnTo>
                    <a:pt x="1950" y="364"/>
                  </a:lnTo>
                  <a:lnTo>
                    <a:pt x="1950" y="364"/>
                  </a:lnTo>
                  <a:lnTo>
                    <a:pt x="1938" y="366"/>
                  </a:lnTo>
                  <a:lnTo>
                    <a:pt x="1926" y="368"/>
                  </a:lnTo>
                  <a:lnTo>
                    <a:pt x="1916" y="374"/>
                  </a:lnTo>
                  <a:lnTo>
                    <a:pt x="1906" y="380"/>
                  </a:lnTo>
                  <a:lnTo>
                    <a:pt x="1898" y="386"/>
                  </a:lnTo>
                  <a:lnTo>
                    <a:pt x="1890" y="396"/>
                  </a:lnTo>
                  <a:lnTo>
                    <a:pt x="1886" y="406"/>
                  </a:lnTo>
                  <a:lnTo>
                    <a:pt x="1882" y="416"/>
                  </a:lnTo>
                  <a:lnTo>
                    <a:pt x="1584" y="386"/>
                  </a:lnTo>
                  <a:lnTo>
                    <a:pt x="1584" y="386"/>
                  </a:lnTo>
                  <a:lnTo>
                    <a:pt x="1582" y="372"/>
                  </a:lnTo>
                  <a:lnTo>
                    <a:pt x="1576" y="360"/>
                  </a:lnTo>
                  <a:lnTo>
                    <a:pt x="1570" y="350"/>
                  </a:lnTo>
                  <a:lnTo>
                    <a:pt x="1562" y="340"/>
                  </a:lnTo>
                  <a:lnTo>
                    <a:pt x="1552" y="332"/>
                  </a:lnTo>
                  <a:lnTo>
                    <a:pt x="1540" y="326"/>
                  </a:lnTo>
                  <a:lnTo>
                    <a:pt x="1528" y="322"/>
                  </a:lnTo>
                  <a:lnTo>
                    <a:pt x="1514" y="320"/>
                  </a:lnTo>
                  <a:lnTo>
                    <a:pt x="1514" y="320"/>
                  </a:lnTo>
                  <a:lnTo>
                    <a:pt x="1504" y="322"/>
                  </a:lnTo>
                  <a:lnTo>
                    <a:pt x="1494" y="324"/>
                  </a:lnTo>
                  <a:lnTo>
                    <a:pt x="1486" y="326"/>
                  </a:lnTo>
                  <a:lnTo>
                    <a:pt x="1476" y="332"/>
                  </a:lnTo>
                  <a:lnTo>
                    <a:pt x="1470" y="336"/>
                  </a:lnTo>
                  <a:lnTo>
                    <a:pt x="1462" y="344"/>
                  </a:lnTo>
                  <a:lnTo>
                    <a:pt x="1456" y="350"/>
                  </a:lnTo>
                  <a:lnTo>
                    <a:pt x="1452" y="358"/>
                  </a:lnTo>
                  <a:lnTo>
                    <a:pt x="976" y="156"/>
                  </a:lnTo>
                  <a:lnTo>
                    <a:pt x="976" y="156"/>
                  </a:lnTo>
                  <a:lnTo>
                    <a:pt x="976" y="142"/>
                  </a:lnTo>
                  <a:lnTo>
                    <a:pt x="976" y="142"/>
                  </a:lnTo>
                  <a:lnTo>
                    <a:pt x="976" y="128"/>
                  </a:lnTo>
                  <a:lnTo>
                    <a:pt x="974" y="114"/>
                  </a:lnTo>
                  <a:lnTo>
                    <a:pt x="970" y="100"/>
                  </a:lnTo>
                  <a:lnTo>
                    <a:pt x="966" y="88"/>
                  </a:lnTo>
                  <a:lnTo>
                    <a:pt x="960" y="74"/>
                  </a:lnTo>
                  <a:lnTo>
                    <a:pt x="952" y="62"/>
                  </a:lnTo>
                  <a:lnTo>
                    <a:pt x="944" y="52"/>
                  </a:lnTo>
                  <a:lnTo>
                    <a:pt x="936" y="42"/>
                  </a:lnTo>
                  <a:lnTo>
                    <a:pt x="926" y="32"/>
                  </a:lnTo>
                  <a:lnTo>
                    <a:pt x="914" y="24"/>
                  </a:lnTo>
                  <a:lnTo>
                    <a:pt x="902" y="18"/>
                  </a:lnTo>
                  <a:lnTo>
                    <a:pt x="890" y="12"/>
                  </a:lnTo>
                  <a:lnTo>
                    <a:pt x="876" y="6"/>
                  </a:lnTo>
                  <a:lnTo>
                    <a:pt x="864" y="4"/>
                  </a:lnTo>
                  <a:lnTo>
                    <a:pt x="850" y="0"/>
                  </a:lnTo>
                  <a:lnTo>
                    <a:pt x="834" y="0"/>
                  </a:lnTo>
                  <a:lnTo>
                    <a:pt x="834" y="0"/>
                  </a:lnTo>
                  <a:lnTo>
                    <a:pt x="820" y="0"/>
                  </a:lnTo>
                  <a:lnTo>
                    <a:pt x="806" y="4"/>
                  </a:lnTo>
                  <a:lnTo>
                    <a:pt x="792" y="6"/>
                  </a:lnTo>
                  <a:lnTo>
                    <a:pt x="780" y="12"/>
                  </a:lnTo>
                  <a:lnTo>
                    <a:pt x="766" y="18"/>
                  </a:lnTo>
                  <a:lnTo>
                    <a:pt x="754" y="24"/>
                  </a:lnTo>
                  <a:lnTo>
                    <a:pt x="744" y="32"/>
                  </a:lnTo>
                  <a:lnTo>
                    <a:pt x="734" y="42"/>
                  </a:lnTo>
                  <a:lnTo>
                    <a:pt x="724" y="52"/>
                  </a:lnTo>
                  <a:lnTo>
                    <a:pt x="716" y="62"/>
                  </a:lnTo>
                  <a:lnTo>
                    <a:pt x="710" y="74"/>
                  </a:lnTo>
                  <a:lnTo>
                    <a:pt x="704" y="88"/>
                  </a:lnTo>
                  <a:lnTo>
                    <a:pt x="698" y="100"/>
                  </a:lnTo>
                  <a:lnTo>
                    <a:pt x="696" y="114"/>
                  </a:lnTo>
                  <a:lnTo>
                    <a:pt x="692" y="128"/>
                  </a:lnTo>
                  <a:lnTo>
                    <a:pt x="692" y="142"/>
                  </a:lnTo>
                  <a:lnTo>
                    <a:pt x="692" y="142"/>
                  </a:lnTo>
                  <a:lnTo>
                    <a:pt x="692" y="156"/>
                  </a:lnTo>
                  <a:lnTo>
                    <a:pt x="696" y="170"/>
                  </a:lnTo>
                  <a:lnTo>
                    <a:pt x="698" y="184"/>
                  </a:lnTo>
                  <a:lnTo>
                    <a:pt x="704" y="198"/>
                  </a:lnTo>
                  <a:lnTo>
                    <a:pt x="710" y="210"/>
                  </a:lnTo>
                  <a:lnTo>
                    <a:pt x="716" y="222"/>
                  </a:lnTo>
                  <a:lnTo>
                    <a:pt x="724" y="232"/>
                  </a:lnTo>
                  <a:lnTo>
                    <a:pt x="734" y="242"/>
                  </a:lnTo>
                  <a:lnTo>
                    <a:pt x="304" y="752"/>
                  </a:lnTo>
                  <a:lnTo>
                    <a:pt x="304" y="752"/>
                  </a:lnTo>
                  <a:lnTo>
                    <a:pt x="288" y="744"/>
                  </a:lnTo>
                  <a:lnTo>
                    <a:pt x="278" y="742"/>
                  </a:lnTo>
                  <a:lnTo>
                    <a:pt x="270" y="742"/>
                  </a:lnTo>
                  <a:lnTo>
                    <a:pt x="270" y="742"/>
                  </a:lnTo>
                  <a:lnTo>
                    <a:pt x="256" y="744"/>
                  </a:lnTo>
                  <a:lnTo>
                    <a:pt x="242" y="748"/>
                  </a:lnTo>
                  <a:lnTo>
                    <a:pt x="230" y="754"/>
                  </a:lnTo>
                  <a:lnTo>
                    <a:pt x="220" y="762"/>
                  </a:lnTo>
                  <a:lnTo>
                    <a:pt x="210" y="774"/>
                  </a:lnTo>
                  <a:lnTo>
                    <a:pt x="204" y="786"/>
                  </a:lnTo>
                  <a:lnTo>
                    <a:pt x="200" y="798"/>
                  </a:lnTo>
                  <a:lnTo>
                    <a:pt x="198" y="814"/>
                  </a:lnTo>
                  <a:lnTo>
                    <a:pt x="198" y="814"/>
                  </a:lnTo>
                  <a:lnTo>
                    <a:pt x="200" y="826"/>
                  </a:lnTo>
                  <a:lnTo>
                    <a:pt x="202" y="836"/>
                  </a:lnTo>
                  <a:lnTo>
                    <a:pt x="208" y="848"/>
                  </a:lnTo>
                  <a:lnTo>
                    <a:pt x="214" y="856"/>
                  </a:lnTo>
                  <a:lnTo>
                    <a:pt x="222" y="866"/>
                  </a:lnTo>
                  <a:lnTo>
                    <a:pt x="230" y="872"/>
                  </a:lnTo>
                  <a:lnTo>
                    <a:pt x="240" y="878"/>
                  </a:lnTo>
                  <a:lnTo>
                    <a:pt x="252" y="882"/>
                  </a:lnTo>
                  <a:lnTo>
                    <a:pt x="216" y="1480"/>
                  </a:lnTo>
                  <a:lnTo>
                    <a:pt x="216" y="1480"/>
                  </a:lnTo>
                  <a:lnTo>
                    <a:pt x="214" y="1480"/>
                  </a:lnTo>
                  <a:lnTo>
                    <a:pt x="214" y="1480"/>
                  </a:lnTo>
                  <a:lnTo>
                    <a:pt x="192" y="1480"/>
                  </a:lnTo>
                  <a:lnTo>
                    <a:pt x="172" y="1484"/>
                  </a:lnTo>
                  <a:lnTo>
                    <a:pt x="150" y="1490"/>
                  </a:lnTo>
                  <a:lnTo>
                    <a:pt x="132" y="1496"/>
                  </a:lnTo>
                  <a:lnTo>
                    <a:pt x="112" y="1506"/>
                  </a:lnTo>
                  <a:lnTo>
                    <a:pt x="94" y="1516"/>
                  </a:lnTo>
                  <a:lnTo>
                    <a:pt x="78" y="1528"/>
                  </a:lnTo>
                  <a:lnTo>
                    <a:pt x="64" y="1542"/>
                  </a:lnTo>
                  <a:lnTo>
                    <a:pt x="50" y="1558"/>
                  </a:lnTo>
                  <a:lnTo>
                    <a:pt x="38" y="1574"/>
                  </a:lnTo>
                  <a:lnTo>
                    <a:pt x="26" y="1592"/>
                  </a:lnTo>
                  <a:lnTo>
                    <a:pt x="18" y="1610"/>
                  </a:lnTo>
                  <a:lnTo>
                    <a:pt x="10" y="1630"/>
                  </a:lnTo>
                  <a:lnTo>
                    <a:pt x="6" y="1650"/>
                  </a:lnTo>
                  <a:lnTo>
                    <a:pt x="2" y="1672"/>
                  </a:lnTo>
                  <a:lnTo>
                    <a:pt x="0" y="1694"/>
                  </a:lnTo>
                  <a:lnTo>
                    <a:pt x="0" y="1694"/>
                  </a:lnTo>
                  <a:lnTo>
                    <a:pt x="2" y="1716"/>
                  </a:lnTo>
                  <a:lnTo>
                    <a:pt x="6" y="1736"/>
                  </a:lnTo>
                  <a:lnTo>
                    <a:pt x="10" y="1756"/>
                  </a:lnTo>
                  <a:lnTo>
                    <a:pt x="18" y="1776"/>
                  </a:lnTo>
                  <a:lnTo>
                    <a:pt x="26" y="1796"/>
                  </a:lnTo>
                  <a:lnTo>
                    <a:pt x="38" y="1812"/>
                  </a:lnTo>
                  <a:lnTo>
                    <a:pt x="50" y="1830"/>
                  </a:lnTo>
                  <a:lnTo>
                    <a:pt x="64" y="1844"/>
                  </a:lnTo>
                  <a:lnTo>
                    <a:pt x="78" y="1858"/>
                  </a:lnTo>
                  <a:lnTo>
                    <a:pt x="94" y="1870"/>
                  </a:lnTo>
                  <a:lnTo>
                    <a:pt x="112" y="1880"/>
                  </a:lnTo>
                  <a:lnTo>
                    <a:pt x="132" y="1890"/>
                  </a:lnTo>
                  <a:lnTo>
                    <a:pt x="150" y="1898"/>
                  </a:lnTo>
                  <a:lnTo>
                    <a:pt x="172" y="1902"/>
                  </a:lnTo>
                  <a:lnTo>
                    <a:pt x="192" y="1906"/>
                  </a:lnTo>
                  <a:lnTo>
                    <a:pt x="214" y="1906"/>
                  </a:lnTo>
                  <a:lnTo>
                    <a:pt x="214" y="1906"/>
                  </a:lnTo>
                  <a:lnTo>
                    <a:pt x="232" y="1906"/>
                  </a:lnTo>
                  <a:lnTo>
                    <a:pt x="248" y="1904"/>
                  </a:lnTo>
                  <a:lnTo>
                    <a:pt x="266" y="1900"/>
                  </a:lnTo>
                  <a:lnTo>
                    <a:pt x="282" y="1896"/>
                  </a:lnTo>
                  <a:lnTo>
                    <a:pt x="296" y="1890"/>
                  </a:lnTo>
                  <a:lnTo>
                    <a:pt x="312" y="1884"/>
                  </a:lnTo>
                  <a:lnTo>
                    <a:pt x="326" y="1876"/>
                  </a:lnTo>
                  <a:lnTo>
                    <a:pt x="340" y="1866"/>
                  </a:lnTo>
                  <a:lnTo>
                    <a:pt x="532" y="2162"/>
                  </a:lnTo>
                  <a:lnTo>
                    <a:pt x="532" y="2162"/>
                  </a:lnTo>
                  <a:lnTo>
                    <a:pt x="524" y="2172"/>
                  </a:lnTo>
                  <a:lnTo>
                    <a:pt x="516" y="2184"/>
                  </a:lnTo>
                  <a:lnTo>
                    <a:pt x="512" y="2198"/>
                  </a:lnTo>
                  <a:lnTo>
                    <a:pt x="510" y="2212"/>
                  </a:lnTo>
                  <a:lnTo>
                    <a:pt x="510" y="2212"/>
                  </a:lnTo>
                  <a:lnTo>
                    <a:pt x="512" y="2226"/>
                  </a:lnTo>
                  <a:lnTo>
                    <a:pt x="516" y="2240"/>
                  </a:lnTo>
                  <a:lnTo>
                    <a:pt x="524" y="2252"/>
                  </a:lnTo>
                  <a:lnTo>
                    <a:pt x="532" y="2262"/>
                  </a:lnTo>
                  <a:lnTo>
                    <a:pt x="542" y="2272"/>
                  </a:lnTo>
                  <a:lnTo>
                    <a:pt x="554" y="2278"/>
                  </a:lnTo>
                  <a:lnTo>
                    <a:pt x="568" y="2282"/>
                  </a:lnTo>
                  <a:lnTo>
                    <a:pt x="582" y="2284"/>
                  </a:lnTo>
                  <a:lnTo>
                    <a:pt x="582" y="2284"/>
                  </a:lnTo>
                  <a:lnTo>
                    <a:pt x="592" y="2282"/>
                  </a:lnTo>
                  <a:lnTo>
                    <a:pt x="604" y="2280"/>
                  </a:lnTo>
                  <a:lnTo>
                    <a:pt x="612" y="2276"/>
                  </a:lnTo>
                  <a:lnTo>
                    <a:pt x="622" y="2272"/>
                  </a:lnTo>
                  <a:lnTo>
                    <a:pt x="630" y="2266"/>
                  </a:lnTo>
                  <a:lnTo>
                    <a:pt x="636" y="2258"/>
                  </a:lnTo>
                  <a:lnTo>
                    <a:pt x="642" y="2250"/>
                  </a:lnTo>
                  <a:lnTo>
                    <a:pt x="648" y="2240"/>
                  </a:lnTo>
                  <a:lnTo>
                    <a:pt x="1310" y="2386"/>
                  </a:lnTo>
                  <a:lnTo>
                    <a:pt x="1310" y="2386"/>
                  </a:lnTo>
                  <a:lnTo>
                    <a:pt x="1308" y="2402"/>
                  </a:lnTo>
                  <a:lnTo>
                    <a:pt x="1308" y="2402"/>
                  </a:lnTo>
                  <a:lnTo>
                    <a:pt x="1308" y="2418"/>
                  </a:lnTo>
                  <a:lnTo>
                    <a:pt x="1310" y="2432"/>
                  </a:lnTo>
                  <a:lnTo>
                    <a:pt x="1314" y="2446"/>
                  </a:lnTo>
                  <a:lnTo>
                    <a:pt x="1318" y="2458"/>
                  </a:lnTo>
                  <a:lnTo>
                    <a:pt x="1324" y="2470"/>
                  </a:lnTo>
                  <a:lnTo>
                    <a:pt x="1332" y="2482"/>
                  </a:lnTo>
                  <a:lnTo>
                    <a:pt x="1340" y="2494"/>
                  </a:lnTo>
                  <a:lnTo>
                    <a:pt x="1350" y="2504"/>
                  </a:lnTo>
                  <a:lnTo>
                    <a:pt x="1360" y="2512"/>
                  </a:lnTo>
                  <a:lnTo>
                    <a:pt x="1370" y="2520"/>
                  </a:lnTo>
                  <a:lnTo>
                    <a:pt x="1382" y="2528"/>
                  </a:lnTo>
                  <a:lnTo>
                    <a:pt x="1394" y="2534"/>
                  </a:lnTo>
                  <a:lnTo>
                    <a:pt x="1408" y="2538"/>
                  </a:lnTo>
                  <a:lnTo>
                    <a:pt x="1420" y="2542"/>
                  </a:lnTo>
                  <a:lnTo>
                    <a:pt x="1436" y="2544"/>
                  </a:lnTo>
                  <a:lnTo>
                    <a:pt x="1450" y="2544"/>
                  </a:lnTo>
                  <a:lnTo>
                    <a:pt x="1450" y="2544"/>
                  </a:lnTo>
                  <a:lnTo>
                    <a:pt x="1464" y="2544"/>
                  </a:lnTo>
                  <a:lnTo>
                    <a:pt x="1476" y="2542"/>
                  </a:lnTo>
                  <a:lnTo>
                    <a:pt x="1490" y="2540"/>
                  </a:lnTo>
                  <a:lnTo>
                    <a:pt x="1502" y="2534"/>
                  </a:lnTo>
                  <a:lnTo>
                    <a:pt x="1514" y="2530"/>
                  </a:lnTo>
                  <a:lnTo>
                    <a:pt x="1524" y="2524"/>
                  </a:lnTo>
                  <a:lnTo>
                    <a:pt x="1546" y="2508"/>
                  </a:lnTo>
                  <a:lnTo>
                    <a:pt x="1562" y="2488"/>
                  </a:lnTo>
                  <a:lnTo>
                    <a:pt x="1576" y="2466"/>
                  </a:lnTo>
                  <a:lnTo>
                    <a:pt x="1582" y="2454"/>
                  </a:lnTo>
                  <a:lnTo>
                    <a:pt x="1586" y="2442"/>
                  </a:lnTo>
                  <a:lnTo>
                    <a:pt x="1588" y="2430"/>
                  </a:lnTo>
                  <a:lnTo>
                    <a:pt x="1590" y="2416"/>
                  </a:lnTo>
                  <a:lnTo>
                    <a:pt x="1790" y="2416"/>
                  </a:lnTo>
                  <a:lnTo>
                    <a:pt x="1790" y="2416"/>
                  </a:lnTo>
                  <a:lnTo>
                    <a:pt x="1794" y="2428"/>
                  </a:lnTo>
                  <a:lnTo>
                    <a:pt x="1800" y="2438"/>
                  </a:lnTo>
                  <a:lnTo>
                    <a:pt x="1806" y="2448"/>
                  </a:lnTo>
                  <a:lnTo>
                    <a:pt x="1814" y="2458"/>
                  </a:lnTo>
                  <a:lnTo>
                    <a:pt x="1824" y="2464"/>
                  </a:lnTo>
                  <a:lnTo>
                    <a:pt x="1836" y="2470"/>
                  </a:lnTo>
                  <a:lnTo>
                    <a:pt x="1848" y="2472"/>
                  </a:lnTo>
                  <a:lnTo>
                    <a:pt x="1860" y="2474"/>
                  </a:lnTo>
                  <a:lnTo>
                    <a:pt x="1860" y="2474"/>
                  </a:lnTo>
                  <a:lnTo>
                    <a:pt x="1874" y="2472"/>
                  </a:lnTo>
                  <a:lnTo>
                    <a:pt x="1888" y="2468"/>
                  </a:lnTo>
                  <a:lnTo>
                    <a:pt x="1900" y="2462"/>
                  </a:lnTo>
                  <a:lnTo>
                    <a:pt x="1910" y="2454"/>
                  </a:lnTo>
                  <a:lnTo>
                    <a:pt x="1920" y="2442"/>
                  </a:lnTo>
                  <a:lnTo>
                    <a:pt x="1926" y="2430"/>
                  </a:lnTo>
                  <a:lnTo>
                    <a:pt x="1930" y="2418"/>
                  </a:lnTo>
                  <a:lnTo>
                    <a:pt x="1932" y="2402"/>
                  </a:lnTo>
                  <a:lnTo>
                    <a:pt x="1932" y="2402"/>
                  </a:lnTo>
                  <a:lnTo>
                    <a:pt x="1930" y="2388"/>
                  </a:lnTo>
                  <a:lnTo>
                    <a:pt x="1926" y="2374"/>
                  </a:lnTo>
                  <a:lnTo>
                    <a:pt x="1918" y="2362"/>
                  </a:lnTo>
                  <a:lnTo>
                    <a:pt x="1910" y="2352"/>
                  </a:lnTo>
                  <a:lnTo>
                    <a:pt x="2186" y="1930"/>
                  </a:lnTo>
                  <a:lnTo>
                    <a:pt x="2186" y="1930"/>
                  </a:lnTo>
                  <a:lnTo>
                    <a:pt x="2210" y="1942"/>
                  </a:lnTo>
                  <a:lnTo>
                    <a:pt x="2234" y="1950"/>
                  </a:lnTo>
                  <a:lnTo>
                    <a:pt x="2262" y="1956"/>
                  </a:lnTo>
                  <a:lnTo>
                    <a:pt x="2290" y="1958"/>
                  </a:lnTo>
                  <a:lnTo>
                    <a:pt x="2290" y="1958"/>
                  </a:lnTo>
                  <a:lnTo>
                    <a:pt x="2312" y="1956"/>
                  </a:lnTo>
                  <a:lnTo>
                    <a:pt x="2334" y="1954"/>
                  </a:lnTo>
                  <a:lnTo>
                    <a:pt x="2354" y="1948"/>
                  </a:lnTo>
                  <a:lnTo>
                    <a:pt x="2374" y="1940"/>
                  </a:lnTo>
                  <a:lnTo>
                    <a:pt x="2392" y="1932"/>
                  </a:lnTo>
                  <a:lnTo>
                    <a:pt x="2410" y="1920"/>
                  </a:lnTo>
                  <a:lnTo>
                    <a:pt x="2426" y="1908"/>
                  </a:lnTo>
                  <a:lnTo>
                    <a:pt x="2442" y="1894"/>
                  </a:lnTo>
                  <a:lnTo>
                    <a:pt x="2454" y="1880"/>
                  </a:lnTo>
                  <a:lnTo>
                    <a:pt x="2468" y="1864"/>
                  </a:lnTo>
                  <a:lnTo>
                    <a:pt x="2478" y="1846"/>
                  </a:lnTo>
                  <a:lnTo>
                    <a:pt x="2486" y="1828"/>
                  </a:lnTo>
                  <a:lnTo>
                    <a:pt x="2494" y="1808"/>
                  </a:lnTo>
                  <a:lnTo>
                    <a:pt x="2500" y="1786"/>
                  </a:lnTo>
                  <a:lnTo>
                    <a:pt x="2502" y="1766"/>
                  </a:lnTo>
                  <a:lnTo>
                    <a:pt x="2504" y="1744"/>
                  </a:lnTo>
                  <a:lnTo>
                    <a:pt x="2504" y="1744"/>
                  </a:lnTo>
                  <a:lnTo>
                    <a:pt x="2502" y="1722"/>
                  </a:lnTo>
                  <a:lnTo>
                    <a:pt x="2500" y="1700"/>
                  </a:lnTo>
                  <a:lnTo>
                    <a:pt x="2494" y="1680"/>
                  </a:lnTo>
                  <a:lnTo>
                    <a:pt x="2486" y="1660"/>
                  </a:lnTo>
                  <a:lnTo>
                    <a:pt x="2478" y="1642"/>
                  </a:lnTo>
                  <a:lnTo>
                    <a:pt x="2468" y="1624"/>
                  </a:lnTo>
                  <a:lnTo>
                    <a:pt x="2454" y="1608"/>
                  </a:lnTo>
                  <a:lnTo>
                    <a:pt x="2442" y="1594"/>
                  </a:lnTo>
                  <a:lnTo>
                    <a:pt x="2426" y="1580"/>
                  </a:lnTo>
                  <a:lnTo>
                    <a:pt x="2410" y="1566"/>
                  </a:lnTo>
                  <a:lnTo>
                    <a:pt x="2392" y="1556"/>
                  </a:lnTo>
                  <a:lnTo>
                    <a:pt x="2374" y="1548"/>
                  </a:lnTo>
                  <a:lnTo>
                    <a:pt x="2354" y="1540"/>
                  </a:lnTo>
                  <a:lnTo>
                    <a:pt x="2334" y="1534"/>
                  </a:lnTo>
                  <a:lnTo>
                    <a:pt x="2312" y="1532"/>
                  </a:lnTo>
                  <a:lnTo>
                    <a:pt x="2290" y="1530"/>
                  </a:lnTo>
                  <a:lnTo>
                    <a:pt x="2290" y="1530"/>
                  </a:lnTo>
                  <a:close/>
                  <a:moveTo>
                    <a:pt x="1348" y="1824"/>
                  </a:moveTo>
                  <a:lnTo>
                    <a:pt x="1348" y="1824"/>
                  </a:lnTo>
                  <a:lnTo>
                    <a:pt x="1346" y="1810"/>
                  </a:lnTo>
                  <a:lnTo>
                    <a:pt x="1344" y="1796"/>
                  </a:lnTo>
                  <a:lnTo>
                    <a:pt x="1340" y="1782"/>
                  </a:lnTo>
                  <a:lnTo>
                    <a:pt x="1334" y="1770"/>
                  </a:lnTo>
                  <a:lnTo>
                    <a:pt x="1328" y="1758"/>
                  </a:lnTo>
                  <a:lnTo>
                    <a:pt x="1322" y="1746"/>
                  </a:lnTo>
                  <a:lnTo>
                    <a:pt x="1312" y="1736"/>
                  </a:lnTo>
                  <a:lnTo>
                    <a:pt x="1304" y="1726"/>
                  </a:lnTo>
                  <a:lnTo>
                    <a:pt x="1406" y="1600"/>
                  </a:lnTo>
                  <a:lnTo>
                    <a:pt x="1552" y="1626"/>
                  </a:lnTo>
                  <a:lnTo>
                    <a:pt x="1610" y="1768"/>
                  </a:lnTo>
                  <a:lnTo>
                    <a:pt x="1610" y="1768"/>
                  </a:lnTo>
                  <a:lnTo>
                    <a:pt x="1598" y="1778"/>
                  </a:lnTo>
                  <a:lnTo>
                    <a:pt x="1590" y="1790"/>
                  </a:lnTo>
                  <a:lnTo>
                    <a:pt x="1582" y="1802"/>
                  </a:lnTo>
                  <a:lnTo>
                    <a:pt x="1578" y="1818"/>
                  </a:lnTo>
                  <a:lnTo>
                    <a:pt x="1348" y="1824"/>
                  </a:lnTo>
                  <a:close/>
                  <a:moveTo>
                    <a:pt x="1658" y="1758"/>
                  </a:moveTo>
                  <a:lnTo>
                    <a:pt x="1658" y="1758"/>
                  </a:lnTo>
                  <a:lnTo>
                    <a:pt x="1648" y="1758"/>
                  </a:lnTo>
                  <a:lnTo>
                    <a:pt x="1648" y="1758"/>
                  </a:lnTo>
                  <a:lnTo>
                    <a:pt x="1634" y="1758"/>
                  </a:lnTo>
                  <a:lnTo>
                    <a:pt x="1584" y="1632"/>
                  </a:lnTo>
                  <a:lnTo>
                    <a:pt x="1694" y="1650"/>
                  </a:lnTo>
                  <a:lnTo>
                    <a:pt x="1658" y="1758"/>
                  </a:lnTo>
                  <a:close/>
                  <a:moveTo>
                    <a:pt x="662" y="1152"/>
                  </a:moveTo>
                  <a:lnTo>
                    <a:pt x="760" y="1150"/>
                  </a:lnTo>
                  <a:lnTo>
                    <a:pt x="760" y="1402"/>
                  </a:lnTo>
                  <a:lnTo>
                    <a:pt x="760" y="1402"/>
                  </a:lnTo>
                  <a:lnTo>
                    <a:pt x="750" y="1406"/>
                  </a:lnTo>
                  <a:lnTo>
                    <a:pt x="740" y="1410"/>
                  </a:lnTo>
                  <a:lnTo>
                    <a:pt x="618" y="1248"/>
                  </a:lnTo>
                  <a:lnTo>
                    <a:pt x="618" y="1248"/>
                  </a:lnTo>
                  <a:lnTo>
                    <a:pt x="626" y="1238"/>
                  </a:lnTo>
                  <a:lnTo>
                    <a:pt x="634" y="1228"/>
                  </a:lnTo>
                  <a:lnTo>
                    <a:pt x="642" y="1216"/>
                  </a:lnTo>
                  <a:lnTo>
                    <a:pt x="648" y="1206"/>
                  </a:lnTo>
                  <a:lnTo>
                    <a:pt x="654" y="1192"/>
                  </a:lnTo>
                  <a:lnTo>
                    <a:pt x="658" y="1180"/>
                  </a:lnTo>
                  <a:lnTo>
                    <a:pt x="660" y="1166"/>
                  </a:lnTo>
                  <a:lnTo>
                    <a:pt x="662" y="1152"/>
                  </a:lnTo>
                  <a:lnTo>
                    <a:pt x="662" y="1152"/>
                  </a:lnTo>
                  <a:close/>
                  <a:moveTo>
                    <a:pt x="1188" y="1006"/>
                  </a:moveTo>
                  <a:lnTo>
                    <a:pt x="1188" y="1006"/>
                  </a:lnTo>
                  <a:lnTo>
                    <a:pt x="1174" y="1030"/>
                  </a:lnTo>
                  <a:lnTo>
                    <a:pt x="1162" y="1056"/>
                  </a:lnTo>
                  <a:lnTo>
                    <a:pt x="1156" y="1084"/>
                  </a:lnTo>
                  <a:lnTo>
                    <a:pt x="1152" y="1114"/>
                  </a:lnTo>
                  <a:lnTo>
                    <a:pt x="944" y="1120"/>
                  </a:lnTo>
                  <a:lnTo>
                    <a:pt x="808" y="738"/>
                  </a:lnTo>
                  <a:lnTo>
                    <a:pt x="808" y="738"/>
                  </a:lnTo>
                  <a:lnTo>
                    <a:pt x="820" y="730"/>
                  </a:lnTo>
                  <a:lnTo>
                    <a:pt x="1188" y="1006"/>
                  </a:lnTo>
                  <a:close/>
                  <a:moveTo>
                    <a:pt x="844" y="1472"/>
                  </a:moveTo>
                  <a:lnTo>
                    <a:pt x="844" y="1472"/>
                  </a:lnTo>
                  <a:lnTo>
                    <a:pt x="842" y="1460"/>
                  </a:lnTo>
                  <a:lnTo>
                    <a:pt x="840" y="1448"/>
                  </a:lnTo>
                  <a:lnTo>
                    <a:pt x="1000" y="1354"/>
                  </a:lnTo>
                  <a:lnTo>
                    <a:pt x="1056" y="1510"/>
                  </a:lnTo>
                  <a:lnTo>
                    <a:pt x="844" y="1472"/>
                  </a:lnTo>
                  <a:close/>
                  <a:moveTo>
                    <a:pt x="1024" y="1340"/>
                  </a:moveTo>
                  <a:lnTo>
                    <a:pt x="1188" y="1242"/>
                  </a:lnTo>
                  <a:lnTo>
                    <a:pt x="1188" y="1242"/>
                  </a:lnTo>
                  <a:lnTo>
                    <a:pt x="1200" y="1256"/>
                  </a:lnTo>
                  <a:lnTo>
                    <a:pt x="1212" y="1270"/>
                  </a:lnTo>
                  <a:lnTo>
                    <a:pt x="1226" y="1284"/>
                  </a:lnTo>
                  <a:lnTo>
                    <a:pt x="1240" y="1294"/>
                  </a:lnTo>
                  <a:lnTo>
                    <a:pt x="1254" y="1304"/>
                  </a:lnTo>
                  <a:lnTo>
                    <a:pt x="1272" y="1314"/>
                  </a:lnTo>
                  <a:lnTo>
                    <a:pt x="1288" y="1322"/>
                  </a:lnTo>
                  <a:lnTo>
                    <a:pt x="1306" y="1328"/>
                  </a:lnTo>
                  <a:lnTo>
                    <a:pt x="1258" y="1546"/>
                  </a:lnTo>
                  <a:lnTo>
                    <a:pt x="1086" y="1516"/>
                  </a:lnTo>
                  <a:lnTo>
                    <a:pt x="1024" y="1340"/>
                  </a:lnTo>
                  <a:close/>
                  <a:moveTo>
                    <a:pt x="1176" y="1220"/>
                  </a:moveTo>
                  <a:lnTo>
                    <a:pt x="1014" y="1314"/>
                  </a:lnTo>
                  <a:lnTo>
                    <a:pt x="954" y="1146"/>
                  </a:lnTo>
                  <a:lnTo>
                    <a:pt x="1152" y="1140"/>
                  </a:lnTo>
                  <a:lnTo>
                    <a:pt x="1152" y="1140"/>
                  </a:lnTo>
                  <a:lnTo>
                    <a:pt x="1156" y="1162"/>
                  </a:lnTo>
                  <a:lnTo>
                    <a:pt x="1160" y="1182"/>
                  </a:lnTo>
                  <a:lnTo>
                    <a:pt x="1166" y="1200"/>
                  </a:lnTo>
                  <a:lnTo>
                    <a:pt x="1176" y="1220"/>
                  </a:lnTo>
                  <a:lnTo>
                    <a:pt x="1176" y="1220"/>
                  </a:lnTo>
                  <a:close/>
                  <a:moveTo>
                    <a:pt x="926" y="1146"/>
                  </a:moveTo>
                  <a:lnTo>
                    <a:pt x="990" y="1328"/>
                  </a:lnTo>
                  <a:lnTo>
                    <a:pt x="826" y="1426"/>
                  </a:lnTo>
                  <a:lnTo>
                    <a:pt x="826" y="1426"/>
                  </a:lnTo>
                  <a:lnTo>
                    <a:pt x="818" y="1418"/>
                  </a:lnTo>
                  <a:lnTo>
                    <a:pt x="808" y="1412"/>
                  </a:lnTo>
                  <a:lnTo>
                    <a:pt x="798" y="1406"/>
                  </a:lnTo>
                  <a:lnTo>
                    <a:pt x="786" y="1402"/>
                  </a:lnTo>
                  <a:lnTo>
                    <a:pt x="786" y="1150"/>
                  </a:lnTo>
                  <a:lnTo>
                    <a:pt x="926" y="1146"/>
                  </a:lnTo>
                  <a:close/>
                  <a:moveTo>
                    <a:pt x="1252" y="1694"/>
                  </a:moveTo>
                  <a:lnTo>
                    <a:pt x="1278" y="1576"/>
                  </a:lnTo>
                  <a:lnTo>
                    <a:pt x="1376" y="1594"/>
                  </a:lnTo>
                  <a:lnTo>
                    <a:pt x="1282" y="1710"/>
                  </a:lnTo>
                  <a:lnTo>
                    <a:pt x="1282" y="1710"/>
                  </a:lnTo>
                  <a:lnTo>
                    <a:pt x="1268" y="1700"/>
                  </a:lnTo>
                  <a:lnTo>
                    <a:pt x="1252" y="1694"/>
                  </a:lnTo>
                  <a:lnTo>
                    <a:pt x="1252" y="1694"/>
                  </a:lnTo>
                  <a:close/>
                  <a:moveTo>
                    <a:pt x="916" y="1120"/>
                  </a:moveTo>
                  <a:lnTo>
                    <a:pt x="786" y="1124"/>
                  </a:lnTo>
                  <a:lnTo>
                    <a:pt x="786" y="754"/>
                  </a:lnTo>
                  <a:lnTo>
                    <a:pt x="916" y="1120"/>
                  </a:lnTo>
                  <a:close/>
                  <a:moveTo>
                    <a:pt x="838" y="1498"/>
                  </a:moveTo>
                  <a:lnTo>
                    <a:pt x="1066" y="1538"/>
                  </a:lnTo>
                  <a:lnTo>
                    <a:pt x="1126" y="1710"/>
                  </a:lnTo>
                  <a:lnTo>
                    <a:pt x="1126" y="1710"/>
                  </a:lnTo>
                  <a:lnTo>
                    <a:pt x="1112" y="1722"/>
                  </a:lnTo>
                  <a:lnTo>
                    <a:pt x="1100" y="1734"/>
                  </a:lnTo>
                  <a:lnTo>
                    <a:pt x="834" y="1508"/>
                  </a:lnTo>
                  <a:lnTo>
                    <a:pt x="834" y="1508"/>
                  </a:lnTo>
                  <a:lnTo>
                    <a:pt x="838" y="1498"/>
                  </a:lnTo>
                  <a:lnTo>
                    <a:pt x="838" y="1498"/>
                  </a:lnTo>
                  <a:close/>
                  <a:moveTo>
                    <a:pt x="1096" y="1544"/>
                  </a:moveTo>
                  <a:lnTo>
                    <a:pt x="1252" y="1572"/>
                  </a:lnTo>
                  <a:lnTo>
                    <a:pt x="1226" y="1688"/>
                  </a:lnTo>
                  <a:lnTo>
                    <a:pt x="1226" y="1688"/>
                  </a:lnTo>
                  <a:lnTo>
                    <a:pt x="1206" y="1686"/>
                  </a:lnTo>
                  <a:lnTo>
                    <a:pt x="1206" y="1686"/>
                  </a:lnTo>
                  <a:lnTo>
                    <a:pt x="1190" y="1686"/>
                  </a:lnTo>
                  <a:lnTo>
                    <a:pt x="1178" y="1688"/>
                  </a:lnTo>
                  <a:lnTo>
                    <a:pt x="1164" y="1692"/>
                  </a:lnTo>
                  <a:lnTo>
                    <a:pt x="1150" y="1696"/>
                  </a:lnTo>
                  <a:lnTo>
                    <a:pt x="1096" y="1544"/>
                  </a:lnTo>
                  <a:close/>
                  <a:moveTo>
                    <a:pt x="1426" y="1576"/>
                  </a:moveTo>
                  <a:lnTo>
                    <a:pt x="1498" y="1488"/>
                  </a:lnTo>
                  <a:lnTo>
                    <a:pt x="1542" y="1596"/>
                  </a:lnTo>
                  <a:lnTo>
                    <a:pt x="1426" y="1576"/>
                  </a:lnTo>
                  <a:close/>
                  <a:moveTo>
                    <a:pt x="1396" y="1570"/>
                  </a:moveTo>
                  <a:lnTo>
                    <a:pt x="1284" y="1550"/>
                  </a:lnTo>
                  <a:lnTo>
                    <a:pt x="1332" y="1332"/>
                  </a:lnTo>
                  <a:lnTo>
                    <a:pt x="1332" y="1332"/>
                  </a:lnTo>
                  <a:lnTo>
                    <a:pt x="1348" y="1334"/>
                  </a:lnTo>
                  <a:lnTo>
                    <a:pt x="1366" y="1336"/>
                  </a:lnTo>
                  <a:lnTo>
                    <a:pt x="1366" y="1336"/>
                  </a:lnTo>
                  <a:lnTo>
                    <a:pt x="1382" y="1336"/>
                  </a:lnTo>
                  <a:lnTo>
                    <a:pt x="1400" y="1332"/>
                  </a:lnTo>
                  <a:lnTo>
                    <a:pt x="1416" y="1330"/>
                  </a:lnTo>
                  <a:lnTo>
                    <a:pt x="1432" y="1324"/>
                  </a:lnTo>
                  <a:lnTo>
                    <a:pt x="1486" y="1460"/>
                  </a:lnTo>
                  <a:lnTo>
                    <a:pt x="1396" y="1570"/>
                  </a:lnTo>
                  <a:close/>
                  <a:moveTo>
                    <a:pt x="1456" y="1314"/>
                  </a:moveTo>
                  <a:lnTo>
                    <a:pt x="1456" y="1314"/>
                  </a:lnTo>
                  <a:lnTo>
                    <a:pt x="1480" y="1302"/>
                  </a:lnTo>
                  <a:lnTo>
                    <a:pt x="1500" y="1288"/>
                  </a:lnTo>
                  <a:lnTo>
                    <a:pt x="1518" y="1272"/>
                  </a:lnTo>
                  <a:lnTo>
                    <a:pt x="1534" y="1252"/>
                  </a:lnTo>
                  <a:lnTo>
                    <a:pt x="1614" y="1306"/>
                  </a:lnTo>
                  <a:lnTo>
                    <a:pt x="1506" y="1436"/>
                  </a:lnTo>
                  <a:lnTo>
                    <a:pt x="1456" y="1314"/>
                  </a:lnTo>
                  <a:close/>
                  <a:moveTo>
                    <a:pt x="760" y="746"/>
                  </a:moveTo>
                  <a:lnTo>
                    <a:pt x="760" y="1124"/>
                  </a:lnTo>
                  <a:lnTo>
                    <a:pt x="662" y="1126"/>
                  </a:lnTo>
                  <a:lnTo>
                    <a:pt x="662" y="1126"/>
                  </a:lnTo>
                  <a:lnTo>
                    <a:pt x="660" y="1112"/>
                  </a:lnTo>
                  <a:lnTo>
                    <a:pt x="654" y="1096"/>
                  </a:lnTo>
                  <a:lnTo>
                    <a:pt x="650" y="1084"/>
                  </a:lnTo>
                  <a:lnTo>
                    <a:pt x="642" y="1070"/>
                  </a:lnTo>
                  <a:lnTo>
                    <a:pt x="634" y="1058"/>
                  </a:lnTo>
                  <a:lnTo>
                    <a:pt x="626" y="1046"/>
                  </a:lnTo>
                  <a:lnTo>
                    <a:pt x="616" y="1036"/>
                  </a:lnTo>
                  <a:lnTo>
                    <a:pt x="604" y="1028"/>
                  </a:lnTo>
                  <a:lnTo>
                    <a:pt x="752" y="744"/>
                  </a:lnTo>
                  <a:lnTo>
                    <a:pt x="752" y="744"/>
                  </a:lnTo>
                  <a:lnTo>
                    <a:pt x="760" y="746"/>
                  </a:lnTo>
                  <a:lnTo>
                    <a:pt x="760" y="746"/>
                  </a:lnTo>
                  <a:close/>
                  <a:moveTo>
                    <a:pt x="768" y="1544"/>
                  </a:moveTo>
                  <a:lnTo>
                    <a:pt x="768" y="1544"/>
                  </a:lnTo>
                  <a:lnTo>
                    <a:pt x="772" y="1544"/>
                  </a:lnTo>
                  <a:lnTo>
                    <a:pt x="772" y="1544"/>
                  </a:lnTo>
                  <a:lnTo>
                    <a:pt x="784" y="1542"/>
                  </a:lnTo>
                  <a:lnTo>
                    <a:pt x="796" y="1540"/>
                  </a:lnTo>
                  <a:lnTo>
                    <a:pt x="806" y="1534"/>
                  </a:lnTo>
                  <a:lnTo>
                    <a:pt x="816" y="1528"/>
                  </a:lnTo>
                  <a:lnTo>
                    <a:pt x="1084" y="1756"/>
                  </a:lnTo>
                  <a:lnTo>
                    <a:pt x="1084" y="1756"/>
                  </a:lnTo>
                  <a:lnTo>
                    <a:pt x="1074" y="1774"/>
                  </a:lnTo>
                  <a:lnTo>
                    <a:pt x="1068" y="1796"/>
                  </a:lnTo>
                  <a:lnTo>
                    <a:pt x="716" y="1746"/>
                  </a:lnTo>
                  <a:lnTo>
                    <a:pt x="768" y="1544"/>
                  </a:lnTo>
                  <a:close/>
                  <a:moveTo>
                    <a:pt x="1550" y="1230"/>
                  </a:moveTo>
                  <a:lnTo>
                    <a:pt x="1550" y="1230"/>
                  </a:lnTo>
                  <a:lnTo>
                    <a:pt x="1562" y="1206"/>
                  </a:lnTo>
                  <a:lnTo>
                    <a:pt x="1572" y="1180"/>
                  </a:lnTo>
                  <a:lnTo>
                    <a:pt x="1576" y="1152"/>
                  </a:lnTo>
                  <a:lnTo>
                    <a:pt x="1578" y="1122"/>
                  </a:lnTo>
                  <a:lnTo>
                    <a:pt x="1578" y="1122"/>
                  </a:lnTo>
                  <a:lnTo>
                    <a:pt x="1578" y="1106"/>
                  </a:lnTo>
                  <a:lnTo>
                    <a:pt x="1576" y="1090"/>
                  </a:lnTo>
                  <a:lnTo>
                    <a:pt x="1570" y="1060"/>
                  </a:lnTo>
                  <a:lnTo>
                    <a:pt x="1838" y="958"/>
                  </a:lnTo>
                  <a:lnTo>
                    <a:pt x="1838" y="958"/>
                  </a:lnTo>
                  <a:lnTo>
                    <a:pt x="1850" y="980"/>
                  </a:lnTo>
                  <a:lnTo>
                    <a:pt x="1866" y="998"/>
                  </a:lnTo>
                  <a:lnTo>
                    <a:pt x="1630" y="1284"/>
                  </a:lnTo>
                  <a:lnTo>
                    <a:pt x="1550" y="1230"/>
                  </a:lnTo>
                  <a:close/>
                  <a:moveTo>
                    <a:pt x="1828" y="934"/>
                  </a:moveTo>
                  <a:lnTo>
                    <a:pt x="1560" y="1034"/>
                  </a:lnTo>
                  <a:lnTo>
                    <a:pt x="1560" y="1034"/>
                  </a:lnTo>
                  <a:lnTo>
                    <a:pt x="1550" y="1016"/>
                  </a:lnTo>
                  <a:lnTo>
                    <a:pt x="1540" y="1000"/>
                  </a:lnTo>
                  <a:lnTo>
                    <a:pt x="1528" y="984"/>
                  </a:lnTo>
                  <a:lnTo>
                    <a:pt x="1514" y="968"/>
                  </a:lnTo>
                  <a:lnTo>
                    <a:pt x="1616" y="848"/>
                  </a:lnTo>
                  <a:lnTo>
                    <a:pt x="1824" y="888"/>
                  </a:lnTo>
                  <a:lnTo>
                    <a:pt x="1824" y="888"/>
                  </a:lnTo>
                  <a:lnTo>
                    <a:pt x="1824" y="896"/>
                  </a:lnTo>
                  <a:lnTo>
                    <a:pt x="1824" y="896"/>
                  </a:lnTo>
                  <a:lnTo>
                    <a:pt x="1824" y="916"/>
                  </a:lnTo>
                  <a:lnTo>
                    <a:pt x="1828" y="934"/>
                  </a:lnTo>
                  <a:lnTo>
                    <a:pt x="1828" y="934"/>
                  </a:lnTo>
                  <a:close/>
                  <a:moveTo>
                    <a:pt x="1586" y="844"/>
                  </a:moveTo>
                  <a:lnTo>
                    <a:pt x="1492" y="952"/>
                  </a:lnTo>
                  <a:lnTo>
                    <a:pt x="1492" y="952"/>
                  </a:lnTo>
                  <a:lnTo>
                    <a:pt x="1476" y="940"/>
                  </a:lnTo>
                  <a:lnTo>
                    <a:pt x="1458" y="930"/>
                  </a:lnTo>
                  <a:lnTo>
                    <a:pt x="1440" y="922"/>
                  </a:lnTo>
                  <a:lnTo>
                    <a:pt x="1420" y="916"/>
                  </a:lnTo>
                  <a:lnTo>
                    <a:pt x="1442" y="816"/>
                  </a:lnTo>
                  <a:lnTo>
                    <a:pt x="1586" y="844"/>
                  </a:lnTo>
                  <a:close/>
                  <a:moveTo>
                    <a:pt x="1394" y="912"/>
                  </a:moveTo>
                  <a:lnTo>
                    <a:pt x="1394" y="912"/>
                  </a:lnTo>
                  <a:lnTo>
                    <a:pt x="1366" y="908"/>
                  </a:lnTo>
                  <a:lnTo>
                    <a:pt x="1366" y="908"/>
                  </a:lnTo>
                  <a:lnTo>
                    <a:pt x="1346" y="910"/>
                  </a:lnTo>
                  <a:lnTo>
                    <a:pt x="1326" y="912"/>
                  </a:lnTo>
                  <a:lnTo>
                    <a:pt x="1308" y="916"/>
                  </a:lnTo>
                  <a:lnTo>
                    <a:pt x="1290" y="922"/>
                  </a:lnTo>
                  <a:lnTo>
                    <a:pt x="1206" y="772"/>
                  </a:lnTo>
                  <a:lnTo>
                    <a:pt x="1414" y="812"/>
                  </a:lnTo>
                  <a:lnTo>
                    <a:pt x="1394" y="912"/>
                  </a:lnTo>
                  <a:close/>
                  <a:moveTo>
                    <a:pt x="1266" y="934"/>
                  </a:moveTo>
                  <a:lnTo>
                    <a:pt x="1266" y="934"/>
                  </a:lnTo>
                  <a:lnTo>
                    <a:pt x="1248" y="944"/>
                  </a:lnTo>
                  <a:lnTo>
                    <a:pt x="1232" y="956"/>
                  </a:lnTo>
                  <a:lnTo>
                    <a:pt x="1216" y="970"/>
                  </a:lnTo>
                  <a:lnTo>
                    <a:pt x="1204" y="984"/>
                  </a:lnTo>
                  <a:lnTo>
                    <a:pt x="836" y="708"/>
                  </a:lnTo>
                  <a:lnTo>
                    <a:pt x="836" y="708"/>
                  </a:lnTo>
                  <a:lnTo>
                    <a:pt x="838" y="702"/>
                  </a:lnTo>
                  <a:lnTo>
                    <a:pt x="1170" y="766"/>
                  </a:lnTo>
                  <a:lnTo>
                    <a:pt x="1266" y="934"/>
                  </a:lnTo>
                  <a:close/>
                  <a:moveTo>
                    <a:pt x="596" y="1264"/>
                  </a:moveTo>
                  <a:lnTo>
                    <a:pt x="720" y="1426"/>
                  </a:lnTo>
                  <a:lnTo>
                    <a:pt x="720" y="1426"/>
                  </a:lnTo>
                  <a:lnTo>
                    <a:pt x="712" y="1436"/>
                  </a:lnTo>
                  <a:lnTo>
                    <a:pt x="706" y="1448"/>
                  </a:lnTo>
                  <a:lnTo>
                    <a:pt x="702" y="1460"/>
                  </a:lnTo>
                  <a:lnTo>
                    <a:pt x="702" y="1472"/>
                  </a:lnTo>
                  <a:lnTo>
                    <a:pt x="702" y="1472"/>
                  </a:lnTo>
                  <a:lnTo>
                    <a:pt x="702" y="1486"/>
                  </a:lnTo>
                  <a:lnTo>
                    <a:pt x="556" y="1544"/>
                  </a:lnTo>
                  <a:lnTo>
                    <a:pt x="542" y="1284"/>
                  </a:lnTo>
                  <a:lnTo>
                    <a:pt x="542" y="1284"/>
                  </a:lnTo>
                  <a:lnTo>
                    <a:pt x="556" y="1280"/>
                  </a:lnTo>
                  <a:lnTo>
                    <a:pt x="570" y="1276"/>
                  </a:lnTo>
                  <a:lnTo>
                    <a:pt x="584" y="1270"/>
                  </a:lnTo>
                  <a:lnTo>
                    <a:pt x="596" y="1264"/>
                  </a:lnTo>
                  <a:lnTo>
                    <a:pt x="596" y="1264"/>
                  </a:lnTo>
                  <a:close/>
                  <a:moveTo>
                    <a:pt x="1684" y="1766"/>
                  </a:moveTo>
                  <a:lnTo>
                    <a:pt x="1720" y="1656"/>
                  </a:lnTo>
                  <a:lnTo>
                    <a:pt x="2078" y="1720"/>
                  </a:lnTo>
                  <a:lnTo>
                    <a:pt x="2078" y="1720"/>
                  </a:lnTo>
                  <a:lnTo>
                    <a:pt x="2076" y="1744"/>
                  </a:lnTo>
                  <a:lnTo>
                    <a:pt x="2076" y="1744"/>
                  </a:lnTo>
                  <a:lnTo>
                    <a:pt x="2078" y="1758"/>
                  </a:lnTo>
                  <a:lnTo>
                    <a:pt x="1716" y="1806"/>
                  </a:lnTo>
                  <a:lnTo>
                    <a:pt x="1716" y="1806"/>
                  </a:lnTo>
                  <a:lnTo>
                    <a:pt x="1710" y="1794"/>
                  </a:lnTo>
                  <a:lnTo>
                    <a:pt x="1704" y="1784"/>
                  </a:lnTo>
                  <a:lnTo>
                    <a:pt x="1694" y="1774"/>
                  </a:lnTo>
                  <a:lnTo>
                    <a:pt x="1684" y="1766"/>
                  </a:lnTo>
                  <a:lnTo>
                    <a:pt x="1684" y="1766"/>
                  </a:lnTo>
                  <a:close/>
                  <a:moveTo>
                    <a:pt x="1702" y="1626"/>
                  </a:moveTo>
                  <a:lnTo>
                    <a:pt x="1572" y="1602"/>
                  </a:lnTo>
                  <a:lnTo>
                    <a:pt x="1518" y="1464"/>
                  </a:lnTo>
                  <a:lnTo>
                    <a:pt x="1636" y="1320"/>
                  </a:lnTo>
                  <a:lnTo>
                    <a:pt x="1772" y="1412"/>
                  </a:lnTo>
                  <a:lnTo>
                    <a:pt x="1702" y="1626"/>
                  </a:lnTo>
                  <a:close/>
                  <a:moveTo>
                    <a:pt x="1652" y="1300"/>
                  </a:moveTo>
                  <a:lnTo>
                    <a:pt x="1886" y="1014"/>
                  </a:lnTo>
                  <a:lnTo>
                    <a:pt x="1886" y="1014"/>
                  </a:lnTo>
                  <a:lnTo>
                    <a:pt x="1902" y="1022"/>
                  </a:lnTo>
                  <a:lnTo>
                    <a:pt x="1782" y="1386"/>
                  </a:lnTo>
                  <a:lnTo>
                    <a:pt x="1652" y="1300"/>
                  </a:lnTo>
                  <a:close/>
                  <a:moveTo>
                    <a:pt x="514" y="1284"/>
                  </a:moveTo>
                  <a:lnTo>
                    <a:pt x="530" y="1554"/>
                  </a:lnTo>
                  <a:lnTo>
                    <a:pt x="408" y="1604"/>
                  </a:lnTo>
                  <a:lnTo>
                    <a:pt x="408" y="1604"/>
                  </a:lnTo>
                  <a:lnTo>
                    <a:pt x="396" y="1580"/>
                  </a:lnTo>
                  <a:lnTo>
                    <a:pt x="380" y="1560"/>
                  </a:lnTo>
                  <a:lnTo>
                    <a:pt x="364" y="1540"/>
                  </a:lnTo>
                  <a:lnTo>
                    <a:pt x="344" y="1524"/>
                  </a:lnTo>
                  <a:lnTo>
                    <a:pt x="474" y="1276"/>
                  </a:lnTo>
                  <a:lnTo>
                    <a:pt x="474" y="1276"/>
                  </a:lnTo>
                  <a:lnTo>
                    <a:pt x="494" y="1282"/>
                  </a:lnTo>
                  <a:lnTo>
                    <a:pt x="514" y="1284"/>
                  </a:lnTo>
                  <a:lnTo>
                    <a:pt x="514" y="1284"/>
                  </a:lnTo>
                  <a:close/>
                  <a:moveTo>
                    <a:pt x="558" y="1572"/>
                  </a:moveTo>
                  <a:lnTo>
                    <a:pt x="712" y="1510"/>
                  </a:lnTo>
                  <a:lnTo>
                    <a:pt x="712" y="1510"/>
                  </a:lnTo>
                  <a:lnTo>
                    <a:pt x="718" y="1518"/>
                  </a:lnTo>
                  <a:lnTo>
                    <a:pt x="726" y="1526"/>
                  </a:lnTo>
                  <a:lnTo>
                    <a:pt x="734" y="1532"/>
                  </a:lnTo>
                  <a:lnTo>
                    <a:pt x="742" y="1536"/>
                  </a:lnTo>
                  <a:lnTo>
                    <a:pt x="690" y="1742"/>
                  </a:lnTo>
                  <a:lnTo>
                    <a:pt x="568" y="1726"/>
                  </a:lnTo>
                  <a:lnTo>
                    <a:pt x="558" y="1572"/>
                  </a:lnTo>
                  <a:close/>
                  <a:moveTo>
                    <a:pt x="2084" y="1694"/>
                  </a:moveTo>
                  <a:lnTo>
                    <a:pt x="1728" y="1630"/>
                  </a:lnTo>
                  <a:lnTo>
                    <a:pt x="1796" y="1428"/>
                  </a:lnTo>
                  <a:lnTo>
                    <a:pt x="2106" y="1636"/>
                  </a:lnTo>
                  <a:lnTo>
                    <a:pt x="2106" y="1636"/>
                  </a:lnTo>
                  <a:lnTo>
                    <a:pt x="2092" y="1664"/>
                  </a:lnTo>
                  <a:lnTo>
                    <a:pt x="2084" y="1694"/>
                  </a:lnTo>
                  <a:lnTo>
                    <a:pt x="2084" y="1694"/>
                  </a:lnTo>
                  <a:close/>
                  <a:moveTo>
                    <a:pt x="682" y="1768"/>
                  </a:moveTo>
                  <a:lnTo>
                    <a:pt x="590" y="2126"/>
                  </a:lnTo>
                  <a:lnTo>
                    <a:pt x="568" y="1752"/>
                  </a:lnTo>
                  <a:lnTo>
                    <a:pt x="682" y="1768"/>
                  </a:lnTo>
                  <a:close/>
                  <a:moveTo>
                    <a:pt x="1346" y="1852"/>
                  </a:moveTo>
                  <a:lnTo>
                    <a:pt x="1580" y="1844"/>
                  </a:lnTo>
                  <a:lnTo>
                    <a:pt x="1580" y="1844"/>
                  </a:lnTo>
                  <a:lnTo>
                    <a:pt x="1584" y="1858"/>
                  </a:lnTo>
                  <a:lnTo>
                    <a:pt x="1592" y="1870"/>
                  </a:lnTo>
                  <a:lnTo>
                    <a:pt x="1602" y="1882"/>
                  </a:lnTo>
                  <a:lnTo>
                    <a:pt x="1614" y="1890"/>
                  </a:lnTo>
                  <a:lnTo>
                    <a:pt x="1484" y="2264"/>
                  </a:lnTo>
                  <a:lnTo>
                    <a:pt x="1484" y="2264"/>
                  </a:lnTo>
                  <a:lnTo>
                    <a:pt x="1466" y="2262"/>
                  </a:lnTo>
                  <a:lnTo>
                    <a:pt x="1450" y="2260"/>
                  </a:lnTo>
                  <a:lnTo>
                    <a:pt x="1450" y="2260"/>
                  </a:lnTo>
                  <a:lnTo>
                    <a:pt x="1426" y="2262"/>
                  </a:lnTo>
                  <a:lnTo>
                    <a:pt x="1406" y="2268"/>
                  </a:lnTo>
                  <a:lnTo>
                    <a:pt x="1268" y="1954"/>
                  </a:lnTo>
                  <a:lnTo>
                    <a:pt x="1268" y="1954"/>
                  </a:lnTo>
                  <a:lnTo>
                    <a:pt x="1284" y="1946"/>
                  </a:lnTo>
                  <a:lnTo>
                    <a:pt x="1296" y="1936"/>
                  </a:lnTo>
                  <a:lnTo>
                    <a:pt x="1308" y="1926"/>
                  </a:lnTo>
                  <a:lnTo>
                    <a:pt x="1320" y="1912"/>
                  </a:lnTo>
                  <a:lnTo>
                    <a:pt x="1328" y="1898"/>
                  </a:lnTo>
                  <a:lnTo>
                    <a:pt x="1336" y="1884"/>
                  </a:lnTo>
                  <a:lnTo>
                    <a:pt x="1342" y="1868"/>
                  </a:lnTo>
                  <a:lnTo>
                    <a:pt x="1346" y="1852"/>
                  </a:lnTo>
                  <a:lnTo>
                    <a:pt x="1346" y="1852"/>
                  </a:lnTo>
                  <a:close/>
                  <a:moveTo>
                    <a:pt x="1508" y="2274"/>
                  </a:moveTo>
                  <a:lnTo>
                    <a:pt x="1638" y="1898"/>
                  </a:lnTo>
                  <a:lnTo>
                    <a:pt x="1638" y="1898"/>
                  </a:lnTo>
                  <a:lnTo>
                    <a:pt x="1648" y="1900"/>
                  </a:lnTo>
                  <a:lnTo>
                    <a:pt x="1648" y="1900"/>
                  </a:lnTo>
                  <a:lnTo>
                    <a:pt x="1660" y="1898"/>
                  </a:lnTo>
                  <a:lnTo>
                    <a:pt x="1752" y="2148"/>
                  </a:lnTo>
                  <a:lnTo>
                    <a:pt x="1552" y="2304"/>
                  </a:lnTo>
                  <a:lnTo>
                    <a:pt x="1552" y="2304"/>
                  </a:lnTo>
                  <a:lnTo>
                    <a:pt x="1542" y="2296"/>
                  </a:lnTo>
                  <a:lnTo>
                    <a:pt x="1532" y="2288"/>
                  </a:lnTo>
                  <a:lnTo>
                    <a:pt x="1520" y="2280"/>
                  </a:lnTo>
                  <a:lnTo>
                    <a:pt x="1508" y="2274"/>
                  </a:lnTo>
                  <a:lnTo>
                    <a:pt x="1508" y="2274"/>
                  </a:lnTo>
                  <a:close/>
                  <a:moveTo>
                    <a:pt x="1828" y="862"/>
                  </a:moveTo>
                  <a:lnTo>
                    <a:pt x="1636" y="826"/>
                  </a:lnTo>
                  <a:lnTo>
                    <a:pt x="1756" y="684"/>
                  </a:lnTo>
                  <a:lnTo>
                    <a:pt x="1862" y="800"/>
                  </a:lnTo>
                  <a:lnTo>
                    <a:pt x="1862" y="800"/>
                  </a:lnTo>
                  <a:lnTo>
                    <a:pt x="1850" y="814"/>
                  </a:lnTo>
                  <a:lnTo>
                    <a:pt x="1840" y="828"/>
                  </a:lnTo>
                  <a:lnTo>
                    <a:pt x="1834" y="844"/>
                  </a:lnTo>
                  <a:lnTo>
                    <a:pt x="1828" y="862"/>
                  </a:lnTo>
                  <a:lnTo>
                    <a:pt x="1828" y="862"/>
                  </a:lnTo>
                  <a:close/>
                  <a:moveTo>
                    <a:pt x="1606" y="820"/>
                  </a:moveTo>
                  <a:lnTo>
                    <a:pt x="1446" y="790"/>
                  </a:lnTo>
                  <a:lnTo>
                    <a:pt x="1512" y="464"/>
                  </a:lnTo>
                  <a:lnTo>
                    <a:pt x="1512" y="464"/>
                  </a:lnTo>
                  <a:lnTo>
                    <a:pt x="1514" y="464"/>
                  </a:lnTo>
                  <a:lnTo>
                    <a:pt x="1514" y="464"/>
                  </a:lnTo>
                  <a:lnTo>
                    <a:pt x="1524" y="462"/>
                  </a:lnTo>
                  <a:lnTo>
                    <a:pt x="1532" y="460"/>
                  </a:lnTo>
                  <a:lnTo>
                    <a:pt x="1542" y="458"/>
                  </a:lnTo>
                  <a:lnTo>
                    <a:pt x="1550" y="452"/>
                  </a:lnTo>
                  <a:lnTo>
                    <a:pt x="1738" y="662"/>
                  </a:lnTo>
                  <a:lnTo>
                    <a:pt x="1606" y="820"/>
                  </a:lnTo>
                  <a:close/>
                  <a:moveTo>
                    <a:pt x="728" y="732"/>
                  </a:moveTo>
                  <a:lnTo>
                    <a:pt x="580" y="1014"/>
                  </a:lnTo>
                  <a:lnTo>
                    <a:pt x="580" y="1014"/>
                  </a:lnTo>
                  <a:lnTo>
                    <a:pt x="566" y="1008"/>
                  </a:lnTo>
                  <a:lnTo>
                    <a:pt x="552" y="1004"/>
                  </a:lnTo>
                  <a:lnTo>
                    <a:pt x="536" y="1002"/>
                  </a:lnTo>
                  <a:lnTo>
                    <a:pt x="520" y="1000"/>
                  </a:lnTo>
                  <a:lnTo>
                    <a:pt x="520" y="1000"/>
                  </a:lnTo>
                  <a:lnTo>
                    <a:pt x="500" y="1002"/>
                  </a:lnTo>
                  <a:lnTo>
                    <a:pt x="482" y="1006"/>
                  </a:lnTo>
                  <a:lnTo>
                    <a:pt x="462" y="1014"/>
                  </a:lnTo>
                  <a:lnTo>
                    <a:pt x="446" y="1022"/>
                  </a:lnTo>
                  <a:lnTo>
                    <a:pt x="322" y="860"/>
                  </a:lnTo>
                  <a:lnTo>
                    <a:pt x="322" y="860"/>
                  </a:lnTo>
                  <a:lnTo>
                    <a:pt x="330" y="850"/>
                  </a:lnTo>
                  <a:lnTo>
                    <a:pt x="336" y="838"/>
                  </a:lnTo>
                  <a:lnTo>
                    <a:pt x="340" y="826"/>
                  </a:lnTo>
                  <a:lnTo>
                    <a:pt x="340" y="814"/>
                  </a:lnTo>
                  <a:lnTo>
                    <a:pt x="340" y="814"/>
                  </a:lnTo>
                  <a:lnTo>
                    <a:pt x="340" y="808"/>
                  </a:lnTo>
                  <a:lnTo>
                    <a:pt x="708" y="708"/>
                  </a:lnTo>
                  <a:lnTo>
                    <a:pt x="708" y="708"/>
                  </a:lnTo>
                  <a:lnTo>
                    <a:pt x="718" y="722"/>
                  </a:lnTo>
                  <a:lnTo>
                    <a:pt x="728" y="732"/>
                  </a:lnTo>
                  <a:lnTo>
                    <a:pt x="728" y="732"/>
                  </a:lnTo>
                  <a:close/>
                  <a:moveTo>
                    <a:pt x="418" y="1628"/>
                  </a:moveTo>
                  <a:lnTo>
                    <a:pt x="532" y="1582"/>
                  </a:lnTo>
                  <a:lnTo>
                    <a:pt x="540" y="1722"/>
                  </a:lnTo>
                  <a:lnTo>
                    <a:pt x="428" y="1706"/>
                  </a:lnTo>
                  <a:lnTo>
                    <a:pt x="428" y="1706"/>
                  </a:lnTo>
                  <a:lnTo>
                    <a:pt x="428" y="1694"/>
                  </a:lnTo>
                  <a:lnTo>
                    <a:pt x="428" y="1694"/>
                  </a:lnTo>
                  <a:lnTo>
                    <a:pt x="428" y="1676"/>
                  </a:lnTo>
                  <a:lnTo>
                    <a:pt x="426" y="1660"/>
                  </a:lnTo>
                  <a:lnTo>
                    <a:pt x="422" y="1644"/>
                  </a:lnTo>
                  <a:lnTo>
                    <a:pt x="418" y="1628"/>
                  </a:lnTo>
                  <a:lnTo>
                    <a:pt x="418" y="1628"/>
                  </a:lnTo>
                  <a:close/>
                  <a:moveTo>
                    <a:pt x="612" y="2148"/>
                  </a:moveTo>
                  <a:lnTo>
                    <a:pt x="710" y="1772"/>
                  </a:lnTo>
                  <a:lnTo>
                    <a:pt x="1064" y="1822"/>
                  </a:lnTo>
                  <a:lnTo>
                    <a:pt x="1064" y="1822"/>
                  </a:lnTo>
                  <a:lnTo>
                    <a:pt x="1062" y="1828"/>
                  </a:lnTo>
                  <a:lnTo>
                    <a:pt x="1062" y="1828"/>
                  </a:lnTo>
                  <a:lnTo>
                    <a:pt x="1064" y="1848"/>
                  </a:lnTo>
                  <a:lnTo>
                    <a:pt x="1068" y="1866"/>
                  </a:lnTo>
                  <a:lnTo>
                    <a:pt x="1074" y="1884"/>
                  </a:lnTo>
                  <a:lnTo>
                    <a:pt x="1082" y="1900"/>
                  </a:lnTo>
                  <a:lnTo>
                    <a:pt x="636" y="2166"/>
                  </a:lnTo>
                  <a:lnTo>
                    <a:pt x="636" y="2166"/>
                  </a:lnTo>
                  <a:lnTo>
                    <a:pt x="624" y="2156"/>
                  </a:lnTo>
                  <a:lnTo>
                    <a:pt x="612" y="2148"/>
                  </a:lnTo>
                  <a:lnTo>
                    <a:pt x="612" y="2148"/>
                  </a:lnTo>
                  <a:close/>
                  <a:moveTo>
                    <a:pt x="1686" y="1890"/>
                  </a:moveTo>
                  <a:lnTo>
                    <a:pt x="1686" y="1890"/>
                  </a:lnTo>
                  <a:lnTo>
                    <a:pt x="1698" y="1878"/>
                  </a:lnTo>
                  <a:lnTo>
                    <a:pt x="1708" y="1866"/>
                  </a:lnTo>
                  <a:lnTo>
                    <a:pt x="1716" y="1850"/>
                  </a:lnTo>
                  <a:lnTo>
                    <a:pt x="1720" y="1832"/>
                  </a:lnTo>
                  <a:lnTo>
                    <a:pt x="2080" y="1784"/>
                  </a:lnTo>
                  <a:lnTo>
                    <a:pt x="2080" y="1784"/>
                  </a:lnTo>
                  <a:lnTo>
                    <a:pt x="2086" y="1806"/>
                  </a:lnTo>
                  <a:lnTo>
                    <a:pt x="2094" y="1826"/>
                  </a:lnTo>
                  <a:lnTo>
                    <a:pt x="2104" y="1846"/>
                  </a:lnTo>
                  <a:lnTo>
                    <a:pt x="2114" y="1864"/>
                  </a:lnTo>
                  <a:lnTo>
                    <a:pt x="1774" y="2132"/>
                  </a:lnTo>
                  <a:lnTo>
                    <a:pt x="1686" y="1890"/>
                  </a:lnTo>
                  <a:close/>
                  <a:moveTo>
                    <a:pt x="1486" y="458"/>
                  </a:moveTo>
                  <a:lnTo>
                    <a:pt x="1420" y="786"/>
                  </a:lnTo>
                  <a:lnTo>
                    <a:pt x="1188" y="742"/>
                  </a:lnTo>
                  <a:lnTo>
                    <a:pt x="1090" y="568"/>
                  </a:lnTo>
                  <a:lnTo>
                    <a:pt x="1454" y="430"/>
                  </a:lnTo>
                  <a:lnTo>
                    <a:pt x="1454" y="430"/>
                  </a:lnTo>
                  <a:lnTo>
                    <a:pt x="1460" y="438"/>
                  </a:lnTo>
                  <a:lnTo>
                    <a:pt x="1468" y="446"/>
                  </a:lnTo>
                  <a:lnTo>
                    <a:pt x="1476" y="452"/>
                  </a:lnTo>
                  <a:lnTo>
                    <a:pt x="1486" y="458"/>
                  </a:lnTo>
                  <a:lnTo>
                    <a:pt x="1486" y="458"/>
                  </a:lnTo>
                  <a:close/>
                  <a:moveTo>
                    <a:pt x="1154" y="734"/>
                  </a:moveTo>
                  <a:lnTo>
                    <a:pt x="844" y="676"/>
                  </a:lnTo>
                  <a:lnTo>
                    <a:pt x="844" y="676"/>
                  </a:lnTo>
                  <a:lnTo>
                    <a:pt x="842" y="664"/>
                  </a:lnTo>
                  <a:lnTo>
                    <a:pt x="1066" y="578"/>
                  </a:lnTo>
                  <a:lnTo>
                    <a:pt x="1154" y="734"/>
                  </a:lnTo>
                  <a:close/>
                  <a:moveTo>
                    <a:pt x="832" y="640"/>
                  </a:moveTo>
                  <a:lnTo>
                    <a:pt x="832" y="640"/>
                  </a:lnTo>
                  <a:lnTo>
                    <a:pt x="826" y="630"/>
                  </a:lnTo>
                  <a:lnTo>
                    <a:pt x="816" y="620"/>
                  </a:lnTo>
                  <a:lnTo>
                    <a:pt x="806" y="614"/>
                  </a:lnTo>
                  <a:lnTo>
                    <a:pt x="794" y="610"/>
                  </a:lnTo>
                  <a:lnTo>
                    <a:pt x="832" y="284"/>
                  </a:lnTo>
                  <a:lnTo>
                    <a:pt x="832" y="284"/>
                  </a:lnTo>
                  <a:lnTo>
                    <a:pt x="834" y="284"/>
                  </a:lnTo>
                  <a:lnTo>
                    <a:pt x="834" y="284"/>
                  </a:lnTo>
                  <a:lnTo>
                    <a:pt x="850" y="284"/>
                  </a:lnTo>
                  <a:lnTo>
                    <a:pt x="864" y="282"/>
                  </a:lnTo>
                  <a:lnTo>
                    <a:pt x="878" y="278"/>
                  </a:lnTo>
                  <a:lnTo>
                    <a:pt x="892" y="272"/>
                  </a:lnTo>
                  <a:lnTo>
                    <a:pt x="1052" y="554"/>
                  </a:lnTo>
                  <a:lnTo>
                    <a:pt x="832" y="640"/>
                  </a:lnTo>
                  <a:close/>
                  <a:moveTo>
                    <a:pt x="2122" y="1614"/>
                  </a:moveTo>
                  <a:lnTo>
                    <a:pt x="1804" y="1402"/>
                  </a:lnTo>
                  <a:lnTo>
                    <a:pt x="1926" y="1032"/>
                  </a:lnTo>
                  <a:lnTo>
                    <a:pt x="1926" y="1032"/>
                  </a:lnTo>
                  <a:lnTo>
                    <a:pt x="1946" y="1036"/>
                  </a:lnTo>
                  <a:lnTo>
                    <a:pt x="1966" y="1038"/>
                  </a:lnTo>
                  <a:lnTo>
                    <a:pt x="1966" y="1038"/>
                  </a:lnTo>
                  <a:lnTo>
                    <a:pt x="1984" y="1036"/>
                  </a:lnTo>
                  <a:lnTo>
                    <a:pt x="2004" y="1032"/>
                  </a:lnTo>
                  <a:lnTo>
                    <a:pt x="2202" y="1550"/>
                  </a:lnTo>
                  <a:lnTo>
                    <a:pt x="2202" y="1550"/>
                  </a:lnTo>
                  <a:lnTo>
                    <a:pt x="2178" y="1562"/>
                  </a:lnTo>
                  <a:lnTo>
                    <a:pt x="2158" y="1578"/>
                  </a:lnTo>
                  <a:lnTo>
                    <a:pt x="2138" y="1594"/>
                  </a:lnTo>
                  <a:lnTo>
                    <a:pt x="2122" y="1614"/>
                  </a:lnTo>
                  <a:lnTo>
                    <a:pt x="2122" y="1614"/>
                  </a:lnTo>
                  <a:close/>
                  <a:moveTo>
                    <a:pt x="1882" y="782"/>
                  </a:moveTo>
                  <a:lnTo>
                    <a:pt x="1774" y="662"/>
                  </a:lnTo>
                  <a:lnTo>
                    <a:pt x="1914" y="498"/>
                  </a:lnTo>
                  <a:lnTo>
                    <a:pt x="1914" y="498"/>
                  </a:lnTo>
                  <a:lnTo>
                    <a:pt x="1926" y="502"/>
                  </a:lnTo>
                  <a:lnTo>
                    <a:pt x="1938" y="506"/>
                  </a:lnTo>
                  <a:lnTo>
                    <a:pt x="1948" y="756"/>
                  </a:lnTo>
                  <a:lnTo>
                    <a:pt x="1948" y="756"/>
                  </a:lnTo>
                  <a:lnTo>
                    <a:pt x="1930" y="760"/>
                  </a:lnTo>
                  <a:lnTo>
                    <a:pt x="1912" y="764"/>
                  </a:lnTo>
                  <a:lnTo>
                    <a:pt x="1896" y="772"/>
                  </a:lnTo>
                  <a:lnTo>
                    <a:pt x="1882" y="782"/>
                  </a:lnTo>
                  <a:lnTo>
                    <a:pt x="1882" y="782"/>
                  </a:lnTo>
                  <a:close/>
                  <a:moveTo>
                    <a:pt x="1894" y="480"/>
                  </a:moveTo>
                  <a:lnTo>
                    <a:pt x="1756" y="642"/>
                  </a:lnTo>
                  <a:lnTo>
                    <a:pt x="1570" y="436"/>
                  </a:lnTo>
                  <a:lnTo>
                    <a:pt x="1570" y="436"/>
                  </a:lnTo>
                  <a:lnTo>
                    <a:pt x="1576" y="424"/>
                  </a:lnTo>
                  <a:lnTo>
                    <a:pt x="1582" y="412"/>
                  </a:lnTo>
                  <a:lnTo>
                    <a:pt x="1878" y="442"/>
                  </a:lnTo>
                  <a:lnTo>
                    <a:pt x="1878" y="442"/>
                  </a:lnTo>
                  <a:lnTo>
                    <a:pt x="1880" y="452"/>
                  </a:lnTo>
                  <a:lnTo>
                    <a:pt x="1884" y="462"/>
                  </a:lnTo>
                  <a:lnTo>
                    <a:pt x="1888" y="472"/>
                  </a:lnTo>
                  <a:lnTo>
                    <a:pt x="1894" y="480"/>
                  </a:lnTo>
                  <a:lnTo>
                    <a:pt x="1894" y="480"/>
                  </a:lnTo>
                  <a:close/>
                  <a:moveTo>
                    <a:pt x="804" y="282"/>
                  </a:moveTo>
                  <a:lnTo>
                    <a:pt x="768" y="606"/>
                  </a:lnTo>
                  <a:lnTo>
                    <a:pt x="768" y="606"/>
                  </a:lnTo>
                  <a:lnTo>
                    <a:pt x="754" y="608"/>
                  </a:lnTo>
                  <a:lnTo>
                    <a:pt x="742" y="612"/>
                  </a:lnTo>
                  <a:lnTo>
                    <a:pt x="730" y="620"/>
                  </a:lnTo>
                  <a:lnTo>
                    <a:pt x="720" y="628"/>
                  </a:lnTo>
                  <a:lnTo>
                    <a:pt x="712" y="638"/>
                  </a:lnTo>
                  <a:lnTo>
                    <a:pt x="706" y="650"/>
                  </a:lnTo>
                  <a:lnTo>
                    <a:pt x="702" y="664"/>
                  </a:lnTo>
                  <a:lnTo>
                    <a:pt x="702" y="676"/>
                  </a:lnTo>
                  <a:lnTo>
                    <a:pt x="702" y="676"/>
                  </a:lnTo>
                  <a:lnTo>
                    <a:pt x="702" y="682"/>
                  </a:lnTo>
                  <a:lnTo>
                    <a:pt x="334" y="782"/>
                  </a:lnTo>
                  <a:lnTo>
                    <a:pt x="334" y="782"/>
                  </a:lnTo>
                  <a:lnTo>
                    <a:pt x="324" y="768"/>
                  </a:lnTo>
                  <a:lnTo>
                    <a:pt x="754" y="260"/>
                  </a:lnTo>
                  <a:lnTo>
                    <a:pt x="754" y="260"/>
                  </a:lnTo>
                  <a:lnTo>
                    <a:pt x="766" y="266"/>
                  </a:lnTo>
                  <a:lnTo>
                    <a:pt x="778" y="272"/>
                  </a:lnTo>
                  <a:lnTo>
                    <a:pt x="792" y="278"/>
                  </a:lnTo>
                  <a:lnTo>
                    <a:pt x="804" y="282"/>
                  </a:lnTo>
                  <a:lnTo>
                    <a:pt x="804" y="282"/>
                  </a:lnTo>
                  <a:close/>
                  <a:moveTo>
                    <a:pt x="302" y="876"/>
                  </a:moveTo>
                  <a:lnTo>
                    <a:pt x="424" y="1038"/>
                  </a:lnTo>
                  <a:lnTo>
                    <a:pt x="424" y="1038"/>
                  </a:lnTo>
                  <a:lnTo>
                    <a:pt x="414" y="1048"/>
                  </a:lnTo>
                  <a:lnTo>
                    <a:pt x="406" y="1060"/>
                  </a:lnTo>
                  <a:lnTo>
                    <a:pt x="398" y="1072"/>
                  </a:lnTo>
                  <a:lnTo>
                    <a:pt x="392" y="1086"/>
                  </a:lnTo>
                  <a:lnTo>
                    <a:pt x="386" y="1098"/>
                  </a:lnTo>
                  <a:lnTo>
                    <a:pt x="382" y="1112"/>
                  </a:lnTo>
                  <a:lnTo>
                    <a:pt x="380" y="1128"/>
                  </a:lnTo>
                  <a:lnTo>
                    <a:pt x="378" y="1142"/>
                  </a:lnTo>
                  <a:lnTo>
                    <a:pt x="378" y="1142"/>
                  </a:lnTo>
                  <a:lnTo>
                    <a:pt x="380" y="1162"/>
                  </a:lnTo>
                  <a:lnTo>
                    <a:pt x="384" y="1180"/>
                  </a:lnTo>
                  <a:lnTo>
                    <a:pt x="390" y="1198"/>
                  </a:lnTo>
                  <a:lnTo>
                    <a:pt x="398" y="1214"/>
                  </a:lnTo>
                  <a:lnTo>
                    <a:pt x="408" y="1230"/>
                  </a:lnTo>
                  <a:lnTo>
                    <a:pt x="420" y="1244"/>
                  </a:lnTo>
                  <a:lnTo>
                    <a:pt x="434" y="1256"/>
                  </a:lnTo>
                  <a:lnTo>
                    <a:pt x="450" y="1266"/>
                  </a:lnTo>
                  <a:lnTo>
                    <a:pt x="322" y="1510"/>
                  </a:lnTo>
                  <a:lnTo>
                    <a:pt x="322" y="1510"/>
                  </a:lnTo>
                  <a:lnTo>
                    <a:pt x="304" y="1500"/>
                  </a:lnTo>
                  <a:lnTo>
                    <a:pt x="284" y="1492"/>
                  </a:lnTo>
                  <a:lnTo>
                    <a:pt x="264" y="1486"/>
                  </a:lnTo>
                  <a:lnTo>
                    <a:pt x="244" y="1482"/>
                  </a:lnTo>
                  <a:lnTo>
                    <a:pt x="278" y="884"/>
                  </a:lnTo>
                  <a:lnTo>
                    <a:pt x="278" y="884"/>
                  </a:lnTo>
                  <a:lnTo>
                    <a:pt x="290" y="880"/>
                  </a:lnTo>
                  <a:lnTo>
                    <a:pt x="302" y="876"/>
                  </a:lnTo>
                  <a:lnTo>
                    <a:pt x="302" y="876"/>
                  </a:lnTo>
                  <a:close/>
                  <a:moveTo>
                    <a:pt x="424" y="1732"/>
                  </a:moveTo>
                  <a:lnTo>
                    <a:pt x="542" y="1748"/>
                  </a:lnTo>
                  <a:lnTo>
                    <a:pt x="564" y="2144"/>
                  </a:lnTo>
                  <a:lnTo>
                    <a:pt x="564" y="2144"/>
                  </a:lnTo>
                  <a:lnTo>
                    <a:pt x="554" y="2146"/>
                  </a:lnTo>
                  <a:lnTo>
                    <a:pt x="360" y="1850"/>
                  </a:lnTo>
                  <a:lnTo>
                    <a:pt x="360" y="1850"/>
                  </a:lnTo>
                  <a:lnTo>
                    <a:pt x="372" y="1838"/>
                  </a:lnTo>
                  <a:lnTo>
                    <a:pt x="382" y="1824"/>
                  </a:lnTo>
                  <a:lnTo>
                    <a:pt x="392" y="1810"/>
                  </a:lnTo>
                  <a:lnTo>
                    <a:pt x="402" y="1796"/>
                  </a:lnTo>
                  <a:lnTo>
                    <a:pt x="408" y="1782"/>
                  </a:lnTo>
                  <a:lnTo>
                    <a:pt x="416" y="1766"/>
                  </a:lnTo>
                  <a:lnTo>
                    <a:pt x="420" y="1750"/>
                  </a:lnTo>
                  <a:lnTo>
                    <a:pt x="424" y="1732"/>
                  </a:lnTo>
                  <a:lnTo>
                    <a:pt x="424" y="1732"/>
                  </a:lnTo>
                  <a:close/>
                  <a:moveTo>
                    <a:pt x="648" y="2188"/>
                  </a:moveTo>
                  <a:lnTo>
                    <a:pt x="1098" y="1922"/>
                  </a:lnTo>
                  <a:lnTo>
                    <a:pt x="1098" y="1922"/>
                  </a:lnTo>
                  <a:lnTo>
                    <a:pt x="1108" y="1932"/>
                  </a:lnTo>
                  <a:lnTo>
                    <a:pt x="1120" y="1942"/>
                  </a:lnTo>
                  <a:lnTo>
                    <a:pt x="1132" y="1950"/>
                  </a:lnTo>
                  <a:lnTo>
                    <a:pt x="1146" y="1958"/>
                  </a:lnTo>
                  <a:lnTo>
                    <a:pt x="1160" y="1962"/>
                  </a:lnTo>
                  <a:lnTo>
                    <a:pt x="1174" y="1968"/>
                  </a:lnTo>
                  <a:lnTo>
                    <a:pt x="1190" y="1970"/>
                  </a:lnTo>
                  <a:lnTo>
                    <a:pt x="1206" y="1970"/>
                  </a:lnTo>
                  <a:lnTo>
                    <a:pt x="1206" y="1970"/>
                  </a:lnTo>
                  <a:lnTo>
                    <a:pt x="1224" y="1968"/>
                  </a:lnTo>
                  <a:lnTo>
                    <a:pt x="1244" y="1964"/>
                  </a:lnTo>
                  <a:lnTo>
                    <a:pt x="1382" y="2278"/>
                  </a:lnTo>
                  <a:lnTo>
                    <a:pt x="1382" y="2278"/>
                  </a:lnTo>
                  <a:lnTo>
                    <a:pt x="1370" y="2286"/>
                  </a:lnTo>
                  <a:lnTo>
                    <a:pt x="1360" y="2294"/>
                  </a:lnTo>
                  <a:lnTo>
                    <a:pt x="1350" y="2302"/>
                  </a:lnTo>
                  <a:lnTo>
                    <a:pt x="1340" y="2312"/>
                  </a:lnTo>
                  <a:lnTo>
                    <a:pt x="1332" y="2324"/>
                  </a:lnTo>
                  <a:lnTo>
                    <a:pt x="1326" y="2334"/>
                  </a:lnTo>
                  <a:lnTo>
                    <a:pt x="1320" y="2346"/>
                  </a:lnTo>
                  <a:lnTo>
                    <a:pt x="1314" y="2360"/>
                  </a:lnTo>
                  <a:lnTo>
                    <a:pt x="652" y="2214"/>
                  </a:lnTo>
                  <a:lnTo>
                    <a:pt x="652" y="2214"/>
                  </a:lnTo>
                  <a:lnTo>
                    <a:pt x="654" y="2212"/>
                  </a:lnTo>
                  <a:lnTo>
                    <a:pt x="654" y="2212"/>
                  </a:lnTo>
                  <a:lnTo>
                    <a:pt x="652" y="2200"/>
                  </a:lnTo>
                  <a:lnTo>
                    <a:pt x="648" y="2188"/>
                  </a:lnTo>
                  <a:lnTo>
                    <a:pt x="648" y="2188"/>
                  </a:lnTo>
                  <a:close/>
                  <a:moveTo>
                    <a:pt x="1570" y="2326"/>
                  </a:moveTo>
                  <a:lnTo>
                    <a:pt x="1762" y="2174"/>
                  </a:lnTo>
                  <a:lnTo>
                    <a:pt x="1824" y="2342"/>
                  </a:lnTo>
                  <a:lnTo>
                    <a:pt x="1824" y="2342"/>
                  </a:lnTo>
                  <a:lnTo>
                    <a:pt x="1812" y="2350"/>
                  </a:lnTo>
                  <a:lnTo>
                    <a:pt x="1802" y="2362"/>
                  </a:lnTo>
                  <a:lnTo>
                    <a:pt x="1794" y="2374"/>
                  </a:lnTo>
                  <a:lnTo>
                    <a:pt x="1790" y="2390"/>
                  </a:lnTo>
                  <a:lnTo>
                    <a:pt x="1590" y="2390"/>
                  </a:lnTo>
                  <a:lnTo>
                    <a:pt x="1590" y="2390"/>
                  </a:lnTo>
                  <a:lnTo>
                    <a:pt x="1588" y="2372"/>
                  </a:lnTo>
                  <a:lnTo>
                    <a:pt x="1584" y="2356"/>
                  </a:lnTo>
                  <a:lnTo>
                    <a:pt x="1578" y="2340"/>
                  </a:lnTo>
                  <a:lnTo>
                    <a:pt x="1570" y="2326"/>
                  </a:lnTo>
                  <a:lnTo>
                    <a:pt x="1570" y="2326"/>
                  </a:lnTo>
                  <a:close/>
                  <a:moveTo>
                    <a:pt x="1860" y="2332"/>
                  </a:moveTo>
                  <a:lnTo>
                    <a:pt x="1860" y="2332"/>
                  </a:lnTo>
                  <a:lnTo>
                    <a:pt x="1848" y="2332"/>
                  </a:lnTo>
                  <a:lnTo>
                    <a:pt x="1784" y="2158"/>
                  </a:lnTo>
                  <a:lnTo>
                    <a:pt x="2130" y="1886"/>
                  </a:lnTo>
                  <a:lnTo>
                    <a:pt x="2130" y="1886"/>
                  </a:lnTo>
                  <a:lnTo>
                    <a:pt x="2146" y="1902"/>
                  </a:lnTo>
                  <a:lnTo>
                    <a:pt x="2162" y="1914"/>
                  </a:lnTo>
                  <a:lnTo>
                    <a:pt x="1888" y="2336"/>
                  </a:lnTo>
                  <a:lnTo>
                    <a:pt x="1888" y="2336"/>
                  </a:lnTo>
                  <a:lnTo>
                    <a:pt x="1874" y="2332"/>
                  </a:lnTo>
                  <a:lnTo>
                    <a:pt x="1860" y="2332"/>
                  </a:lnTo>
                  <a:lnTo>
                    <a:pt x="1860" y="2332"/>
                  </a:lnTo>
                  <a:close/>
                  <a:moveTo>
                    <a:pt x="1444" y="378"/>
                  </a:moveTo>
                  <a:lnTo>
                    <a:pt x="1444" y="378"/>
                  </a:lnTo>
                  <a:lnTo>
                    <a:pt x="1442" y="392"/>
                  </a:lnTo>
                  <a:lnTo>
                    <a:pt x="1442" y="392"/>
                  </a:lnTo>
                  <a:lnTo>
                    <a:pt x="1444" y="404"/>
                  </a:lnTo>
                  <a:lnTo>
                    <a:pt x="1078" y="546"/>
                  </a:lnTo>
                  <a:lnTo>
                    <a:pt x="916" y="260"/>
                  </a:lnTo>
                  <a:lnTo>
                    <a:pt x="916" y="260"/>
                  </a:lnTo>
                  <a:lnTo>
                    <a:pt x="936" y="242"/>
                  </a:lnTo>
                  <a:lnTo>
                    <a:pt x="952" y="224"/>
                  </a:lnTo>
                  <a:lnTo>
                    <a:pt x="964" y="202"/>
                  </a:lnTo>
                  <a:lnTo>
                    <a:pt x="972" y="178"/>
                  </a:lnTo>
                  <a:lnTo>
                    <a:pt x="1444" y="378"/>
                  </a:lnTo>
                  <a:close/>
                </a:path>
              </a:pathLst>
            </a:custGeom>
            <a:solidFill>
              <a:srgbClr val="8DC63F"/>
            </a:solidFill>
            <a:ln>
              <a:noFill/>
            </a:ln>
          </p:spPr>
          <p:txBody>
            <a:bodyPr vert="horz" wrap="square" lIns="91440" tIns="45720" rIns="91440" bIns="45720" numCol="1" anchor="t" anchorCtr="0" compatLnSpc="1">
              <a:prstTxWarp prst="textNoShape">
                <a:avLst/>
              </a:prstTxWarp>
            </a:bodyPr>
            <a:lstStyle/>
            <a:p>
              <a:endParaRPr lang="de-DE"/>
            </a:p>
          </p:txBody>
        </p:sp>
        <p:grpSp>
          <p:nvGrpSpPr>
            <p:cNvPr id="360" name="Gruppieren 228"/>
            <p:cNvGrpSpPr>
              <a:grpSpLocks noChangeAspect="1"/>
            </p:cNvGrpSpPr>
            <p:nvPr/>
          </p:nvGrpSpPr>
          <p:grpSpPr>
            <a:xfrm>
              <a:off x="7243463" y="1013235"/>
              <a:ext cx="507163" cy="519888"/>
              <a:chOff x="9901238" y="1200150"/>
              <a:chExt cx="3543300" cy="3632200"/>
            </a:xfrm>
            <a:solidFill>
              <a:srgbClr val="8DC63F"/>
            </a:solidFill>
          </p:grpSpPr>
          <p:sp>
            <p:nvSpPr>
              <p:cNvPr id="361" name="Freeform 6"/>
              <p:cNvSpPr>
                <a:spLocks/>
              </p:cNvSpPr>
              <p:nvPr/>
            </p:nvSpPr>
            <p:spPr bwMode="auto">
              <a:xfrm>
                <a:off x="10326688" y="1200150"/>
                <a:ext cx="1787525" cy="3514725"/>
              </a:xfrm>
              <a:custGeom>
                <a:avLst/>
                <a:gdLst>
                  <a:gd name="T0" fmla="*/ 850 w 1126"/>
                  <a:gd name="T1" fmla="*/ 228 h 2214"/>
                  <a:gd name="T2" fmla="*/ 900 w 1126"/>
                  <a:gd name="T3" fmla="*/ 258 h 2214"/>
                  <a:gd name="T4" fmla="*/ 1014 w 1126"/>
                  <a:gd name="T5" fmla="*/ 328 h 2214"/>
                  <a:gd name="T6" fmla="*/ 1058 w 1126"/>
                  <a:gd name="T7" fmla="*/ 342 h 2214"/>
                  <a:gd name="T8" fmla="*/ 1096 w 1126"/>
                  <a:gd name="T9" fmla="*/ 330 h 2214"/>
                  <a:gd name="T10" fmla="*/ 1118 w 1126"/>
                  <a:gd name="T11" fmla="*/ 310 h 2214"/>
                  <a:gd name="T12" fmla="*/ 1126 w 1126"/>
                  <a:gd name="T13" fmla="*/ 266 h 2214"/>
                  <a:gd name="T14" fmla="*/ 1110 w 1126"/>
                  <a:gd name="T15" fmla="*/ 230 h 2214"/>
                  <a:gd name="T16" fmla="*/ 1086 w 1126"/>
                  <a:gd name="T17" fmla="*/ 212 h 2214"/>
                  <a:gd name="T18" fmla="*/ 752 w 1126"/>
                  <a:gd name="T19" fmla="*/ 14 h 2214"/>
                  <a:gd name="T20" fmla="*/ 720 w 1126"/>
                  <a:gd name="T21" fmla="*/ 2 h 2214"/>
                  <a:gd name="T22" fmla="*/ 678 w 1126"/>
                  <a:gd name="T23" fmla="*/ 10 h 2214"/>
                  <a:gd name="T24" fmla="*/ 650 w 1126"/>
                  <a:gd name="T25" fmla="*/ 46 h 2214"/>
                  <a:gd name="T26" fmla="*/ 476 w 1126"/>
                  <a:gd name="T27" fmla="*/ 392 h 2214"/>
                  <a:gd name="T28" fmla="*/ 466 w 1126"/>
                  <a:gd name="T29" fmla="*/ 436 h 2214"/>
                  <a:gd name="T30" fmla="*/ 478 w 1126"/>
                  <a:gd name="T31" fmla="*/ 474 h 2214"/>
                  <a:gd name="T32" fmla="*/ 502 w 1126"/>
                  <a:gd name="T33" fmla="*/ 490 h 2214"/>
                  <a:gd name="T34" fmla="*/ 538 w 1126"/>
                  <a:gd name="T35" fmla="*/ 498 h 2214"/>
                  <a:gd name="T36" fmla="*/ 574 w 1126"/>
                  <a:gd name="T37" fmla="*/ 482 h 2214"/>
                  <a:gd name="T38" fmla="*/ 592 w 1126"/>
                  <a:gd name="T39" fmla="*/ 458 h 2214"/>
                  <a:gd name="T40" fmla="*/ 688 w 1126"/>
                  <a:gd name="T41" fmla="*/ 270 h 2214"/>
                  <a:gd name="T42" fmla="*/ 700 w 1126"/>
                  <a:gd name="T43" fmla="*/ 252 h 2214"/>
                  <a:gd name="T44" fmla="*/ 700 w 1126"/>
                  <a:gd name="T45" fmla="*/ 258 h 2214"/>
                  <a:gd name="T46" fmla="*/ 706 w 1126"/>
                  <a:gd name="T47" fmla="*/ 270 h 2214"/>
                  <a:gd name="T48" fmla="*/ 746 w 1126"/>
                  <a:gd name="T49" fmla="*/ 458 h 2214"/>
                  <a:gd name="T50" fmla="*/ 770 w 1126"/>
                  <a:gd name="T51" fmla="*/ 694 h 2214"/>
                  <a:gd name="T52" fmla="*/ 770 w 1126"/>
                  <a:gd name="T53" fmla="*/ 838 h 2214"/>
                  <a:gd name="T54" fmla="*/ 758 w 1126"/>
                  <a:gd name="T55" fmla="*/ 980 h 2214"/>
                  <a:gd name="T56" fmla="*/ 744 w 1126"/>
                  <a:gd name="T57" fmla="*/ 1074 h 2214"/>
                  <a:gd name="T58" fmla="*/ 714 w 1126"/>
                  <a:gd name="T59" fmla="*/ 1204 h 2214"/>
                  <a:gd name="T60" fmla="*/ 672 w 1126"/>
                  <a:gd name="T61" fmla="*/ 1330 h 2214"/>
                  <a:gd name="T62" fmla="*/ 618 w 1126"/>
                  <a:gd name="T63" fmla="*/ 1452 h 2214"/>
                  <a:gd name="T64" fmla="*/ 552 w 1126"/>
                  <a:gd name="T65" fmla="*/ 1570 h 2214"/>
                  <a:gd name="T66" fmla="*/ 476 w 1126"/>
                  <a:gd name="T67" fmla="*/ 1684 h 2214"/>
                  <a:gd name="T68" fmla="*/ 380 w 1126"/>
                  <a:gd name="T69" fmla="*/ 1798 h 2214"/>
                  <a:gd name="T70" fmla="*/ 218 w 1126"/>
                  <a:gd name="T71" fmla="*/ 1952 h 2214"/>
                  <a:gd name="T72" fmla="*/ 40 w 1126"/>
                  <a:gd name="T73" fmla="*/ 2082 h 2214"/>
                  <a:gd name="T74" fmla="*/ 16 w 1126"/>
                  <a:gd name="T75" fmla="*/ 2104 h 2214"/>
                  <a:gd name="T76" fmla="*/ 0 w 1126"/>
                  <a:gd name="T77" fmla="*/ 2142 h 2214"/>
                  <a:gd name="T78" fmla="*/ 14 w 1126"/>
                  <a:gd name="T79" fmla="*/ 2186 h 2214"/>
                  <a:gd name="T80" fmla="*/ 32 w 1126"/>
                  <a:gd name="T81" fmla="*/ 2204 h 2214"/>
                  <a:gd name="T82" fmla="*/ 68 w 1126"/>
                  <a:gd name="T83" fmla="*/ 2214 h 2214"/>
                  <a:gd name="T84" fmla="*/ 110 w 1126"/>
                  <a:gd name="T85" fmla="*/ 2198 h 2214"/>
                  <a:gd name="T86" fmla="*/ 202 w 1126"/>
                  <a:gd name="T87" fmla="*/ 2138 h 2214"/>
                  <a:gd name="T88" fmla="*/ 274 w 1126"/>
                  <a:gd name="T89" fmla="*/ 2084 h 2214"/>
                  <a:gd name="T90" fmla="*/ 392 w 1126"/>
                  <a:gd name="T91" fmla="*/ 1982 h 2214"/>
                  <a:gd name="T92" fmla="*/ 500 w 1126"/>
                  <a:gd name="T93" fmla="*/ 1872 h 2214"/>
                  <a:gd name="T94" fmla="*/ 596 w 1126"/>
                  <a:gd name="T95" fmla="*/ 1754 h 2214"/>
                  <a:gd name="T96" fmla="*/ 680 w 1126"/>
                  <a:gd name="T97" fmla="*/ 1624 h 2214"/>
                  <a:gd name="T98" fmla="*/ 752 w 1126"/>
                  <a:gd name="T99" fmla="*/ 1486 h 2214"/>
                  <a:gd name="T100" fmla="*/ 806 w 1126"/>
                  <a:gd name="T101" fmla="*/ 1354 h 2214"/>
                  <a:gd name="T102" fmla="*/ 864 w 1126"/>
                  <a:gd name="T103" fmla="*/ 1154 h 2214"/>
                  <a:gd name="T104" fmla="*/ 896 w 1126"/>
                  <a:gd name="T105" fmla="*/ 952 h 2214"/>
                  <a:gd name="T106" fmla="*/ 906 w 1126"/>
                  <a:gd name="T107" fmla="*/ 746 h 2214"/>
                  <a:gd name="T108" fmla="*/ 894 w 1126"/>
                  <a:gd name="T109" fmla="*/ 538 h 2214"/>
                  <a:gd name="T110" fmla="*/ 874 w 1126"/>
                  <a:gd name="T111" fmla="*/ 400 h 2214"/>
                  <a:gd name="T112" fmla="*/ 834 w 1126"/>
                  <a:gd name="T113" fmla="*/ 220 h 2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126" h="2214">
                    <a:moveTo>
                      <a:pt x="834" y="220"/>
                    </a:moveTo>
                    <a:lnTo>
                      <a:pt x="834" y="220"/>
                    </a:lnTo>
                    <a:lnTo>
                      <a:pt x="850" y="228"/>
                    </a:lnTo>
                    <a:lnTo>
                      <a:pt x="860" y="238"/>
                    </a:lnTo>
                    <a:lnTo>
                      <a:pt x="860" y="238"/>
                    </a:lnTo>
                    <a:lnTo>
                      <a:pt x="900" y="258"/>
                    </a:lnTo>
                    <a:lnTo>
                      <a:pt x="938" y="282"/>
                    </a:lnTo>
                    <a:lnTo>
                      <a:pt x="1014" y="328"/>
                    </a:lnTo>
                    <a:lnTo>
                      <a:pt x="1014" y="328"/>
                    </a:lnTo>
                    <a:lnTo>
                      <a:pt x="1028" y="336"/>
                    </a:lnTo>
                    <a:lnTo>
                      <a:pt x="1044" y="340"/>
                    </a:lnTo>
                    <a:lnTo>
                      <a:pt x="1058" y="342"/>
                    </a:lnTo>
                    <a:lnTo>
                      <a:pt x="1070" y="340"/>
                    </a:lnTo>
                    <a:lnTo>
                      <a:pt x="1084" y="336"/>
                    </a:lnTo>
                    <a:lnTo>
                      <a:pt x="1096" y="330"/>
                    </a:lnTo>
                    <a:lnTo>
                      <a:pt x="1106" y="320"/>
                    </a:lnTo>
                    <a:lnTo>
                      <a:pt x="1118" y="310"/>
                    </a:lnTo>
                    <a:lnTo>
                      <a:pt x="1118" y="310"/>
                    </a:lnTo>
                    <a:lnTo>
                      <a:pt x="1122" y="294"/>
                    </a:lnTo>
                    <a:lnTo>
                      <a:pt x="1126" y="280"/>
                    </a:lnTo>
                    <a:lnTo>
                      <a:pt x="1126" y="266"/>
                    </a:lnTo>
                    <a:lnTo>
                      <a:pt x="1122" y="254"/>
                    </a:lnTo>
                    <a:lnTo>
                      <a:pt x="1118" y="242"/>
                    </a:lnTo>
                    <a:lnTo>
                      <a:pt x="1110" y="230"/>
                    </a:lnTo>
                    <a:lnTo>
                      <a:pt x="1098" y="220"/>
                    </a:lnTo>
                    <a:lnTo>
                      <a:pt x="1086" y="212"/>
                    </a:lnTo>
                    <a:lnTo>
                      <a:pt x="1086" y="212"/>
                    </a:lnTo>
                    <a:lnTo>
                      <a:pt x="920" y="114"/>
                    </a:lnTo>
                    <a:lnTo>
                      <a:pt x="838" y="62"/>
                    </a:lnTo>
                    <a:lnTo>
                      <a:pt x="752" y="14"/>
                    </a:lnTo>
                    <a:lnTo>
                      <a:pt x="752" y="14"/>
                    </a:lnTo>
                    <a:lnTo>
                      <a:pt x="736" y="6"/>
                    </a:lnTo>
                    <a:lnTo>
                      <a:pt x="720" y="2"/>
                    </a:lnTo>
                    <a:lnTo>
                      <a:pt x="704" y="0"/>
                    </a:lnTo>
                    <a:lnTo>
                      <a:pt x="690" y="4"/>
                    </a:lnTo>
                    <a:lnTo>
                      <a:pt x="678" y="10"/>
                    </a:lnTo>
                    <a:lnTo>
                      <a:pt x="666" y="18"/>
                    </a:lnTo>
                    <a:lnTo>
                      <a:pt x="658" y="30"/>
                    </a:lnTo>
                    <a:lnTo>
                      <a:pt x="650" y="46"/>
                    </a:lnTo>
                    <a:lnTo>
                      <a:pt x="650" y="46"/>
                    </a:lnTo>
                    <a:lnTo>
                      <a:pt x="476" y="392"/>
                    </a:lnTo>
                    <a:lnTo>
                      <a:pt x="476" y="392"/>
                    </a:lnTo>
                    <a:lnTo>
                      <a:pt x="470" y="408"/>
                    </a:lnTo>
                    <a:lnTo>
                      <a:pt x="466" y="422"/>
                    </a:lnTo>
                    <a:lnTo>
                      <a:pt x="466" y="436"/>
                    </a:lnTo>
                    <a:lnTo>
                      <a:pt x="468" y="450"/>
                    </a:lnTo>
                    <a:lnTo>
                      <a:pt x="472" y="464"/>
                    </a:lnTo>
                    <a:lnTo>
                      <a:pt x="478" y="474"/>
                    </a:lnTo>
                    <a:lnTo>
                      <a:pt x="488" y="482"/>
                    </a:lnTo>
                    <a:lnTo>
                      <a:pt x="502" y="490"/>
                    </a:lnTo>
                    <a:lnTo>
                      <a:pt x="502" y="490"/>
                    </a:lnTo>
                    <a:lnTo>
                      <a:pt x="514" y="494"/>
                    </a:lnTo>
                    <a:lnTo>
                      <a:pt x="526" y="498"/>
                    </a:lnTo>
                    <a:lnTo>
                      <a:pt x="538" y="498"/>
                    </a:lnTo>
                    <a:lnTo>
                      <a:pt x="552" y="494"/>
                    </a:lnTo>
                    <a:lnTo>
                      <a:pt x="562" y="490"/>
                    </a:lnTo>
                    <a:lnTo>
                      <a:pt x="574" y="482"/>
                    </a:lnTo>
                    <a:lnTo>
                      <a:pt x="584" y="470"/>
                    </a:lnTo>
                    <a:lnTo>
                      <a:pt x="592" y="458"/>
                    </a:lnTo>
                    <a:lnTo>
                      <a:pt x="592" y="458"/>
                    </a:lnTo>
                    <a:lnTo>
                      <a:pt x="640" y="364"/>
                    </a:lnTo>
                    <a:lnTo>
                      <a:pt x="688" y="270"/>
                    </a:lnTo>
                    <a:lnTo>
                      <a:pt x="688" y="270"/>
                    </a:lnTo>
                    <a:lnTo>
                      <a:pt x="688" y="266"/>
                    </a:lnTo>
                    <a:lnTo>
                      <a:pt x="692" y="262"/>
                    </a:lnTo>
                    <a:lnTo>
                      <a:pt x="700" y="252"/>
                    </a:lnTo>
                    <a:lnTo>
                      <a:pt x="700" y="252"/>
                    </a:lnTo>
                    <a:lnTo>
                      <a:pt x="700" y="258"/>
                    </a:lnTo>
                    <a:lnTo>
                      <a:pt x="700" y="258"/>
                    </a:lnTo>
                    <a:lnTo>
                      <a:pt x="704" y="258"/>
                    </a:lnTo>
                    <a:lnTo>
                      <a:pt x="706" y="262"/>
                    </a:lnTo>
                    <a:lnTo>
                      <a:pt x="706" y="270"/>
                    </a:lnTo>
                    <a:lnTo>
                      <a:pt x="706" y="270"/>
                    </a:lnTo>
                    <a:lnTo>
                      <a:pt x="728" y="364"/>
                    </a:lnTo>
                    <a:lnTo>
                      <a:pt x="746" y="458"/>
                    </a:lnTo>
                    <a:lnTo>
                      <a:pt x="760" y="552"/>
                    </a:lnTo>
                    <a:lnTo>
                      <a:pt x="768" y="648"/>
                    </a:lnTo>
                    <a:lnTo>
                      <a:pt x="770" y="694"/>
                    </a:lnTo>
                    <a:lnTo>
                      <a:pt x="772" y="742"/>
                    </a:lnTo>
                    <a:lnTo>
                      <a:pt x="772" y="790"/>
                    </a:lnTo>
                    <a:lnTo>
                      <a:pt x="770" y="838"/>
                    </a:lnTo>
                    <a:lnTo>
                      <a:pt x="768" y="884"/>
                    </a:lnTo>
                    <a:lnTo>
                      <a:pt x="764" y="932"/>
                    </a:lnTo>
                    <a:lnTo>
                      <a:pt x="758" y="980"/>
                    </a:lnTo>
                    <a:lnTo>
                      <a:pt x="752" y="1028"/>
                    </a:lnTo>
                    <a:lnTo>
                      <a:pt x="752" y="1028"/>
                    </a:lnTo>
                    <a:lnTo>
                      <a:pt x="744" y="1074"/>
                    </a:lnTo>
                    <a:lnTo>
                      <a:pt x="734" y="1118"/>
                    </a:lnTo>
                    <a:lnTo>
                      <a:pt x="724" y="1160"/>
                    </a:lnTo>
                    <a:lnTo>
                      <a:pt x="714" y="1204"/>
                    </a:lnTo>
                    <a:lnTo>
                      <a:pt x="700" y="1246"/>
                    </a:lnTo>
                    <a:lnTo>
                      <a:pt x="686" y="1288"/>
                    </a:lnTo>
                    <a:lnTo>
                      <a:pt x="672" y="1330"/>
                    </a:lnTo>
                    <a:lnTo>
                      <a:pt x="654" y="1372"/>
                    </a:lnTo>
                    <a:lnTo>
                      <a:pt x="636" y="1412"/>
                    </a:lnTo>
                    <a:lnTo>
                      <a:pt x="618" y="1452"/>
                    </a:lnTo>
                    <a:lnTo>
                      <a:pt x="598" y="1492"/>
                    </a:lnTo>
                    <a:lnTo>
                      <a:pt x="576" y="1532"/>
                    </a:lnTo>
                    <a:lnTo>
                      <a:pt x="552" y="1570"/>
                    </a:lnTo>
                    <a:lnTo>
                      <a:pt x="528" y="1608"/>
                    </a:lnTo>
                    <a:lnTo>
                      <a:pt x="502" y="1646"/>
                    </a:lnTo>
                    <a:lnTo>
                      <a:pt x="476" y="1684"/>
                    </a:lnTo>
                    <a:lnTo>
                      <a:pt x="476" y="1684"/>
                    </a:lnTo>
                    <a:lnTo>
                      <a:pt x="428" y="1744"/>
                    </a:lnTo>
                    <a:lnTo>
                      <a:pt x="380" y="1798"/>
                    </a:lnTo>
                    <a:lnTo>
                      <a:pt x="328" y="1852"/>
                    </a:lnTo>
                    <a:lnTo>
                      <a:pt x="274" y="1902"/>
                    </a:lnTo>
                    <a:lnTo>
                      <a:pt x="218" y="1952"/>
                    </a:lnTo>
                    <a:lnTo>
                      <a:pt x="162" y="1996"/>
                    </a:lnTo>
                    <a:lnTo>
                      <a:pt x="102" y="2040"/>
                    </a:lnTo>
                    <a:lnTo>
                      <a:pt x="40" y="2082"/>
                    </a:lnTo>
                    <a:lnTo>
                      <a:pt x="40" y="2082"/>
                    </a:lnTo>
                    <a:lnTo>
                      <a:pt x="26" y="2092"/>
                    </a:lnTo>
                    <a:lnTo>
                      <a:pt x="16" y="2104"/>
                    </a:lnTo>
                    <a:lnTo>
                      <a:pt x="8" y="2116"/>
                    </a:lnTo>
                    <a:lnTo>
                      <a:pt x="2" y="2130"/>
                    </a:lnTo>
                    <a:lnTo>
                      <a:pt x="0" y="2142"/>
                    </a:lnTo>
                    <a:lnTo>
                      <a:pt x="2" y="2156"/>
                    </a:lnTo>
                    <a:lnTo>
                      <a:pt x="6" y="2172"/>
                    </a:lnTo>
                    <a:lnTo>
                      <a:pt x="14" y="2186"/>
                    </a:lnTo>
                    <a:lnTo>
                      <a:pt x="14" y="2186"/>
                    </a:lnTo>
                    <a:lnTo>
                      <a:pt x="22" y="2196"/>
                    </a:lnTo>
                    <a:lnTo>
                      <a:pt x="32" y="2204"/>
                    </a:lnTo>
                    <a:lnTo>
                      <a:pt x="42" y="2210"/>
                    </a:lnTo>
                    <a:lnTo>
                      <a:pt x="54" y="2214"/>
                    </a:lnTo>
                    <a:lnTo>
                      <a:pt x="68" y="2214"/>
                    </a:lnTo>
                    <a:lnTo>
                      <a:pt x="82" y="2212"/>
                    </a:lnTo>
                    <a:lnTo>
                      <a:pt x="96" y="2206"/>
                    </a:lnTo>
                    <a:lnTo>
                      <a:pt x="110" y="2198"/>
                    </a:lnTo>
                    <a:lnTo>
                      <a:pt x="110" y="2198"/>
                    </a:lnTo>
                    <a:lnTo>
                      <a:pt x="172" y="2160"/>
                    </a:lnTo>
                    <a:lnTo>
                      <a:pt x="202" y="2138"/>
                    </a:lnTo>
                    <a:lnTo>
                      <a:pt x="232" y="2114"/>
                    </a:lnTo>
                    <a:lnTo>
                      <a:pt x="232" y="2114"/>
                    </a:lnTo>
                    <a:lnTo>
                      <a:pt x="274" y="2084"/>
                    </a:lnTo>
                    <a:lnTo>
                      <a:pt x="314" y="2050"/>
                    </a:lnTo>
                    <a:lnTo>
                      <a:pt x="354" y="2016"/>
                    </a:lnTo>
                    <a:lnTo>
                      <a:pt x="392" y="1982"/>
                    </a:lnTo>
                    <a:lnTo>
                      <a:pt x="428" y="1946"/>
                    </a:lnTo>
                    <a:lnTo>
                      <a:pt x="464" y="1910"/>
                    </a:lnTo>
                    <a:lnTo>
                      <a:pt x="500" y="1872"/>
                    </a:lnTo>
                    <a:lnTo>
                      <a:pt x="532" y="1834"/>
                    </a:lnTo>
                    <a:lnTo>
                      <a:pt x="564" y="1794"/>
                    </a:lnTo>
                    <a:lnTo>
                      <a:pt x="596" y="1754"/>
                    </a:lnTo>
                    <a:lnTo>
                      <a:pt x="626" y="1712"/>
                    </a:lnTo>
                    <a:lnTo>
                      <a:pt x="654" y="1668"/>
                    </a:lnTo>
                    <a:lnTo>
                      <a:pt x="680" y="1624"/>
                    </a:lnTo>
                    <a:lnTo>
                      <a:pt x="706" y="1580"/>
                    </a:lnTo>
                    <a:lnTo>
                      <a:pt x="730" y="1532"/>
                    </a:lnTo>
                    <a:lnTo>
                      <a:pt x="752" y="1486"/>
                    </a:lnTo>
                    <a:lnTo>
                      <a:pt x="752" y="1486"/>
                    </a:lnTo>
                    <a:lnTo>
                      <a:pt x="780" y="1420"/>
                    </a:lnTo>
                    <a:lnTo>
                      <a:pt x="806" y="1354"/>
                    </a:lnTo>
                    <a:lnTo>
                      <a:pt x="828" y="1288"/>
                    </a:lnTo>
                    <a:lnTo>
                      <a:pt x="848" y="1222"/>
                    </a:lnTo>
                    <a:lnTo>
                      <a:pt x="864" y="1154"/>
                    </a:lnTo>
                    <a:lnTo>
                      <a:pt x="878" y="1088"/>
                    </a:lnTo>
                    <a:lnTo>
                      <a:pt x="888" y="1020"/>
                    </a:lnTo>
                    <a:lnTo>
                      <a:pt x="896" y="952"/>
                    </a:lnTo>
                    <a:lnTo>
                      <a:pt x="902" y="884"/>
                    </a:lnTo>
                    <a:lnTo>
                      <a:pt x="906" y="816"/>
                    </a:lnTo>
                    <a:lnTo>
                      <a:pt x="906" y="746"/>
                    </a:lnTo>
                    <a:lnTo>
                      <a:pt x="904" y="678"/>
                    </a:lnTo>
                    <a:lnTo>
                      <a:pt x="900" y="608"/>
                    </a:lnTo>
                    <a:lnTo>
                      <a:pt x="894" y="538"/>
                    </a:lnTo>
                    <a:lnTo>
                      <a:pt x="884" y="468"/>
                    </a:lnTo>
                    <a:lnTo>
                      <a:pt x="874" y="400"/>
                    </a:lnTo>
                    <a:lnTo>
                      <a:pt x="874" y="400"/>
                    </a:lnTo>
                    <a:lnTo>
                      <a:pt x="854" y="312"/>
                    </a:lnTo>
                    <a:lnTo>
                      <a:pt x="834" y="220"/>
                    </a:lnTo>
                    <a:lnTo>
                      <a:pt x="834" y="2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62" name="Freeform 7"/>
              <p:cNvSpPr>
                <a:spLocks noEditPoints="1"/>
              </p:cNvSpPr>
              <p:nvPr/>
            </p:nvSpPr>
            <p:spPr bwMode="auto">
              <a:xfrm>
                <a:off x="12180888" y="2035175"/>
                <a:ext cx="1263650" cy="1260475"/>
              </a:xfrm>
              <a:custGeom>
                <a:avLst/>
                <a:gdLst>
                  <a:gd name="T0" fmla="*/ 358 w 796"/>
                  <a:gd name="T1" fmla="*/ 2 h 794"/>
                  <a:gd name="T2" fmla="*/ 244 w 796"/>
                  <a:gd name="T3" fmla="*/ 30 h 794"/>
                  <a:gd name="T4" fmla="*/ 146 w 796"/>
                  <a:gd name="T5" fmla="*/ 88 h 794"/>
                  <a:gd name="T6" fmla="*/ 68 w 796"/>
                  <a:gd name="T7" fmla="*/ 172 h 794"/>
                  <a:gd name="T8" fmla="*/ 18 w 796"/>
                  <a:gd name="T9" fmla="*/ 276 h 794"/>
                  <a:gd name="T10" fmla="*/ 0 w 796"/>
                  <a:gd name="T11" fmla="*/ 394 h 794"/>
                  <a:gd name="T12" fmla="*/ 8 w 796"/>
                  <a:gd name="T13" fmla="*/ 474 h 794"/>
                  <a:gd name="T14" fmla="*/ 48 w 796"/>
                  <a:gd name="T15" fmla="*/ 584 h 794"/>
                  <a:gd name="T16" fmla="*/ 116 w 796"/>
                  <a:gd name="T17" fmla="*/ 676 h 794"/>
                  <a:gd name="T18" fmla="*/ 208 w 796"/>
                  <a:gd name="T19" fmla="*/ 746 h 794"/>
                  <a:gd name="T20" fmla="*/ 318 w 796"/>
                  <a:gd name="T21" fmla="*/ 786 h 794"/>
                  <a:gd name="T22" fmla="*/ 398 w 796"/>
                  <a:gd name="T23" fmla="*/ 794 h 794"/>
                  <a:gd name="T24" fmla="*/ 516 w 796"/>
                  <a:gd name="T25" fmla="*/ 776 h 794"/>
                  <a:gd name="T26" fmla="*/ 620 w 796"/>
                  <a:gd name="T27" fmla="*/ 728 h 794"/>
                  <a:gd name="T28" fmla="*/ 706 w 796"/>
                  <a:gd name="T29" fmla="*/ 650 h 794"/>
                  <a:gd name="T30" fmla="*/ 766 w 796"/>
                  <a:gd name="T31" fmla="*/ 552 h 794"/>
                  <a:gd name="T32" fmla="*/ 794 w 796"/>
                  <a:gd name="T33" fmla="*/ 436 h 794"/>
                  <a:gd name="T34" fmla="*/ 794 w 796"/>
                  <a:gd name="T35" fmla="*/ 354 h 794"/>
                  <a:gd name="T36" fmla="*/ 766 w 796"/>
                  <a:gd name="T37" fmla="*/ 240 h 794"/>
                  <a:gd name="T38" fmla="*/ 706 w 796"/>
                  <a:gd name="T39" fmla="*/ 142 h 794"/>
                  <a:gd name="T40" fmla="*/ 620 w 796"/>
                  <a:gd name="T41" fmla="*/ 66 h 794"/>
                  <a:gd name="T42" fmla="*/ 516 w 796"/>
                  <a:gd name="T43" fmla="*/ 18 h 794"/>
                  <a:gd name="T44" fmla="*/ 398 w 796"/>
                  <a:gd name="T45" fmla="*/ 0 h 794"/>
                  <a:gd name="T46" fmla="*/ 392 w 796"/>
                  <a:gd name="T47" fmla="*/ 658 h 794"/>
                  <a:gd name="T48" fmla="*/ 316 w 796"/>
                  <a:gd name="T49" fmla="*/ 646 h 794"/>
                  <a:gd name="T50" fmla="*/ 248 w 796"/>
                  <a:gd name="T51" fmla="*/ 612 h 794"/>
                  <a:gd name="T52" fmla="*/ 194 w 796"/>
                  <a:gd name="T53" fmla="*/ 560 h 794"/>
                  <a:gd name="T54" fmla="*/ 154 w 796"/>
                  <a:gd name="T55" fmla="*/ 496 h 794"/>
                  <a:gd name="T56" fmla="*/ 136 w 796"/>
                  <a:gd name="T57" fmla="*/ 420 h 794"/>
                  <a:gd name="T58" fmla="*/ 138 w 796"/>
                  <a:gd name="T59" fmla="*/ 366 h 794"/>
                  <a:gd name="T60" fmla="*/ 160 w 796"/>
                  <a:gd name="T61" fmla="*/ 286 h 794"/>
                  <a:gd name="T62" fmla="*/ 204 w 796"/>
                  <a:gd name="T63" fmla="*/ 222 h 794"/>
                  <a:gd name="T64" fmla="*/ 262 w 796"/>
                  <a:gd name="T65" fmla="*/ 174 h 794"/>
                  <a:gd name="T66" fmla="*/ 330 w 796"/>
                  <a:gd name="T67" fmla="*/ 144 h 794"/>
                  <a:gd name="T68" fmla="*/ 404 w 796"/>
                  <a:gd name="T69" fmla="*/ 136 h 794"/>
                  <a:gd name="T70" fmla="*/ 456 w 796"/>
                  <a:gd name="T71" fmla="*/ 140 h 794"/>
                  <a:gd name="T72" fmla="*/ 528 w 796"/>
                  <a:gd name="T73" fmla="*/ 168 h 794"/>
                  <a:gd name="T74" fmla="*/ 586 w 796"/>
                  <a:gd name="T75" fmla="*/ 214 h 794"/>
                  <a:gd name="T76" fmla="*/ 630 w 796"/>
                  <a:gd name="T77" fmla="*/ 274 h 794"/>
                  <a:gd name="T78" fmla="*/ 656 w 796"/>
                  <a:gd name="T79" fmla="*/ 344 h 794"/>
                  <a:gd name="T80" fmla="*/ 662 w 796"/>
                  <a:gd name="T81" fmla="*/ 394 h 794"/>
                  <a:gd name="T82" fmla="*/ 648 w 796"/>
                  <a:gd name="T83" fmla="*/ 474 h 794"/>
                  <a:gd name="T84" fmla="*/ 612 w 796"/>
                  <a:gd name="T85" fmla="*/ 542 h 794"/>
                  <a:gd name="T86" fmla="*/ 560 w 796"/>
                  <a:gd name="T87" fmla="*/ 598 h 794"/>
                  <a:gd name="T88" fmla="*/ 496 w 796"/>
                  <a:gd name="T89" fmla="*/ 638 h 794"/>
                  <a:gd name="T90" fmla="*/ 420 w 796"/>
                  <a:gd name="T91" fmla="*/ 658 h 7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96" h="794">
                    <a:moveTo>
                      <a:pt x="398" y="0"/>
                    </a:moveTo>
                    <a:lnTo>
                      <a:pt x="398" y="0"/>
                    </a:lnTo>
                    <a:lnTo>
                      <a:pt x="358" y="2"/>
                    </a:lnTo>
                    <a:lnTo>
                      <a:pt x="318" y="8"/>
                    </a:lnTo>
                    <a:lnTo>
                      <a:pt x="280" y="18"/>
                    </a:lnTo>
                    <a:lnTo>
                      <a:pt x="244" y="30"/>
                    </a:lnTo>
                    <a:lnTo>
                      <a:pt x="208" y="46"/>
                    </a:lnTo>
                    <a:lnTo>
                      <a:pt x="176" y="66"/>
                    </a:lnTo>
                    <a:lnTo>
                      <a:pt x="146" y="88"/>
                    </a:lnTo>
                    <a:lnTo>
                      <a:pt x="116" y="114"/>
                    </a:lnTo>
                    <a:lnTo>
                      <a:pt x="92" y="142"/>
                    </a:lnTo>
                    <a:lnTo>
                      <a:pt x="68" y="172"/>
                    </a:lnTo>
                    <a:lnTo>
                      <a:pt x="48" y="204"/>
                    </a:lnTo>
                    <a:lnTo>
                      <a:pt x="32" y="240"/>
                    </a:lnTo>
                    <a:lnTo>
                      <a:pt x="18" y="276"/>
                    </a:lnTo>
                    <a:lnTo>
                      <a:pt x="8" y="314"/>
                    </a:lnTo>
                    <a:lnTo>
                      <a:pt x="2" y="354"/>
                    </a:lnTo>
                    <a:lnTo>
                      <a:pt x="0" y="394"/>
                    </a:lnTo>
                    <a:lnTo>
                      <a:pt x="0" y="394"/>
                    </a:lnTo>
                    <a:lnTo>
                      <a:pt x="2" y="434"/>
                    </a:lnTo>
                    <a:lnTo>
                      <a:pt x="8" y="474"/>
                    </a:lnTo>
                    <a:lnTo>
                      <a:pt x="18" y="512"/>
                    </a:lnTo>
                    <a:lnTo>
                      <a:pt x="32" y="548"/>
                    </a:lnTo>
                    <a:lnTo>
                      <a:pt x="48" y="584"/>
                    </a:lnTo>
                    <a:lnTo>
                      <a:pt x="68" y="616"/>
                    </a:lnTo>
                    <a:lnTo>
                      <a:pt x="92" y="648"/>
                    </a:lnTo>
                    <a:lnTo>
                      <a:pt x="116" y="676"/>
                    </a:lnTo>
                    <a:lnTo>
                      <a:pt x="146" y="702"/>
                    </a:lnTo>
                    <a:lnTo>
                      <a:pt x="176" y="726"/>
                    </a:lnTo>
                    <a:lnTo>
                      <a:pt x="208" y="746"/>
                    </a:lnTo>
                    <a:lnTo>
                      <a:pt x="244" y="762"/>
                    </a:lnTo>
                    <a:lnTo>
                      <a:pt x="280" y="776"/>
                    </a:lnTo>
                    <a:lnTo>
                      <a:pt x="318" y="786"/>
                    </a:lnTo>
                    <a:lnTo>
                      <a:pt x="358" y="792"/>
                    </a:lnTo>
                    <a:lnTo>
                      <a:pt x="398" y="794"/>
                    </a:lnTo>
                    <a:lnTo>
                      <a:pt x="398" y="794"/>
                    </a:lnTo>
                    <a:lnTo>
                      <a:pt x="438" y="792"/>
                    </a:lnTo>
                    <a:lnTo>
                      <a:pt x="478" y="786"/>
                    </a:lnTo>
                    <a:lnTo>
                      <a:pt x="516" y="776"/>
                    </a:lnTo>
                    <a:lnTo>
                      <a:pt x="552" y="764"/>
                    </a:lnTo>
                    <a:lnTo>
                      <a:pt x="588" y="746"/>
                    </a:lnTo>
                    <a:lnTo>
                      <a:pt x="620" y="728"/>
                    </a:lnTo>
                    <a:lnTo>
                      <a:pt x="652" y="704"/>
                    </a:lnTo>
                    <a:lnTo>
                      <a:pt x="680" y="678"/>
                    </a:lnTo>
                    <a:lnTo>
                      <a:pt x="706" y="650"/>
                    </a:lnTo>
                    <a:lnTo>
                      <a:pt x="728" y="620"/>
                    </a:lnTo>
                    <a:lnTo>
                      <a:pt x="748" y="586"/>
                    </a:lnTo>
                    <a:lnTo>
                      <a:pt x="766" y="552"/>
                    </a:lnTo>
                    <a:lnTo>
                      <a:pt x="778" y="514"/>
                    </a:lnTo>
                    <a:lnTo>
                      <a:pt x="788" y="476"/>
                    </a:lnTo>
                    <a:lnTo>
                      <a:pt x="794" y="436"/>
                    </a:lnTo>
                    <a:lnTo>
                      <a:pt x="796" y="394"/>
                    </a:lnTo>
                    <a:lnTo>
                      <a:pt x="796" y="394"/>
                    </a:lnTo>
                    <a:lnTo>
                      <a:pt x="794" y="354"/>
                    </a:lnTo>
                    <a:lnTo>
                      <a:pt x="788" y="314"/>
                    </a:lnTo>
                    <a:lnTo>
                      <a:pt x="778" y="276"/>
                    </a:lnTo>
                    <a:lnTo>
                      <a:pt x="766" y="240"/>
                    </a:lnTo>
                    <a:lnTo>
                      <a:pt x="748" y="204"/>
                    </a:lnTo>
                    <a:lnTo>
                      <a:pt x="728" y="172"/>
                    </a:lnTo>
                    <a:lnTo>
                      <a:pt x="706" y="142"/>
                    </a:lnTo>
                    <a:lnTo>
                      <a:pt x="680" y="114"/>
                    </a:lnTo>
                    <a:lnTo>
                      <a:pt x="652" y="88"/>
                    </a:lnTo>
                    <a:lnTo>
                      <a:pt x="620" y="66"/>
                    </a:lnTo>
                    <a:lnTo>
                      <a:pt x="588" y="46"/>
                    </a:lnTo>
                    <a:lnTo>
                      <a:pt x="552" y="30"/>
                    </a:lnTo>
                    <a:lnTo>
                      <a:pt x="516" y="18"/>
                    </a:lnTo>
                    <a:lnTo>
                      <a:pt x="478" y="8"/>
                    </a:lnTo>
                    <a:lnTo>
                      <a:pt x="438" y="2"/>
                    </a:lnTo>
                    <a:lnTo>
                      <a:pt x="398" y="0"/>
                    </a:lnTo>
                    <a:lnTo>
                      <a:pt x="398" y="0"/>
                    </a:lnTo>
                    <a:close/>
                    <a:moveTo>
                      <a:pt x="392" y="658"/>
                    </a:moveTo>
                    <a:lnTo>
                      <a:pt x="392" y="658"/>
                    </a:lnTo>
                    <a:lnTo>
                      <a:pt x="366" y="658"/>
                    </a:lnTo>
                    <a:lnTo>
                      <a:pt x="340" y="654"/>
                    </a:lnTo>
                    <a:lnTo>
                      <a:pt x="316" y="646"/>
                    </a:lnTo>
                    <a:lnTo>
                      <a:pt x="292" y="638"/>
                    </a:lnTo>
                    <a:lnTo>
                      <a:pt x="270" y="626"/>
                    </a:lnTo>
                    <a:lnTo>
                      <a:pt x="248" y="612"/>
                    </a:lnTo>
                    <a:lnTo>
                      <a:pt x="228" y="596"/>
                    </a:lnTo>
                    <a:lnTo>
                      <a:pt x="210" y="580"/>
                    </a:lnTo>
                    <a:lnTo>
                      <a:pt x="194" y="560"/>
                    </a:lnTo>
                    <a:lnTo>
                      <a:pt x="178" y="540"/>
                    </a:lnTo>
                    <a:lnTo>
                      <a:pt x="166" y="518"/>
                    </a:lnTo>
                    <a:lnTo>
                      <a:pt x="154" y="496"/>
                    </a:lnTo>
                    <a:lnTo>
                      <a:pt x="146" y="470"/>
                    </a:lnTo>
                    <a:lnTo>
                      <a:pt x="140" y="446"/>
                    </a:lnTo>
                    <a:lnTo>
                      <a:pt x="136" y="420"/>
                    </a:lnTo>
                    <a:lnTo>
                      <a:pt x="134" y="394"/>
                    </a:lnTo>
                    <a:lnTo>
                      <a:pt x="134" y="394"/>
                    </a:lnTo>
                    <a:lnTo>
                      <a:pt x="138" y="366"/>
                    </a:lnTo>
                    <a:lnTo>
                      <a:pt x="142" y="338"/>
                    </a:lnTo>
                    <a:lnTo>
                      <a:pt x="150" y="312"/>
                    </a:lnTo>
                    <a:lnTo>
                      <a:pt x="160" y="286"/>
                    </a:lnTo>
                    <a:lnTo>
                      <a:pt x="172" y="264"/>
                    </a:lnTo>
                    <a:lnTo>
                      <a:pt x="188" y="242"/>
                    </a:lnTo>
                    <a:lnTo>
                      <a:pt x="204" y="222"/>
                    </a:lnTo>
                    <a:lnTo>
                      <a:pt x="222" y="204"/>
                    </a:lnTo>
                    <a:lnTo>
                      <a:pt x="240" y="188"/>
                    </a:lnTo>
                    <a:lnTo>
                      <a:pt x="262" y="174"/>
                    </a:lnTo>
                    <a:lnTo>
                      <a:pt x="284" y="162"/>
                    </a:lnTo>
                    <a:lnTo>
                      <a:pt x="306" y="152"/>
                    </a:lnTo>
                    <a:lnTo>
                      <a:pt x="330" y="144"/>
                    </a:lnTo>
                    <a:lnTo>
                      <a:pt x="354" y="138"/>
                    </a:lnTo>
                    <a:lnTo>
                      <a:pt x="380" y="136"/>
                    </a:lnTo>
                    <a:lnTo>
                      <a:pt x="404" y="136"/>
                    </a:lnTo>
                    <a:lnTo>
                      <a:pt x="404" y="136"/>
                    </a:lnTo>
                    <a:lnTo>
                      <a:pt x="430" y="136"/>
                    </a:lnTo>
                    <a:lnTo>
                      <a:pt x="456" y="140"/>
                    </a:lnTo>
                    <a:lnTo>
                      <a:pt x="480" y="148"/>
                    </a:lnTo>
                    <a:lnTo>
                      <a:pt x="504" y="156"/>
                    </a:lnTo>
                    <a:lnTo>
                      <a:pt x="528" y="168"/>
                    </a:lnTo>
                    <a:lnTo>
                      <a:pt x="548" y="182"/>
                    </a:lnTo>
                    <a:lnTo>
                      <a:pt x="568" y="196"/>
                    </a:lnTo>
                    <a:lnTo>
                      <a:pt x="586" y="214"/>
                    </a:lnTo>
                    <a:lnTo>
                      <a:pt x="602" y="232"/>
                    </a:lnTo>
                    <a:lnTo>
                      <a:pt x="618" y="252"/>
                    </a:lnTo>
                    <a:lnTo>
                      <a:pt x="630" y="274"/>
                    </a:lnTo>
                    <a:lnTo>
                      <a:pt x="642" y="296"/>
                    </a:lnTo>
                    <a:lnTo>
                      <a:pt x="650" y="320"/>
                    </a:lnTo>
                    <a:lnTo>
                      <a:pt x="656" y="344"/>
                    </a:lnTo>
                    <a:lnTo>
                      <a:pt x="660" y="368"/>
                    </a:lnTo>
                    <a:lnTo>
                      <a:pt x="662" y="394"/>
                    </a:lnTo>
                    <a:lnTo>
                      <a:pt x="662" y="394"/>
                    </a:lnTo>
                    <a:lnTo>
                      <a:pt x="660" y="422"/>
                    </a:lnTo>
                    <a:lnTo>
                      <a:pt x="654" y="448"/>
                    </a:lnTo>
                    <a:lnTo>
                      <a:pt x="648" y="474"/>
                    </a:lnTo>
                    <a:lnTo>
                      <a:pt x="638" y="498"/>
                    </a:lnTo>
                    <a:lnTo>
                      <a:pt x="626" y="520"/>
                    </a:lnTo>
                    <a:lnTo>
                      <a:pt x="612" y="542"/>
                    </a:lnTo>
                    <a:lnTo>
                      <a:pt x="598" y="564"/>
                    </a:lnTo>
                    <a:lnTo>
                      <a:pt x="580" y="582"/>
                    </a:lnTo>
                    <a:lnTo>
                      <a:pt x="560" y="598"/>
                    </a:lnTo>
                    <a:lnTo>
                      <a:pt x="540" y="614"/>
                    </a:lnTo>
                    <a:lnTo>
                      <a:pt x="518" y="628"/>
                    </a:lnTo>
                    <a:lnTo>
                      <a:pt x="496" y="638"/>
                    </a:lnTo>
                    <a:lnTo>
                      <a:pt x="472" y="646"/>
                    </a:lnTo>
                    <a:lnTo>
                      <a:pt x="446" y="654"/>
                    </a:lnTo>
                    <a:lnTo>
                      <a:pt x="420" y="658"/>
                    </a:lnTo>
                    <a:lnTo>
                      <a:pt x="392" y="658"/>
                    </a:lnTo>
                    <a:lnTo>
                      <a:pt x="392" y="6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63" name="Freeform 8"/>
              <p:cNvSpPr>
                <a:spLocks/>
              </p:cNvSpPr>
              <p:nvPr/>
            </p:nvSpPr>
            <p:spPr bwMode="auto">
              <a:xfrm>
                <a:off x="9901238" y="2381250"/>
                <a:ext cx="1019175" cy="1025525"/>
              </a:xfrm>
              <a:custGeom>
                <a:avLst/>
                <a:gdLst>
                  <a:gd name="T0" fmla="*/ 330 w 642"/>
                  <a:gd name="T1" fmla="*/ 428 h 646"/>
                  <a:gd name="T2" fmla="*/ 338 w 642"/>
                  <a:gd name="T3" fmla="*/ 432 h 646"/>
                  <a:gd name="T4" fmla="*/ 476 w 642"/>
                  <a:gd name="T5" fmla="*/ 574 h 646"/>
                  <a:gd name="T6" fmla="*/ 536 w 642"/>
                  <a:gd name="T7" fmla="*/ 630 h 646"/>
                  <a:gd name="T8" fmla="*/ 574 w 642"/>
                  <a:gd name="T9" fmla="*/ 644 h 646"/>
                  <a:gd name="T10" fmla="*/ 614 w 642"/>
                  <a:gd name="T11" fmla="*/ 634 h 646"/>
                  <a:gd name="T12" fmla="*/ 634 w 642"/>
                  <a:gd name="T13" fmla="*/ 614 h 646"/>
                  <a:gd name="T14" fmla="*/ 642 w 642"/>
                  <a:gd name="T15" fmla="*/ 574 h 646"/>
                  <a:gd name="T16" fmla="*/ 628 w 642"/>
                  <a:gd name="T17" fmla="*/ 534 h 646"/>
                  <a:gd name="T18" fmla="*/ 580 w 642"/>
                  <a:gd name="T19" fmla="*/ 488 h 646"/>
                  <a:gd name="T20" fmla="*/ 414 w 642"/>
                  <a:gd name="T21" fmla="*/ 322 h 646"/>
                  <a:gd name="T22" fmla="*/ 440 w 642"/>
                  <a:gd name="T23" fmla="*/ 304 h 646"/>
                  <a:gd name="T24" fmla="*/ 530 w 642"/>
                  <a:gd name="T25" fmla="*/ 210 h 646"/>
                  <a:gd name="T26" fmla="*/ 620 w 642"/>
                  <a:gd name="T27" fmla="*/ 116 h 646"/>
                  <a:gd name="T28" fmla="*/ 636 w 642"/>
                  <a:gd name="T29" fmla="*/ 92 h 646"/>
                  <a:gd name="T30" fmla="*/ 640 w 642"/>
                  <a:gd name="T31" fmla="*/ 64 h 646"/>
                  <a:gd name="T32" fmla="*/ 628 w 642"/>
                  <a:gd name="T33" fmla="*/ 28 h 646"/>
                  <a:gd name="T34" fmla="*/ 580 w 642"/>
                  <a:gd name="T35" fmla="*/ 0 h 646"/>
                  <a:gd name="T36" fmla="*/ 546 w 642"/>
                  <a:gd name="T37" fmla="*/ 8 h 646"/>
                  <a:gd name="T38" fmla="*/ 516 w 642"/>
                  <a:gd name="T39" fmla="*/ 26 h 646"/>
                  <a:gd name="T40" fmla="*/ 384 w 642"/>
                  <a:gd name="T41" fmla="*/ 162 h 646"/>
                  <a:gd name="T42" fmla="*/ 318 w 642"/>
                  <a:gd name="T43" fmla="*/ 226 h 646"/>
                  <a:gd name="T44" fmla="*/ 298 w 642"/>
                  <a:gd name="T45" fmla="*/ 206 h 646"/>
                  <a:gd name="T46" fmla="*/ 120 w 642"/>
                  <a:gd name="T47" fmla="*/ 26 h 646"/>
                  <a:gd name="T48" fmla="*/ 108 w 642"/>
                  <a:gd name="T49" fmla="*/ 14 h 646"/>
                  <a:gd name="T50" fmla="*/ 62 w 642"/>
                  <a:gd name="T51" fmla="*/ 0 h 646"/>
                  <a:gd name="T52" fmla="*/ 26 w 642"/>
                  <a:gd name="T53" fmla="*/ 16 h 646"/>
                  <a:gd name="T54" fmla="*/ 8 w 642"/>
                  <a:gd name="T55" fmla="*/ 36 h 646"/>
                  <a:gd name="T56" fmla="*/ 2 w 642"/>
                  <a:gd name="T57" fmla="*/ 64 h 646"/>
                  <a:gd name="T58" fmla="*/ 24 w 642"/>
                  <a:gd name="T59" fmla="*/ 122 h 646"/>
                  <a:gd name="T60" fmla="*/ 202 w 642"/>
                  <a:gd name="T61" fmla="*/ 304 h 646"/>
                  <a:gd name="T62" fmla="*/ 222 w 642"/>
                  <a:gd name="T63" fmla="*/ 332 h 646"/>
                  <a:gd name="T64" fmla="*/ 202 w 642"/>
                  <a:gd name="T65" fmla="*/ 342 h 646"/>
                  <a:gd name="T66" fmla="*/ 30 w 642"/>
                  <a:gd name="T67" fmla="*/ 522 h 646"/>
                  <a:gd name="T68" fmla="*/ 12 w 642"/>
                  <a:gd name="T69" fmla="*/ 542 h 646"/>
                  <a:gd name="T70" fmla="*/ 4 w 642"/>
                  <a:gd name="T71" fmla="*/ 568 h 646"/>
                  <a:gd name="T72" fmla="*/ 2 w 642"/>
                  <a:gd name="T73" fmla="*/ 598 h 646"/>
                  <a:gd name="T74" fmla="*/ 18 w 642"/>
                  <a:gd name="T75" fmla="*/ 626 h 646"/>
                  <a:gd name="T76" fmla="*/ 36 w 642"/>
                  <a:gd name="T77" fmla="*/ 638 h 646"/>
                  <a:gd name="T78" fmla="*/ 68 w 642"/>
                  <a:gd name="T79" fmla="*/ 646 h 646"/>
                  <a:gd name="T80" fmla="*/ 100 w 642"/>
                  <a:gd name="T81" fmla="*/ 638 h 646"/>
                  <a:gd name="T82" fmla="*/ 120 w 642"/>
                  <a:gd name="T83" fmla="*/ 626 h 646"/>
                  <a:gd name="T84" fmla="*/ 258 w 642"/>
                  <a:gd name="T85" fmla="*/ 484 h 646"/>
                  <a:gd name="T86" fmla="*/ 312 w 642"/>
                  <a:gd name="T87" fmla="*/ 428 h 646"/>
                  <a:gd name="T88" fmla="*/ 324 w 642"/>
                  <a:gd name="T89" fmla="*/ 420 h 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42" h="646">
                    <a:moveTo>
                      <a:pt x="324" y="420"/>
                    </a:moveTo>
                    <a:lnTo>
                      <a:pt x="324" y="420"/>
                    </a:lnTo>
                    <a:lnTo>
                      <a:pt x="330" y="428"/>
                    </a:lnTo>
                    <a:lnTo>
                      <a:pt x="334" y="432"/>
                    </a:lnTo>
                    <a:lnTo>
                      <a:pt x="338" y="432"/>
                    </a:lnTo>
                    <a:lnTo>
                      <a:pt x="338" y="432"/>
                    </a:lnTo>
                    <a:lnTo>
                      <a:pt x="382" y="480"/>
                    </a:lnTo>
                    <a:lnTo>
                      <a:pt x="428" y="528"/>
                    </a:lnTo>
                    <a:lnTo>
                      <a:pt x="476" y="574"/>
                    </a:lnTo>
                    <a:lnTo>
                      <a:pt x="524" y="620"/>
                    </a:lnTo>
                    <a:lnTo>
                      <a:pt x="524" y="620"/>
                    </a:lnTo>
                    <a:lnTo>
                      <a:pt x="536" y="630"/>
                    </a:lnTo>
                    <a:lnTo>
                      <a:pt x="548" y="638"/>
                    </a:lnTo>
                    <a:lnTo>
                      <a:pt x="562" y="642"/>
                    </a:lnTo>
                    <a:lnTo>
                      <a:pt x="574" y="644"/>
                    </a:lnTo>
                    <a:lnTo>
                      <a:pt x="588" y="644"/>
                    </a:lnTo>
                    <a:lnTo>
                      <a:pt x="600" y="640"/>
                    </a:lnTo>
                    <a:lnTo>
                      <a:pt x="614" y="634"/>
                    </a:lnTo>
                    <a:lnTo>
                      <a:pt x="626" y="626"/>
                    </a:lnTo>
                    <a:lnTo>
                      <a:pt x="626" y="626"/>
                    </a:lnTo>
                    <a:lnTo>
                      <a:pt x="634" y="614"/>
                    </a:lnTo>
                    <a:lnTo>
                      <a:pt x="640" y="600"/>
                    </a:lnTo>
                    <a:lnTo>
                      <a:pt x="642" y="588"/>
                    </a:lnTo>
                    <a:lnTo>
                      <a:pt x="642" y="574"/>
                    </a:lnTo>
                    <a:lnTo>
                      <a:pt x="640" y="560"/>
                    </a:lnTo>
                    <a:lnTo>
                      <a:pt x="634" y="548"/>
                    </a:lnTo>
                    <a:lnTo>
                      <a:pt x="628" y="534"/>
                    </a:lnTo>
                    <a:lnTo>
                      <a:pt x="620" y="522"/>
                    </a:lnTo>
                    <a:lnTo>
                      <a:pt x="620" y="522"/>
                    </a:lnTo>
                    <a:lnTo>
                      <a:pt x="580" y="488"/>
                    </a:lnTo>
                    <a:lnTo>
                      <a:pt x="542" y="452"/>
                    </a:lnTo>
                    <a:lnTo>
                      <a:pt x="542" y="452"/>
                    </a:lnTo>
                    <a:lnTo>
                      <a:pt x="414" y="322"/>
                    </a:lnTo>
                    <a:lnTo>
                      <a:pt x="414" y="322"/>
                    </a:lnTo>
                    <a:lnTo>
                      <a:pt x="428" y="312"/>
                    </a:lnTo>
                    <a:lnTo>
                      <a:pt x="440" y="304"/>
                    </a:lnTo>
                    <a:lnTo>
                      <a:pt x="440" y="304"/>
                    </a:lnTo>
                    <a:lnTo>
                      <a:pt x="484" y="256"/>
                    </a:lnTo>
                    <a:lnTo>
                      <a:pt x="530" y="210"/>
                    </a:lnTo>
                    <a:lnTo>
                      <a:pt x="574" y="164"/>
                    </a:lnTo>
                    <a:lnTo>
                      <a:pt x="620" y="116"/>
                    </a:lnTo>
                    <a:lnTo>
                      <a:pt x="620" y="116"/>
                    </a:lnTo>
                    <a:lnTo>
                      <a:pt x="626" y="108"/>
                    </a:lnTo>
                    <a:lnTo>
                      <a:pt x="632" y="100"/>
                    </a:lnTo>
                    <a:lnTo>
                      <a:pt x="636" y="92"/>
                    </a:lnTo>
                    <a:lnTo>
                      <a:pt x="638" y="82"/>
                    </a:lnTo>
                    <a:lnTo>
                      <a:pt x="640" y="74"/>
                    </a:lnTo>
                    <a:lnTo>
                      <a:pt x="640" y="64"/>
                    </a:lnTo>
                    <a:lnTo>
                      <a:pt x="638" y="44"/>
                    </a:lnTo>
                    <a:lnTo>
                      <a:pt x="638" y="44"/>
                    </a:lnTo>
                    <a:lnTo>
                      <a:pt x="628" y="28"/>
                    </a:lnTo>
                    <a:lnTo>
                      <a:pt x="614" y="16"/>
                    </a:lnTo>
                    <a:lnTo>
                      <a:pt x="598" y="6"/>
                    </a:lnTo>
                    <a:lnTo>
                      <a:pt x="580" y="0"/>
                    </a:lnTo>
                    <a:lnTo>
                      <a:pt x="580" y="0"/>
                    </a:lnTo>
                    <a:lnTo>
                      <a:pt x="562" y="2"/>
                    </a:lnTo>
                    <a:lnTo>
                      <a:pt x="546" y="8"/>
                    </a:lnTo>
                    <a:lnTo>
                      <a:pt x="532" y="16"/>
                    </a:lnTo>
                    <a:lnTo>
                      <a:pt x="516" y="26"/>
                    </a:lnTo>
                    <a:lnTo>
                      <a:pt x="516" y="26"/>
                    </a:lnTo>
                    <a:lnTo>
                      <a:pt x="474" y="72"/>
                    </a:lnTo>
                    <a:lnTo>
                      <a:pt x="430" y="118"/>
                    </a:lnTo>
                    <a:lnTo>
                      <a:pt x="384" y="162"/>
                    </a:lnTo>
                    <a:lnTo>
                      <a:pt x="338" y="206"/>
                    </a:lnTo>
                    <a:lnTo>
                      <a:pt x="338" y="206"/>
                    </a:lnTo>
                    <a:lnTo>
                      <a:pt x="318" y="226"/>
                    </a:lnTo>
                    <a:lnTo>
                      <a:pt x="318" y="226"/>
                    </a:lnTo>
                    <a:lnTo>
                      <a:pt x="298" y="206"/>
                    </a:lnTo>
                    <a:lnTo>
                      <a:pt x="298" y="206"/>
                    </a:lnTo>
                    <a:lnTo>
                      <a:pt x="212" y="116"/>
                    </a:lnTo>
                    <a:lnTo>
                      <a:pt x="166" y="70"/>
                    </a:lnTo>
                    <a:lnTo>
                      <a:pt x="120" y="26"/>
                    </a:lnTo>
                    <a:lnTo>
                      <a:pt x="120" y="26"/>
                    </a:lnTo>
                    <a:lnTo>
                      <a:pt x="114" y="18"/>
                    </a:lnTo>
                    <a:lnTo>
                      <a:pt x="108" y="14"/>
                    </a:lnTo>
                    <a:lnTo>
                      <a:pt x="96" y="6"/>
                    </a:lnTo>
                    <a:lnTo>
                      <a:pt x="80" y="2"/>
                    </a:lnTo>
                    <a:lnTo>
                      <a:pt x="62" y="0"/>
                    </a:lnTo>
                    <a:lnTo>
                      <a:pt x="62" y="0"/>
                    </a:lnTo>
                    <a:lnTo>
                      <a:pt x="44" y="6"/>
                    </a:lnTo>
                    <a:lnTo>
                      <a:pt x="26" y="16"/>
                    </a:lnTo>
                    <a:lnTo>
                      <a:pt x="18" y="20"/>
                    </a:lnTo>
                    <a:lnTo>
                      <a:pt x="12" y="28"/>
                    </a:lnTo>
                    <a:lnTo>
                      <a:pt x="8" y="36"/>
                    </a:lnTo>
                    <a:lnTo>
                      <a:pt x="4" y="44"/>
                    </a:lnTo>
                    <a:lnTo>
                      <a:pt x="4" y="44"/>
                    </a:lnTo>
                    <a:lnTo>
                      <a:pt x="2" y="64"/>
                    </a:lnTo>
                    <a:lnTo>
                      <a:pt x="4" y="84"/>
                    </a:lnTo>
                    <a:lnTo>
                      <a:pt x="12" y="102"/>
                    </a:lnTo>
                    <a:lnTo>
                      <a:pt x="24" y="122"/>
                    </a:lnTo>
                    <a:lnTo>
                      <a:pt x="24" y="122"/>
                    </a:lnTo>
                    <a:lnTo>
                      <a:pt x="202" y="304"/>
                    </a:lnTo>
                    <a:lnTo>
                      <a:pt x="202" y="304"/>
                    </a:lnTo>
                    <a:lnTo>
                      <a:pt x="228" y="328"/>
                    </a:lnTo>
                    <a:lnTo>
                      <a:pt x="228" y="328"/>
                    </a:lnTo>
                    <a:lnTo>
                      <a:pt x="222" y="332"/>
                    </a:lnTo>
                    <a:lnTo>
                      <a:pt x="216" y="336"/>
                    </a:lnTo>
                    <a:lnTo>
                      <a:pt x="208" y="338"/>
                    </a:lnTo>
                    <a:lnTo>
                      <a:pt x="202" y="342"/>
                    </a:lnTo>
                    <a:lnTo>
                      <a:pt x="202" y="342"/>
                    </a:lnTo>
                    <a:lnTo>
                      <a:pt x="116" y="432"/>
                    </a:lnTo>
                    <a:lnTo>
                      <a:pt x="30" y="522"/>
                    </a:lnTo>
                    <a:lnTo>
                      <a:pt x="30" y="522"/>
                    </a:lnTo>
                    <a:lnTo>
                      <a:pt x="20" y="532"/>
                    </a:lnTo>
                    <a:lnTo>
                      <a:pt x="12" y="542"/>
                    </a:lnTo>
                    <a:lnTo>
                      <a:pt x="6" y="554"/>
                    </a:lnTo>
                    <a:lnTo>
                      <a:pt x="4" y="568"/>
                    </a:lnTo>
                    <a:lnTo>
                      <a:pt x="4" y="568"/>
                    </a:lnTo>
                    <a:lnTo>
                      <a:pt x="2" y="578"/>
                    </a:lnTo>
                    <a:lnTo>
                      <a:pt x="0" y="588"/>
                    </a:lnTo>
                    <a:lnTo>
                      <a:pt x="2" y="598"/>
                    </a:lnTo>
                    <a:lnTo>
                      <a:pt x="6" y="608"/>
                    </a:lnTo>
                    <a:lnTo>
                      <a:pt x="12" y="618"/>
                    </a:lnTo>
                    <a:lnTo>
                      <a:pt x="18" y="626"/>
                    </a:lnTo>
                    <a:lnTo>
                      <a:pt x="28" y="634"/>
                    </a:lnTo>
                    <a:lnTo>
                      <a:pt x="36" y="638"/>
                    </a:lnTo>
                    <a:lnTo>
                      <a:pt x="36" y="638"/>
                    </a:lnTo>
                    <a:lnTo>
                      <a:pt x="46" y="642"/>
                    </a:lnTo>
                    <a:lnTo>
                      <a:pt x="56" y="644"/>
                    </a:lnTo>
                    <a:lnTo>
                      <a:pt x="68" y="646"/>
                    </a:lnTo>
                    <a:lnTo>
                      <a:pt x="78" y="644"/>
                    </a:lnTo>
                    <a:lnTo>
                      <a:pt x="88" y="642"/>
                    </a:lnTo>
                    <a:lnTo>
                      <a:pt x="100" y="638"/>
                    </a:lnTo>
                    <a:lnTo>
                      <a:pt x="110" y="632"/>
                    </a:lnTo>
                    <a:lnTo>
                      <a:pt x="120" y="626"/>
                    </a:lnTo>
                    <a:lnTo>
                      <a:pt x="120" y="626"/>
                    </a:lnTo>
                    <a:lnTo>
                      <a:pt x="164" y="578"/>
                    </a:lnTo>
                    <a:lnTo>
                      <a:pt x="210" y="530"/>
                    </a:lnTo>
                    <a:lnTo>
                      <a:pt x="258" y="484"/>
                    </a:lnTo>
                    <a:lnTo>
                      <a:pt x="306" y="438"/>
                    </a:lnTo>
                    <a:lnTo>
                      <a:pt x="306" y="438"/>
                    </a:lnTo>
                    <a:lnTo>
                      <a:pt x="312" y="428"/>
                    </a:lnTo>
                    <a:lnTo>
                      <a:pt x="318" y="424"/>
                    </a:lnTo>
                    <a:lnTo>
                      <a:pt x="324" y="420"/>
                    </a:lnTo>
                    <a:lnTo>
                      <a:pt x="324" y="4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64" name="Freeform 9"/>
              <p:cNvSpPr>
                <a:spLocks/>
              </p:cNvSpPr>
              <p:nvPr/>
            </p:nvSpPr>
            <p:spPr bwMode="auto">
              <a:xfrm>
                <a:off x="11793538" y="3810000"/>
                <a:ext cx="1019175" cy="1022350"/>
              </a:xfrm>
              <a:custGeom>
                <a:avLst/>
                <a:gdLst>
                  <a:gd name="T0" fmla="*/ 436 w 642"/>
                  <a:gd name="T1" fmla="*/ 342 h 644"/>
                  <a:gd name="T2" fmla="*/ 418 w 642"/>
                  <a:gd name="T3" fmla="*/ 322 h 644"/>
                  <a:gd name="T4" fmla="*/ 436 w 642"/>
                  <a:gd name="T5" fmla="*/ 304 h 644"/>
                  <a:gd name="T6" fmla="*/ 526 w 642"/>
                  <a:gd name="T7" fmla="*/ 210 h 644"/>
                  <a:gd name="T8" fmla="*/ 616 w 642"/>
                  <a:gd name="T9" fmla="*/ 118 h 644"/>
                  <a:gd name="T10" fmla="*/ 624 w 642"/>
                  <a:gd name="T11" fmla="*/ 112 h 644"/>
                  <a:gd name="T12" fmla="*/ 636 w 642"/>
                  <a:gd name="T13" fmla="*/ 94 h 644"/>
                  <a:gd name="T14" fmla="*/ 642 w 642"/>
                  <a:gd name="T15" fmla="*/ 60 h 644"/>
                  <a:gd name="T16" fmla="*/ 636 w 642"/>
                  <a:gd name="T17" fmla="*/ 42 h 644"/>
                  <a:gd name="T18" fmla="*/ 614 w 642"/>
                  <a:gd name="T19" fmla="*/ 12 h 644"/>
                  <a:gd name="T20" fmla="*/ 598 w 642"/>
                  <a:gd name="T21" fmla="*/ 2 h 644"/>
                  <a:gd name="T22" fmla="*/ 558 w 642"/>
                  <a:gd name="T23" fmla="*/ 2 h 644"/>
                  <a:gd name="T24" fmla="*/ 520 w 642"/>
                  <a:gd name="T25" fmla="*/ 22 h 644"/>
                  <a:gd name="T26" fmla="*/ 480 w 642"/>
                  <a:gd name="T27" fmla="*/ 64 h 644"/>
                  <a:gd name="T28" fmla="*/ 354 w 642"/>
                  <a:gd name="T29" fmla="*/ 194 h 644"/>
                  <a:gd name="T30" fmla="*/ 338 w 642"/>
                  <a:gd name="T31" fmla="*/ 212 h 644"/>
                  <a:gd name="T32" fmla="*/ 322 w 642"/>
                  <a:gd name="T33" fmla="*/ 234 h 644"/>
                  <a:gd name="T34" fmla="*/ 294 w 642"/>
                  <a:gd name="T35" fmla="*/ 200 h 644"/>
                  <a:gd name="T36" fmla="*/ 270 w 642"/>
                  <a:gd name="T37" fmla="*/ 176 h 644"/>
                  <a:gd name="T38" fmla="*/ 116 w 642"/>
                  <a:gd name="T39" fmla="*/ 22 h 644"/>
                  <a:gd name="T40" fmla="*/ 94 w 642"/>
                  <a:gd name="T41" fmla="*/ 6 h 644"/>
                  <a:gd name="T42" fmla="*/ 68 w 642"/>
                  <a:gd name="T43" fmla="*/ 2 h 644"/>
                  <a:gd name="T44" fmla="*/ 42 w 642"/>
                  <a:gd name="T45" fmla="*/ 6 h 644"/>
                  <a:gd name="T46" fmla="*/ 20 w 642"/>
                  <a:gd name="T47" fmla="*/ 22 h 644"/>
                  <a:gd name="T48" fmla="*/ 12 w 642"/>
                  <a:gd name="T49" fmla="*/ 32 h 644"/>
                  <a:gd name="T50" fmla="*/ 2 w 642"/>
                  <a:gd name="T51" fmla="*/ 56 h 644"/>
                  <a:gd name="T52" fmla="*/ 2 w 642"/>
                  <a:gd name="T53" fmla="*/ 82 h 644"/>
                  <a:gd name="T54" fmla="*/ 12 w 642"/>
                  <a:gd name="T55" fmla="*/ 108 h 644"/>
                  <a:gd name="T56" fmla="*/ 20 w 642"/>
                  <a:gd name="T57" fmla="*/ 118 h 644"/>
                  <a:gd name="T58" fmla="*/ 78 w 642"/>
                  <a:gd name="T59" fmla="*/ 176 h 644"/>
                  <a:gd name="T60" fmla="*/ 226 w 642"/>
                  <a:gd name="T61" fmla="*/ 322 h 644"/>
                  <a:gd name="T62" fmla="*/ 206 w 642"/>
                  <a:gd name="T63" fmla="*/ 342 h 644"/>
                  <a:gd name="T64" fmla="*/ 70 w 642"/>
                  <a:gd name="T65" fmla="*/ 474 h 644"/>
                  <a:gd name="T66" fmla="*/ 26 w 642"/>
                  <a:gd name="T67" fmla="*/ 522 h 644"/>
                  <a:gd name="T68" fmla="*/ 12 w 642"/>
                  <a:gd name="T69" fmla="*/ 542 h 644"/>
                  <a:gd name="T70" fmla="*/ 0 w 642"/>
                  <a:gd name="T71" fmla="*/ 560 h 644"/>
                  <a:gd name="T72" fmla="*/ 0 w 642"/>
                  <a:gd name="T73" fmla="*/ 584 h 644"/>
                  <a:gd name="T74" fmla="*/ 8 w 642"/>
                  <a:gd name="T75" fmla="*/ 606 h 644"/>
                  <a:gd name="T76" fmla="*/ 22 w 642"/>
                  <a:gd name="T77" fmla="*/ 624 h 644"/>
                  <a:gd name="T78" fmla="*/ 40 w 642"/>
                  <a:gd name="T79" fmla="*/ 638 h 644"/>
                  <a:gd name="T80" fmla="*/ 50 w 642"/>
                  <a:gd name="T81" fmla="*/ 642 h 644"/>
                  <a:gd name="T82" fmla="*/ 70 w 642"/>
                  <a:gd name="T83" fmla="*/ 644 h 644"/>
                  <a:gd name="T84" fmla="*/ 90 w 642"/>
                  <a:gd name="T85" fmla="*/ 638 h 644"/>
                  <a:gd name="T86" fmla="*/ 108 w 642"/>
                  <a:gd name="T87" fmla="*/ 626 h 644"/>
                  <a:gd name="T88" fmla="*/ 116 w 642"/>
                  <a:gd name="T89" fmla="*/ 618 h 644"/>
                  <a:gd name="T90" fmla="*/ 210 w 642"/>
                  <a:gd name="T91" fmla="*/ 528 h 644"/>
                  <a:gd name="T92" fmla="*/ 302 w 642"/>
                  <a:gd name="T93" fmla="*/ 438 h 644"/>
                  <a:gd name="T94" fmla="*/ 322 w 642"/>
                  <a:gd name="T95" fmla="*/ 420 h 644"/>
                  <a:gd name="T96" fmla="*/ 340 w 642"/>
                  <a:gd name="T97" fmla="*/ 438 h 644"/>
                  <a:gd name="T98" fmla="*/ 430 w 642"/>
                  <a:gd name="T99" fmla="*/ 526 h 644"/>
                  <a:gd name="T100" fmla="*/ 520 w 642"/>
                  <a:gd name="T101" fmla="*/ 618 h 644"/>
                  <a:gd name="T102" fmla="*/ 534 w 642"/>
                  <a:gd name="T103" fmla="*/ 628 h 644"/>
                  <a:gd name="T104" fmla="*/ 566 w 642"/>
                  <a:gd name="T105" fmla="*/ 642 h 644"/>
                  <a:gd name="T106" fmla="*/ 584 w 642"/>
                  <a:gd name="T107" fmla="*/ 644 h 644"/>
                  <a:gd name="T108" fmla="*/ 618 w 642"/>
                  <a:gd name="T109" fmla="*/ 628 h 644"/>
                  <a:gd name="T110" fmla="*/ 628 w 642"/>
                  <a:gd name="T111" fmla="*/ 616 h 644"/>
                  <a:gd name="T112" fmla="*/ 636 w 642"/>
                  <a:gd name="T113" fmla="*/ 598 h 644"/>
                  <a:gd name="T114" fmla="*/ 640 w 642"/>
                  <a:gd name="T115" fmla="*/ 590 h 644"/>
                  <a:gd name="T116" fmla="*/ 642 w 642"/>
                  <a:gd name="T117" fmla="*/ 570 h 644"/>
                  <a:gd name="T118" fmla="*/ 638 w 642"/>
                  <a:gd name="T119" fmla="*/ 550 h 644"/>
                  <a:gd name="T120" fmla="*/ 624 w 642"/>
                  <a:gd name="T121" fmla="*/ 522 h 644"/>
                  <a:gd name="T122" fmla="*/ 576 w 642"/>
                  <a:gd name="T123" fmla="*/ 478 h 644"/>
                  <a:gd name="T124" fmla="*/ 436 w 642"/>
                  <a:gd name="T125" fmla="*/ 342 h 6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42" h="644">
                    <a:moveTo>
                      <a:pt x="436" y="342"/>
                    </a:moveTo>
                    <a:lnTo>
                      <a:pt x="436" y="342"/>
                    </a:lnTo>
                    <a:lnTo>
                      <a:pt x="418" y="322"/>
                    </a:lnTo>
                    <a:lnTo>
                      <a:pt x="418" y="322"/>
                    </a:lnTo>
                    <a:lnTo>
                      <a:pt x="436" y="304"/>
                    </a:lnTo>
                    <a:lnTo>
                      <a:pt x="436" y="304"/>
                    </a:lnTo>
                    <a:lnTo>
                      <a:pt x="482" y="256"/>
                    </a:lnTo>
                    <a:lnTo>
                      <a:pt x="526" y="210"/>
                    </a:lnTo>
                    <a:lnTo>
                      <a:pt x="572" y="164"/>
                    </a:lnTo>
                    <a:lnTo>
                      <a:pt x="616" y="118"/>
                    </a:lnTo>
                    <a:lnTo>
                      <a:pt x="616" y="118"/>
                    </a:lnTo>
                    <a:lnTo>
                      <a:pt x="624" y="112"/>
                    </a:lnTo>
                    <a:lnTo>
                      <a:pt x="628" y="106"/>
                    </a:lnTo>
                    <a:lnTo>
                      <a:pt x="636" y="94"/>
                    </a:lnTo>
                    <a:lnTo>
                      <a:pt x="642" y="78"/>
                    </a:lnTo>
                    <a:lnTo>
                      <a:pt x="642" y="60"/>
                    </a:lnTo>
                    <a:lnTo>
                      <a:pt x="642" y="60"/>
                    </a:lnTo>
                    <a:lnTo>
                      <a:pt x="636" y="42"/>
                    </a:lnTo>
                    <a:lnTo>
                      <a:pt x="628" y="26"/>
                    </a:lnTo>
                    <a:lnTo>
                      <a:pt x="614" y="12"/>
                    </a:lnTo>
                    <a:lnTo>
                      <a:pt x="598" y="2"/>
                    </a:lnTo>
                    <a:lnTo>
                      <a:pt x="598" y="2"/>
                    </a:lnTo>
                    <a:lnTo>
                      <a:pt x="578" y="0"/>
                    </a:lnTo>
                    <a:lnTo>
                      <a:pt x="558" y="2"/>
                    </a:lnTo>
                    <a:lnTo>
                      <a:pt x="540" y="10"/>
                    </a:lnTo>
                    <a:lnTo>
                      <a:pt x="520" y="22"/>
                    </a:lnTo>
                    <a:lnTo>
                      <a:pt x="520" y="22"/>
                    </a:lnTo>
                    <a:lnTo>
                      <a:pt x="480" y="64"/>
                    </a:lnTo>
                    <a:lnTo>
                      <a:pt x="440" y="108"/>
                    </a:lnTo>
                    <a:lnTo>
                      <a:pt x="354" y="194"/>
                    </a:lnTo>
                    <a:lnTo>
                      <a:pt x="354" y="194"/>
                    </a:lnTo>
                    <a:lnTo>
                      <a:pt x="338" y="212"/>
                    </a:lnTo>
                    <a:lnTo>
                      <a:pt x="322" y="234"/>
                    </a:lnTo>
                    <a:lnTo>
                      <a:pt x="322" y="234"/>
                    </a:lnTo>
                    <a:lnTo>
                      <a:pt x="308" y="216"/>
                    </a:lnTo>
                    <a:lnTo>
                      <a:pt x="294" y="200"/>
                    </a:lnTo>
                    <a:lnTo>
                      <a:pt x="270" y="176"/>
                    </a:lnTo>
                    <a:lnTo>
                      <a:pt x="270" y="176"/>
                    </a:lnTo>
                    <a:lnTo>
                      <a:pt x="116" y="22"/>
                    </a:lnTo>
                    <a:lnTo>
                      <a:pt x="116" y="22"/>
                    </a:lnTo>
                    <a:lnTo>
                      <a:pt x="106" y="12"/>
                    </a:lnTo>
                    <a:lnTo>
                      <a:pt x="94" y="6"/>
                    </a:lnTo>
                    <a:lnTo>
                      <a:pt x="82" y="4"/>
                    </a:lnTo>
                    <a:lnTo>
                      <a:pt x="68" y="2"/>
                    </a:lnTo>
                    <a:lnTo>
                      <a:pt x="54" y="4"/>
                    </a:lnTo>
                    <a:lnTo>
                      <a:pt x="42" y="6"/>
                    </a:lnTo>
                    <a:lnTo>
                      <a:pt x="30" y="12"/>
                    </a:lnTo>
                    <a:lnTo>
                      <a:pt x="20" y="22"/>
                    </a:lnTo>
                    <a:lnTo>
                      <a:pt x="20" y="22"/>
                    </a:lnTo>
                    <a:lnTo>
                      <a:pt x="12" y="32"/>
                    </a:lnTo>
                    <a:lnTo>
                      <a:pt x="6" y="44"/>
                    </a:lnTo>
                    <a:lnTo>
                      <a:pt x="2" y="56"/>
                    </a:lnTo>
                    <a:lnTo>
                      <a:pt x="0" y="70"/>
                    </a:lnTo>
                    <a:lnTo>
                      <a:pt x="2" y="82"/>
                    </a:lnTo>
                    <a:lnTo>
                      <a:pt x="6" y="96"/>
                    </a:lnTo>
                    <a:lnTo>
                      <a:pt x="12" y="108"/>
                    </a:lnTo>
                    <a:lnTo>
                      <a:pt x="20" y="118"/>
                    </a:lnTo>
                    <a:lnTo>
                      <a:pt x="20" y="118"/>
                    </a:lnTo>
                    <a:lnTo>
                      <a:pt x="78" y="176"/>
                    </a:lnTo>
                    <a:lnTo>
                      <a:pt x="78" y="176"/>
                    </a:lnTo>
                    <a:lnTo>
                      <a:pt x="226" y="322"/>
                    </a:lnTo>
                    <a:lnTo>
                      <a:pt x="226" y="322"/>
                    </a:lnTo>
                    <a:lnTo>
                      <a:pt x="206" y="342"/>
                    </a:lnTo>
                    <a:lnTo>
                      <a:pt x="206" y="342"/>
                    </a:lnTo>
                    <a:lnTo>
                      <a:pt x="116" y="430"/>
                    </a:lnTo>
                    <a:lnTo>
                      <a:pt x="70" y="474"/>
                    </a:lnTo>
                    <a:lnTo>
                      <a:pt x="26" y="522"/>
                    </a:lnTo>
                    <a:lnTo>
                      <a:pt x="26" y="522"/>
                    </a:lnTo>
                    <a:lnTo>
                      <a:pt x="18" y="532"/>
                    </a:lnTo>
                    <a:lnTo>
                      <a:pt x="12" y="542"/>
                    </a:lnTo>
                    <a:lnTo>
                      <a:pt x="0" y="560"/>
                    </a:lnTo>
                    <a:lnTo>
                      <a:pt x="0" y="560"/>
                    </a:lnTo>
                    <a:lnTo>
                      <a:pt x="0" y="572"/>
                    </a:lnTo>
                    <a:lnTo>
                      <a:pt x="0" y="584"/>
                    </a:lnTo>
                    <a:lnTo>
                      <a:pt x="4" y="596"/>
                    </a:lnTo>
                    <a:lnTo>
                      <a:pt x="8" y="606"/>
                    </a:lnTo>
                    <a:lnTo>
                      <a:pt x="14" y="616"/>
                    </a:lnTo>
                    <a:lnTo>
                      <a:pt x="22" y="624"/>
                    </a:lnTo>
                    <a:lnTo>
                      <a:pt x="30" y="632"/>
                    </a:lnTo>
                    <a:lnTo>
                      <a:pt x="40" y="638"/>
                    </a:lnTo>
                    <a:lnTo>
                      <a:pt x="40" y="638"/>
                    </a:lnTo>
                    <a:lnTo>
                      <a:pt x="50" y="642"/>
                    </a:lnTo>
                    <a:lnTo>
                      <a:pt x="60" y="644"/>
                    </a:lnTo>
                    <a:lnTo>
                      <a:pt x="70" y="644"/>
                    </a:lnTo>
                    <a:lnTo>
                      <a:pt x="80" y="642"/>
                    </a:lnTo>
                    <a:lnTo>
                      <a:pt x="90" y="638"/>
                    </a:lnTo>
                    <a:lnTo>
                      <a:pt x="100" y="634"/>
                    </a:lnTo>
                    <a:lnTo>
                      <a:pt x="108" y="626"/>
                    </a:lnTo>
                    <a:lnTo>
                      <a:pt x="116" y="618"/>
                    </a:lnTo>
                    <a:lnTo>
                      <a:pt x="116" y="618"/>
                    </a:lnTo>
                    <a:lnTo>
                      <a:pt x="164" y="574"/>
                    </a:lnTo>
                    <a:lnTo>
                      <a:pt x="210" y="528"/>
                    </a:lnTo>
                    <a:lnTo>
                      <a:pt x="256" y="482"/>
                    </a:lnTo>
                    <a:lnTo>
                      <a:pt x="302" y="438"/>
                    </a:lnTo>
                    <a:lnTo>
                      <a:pt x="302" y="438"/>
                    </a:lnTo>
                    <a:lnTo>
                      <a:pt x="322" y="420"/>
                    </a:lnTo>
                    <a:lnTo>
                      <a:pt x="322" y="420"/>
                    </a:lnTo>
                    <a:lnTo>
                      <a:pt x="340" y="438"/>
                    </a:lnTo>
                    <a:lnTo>
                      <a:pt x="340" y="438"/>
                    </a:lnTo>
                    <a:lnTo>
                      <a:pt x="430" y="526"/>
                    </a:lnTo>
                    <a:lnTo>
                      <a:pt x="476" y="572"/>
                    </a:lnTo>
                    <a:lnTo>
                      <a:pt x="520" y="618"/>
                    </a:lnTo>
                    <a:lnTo>
                      <a:pt x="520" y="618"/>
                    </a:lnTo>
                    <a:lnTo>
                      <a:pt x="534" y="628"/>
                    </a:lnTo>
                    <a:lnTo>
                      <a:pt x="550" y="636"/>
                    </a:lnTo>
                    <a:lnTo>
                      <a:pt x="566" y="642"/>
                    </a:lnTo>
                    <a:lnTo>
                      <a:pt x="584" y="644"/>
                    </a:lnTo>
                    <a:lnTo>
                      <a:pt x="584" y="644"/>
                    </a:lnTo>
                    <a:lnTo>
                      <a:pt x="602" y="638"/>
                    </a:lnTo>
                    <a:lnTo>
                      <a:pt x="618" y="628"/>
                    </a:lnTo>
                    <a:lnTo>
                      <a:pt x="624" y="622"/>
                    </a:lnTo>
                    <a:lnTo>
                      <a:pt x="628" y="616"/>
                    </a:lnTo>
                    <a:lnTo>
                      <a:pt x="632" y="608"/>
                    </a:lnTo>
                    <a:lnTo>
                      <a:pt x="636" y="598"/>
                    </a:lnTo>
                    <a:lnTo>
                      <a:pt x="636" y="598"/>
                    </a:lnTo>
                    <a:lnTo>
                      <a:pt x="640" y="590"/>
                    </a:lnTo>
                    <a:lnTo>
                      <a:pt x="642" y="580"/>
                    </a:lnTo>
                    <a:lnTo>
                      <a:pt x="642" y="570"/>
                    </a:lnTo>
                    <a:lnTo>
                      <a:pt x="642" y="560"/>
                    </a:lnTo>
                    <a:lnTo>
                      <a:pt x="638" y="550"/>
                    </a:lnTo>
                    <a:lnTo>
                      <a:pt x="634" y="542"/>
                    </a:lnTo>
                    <a:lnTo>
                      <a:pt x="624" y="522"/>
                    </a:lnTo>
                    <a:lnTo>
                      <a:pt x="624" y="522"/>
                    </a:lnTo>
                    <a:lnTo>
                      <a:pt x="576" y="478"/>
                    </a:lnTo>
                    <a:lnTo>
                      <a:pt x="528" y="432"/>
                    </a:lnTo>
                    <a:lnTo>
                      <a:pt x="436" y="342"/>
                    </a:lnTo>
                    <a:lnTo>
                      <a:pt x="436" y="3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cxnSp>
          <p:nvCxnSpPr>
            <p:cNvPr id="365" name="Straight Connector 505"/>
            <p:cNvCxnSpPr/>
            <p:nvPr/>
          </p:nvCxnSpPr>
          <p:spPr>
            <a:xfrm flipH="1">
              <a:off x="1266766" y="1612704"/>
              <a:ext cx="860409" cy="337061"/>
            </a:xfrm>
            <a:prstGeom prst="line">
              <a:avLst/>
            </a:prstGeom>
            <a:ln w="12700">
              <a:solidFill>
                <a:schemeClr val="tx1"/>
              </a:solidFill>
              <a:prstDash val="sysDash"/>
            </a:ln>
          </p:spPr>
          <p:style>
            <a:lnRef idx="2">
              <a:schemeClr val="accent1"/>
            </a:lnRef>
            <a:fillRef idx="0">
              <a:schemeClr val="accent1"/>
            </a:fillRef>
            <a:effectRef idx="1">
              <a:schemeClr val="accent1"/>
            </a:effectRef>
            <a:fontRef idx="minor">
              <a:schemeClr val="tx1"/>
            </a:fontRef>
          </p:style>
        </p:cxnSp>
        <p:sp>
          <p:nvSpPr>
            <p:cNvPr id="250" name="Freeform 14"/>
            <p:cNvSpPr>
              <a:spLocks noChangeAspect="1"/>
            </p:cNvSpPr>
            <p:nvPr/>
          </p:nvSpPr>
          <p:spPr bwMode="auto">
            <a:xfrm>
              <a:off x="1574903" y="3178673"/>
              <a:ext cx="434540" cy="341424"/>
            </a:xfrm>
            <a:custGeom>
              <a:avLst/>
              <a:gdLst>
                <a:gd name="T0" fmla="*/ 484 w 532"/>
                <a:gd name="T1" fmla="*/ 60 h 418"/>
                <a:gd name="T2" fmla="*/ 502 w 532"/>
                <a:gd name="T3" fmla="*/ 36 h 418"/>
                <a:gd name="T4" fmla="*/ 516 w 532"/>
                <a:gd name="T5" fmla="*/ 8 h 418"/>
                <a:gd name="T6" fmla="*/ 500 w 532"/>
                <a:gd name="T7" fmla="*/ 16 h 418"/>
                <a:gd name="T8" fmla="*/ 464 w 532"/>
                <a:gd name="T9" fmla="*/ 28 h 418"/>
                <a:gd name="T10" fmla="*/ 446 w 532"/>
                <a:gd name="T11" fmla="*/ 32 h 418"/>
                <a:gd name="T12" fmla="*/ 412 w 532"/>
                <a:gd name="T13" fmla="*/ 8 h 418"/>
                <a:gd name="T14" fmla="*/ 370 w 532"/>
                <a:gd name="T15" fmla="*/ 0 h 418"/>
                <a:gd name="T16" fmla="*/ 348 w 532"/>
                <a:gd name="T17" fmla="*/ 2 h 418"/>
                <a:gd name="T18" fmla="*/ 310 w 532"/>
                <a:gd name="T19" fmla="*/ 18 h 418"/>
                <a:gd name="T20" fmla="*/ 282 w 532"/>
                <a:gd name="T21" fmla="*/ 46 h 418"/>
                <a:gd name="T22" fmla="*/ 266 w 532"/>
                <a:gd name="T23" fmla="*/ 84 h 418"/>
                <a:gd name="T24" fmla="*/ 264 w 532"/>
                <a:gd name="T25" fmla="*/ 106 h 418"/>
                <a:gd name="T26" fmla="*/ 266 w 532"/>
                <a:gd name="T27" fmla="*/ 132 h 418"/>
                <a:gd name="T28" fmla="*/ 234 w 532"/>
                <a:gd name="T29" fmla="*/ 126 h 418"/>
                <a:gd name="T30" fmla="*/ 174 w 532"/>
                <a:gd name="T31" fmla="*/ 108 h 418"/>
                <a:gd name="T32" fmla="*/ 120 w 532"/>
                <a:gd name="T33" fmla="*/ 78 h 418"/>
                <a:gd name="T34" fmla="*/ 72 w 532"/>
                <a:gd name="T35" fmla="*/ 40 h 418"/>
                <a:gd name="T36" fmla="*/ 52 w 532"/>
                <a:gd name="T37" fmla="*/ 16 h 418"/>
                <a:gd name="T38" fmla="*/ 44 w 532"/>
                <a:gd name="T39" fmla="*/ 42 h 418"/>
                <a:gd name="T40" fmla="*/ 40 w 532"/>
                <a:gd name="T41" fmla="*/ 68 h 418"/>
                <a:gd name="T42" fmla="*/ 40 w 532"/>
                <a:gd name="T43" fmla="*/ 82 h 418"/>
                <a:gd name="T44" fmla="*/ 46 w 532"/>
                <a:gd name="T45" fmla="*/ 106 h 418"/>
                <a:gd name="T46" fmla="*/ 56 w 532"/>
                <a:gd name="T47" fmla="*/ 128 h 418"/>
                <a:gd name="T48" fmla="*/ 78 w 532"/>
                <a:gd name="T49" fmla="*/ 158 h 418"/>
                <a:gd name="T50" fmla="*/ 58 w 532"/>
                <a:gd name="T51" fmla="*/ 150 h 418"/>
                <a:gd name="T52" fmla="*/ 36 w 532"/>
                <a:gd name="T53" fmla="*/ 142 h 418"/>
                <a:gd name="T54" fmla="*/ 40 w 532"/>
                <a:gd name="T55" fmla="*/ 168 h 418"/>
                <a:gd name="T56" fmla="*/ 50 w 532"/>
                <a:gd name="T57" fmla="*/ 194 h 418"/>
                <a:gd name="T58" fmla="*/ 60 w 532"/>
                <a:gd name="T59" fmla="*/ 212 h 418"/>
                <a:gd name="T60" fmla="*/ 92 w 532"/>
                <a:gd name="T61" fmla="*/ 242 h 418"/>
                <a:gd name="T62" fmla="*/ 110 w 532"/>
                <a:gd name="T63" fmla="*/ 252 h 418"/>
                <a:gd name="T64" fmla="*/ 74 w 532"/>
                <a:gd name="T65" fmla="*/ 252 h 418"/>
                <a:gd name="T66" fmla="*/ 86 w 532"/>
                <a:gd name="T67" fmla="*/ 274 h 418"/>
                <a:gd name="T68" fmla="*/ 104 w 532"/>
                <a:gd name="T69" fmla="*/ 294 h 418"/>
                <a:gd name="T70" fmla="*/ 122 w 532"/>
                <a:gd name="T71" fmla="*/ 308 h 418"/>
                <a:gd name="T72" fmla="*/ 158 w 532"/>
                <a:gd name="T73" fmla="*/ 324 h 418"/>
                <a:gd name="T74" fmla="*/ 178 w 532"/>
                <a:gd name="T75" fmla="*/ 326 h 418"/>
                <a:gd name="T76" fmla="*/ 138 w 532"/>
                <a:gd name="T77" fmla="*/ 346 h 418"/>
                <a:gd name="T78" fmla="*/ 96 w 532"/>
                <a:gd name="T79" fmla="*/ 362 h 418"/>
                <a:gd name="T80" fmla="*/ 52 w 532"/>
                <a:gd name="T81" fmla="*/ 370 h 418"/>
                <a:gd name="T82" fmla="*/ 4 w 532"/>
                <a:gd name="T83" fmla="*/ 374 h 418"/>
                <a:gd name="T84" fmla="*/ 0 w 532"/>
                <a:gd name="T85" fmla="*/ 374 h 418"/>
                <a:gd name="T86" fmla="*/ 18 w 532"/>
                <a:gd name="T87" fmla="*/ 384 h 418"/>
                <a:gd name="T88" fmla="*/ 56 w 532"/>
                <a:gd name="T89" fmla="*/ 400 h 418"/>
                <a:gd name="T90" fmla="*/ 96 w 532"/>
                <a:gd name="T91" fmla="*/ 410 h 418"/>
                <a:gd name="T92" fmla="*/ 138 w 532"/>
                <a:gd name="T93" fmla="*/ 416 h 418"/>
                <a:gd name="T94" fmla="*/ 160 w 532"/>
                <a:gd name="T95" fmla="*/ 418 h 418"/>
                <a:gd name="T96" fmla="*/ 224 w 532"/>
                <a:gd name="T97" fmla="*/ 412 h 418"/>
                <a:gd name="T98" fmla="*/ 286 w 532"/>
                <a:gd name="T99" fmla="*/ 394 h 418"/>
                <a:gd name="T100" fmla="*/ 338 w 532"/>
                <a:gd name="T101" fmla="*/ 368 h 418"/>
                <a:gd name="T102" fmla="*/ 386 w 532"/>
                <a:gd name="T103" fmla="*/ 332 h 418"/>
                <a:gd name="T104" fmla="*/ 422 w 532"/>
                <a:gd name="T105" fmla="*/ 288 h 418"/>
                <a:gd name="T106" fmla="*/ 452 w 532"/>
                <a:gd name="T107" fmla="*/ 236 h 418"/>
                <a:gd name="T108" fmla="*/ 468 w 532"/>
                <a:gd name="T109" fmla="*/ 178 h 418"/>
                <a:gd name="T110" fmla="*/ 474 w 532"/>
                <a:gd name="T111" fmla="*/ 114 h 418"/>
                <a:gd name="T112" fmla="*/ 476 w 532"/>
                <a:gd name="T113" fmla="*/ 106 h 418"/>
                <a:gd name="T114" fmla="*/ 476 w 532"/>
                <a:gd name="T115" fmla="*/ 104 h 418"/>
                <a:gd name="T116" fmla="*/ 476 w 532"/>
                <a:gd name="T117" fmla="*/ 102 h 418"/>
                <a:gd name="T118" fmla="*/ 492 w 532"/>
                <a:gd name="T119" fmla="*/ 92 h 418"/>
                <a:gd name="T120" fmla="*/ 520 w 532"/>
                <a:gd name="T121" fmla="*/ 66 h 418"/>
                <a:gd name="T122" fmla="*/ 532 w 532"/>
                <a:gd name="T123" fmla="*/ 52 h 418"/>
                <a:gd name="T124" fmla="*/ 484 w 532"/>
                <a:gd name="T125" fmla="*/ 60 h 4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32" h="418">
                  <a:moveTo>
                    <a:pt x="484" y="60"/>
                  </a:moveTo>
                  <a:lnTo>
                    <a:pt x="484" y="60"/>
                  </a:lnTo>
                  <a:lnTo>
                    <a:pt x="494" y="48"/>
                  </a:lnTo>
                  <a:lnTo>
                    <a:pt x="502" y="36"/>
                  </a:lnTo>
                  <a:lnTo>
                    <a:pt x="510" y="22"/>
                  </a:lnTo>
                  <a:lnTo>
                    <a:pt x="516" y="8"/>
                  </a:lnTo>
                  <a:lnTo>
                    <a:pt x="516" y="8"/>
                  </a:lnTo>
                  <a:lnTo>
                    <a:pt x="500" y="16"/>
                  </a:lnTo>
                  <a:lnTo>
                    <a:pt x="482" y="24"/>
                  </a:lnTo>
                  <a:lnTo>
                    <a:pt x="464" y="28"/>
                  </a:lnTo>
                  <a:lnTo>
                    <a:pt x="446" y="32"/>
                  </a:lnTo>
                  <a:lnTo>
                    <a:pt x="446" y="32"/>
                  </a:lnTo>
                  <a:lnTo>
                    <a:pt x="430" y="20"/>
                  </a:lnTo>
                  <a:lnTo>
                    <a:pt x="412" y="8"/>
                  </a:lnTo>
                  <a:lnTo>
                    <a:pt x="392" y="2"/>
                  </a:lnTo>
                  <a:lnTo>
                    <a:pt x="370" y="0"/>
                  </a:lnTo>
                  <a:lnTo>
                    <a:pt x="370" y="0"/>
                  </a:lnTo>
                  <a:lnTo>
                    <a:pt x="348" y="2"/>
                  </a:lnTo>
                  <a:lnTo>
                    <a:pt x="328" y="8"/>
                  </a:lnTo>
                  <a:lnTo>
                    <a:pt x="310" y="18"/>
                  </a:lnTo>
                  <a:lnTo>
                    <a:pt x="294" y="32"/>
                  </a:lnTo>
                  <a:lnTo>
                    <a:pt x="282" y="46"/>
                  </a:lnTo>
                  <a:lnTo>
                    <a:pt x="272" y="64"/>
                  </a:lnTo>
                  <a:lnTo>
                    <a:pt x="266" y="84"/>
                  </a:lnTo>
                  <a:lnTo>
                    <a:pt x="264" y="106"/>
                  </a:lnTo>
                  <a:lnTo>
                    <a:pt x="264" y="106"/>
                  </a:lnTo>
                  <a:lnTo>
                    <a:pt x="264" y="120"/>
                  </a:lnTo>
                  <a:lnTo>
                    <a:pt x="266" y="132"/>
                  </a:lnTo>
                  <a:lnTo>
                    <a:pt x="266" y="132"/>
                  </a:lnTo>
                  <a:lnTo>
                    <a:pt x="234" y="126"/>
                  </a:lnTo>
                  <a:lnTo>
                    <a:pt x="204" y="120"/>
                  </a:lnTo>
                  <a:lnTo>
                    <a:pt x="174" y="108"/>
                  </a:lnTo>
                  <a:lnTo>
                    <a:pt x="146" y="94"/>
                  </a:lnTo>
                  <a:lnTo>
                    <a:pt x="120" y="78"/>
                  </a:lnTo>
                  <a:lnTo>
                    <a:pt x="96" y="60"/>
                  </a:lnTo>
                  <a:lnTo>
                    <a:pt x="72" y="40"/>
                  </a:lnTo>
                  <a:lnTo>
                    <a:pt x="52" y="16"/>
                  </a:lnTo>
                  <a:lnTo>
                    <a:pt x="52" y="16"/>
                  </a:lnTo>
                  <a:lnTo>
                    <a:pt x="46" y="30"/>
                  </a:lnTo>
                  <a:lnTo>
                    <a:pt x="44" y="42"/>
                  </a:lnTo>
                  <a:lnTo>
                    <a:pt x="40" y="56"/>
                  </a:lnTo>
                  <a:lnTo>
                    <a:pt x="40" y="68"/>
                  </a:lnTo>
                  <a:lnTo>
                    <a:pt x="40" y="68"/>
                  </a:lnTo>
                  <a:lnTo>
                    <a:pt x="40" y="82"/>
                  </a:lnTo>
                  <a:lnTo>
                    <a:pt x="42" y="94"/>
                  </a:lnTo>
                  <a:lnTo>
                    <a:pt x="46" y="106"/>
                  </a:lnTo>
                  <a:lnTo>
                    <a:pt x="50" y="118"/>
                  </a:lnTo>
                  <a:lnTo>
                    <a:pt x="56" y="128"/>
                  </a:lnTo>
                  <a:lnTo>
                    <a:pt x="62" y="140"/>
                  </a:lnTo>
                  <a:lnTo>
                    <a:pt x="78" y="158"/>
                  </a:lnTo>
                  <a:lnTo>
                    <a:pt x="78" y="158"/>
                  </a:lnTo>
                  <a:lnTo>
                    <a:pt x="58" y="150"/>
                  </a:lnTo>
                  <a:lnTo>
                    <a:pt x="36" y="142"/>
                  </a:lnTo>
                  <a:lnTo>
                    <a:pt x="36" y="142"/>
                  </a:lnTo>
                  <a:lnTo>
                    <a:pt x="38" y="156"/>
                  </a:lnTo>
                  <a:lnTo>
                    <a:pt x="40" y="168"/>
                  </a:lnTo>
                  <a:lnTo>
                    <a:pt x="44" y="180"/>
                  </a:lnTo>
                  <a:lnTo>
                    <a:pt x="50" y="194"/>
                  </a:lnTo>
                  <a:lnTo>
                    <a:pt x="50" y="194"/>
                  </a:lnTo>
                  <a:lnTo>
                    <a:pt x="60" y="212"/>
                  </a:lnTo>
                  <a:lnTo>
                    <a:pt x="76" y="228"/>
                  </a:lnTo>
                  <a:lnTo>
                    <a:pt x="92" y="242"/>
                  </a:lnTo>
                  <a:lnTo>
                    <a:pt x="110" y="252"/>
                  </a:lnTo>
                  <a:lnTo>
                    <a:pt x="110" y="252"/>
                  </a:lnTo>
                  <a:lnTo>
                    <a:pt x="74" y="252"/>
                  </a:lnTo>
                  <a:lnTo>
                    <a:pt x="74" y="252"/>
                  </a:lnTo>
                  <a:lnTo>
                    <a:pt x="80" y="264"/>
                  </a:lnTo>
                  <a:lnTo>
                    <a:pt x="86" y="274"/>
                  </a:lnTo>
                  <a:lnTo>
                    <a:pt x="94" y="286"/>
                  </a:lnTo>
                  <a:lnTo>
                    <a:pt x="104" y="294"/>
                  </a:lnTo>
                  <a:lnTo>
                    <a:pt x="104" y="294"/>
                  </a:lnTo>
                  <a:lnTo>
                    <a:pt x="122" y="308"/>
                  </a:lnTo>
                  <a:lnTo>
                    <a:pt x="140" y="318"/>
                  </a:lnTo>
                  <a:lnTo>
                    <a:pt x="158" y="324"/>
                  </a:lnTo>
                  <a:lnTo>
                    <a:pt x="178" y="326"/>
                  </a:lnTo>
                  <a:lnTo>
                    <a:pt x="178" y="326"/>
                  </a:lnTo>
                  <a:lnTo>
                    <a:pt x="160" y="336"/>
                  </a:lnTo>
                  <a:lnTo>
                    <a:pt x="138" y="346"/>
                  </a:lnTo>
                  <a:lnTo>
                    <a:pt x="118" y="354"/>
                  </a:lnTo>
                  <a:lnTo>
                    <a:pt x="96" y="362"/>
                  </a:lnTo>
                  <a:lnTo>
                    <a:pt x="74" y="366"/>
                  </a:lnTo>
                  <a:lnTo>
                    <a:pt x="52" y="370"/>
                  </a:lnTo>
                  <a:lnTo>
                    <a:pt x="28" y="374"/>
                  </a:lnTo>
                  <a:lnTo>
                    <a:pt x="4" y="374"/>
                  </a:lnTo>
                  <a:lnTo>
                    <a:pt x="4" y="374"/>
                  </a:lnTo>
                  <a:lnTo>
                    <a:pt x="0" y="374"/>
                  </a:lnTo>
                  <a:lnTo>
                    <a:pt x="0" y="374"/>
                  </a:lnTo>
                  <a:lnTo>
                    <a:pt x="18" y="384"/>
                  </a:lnTo>
                  <a:lnTo>
                    <a:pt x="36" y="392"/>
                  </a:lnTo>
                  <a:lnTo>
                    <a:pt x="56" y="400"/>
                  </a:lnTo>
                  <a:lnTo>
                    <a:pt x="76" y="406"/>
                  </a:lnTo>
                  <a:lnTo>
                    <a:pt x="96" y="410"/>
                  </a:lnTo>
                  <a:lnTo>
                    <a:pt x="116" y="414"/>
                  </a:lnTo>
                  <a:lnTo>
                    <a:pt x="138" y="416"/>
                  </a:lnTo>
                  <a:lnTo>
                    <a:pt x="160" y="418"/>
                  </a:lnTo>
                  <a:lnTo>
                    <a:pt x="160" y="418"/>
                  </a:lnTo>
                  <a:lnTo>
                    <a:pt x="192" y="416"/>
                  </a:lnTo>
                  <a:lnTo>
                    <a:pt x="224" y="412"/>
                  </a:lnTo>
                  <a:lnTo>
                    <a:pt x="256" y="404"/>
                  </a:lnTo>
                  <a:lnTo>
                    <a:pt x="286" y="394"/>
                  </a:lnTo>
                  <a:lnTo>
                    <a:pt x="312" y="382"/>
                  </a:lnTo>
                  <a:lnTo>
                    <a:pt x="338" y="368"/>
                  </a:lnTo>
                  <a:lnTo>
                    <a:pt x="364" y="352"/>
                  </a:lnTo>
                  <a:lnTo>
                    <a:pt x="386" y="332"/>
                  </a:lnTo>
                  <a:lnTo>
                    <a:pt x="406" y="312"/>
                  </a:lnTo>
                  <a:lnTo>
                    <a:pt x="422" y="288"/>
                  </a:lnTo>
                  <a:lnTo>
                    <a:pt x="438" y="264"/>
                  </a:lnTo>
                  <a:lnTo>
                    <a:pt x="452" y="236"/>
                  </a:lnTo>
                  <a:lnTo>
                    <a:pt x="462" y="208"/>
                  </a:lnTo>
                  <a:lnTo>
                    <a:pt x="468" y="178"/>
                  </a:lnTo>
                  <a:lnTo>
                    <a:pt x="474" y="146"/>
                  </a:lnTo>
                  <a:lnTo>
                    <a:pt x="474" y="114"/>
                  </a:lnTo>
                  <a:lnTo>
                    <a:pt x="474" y="114"/>
                  </a:lnTo>
                  <a:lnTo>
                    <a:pt x="476" y="106"/>
                  </a:lnTo>
                  <a:lnTo>
                    <a:pt x="476" y="106"/>
                  </a:lnTo>
                  <a:lnTo>
                    <a:pt x="476" y="104"/>
                  </a:lnTo>
                  <a:lnTo>
                    <a:pt x="476" y="104"/>
                  </a:lnTo>
                  <a:lnTo>
                    <a:pt x="476" y="102"/>
                  </a:lnTo>
                  <a:lnTo>
                    <a:pt x="476" y="102"/>
                  </a:lnTo>
                  <a:lnTo>
                    <a:pt x="492" y="92"/>
                  </a:lnTo>
                  <a:lnTo>
                    <a:pt x="506" y="80"/>
                  </a:lnTo>
                  <a:lnTo>
                    <a:pt x="520" y="66"/>
                  </a:lnTo>
                  <a:lnTo>
                    <a:pt x="532" y="52"/>
                  </a:lnTo>
                  <a:lnTo>
                    <a:pt x="532" y="52"/>
                  </a:lnTo>
                  <a:lnTo>
                    <a:pt x="508" y="56"/>
                  </a:lnTo>
                  <a:lnTo>
                    <a:pt x="484" y="60"/>
                  </a:lnTo>
                  <a:lnTo>
                    <a:pt x="484" y="60"/>
                  </a:lnTo>
                  <a:close/>
                </a:path>
              </a:pathLst>
            </a:custGeom>
            <a:solidFill>
              <a:srgbClr val="8DC63F"/>
            </a:solidFill>
            <a:ln>
              <a:noFill/>
            </a:ln>
          </p:spPr>
          <p:txBody>
            <a:bodyPr vert="horz" wrap="square" lIns="91440" tIns="45720" rIns="91440" bIns="45720" numCol="1" anchor="t" anchorCtr="0" compatLnSpc="1">
              <a:prstTxWarp prst="textNoShape">
                <a:avLst/>
              </a:prstTxWarp>
            </a:bodyPr>
            <a:lstStyle/>
            <a:p>
              <a:endParaRPr lang="en-US" dirty="0"/>
            </a:p>
          </p:txBody>
        </p:sp>
        <p:grpSp>
          <p:nvGrpSpPr>
            <p:cNvPr id="241" name="Gruppieren 240"/>
            <p:cNvGrpSpPr>
              <a:grpSpLocks noChangeAspect="1"/>
            </p:cNvGrpSpPr>
            <p:nvPr/>
          </p:nvGrpSpPr>
          <p:grpSpPr>
            <a:xfrm>
              <a:off x="959160" y="1805928"/>
              <a:ext cx="445470" cy="483146"/>
              <a:chOff x="9837738" y="1558925"/>
              <a:chExt cx="638175" cy="692151"/>
            </a:xfrm>
            <a:solidFill>
              <a:srgbClr val="8DC63F"/>
            </a:solidFill>
          </p:grpSpPr>
          <p:sp>
            <p:nvSpPr>
              <p:cNvPr id="242" name="Freeform 19"/>
              <p:cNvSpPr>
                <a:spLocks noEditPoints="1"/>
              </p:cNvSpPr>
              <p:nvPr/>
            </p:nvSpPr>
            <p:spPr bwMode="auto">
              <a:xfrm>
                <a:off x="9837738" y="1839913"/>
                <a:ext cx="428625" cy="411163"/>
              </a:xfrm>
              <a:custGeom>
                <a:avLst/>
                <a:gdLst>
                  <a:gd name="T0" fmla="*/ 404 w 809"/>
                  <a:gd name="T1" fmla="*/ 778 h 778"/>
                  <a:gd name="T2" fmla="*/ 388 w 809"/>
                  <a:gd name="T3" fmla="*/ 775 h 778"/>
                  <a:gd name="T4" fmla="*/ 375 w 809"/>
                  <a:gd name="T5" fmla="*/ 765 h 778"/>
                  <a:gd name="T6" fmla="*/ 9 w 809"/>
                  <a:gd name="T7" fmla="*/ 333 h 778"/>
                  <a:gd name="T8" fmla="*/ 0 w 809"/>
                  <a:gd name="T9" fmla="*/ 317 h 778"/>
                  <a:gd name="T10" fmla="*/ 1 w 809"/>
                  <a:gd name="T11" fmla="*/ 300 h 778"/>
                  <a:gd name="T12" fmla="*/ 6 w 809"/>
                  <a:gd name="T13" fmla="*/ 293 h 778"/>
                  <a:gd name="T14" fmla="*/ 22 w 809"/>
                  <a:gd name="T15" fmla="*/ 284 h 778"/>
                  <a:gd name="T16" fmla="*/ 222 w 809"/>
                  <a:gd name="T17" fmla="*/ 282 h 778"/>
                  <a:gd name="T18" fmla="*/ 220 w 809"/>
                  <a:gd name="T19" fmla="*/ 41 h 778"/>
                  <a:gd name="T20" fmla="*/ 223 w 809"/>
                  <a:gd name="T21" fmla="*/ 25 h 778"/>
                  <a:gd name="T22" fmla="*/ 232 w 809"/>
                  <a:gd name="T23" fmla="*/ 12 h 778"/>
                  <a:gd name="T24" fmla="*/ 245 w 809"/>
                  <a:gd name="T25" fmla="*/ 3 h 778"/>
                  <a:gd name="T26" fmla="*/ 262 w 809"/>
                  <a:gd name="T27" fmla="*/ 0 h 778"/>
                  <a:gd name="T28" fmla="*/ 546 w 809"/>
                  <a:gd name="T29" fmla="*/ 0 h 778"/>
                  <a:gd name="T30" fmla="*/ 562 w 809"/>
                  <a:gd name="T31" fmla="*/ 3 h 778"/>
                  <a:gd name="T32" fmla="*/ 575 w 809"/>
                  <a:gd name="T33" fmla="*/ 12 h 778"/>
                  <a:gd name="T34" fmla="*/ 584 w 809"/>
                  <a:gd name="T35" fmla="*/ 25 h 778"/>
                  <a:gd name="T36" fmla="*/ 587 w 809"/>
                  <a:gd name="T37" fmla="*/ 41 h 778"/>
                  <a:gd name="T38" fmla="*/ 776 w 809"/>
                  <a:gd name="T39" fmla="*/ 282 h 778"/>
                  <a:gd name="T40" fmla="*/ 787 w 809"/>
                  <a:gd name="T41" fmla="*/ 284 h 778"/>
                  <a:gd name="T42" fmla="*/ 802 w 809"/>
                  <a:gd name="T43" fmla="*/ 293 h 778"/>
                  <a:gd name="T44" fmla="*/ 806 w 809"/>
                  <a:gd name="T45" fmla="*/ 300 h 778"/>
                  <a:gd name="T46" fmla="*/ 807 w 809"/>
                  <a:gd name="T47" fmla="*/ 317 h 778"/>
                  <a:gd name="T48" fmla="*/ 800 w 809"/>
                  <a:gd name="T49" fmla="*/ 333 h 778"/>
                  <a:gd name="T50" fmla="*/ 433 w 809"/>
                  <a:gd name="T51" fmla="*/ 765 h 778"/>
                  <a:gd name="T52" fmla="*/ 419 w 809"/>
                  <a:gd name="T53" fmla="*/ 775 h 778"/>
                  <a:gd name="T54" fmla="*/ 404 w 809"/>
                  <a:gd name="T55" fmla="*/ 778 h 778"/>
                  <a:gd name="T56" fmla="*/ 57 w 809"/>
                  <a:gd name="T57" fmla="*/ 326 h 778"/>
                  <a:gd name="T58" fmla="*/ 751 w 809"/>
                  <a:gd name="T59" fmla="*/ 326 h 778"/>
                  <a:gd name="T60" fmla="*/ 587 w 809"/>
                  <a:gd name="T61" fmla="*/ 326 h 778"/>
                  <a:gd name="T62" fmla="*/ 571 w 809"/>
                  <a:gd name="T63" fmla="*/ 323 h 778"/>
                  <a:gd name="T64" fmla="*/ 558 w 809"/>
                  <a:gd name="T65" fmla="*/ 314 h 778"/>
                  <a:gd name="T66" fmla="*/ 549 w 809"/>
                  <a:gd name="T67" fmla="*/ 300 h 778"/>
                  <a:gd name="T68" fmla="*/ 546 w 809"/>
                  <a:gd name="T69" fmla="*/ 284 h 778"/>
                  <a:gd name="T70" fmla="*/ 262 w 809"/>
                  <a:gd name="T71" fmla="*/ 43 h 778"/>
                  <a:gd name="T72" fmla="*/ 263 w 809"/>
                  <a:gd name="T73" fmla="*/ 284 h 778"/>
                  <a:gd name="T74" fmla="*/ 260 w 809"/>
                  <a:gd name="T75" fmla="*/ 300 h 778"/>
                  <a:gd name="T76" fmla="*/ 251 w 809"/>
                  <a:gd name="T77" fmla="*/ 314 h 778"/>
                  <a:gd name="T78" fmla="*/ 238 w 809"/>
                  <a:gd name="T79" fmla="*/ 323 h 778"/>
                  <a:gd name="T80" fmla="*/ 222 w 809"/>
                  <a:gd name="T81" fmla="*/ 326 h 7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09" h="778">
                    <a:moveTo>
                      <a:pt x="404" y="778"/>
                    </a:moveTo>
                    <a:lnTo>
                      <a:pt x="404" y="778"/>
                    </a:lnTo>
                    <a:lnTo>
                      <a:pt x="396" y="778"/>
                    </a:lnTo>
                    <a:lnTo>
                      <a:pt x="388" y="775"/>
                    </a:lnTo>
                    <a:lnTo>
                      <a:pt x="381" y="771"/>
                    </a:lnTo>
                    <a:lnTo>
                      <a:pt x="375" y="765"/>
                    </a:lnTo>
                    <a:lnTo>
                      <a:pt x="9" y="333"/>
                    </a:lnTo>
                    <a:lnTo>
                      <a:pt x="9" y="333"/>
                    </a:lnTo>
                    <a:lnTo>
                      <a:pt x="3" y="326"/>
                    </a:lnTo>
                    <a:lnTo>
                      <a:pt x="0" y="317"/>
                    </a:lnTo>
                    <a:lnTo>
                      <a:pt x="0" y="308"/>
                    </a:lnTo>
                    <a:lnTo>
                      <a:pt x="1" y="300"/>
                    </a:lnTo>
                    <a:lnTo>
                      <a:pt x="1" y="300"/>
                    </a:lnTo>
                    <a:lnTo>
                      <a:pt x="6" y="293"/>
                    </a:lnTo>
                    <a:lnTo>
                      <a:pt x="13" y="287"/>
                    </a:lnTo>
                    <a:lnTo>
                      <a:pt x="22" y="284"/>
                    </a:lnTo>
                    <a:lnTo>
                      <a:pt x="31" y="282"/>
                    </a:lnTo>
                    <a:lnTo>
                      <a:pt x="222" y="282"/>
                    </a:lnTo>
                    <a:lnTo>
                      <a:pt x="220" y="41"/>
                    </a:lnTo>
                    <a:lnTo>
                      <a:pt x="220" y="41"/>
                    </a:lnTo>
                    <a:lnTo>
                      <a:pt x="222" y="32"/>
                    </a:lnTo>
                    <a:lnTo>
                      <a:pt x="223" y="25"/>
                    </a:lnTo>
                    <a:lnTo>
                      <a:pt x="228" y="18"/>
                    </a:lnTo>
                    <a:lnTo>
                      <a:pt x="232" y="12"/>
                    </a:lnTo>
                    <a:lnTo>
                      <a:pt x="239" y="7"/>
                    </a:lnTo>
                    <a:lnTo>
                      <a:pt x="245" y="3"/>
                    </a:lnTo>
                    <a:lnTo>
                      <a:pt x="254" y="0"/>
                    </a:lnTo>
                    <a:lnTo>
                      <a:pt x="262" y="0"/>
                    </a:lnTo>
                    <a:lnTo>
                      <a:pt x="546" y="0"/>
                    </a:lnTo>
                    <a:lnTo>
                      <a:pt x="546" y="0"/>
                    </a:lnTo>
                    <a:lnTo>
                      <a:pt x="555" y="0"/>
                    </a:lnTo>
                    <a:lnTo>
                      <a:pt x="562" y="3"/>
                    </a:lnTo>
                    <a:lnTo>
                      <a:pt x="570" y="7"/>
                    </a:lnTo>
                    <a:lnTo>
                      <a:pt x="575" y="12"/>
                    </a:lnTo>
                    <a:lnTo>
                      <a:pt x="580" y="18"/>
                    </a:lnTo>
                    <a:lnTo>
                      <a:pt x="584" y="25"/>
                    </a:lnTo>
                    <a:lnTo>
                      <a:pt x="587" y="32"/>
                    </a:lnTo>
                    <a:lnTo>
                      <a:pt x="587" y="41"/>
                    </a:lnTo>
                    <a:lnTo>
                      <a:pt x="587" y="284"/>
                    </a:lnTo>
                    <a:lnTo>
                      <a:pt x="776" y="282"/>
                    </a:lnTo>
                    <a:lnTo>
                      <a:pt x="776" y="282"/>
                    </a:lnTo>
                    <a:lnTo>
                      <a:pt x="787" y="284"/>
                    </a:lnTo>
                    <a:lnTo>
                      <a:pt x="794" y="287"/>
                    </a:lnTo>
                    <a:lnTo>
                      <a:pt x="802" y="293"/>
                    </a:lnTo>
                    <a:lnTo>
                      <a:pt x="806" y="300"/>
                    </a:lnTo>
                    <a:lnTo>
                      <a:pt x="806" y="300"/>
                    </a:lnTo>
                    <a:lnTo>
                      <a:pt x="809" y="308"/>
                    </a:lnTo>
                    <a:lnTo>
                      <a:pt x="807" y="317"/>
                    </a:lnTo>
                    <a:lnTo>
                      <a:pt x="804" y="326"/>
                    </a:lnTo>
                    <a:lnTo>
                      <a:pt x="800" y="333"/>
                    </a:lnTo>
                    <a:lnTo>
                      <a:pt x="433" y="765"/>
                    </a:lnTo>
                    <a:lnTo>
                      <a:pt x="433" y="765"/>
                    </a:lnTo>
                    <a:lnTo>
                      <a:pt x="427" y="771"/>
                    </a:lnTo>
                    <a:lnTo>
                      <a:pt x="419" y="775"/>
                    </a:lnTo>
                    <a:lnTo>
                      <a:pt x="412" y="778"/>
                    </a:lnTo>
                    <a:lnTo>
                      <a:pt x="404" y="778"/>
                    </a:lnTo>
                    <a:lnTo>
                      <a:pt x="404" y="778"/>
                    </a:lnTo>
                    <a:close/>
                    <a:moveTo>
                      <a:pt x="57" y="326"/>
                    </a:moveTo>
                    <a:lnTo>
                      <a:pt x="404" y="733"/>
                    </a:lnTo>
                    <a:lnTo>
                      <a:pt x="751" y="326"/>
                    </a:lnTo>
                    <a:lnTo>
                      <a:pt x="587" y="326"/>
                    </a:lnTo>
                    <a:lnTo>
                      <a:pt x="587" y="326"/>
                    </a:lnTo>
                    <a:lnTo>
                      <a:pt x="578" y="324"/>
                    </a:lnTo>
                    <a:lnTo>
                      <a:pt x="571" y="323"/>
                    </a:lnTo>
                    <a:lnTo>
                      <a:pt x="564" y="318"/>
                    </a:lnTo>
                    <a:lnTo>
                      <a:pt x="558" y="314"/>
                    </a:lnTo>
                    <a:lnTo>
                      <a:pt x="552" y="308"/>
                    </a:lnTo>
                    <a:lnTo>
                      <a:pt x="549" y="300"/>
                    </a:lnTo>
                    <a:lnTo>
                      <a:pt x="546" y="293"/>
                    </a:lnTo>
                    <a:lnTo>
                      <a:pt x="546" y="284"/>
                    </a:lnTo>
                    <a:lnTo>
                      <a:pt x="546" y="41"/>
                    </a:lnTo>
                    <a:lnTo>
                      <a:pt x="262" y="43"/>
                    </a:lnTo>
                    <a:lnTo>
                      <a:pt x="263" y="284"/>
                    </a:lnTo>
                    <a:lnTo>
                      <a:pt x="263" y="284"/>
                    </a:lnTo>
                    <a:lnTo>
                      <a:pt x="262" y="293"/>
                    </a:lnTo>
                    <a:lnTo>
                      <a:pt x="260" y="300"/>
                    </a:lnTo>
                    <a:lnTo>
                      <a:pt x="256" y="308"/>
                    </a:lnTo>
                    <a:lnTo>
                      <a:pt x="251" y="314"/>
                    </a:lnTo>
                    <a:lnTo>
                      <a:pt x="244" y="318"/>
                    </a:lnTo>
                    <a:lnTo>
                      <a:pt x="238" y="323"/>
                    </a:lnTo>
                    <a:lnTo>
                      <a:pt x="229" y="324"/>
                    </a:lnTo>
                    <a:lnTo>
                      <a:pt x="222" y="326"/>
                    </a:lnTo>
                    <a:lnTo>
                      <a:pt x="57" y="3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43" name="Freeform 20"/>
              <p:cNvSpPr>
                <a:spLocks/>
              </p:cNvSpPr>
              <p:nvPr/>
            </p:nvSpPr>
            <p:spPr bwMode="auto">
              <a:xfrm>
                <a:off x="10063163" y="1558925"/>
                <a:ext cx="412750" cy="393700"/>
              </a:xfrm>
              <a:custGeom>
                <a:avLst/>
                <a:gdLst>
                  <a:gd name="T0" fmla="*/ 223 w 781"/>
                  <a:gd name="T1" fmla="*/ 461 h 744"/>
                  <a:gd name="T2" fmla="*/ 223 w 781"/>
                  <a:gd name="T3" fmla="*/ 461 h 744"/>
                  <a:gd name="T4" fmla="*/ 226 w 781"/>
                  <a:gd name="T5" fmla="*/ 463 h 744"/>
                  <a:gd name="T6" fmla="*/ 228 w 781"/>
                  <a:gd name="T7" fmla="*/ 466 h 744"/>
                  <a:gd name="T8" fmla="*/ 228 w 781"/>
                  <a:gd name="T9" fmla="*/ 740 h 744"/>
                  <a:gd name="T10" fmla="*/ 228 w 781"/>
                  <a:gd name="T11" fmla="*/ 740 h 744"/>
                  <a:gd name="T12" fmla="*/ 229 w 781"/>
                  <a:gd name="T13" fmla="*/ 743 h 744"/>
                  <a:gd name="T14" fmla="*/ 232 w 781"/>
                  <a:gd name="T15" fmla="*/ 744 h 744"/>
                  <a:gd name="T16" fmla="*/ 549 w 781"/>
                  <a:gd name="T17" fmla="*/ 744 h 744"/>
                  <a:gd name="T18" fmla="*/ 549 w 781"/>
                  <a:gd name="T19" fmla="*/ 744 h 744"/>
                  <a:gd name="T20" fmla="*/ 552 w 781"/>
                  <a:gd name="T21" fmla="*/ 743 h 744"/>
                  <a:gd name="T22" fmla="*/ 552 w 781"/>
                  <a:gd name="T23" fmla="*/ 740 h 744"/>
                  <a:gd name="T24" fmla="*/ 552 w 781"/>
                  <a:gd name="T25" fmla="*/ 466 h 744"/>
                  <a:gd name="T26" fmla="*/ 552 w 781"/>
                  <a:gd name="T27" fmla="*/ 466 h 744"/>
                  <a:gd name="T28" fmla="*/ 553 w 781"/>
                  <a:gd name="T29" fmla="*/ 463 h 744"/>
                  <a:gd name="T30" fmla="*/ 556 w 781"/>
                  <a:gd name="T31" fmla="*/ 461 h 744"/>
                  <a:gd name="T32" fmla="*/ 778 w 781"/>
                  <a:gd name="T33" fmla="*/ 461 h 744"/>
                  <a:gd name="T34" fmla="*/ 778 w 781"/>
                  <a:gd name="T35" fmla="*/ 461 h 744"/>
                  <a:gd name="T36" fmla="*/ 781 w 781"/>
                  <a:gd name="T37" fmla="*/ 460 h 744"/>
                  <a:gd name="T38" fmla="*/ 780 w 781"/>
                  <a:gd name="T39" fmla="*/ 458 h 744"/>
                  <a:gd name="T40" fmla="*/ 393 w 781"/>
                  <a:gd name="T41" fmla="*/ 1 h 744"/>
                  <a:gd name="T42" fmla="*/ 393 w 781"/>
                  <a:gd name="T43" fmla="*/ 1 h 744"/>
                  <a:gd name="T44" fmla="*/ 390 w 781"/>
                  <a:gd name="T45" fmla="*/ 0 h 744"/>
                  <a:gd name="T46" fmla="*/ 387 w 781"/>
                  <a:gd name="T47" fmla="*/ 1 h 744"/>
                  <a:gd name="T48" fmla="*/ 0 w 781"/>
                  <a:gd name="T49" fmla="*/ 458 h 744"/>
                  <a:gd name="T50" fmla="*/ 0 w 781"/>
                  <a:gd name="T51" fmla="*/ 458 h 744"/>
                  <a:gd name="T52" fmla="*/ 0 w 781"/>
                  <a:gd name="T53" fmla="*/ 460 h 744"/>
                  <a:gd name="T54" fmla="*/ 2 w 781"/>
                  <a:gd name="T55" fmla="*/ 461 h 744"/>
                  <a:gd name="T56" fmla="*/ 223 w 781"/>
                  <a:gd name="T57" fmla="*/ 461 h 7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81" h="744">
                    <a:moveTo>
                      <a:pt x="223" y="461"/>
                    </a:moveTo>
                    <a:lnTo>
                      <a:pt x="223" y="461"/>
                    </a:lnTo>
                    <a:lnTo>
                      <a:pt x="226" y="463"/>
                    </a:lnTo>
                    <a:lnTo>
                      <a:pt x="228" y="466"/>
                    </a:lnTo>
                    <a:lnTo>
                      <a:pt x="228" y="740"/>
                    </a:lnTo>
                    <a:lnTo>
                      <a:pt x="228" y="740"/>
                    </a:lnTo>
                    <a:lnTo>
                      <a:pt x="229" y="743"/>
                    </a:lnTo>
                    <a:lnTo>
                      <a:pt x="232" y="744"/>
                    </a:lnTo>
                    <a:lnTo>
                      <a:pt x="549" y="744"/>
                    </a:lnTo>
                    <a:lnTo>
                      <a:pt x="549" y="744"/>
                    </a:lnTo>
                    <a:lnTo>
                      <a:pt x="552" y="743"/>
                    </a:lnTo>
                    <a:lnTo>
                      <a:pt x="552" y="740"/>
                    </a:lnTo>
                    <a:lnTo>
                      <a:pt x="552" y="466"/>
                    </a:lnTo>
                    <a:lnTo>
                      <a:pt x="552" y="466"/>
                    </a:lnTo>
                    <a:lnTo>
                      <a:pt x="553" y="463"/>
                    </a:lnTo>
                    <a:lnTo>
                      <a:pt x="556" y="461"/>
                    </a:lnTo>
                    <a:lnTo>
                      <a:pt x="778" y="461"/>
                    </a:lnTo>
                    <a:lnTo>
                      <a:pt x="778" y="461"/>
                    </a:lnTo>
                    <a:lnTo>
                      <a:pt x="781" y="460"/>
                    </a:lnTo>
                    <a:lnTo>
                      <a:pt x="780" y="458"/>
                    </a:lnTo>
                    <a:lnTo>
                      <a:pt x="393" y="1"/>
                    </a:lnTo>
                    <a:lnTo>
                      <a:pt x="393" y="1"/>
                    </a:lnTo>
                    <a:lnTo>
                      <a:pt x="390" y="0"/>
                    </a:lnTo>
                    <a:lnTo>
                      <a:pt x="387" y="1"/>
                    </a:lnTo>
                    <a:lnTo>
                      <a:pt x="0" y="458"/>
                    </a:lnTo>
                    <a:lnTo>
                      <a:pt x="0" y="458"/>
                    </a:lnTo>
                    <a:lnTo>
                      <a:pt x="0" y="460"/>
                    </a:lnTo>
                    <a:lnTo>
                      <a:pt x="2" y="461"/>
                    </a:lnTo>
                    <a:lnTo>
                      <a:pt x="223" y="4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grpSp>
          <p:nvGrpSpPr>
            <p:cNvPr id="303" name="Group 377"/>
            <p:cNvGrpSpPr/>
            <p:nvPr/>
          </p:nvGrpSpPr>
          <p:grpSpPr>
            <a:xfrm>
              <a:off x="1764824" y="2161825"/>
              <a:ext cx="438624" cy="396177"/>
              <a:chOff x="3887780" y="3854734"/>
              <a:chExt cx="472381" cy="426667"/>
            </a:xfrm>
          </p:grpSpPr>
          <p:sp>
            <p:nvSpPr>
              <p:cNvPr id="304" name="Freeform 68"/>
              <p:cNvSpPr>
                <a:spLocks noEditPoints="1"/>
              </p:cNvSpPr>
              <p:nvPr/>
            </p:nvSpPr>
            <p:spPr bwMode="auto">
              <a:xfrm>
                <a:off x="3974129" y="3910607"/>
                <a:ext cx="386032" cy="279365"/>
              </a:xfrm>
              <a:custGeom>
                <a:avLst/>
                <a:gdLst>
                  <a:gd name="T0" fmla="*/ 642 w 912"/>
                  <a:gd name="T1" fmla="*/ 363 h 659"/>
                  <a:gd name="T2" fmla="*/ 637 w 912"/>
                  <a:gd name="T3" fmla="*/ 318 h 659"/>
                  <a:gd name="T4" fmla="*/ 603 w 912"/>
                  <a:gd name="T5" fmla="*/ 284 h 659"/>
                  <a:gd name="T6" fmla="*/ 572 w 912"/>
                  <a:gd name="T7" fmla="*/ 276 h 659"/>
                  <a:gd name="T8" fmla="*/ 556 w 912"/>
                  <a:gd name="T9" fmla="*/ 220 h 659"/>
                  <a:gd name="T10" fmla="*/ 512 w 912"/>
                  <a:gd name="T11" fmla="*/ 121 h 659"/>
                  <a:gd name="T12" fmla="*/ 437 w 912"/>
                  <a:gd name="T13" fmla="*/ 46 h 659"/>
                  <a:gd name="T14" fmla="*/ 337 w 912"/>
                  <a:gd name="T15" fmla="*/ 5 h 659"/>
                  <a:gd name="T16" fmla="*/ 253 w 912"/>
                  <a:gd name="T17" fmla="*/ 1 h 659"/>
                  <a:gd name="T18" fmla="*/ 148 w 912"/>
                  <a:gd name="T19" fmla="*/ 34 h 659"/>
                  <a:gd name="T20" fmla="*/ 64 w 912"/>
                  <a:gd name="T21" fmla="*/ 101 h 659"/>
                  <a:gd name="T22" fmla="*/ 12 w 912"/>
                  <a:gd name="T23" fmla="*/ 197 h 659"/>
                  <a:gd name="T24" fmla="*/ 0 w 912"/>
                  <a:gd name="T25" fmla="*/ 281 h 659"/>
                  <a:gd name="T26" fmla="*/ 22 w 912"/>
                  <a:gd name="T27" fmla="*/ 390 h 659"/>
                  <a:gd name="T28" fmla="*/ 82 w 912"/>
                  <a:gd name="T29" fmla="*/ 480 h 659"/>
                  <a:gd name="T30" fmla="*/ 171 w 912"/>
                  <a:gd name="T31" fmla="*/ 540 h 659"/>
                  <a:gd name="T32" fmla="*/ 282 w 912"/>
                  <a:gd name="T33" fmla="*/ 562 h 659"/>
                  <a:gd name="T34" fmla="*/ 347 w 912"/>
                  <a:gd name="T35" fmla="*/ 554 h 659"/>
                  <a:gd name="T36" fmla="*/ 427 w 912"/>
                  <a:gd name="T37" fmla="*/ 521 h 659"/>
                  <a:gd name="T38" fmla="*/ 457 w 912"/>
                  <a:gd name="T39" fmla="*/ 526 h 659"/>
                  <a:gd name="T40" fmla="*/ 486 w 912"/>
                  <a:gd name="T41" fmla="*/ 544 h 659"/>
                  <a:gd name="T42" fmla="*/ 530 w 912"/>
                  <a:gd name="T43" fmla="*/ 544 h 659"/>
                  <a:gd name="T44" fmla="*/ 557 w 912"/>
                  <a:gd name="T45" fmla="*/ 526 h 659"/>
                  <a:gd name="T46" fmla="*/ 794 w 912"/>
                  <a:gd name="T47" fmla="*/ 648 h 659"/>
                  <a:gd name="T48" fmla="*/ 830 w 912"/>
                  <a:gd name="T49" fmla="*/ 659 h 659"/>
                  <a:gd name="T50" fmla="*/ 855 w 912"/>
                  <a:gd name="T51" fmla="*/ 649 h 659"/>
                  <a:gd name="T52" fmla="*/ 889 w 912"/>
                  <a:gd name="T53" fmla="*/ 594 h 659"/>
                  <a:gd name="T54" fmla="*/ 909 w 912"/>
                  <a:gd name="T55" fmla="*/ 546 h 659"/>
                  <a:gd name="T56" fmla="*/ 909 w 912"/>
                  <a:gd name="T57" fmla="*/ 516 h 659"/>
                  <a:gd name="T58" fmla="*/ 889 w 912"/>
                  <a:gd name="T59" fmla="*/ 494 h 659"/>
                  <a:gd name="T60" fmla="*/ 282 w 912"/>
                  <a:gd name="T61" fmla="*/ 480 h 659"/>
                  <a:gd name="T62" fmla="*/ 221 w 912"/>
                  <a:gd name="T63" fmla="*/ 471 h 659"/>
                  <a:gd name="T64" fmla="*/ 155 w 912"/>
                  <a:gd name="T65" fmla="*/ 433 h 659"/>
                  <a:gd name="T66" fmla="*/ 106 w 912"/>
                  <a:gd name="T67" fmla="*/ 376 h 659"/>
                  <a:gd name="T68" fmla="*/ 84 w 912"/>
                  <a:gd name="T69" fmla="*/ 301 h 659"/>
                  <a:gd name="T70" fmla="*/ 86 w 912"/>
                  <a:gd name="T71" fmla="*/ 240 h 659"/>
                  <a:gd name="T72" fmla="*/ 116 w 912"/>
                  <a:gd name="T73" fmla="*/ 169 h 659"/>
                  <a:gd name="T74" fmla="*/ 170 w 912"/>
                  <a:gd name="T75" fmla="*/ 116 h 659"/>
                  <a:gd name="T76" fmla="*/ 241 w 912"/>
                  <a:gd name="T77" fmla="*/ 86 h 659"/>
                  <a:gd name="T78" fmla="*/ 302 w 912"/>
                  <a:gd name="T79" fmla="*/ 83 h 659"/>
                  <a:gd name="T80" fmla="*/ 375 w 912"/>
                  <a:gd name="T81" fmla="*/ 106 h 659"/>
                  <a:gd name="T82" fmla="*/ 434 w 912"/>
                  <a:gd name="T83" fmla="*/ 154 h 659"/>
                  <a:gd name="T84" fmla="*/ 471 w 912"/>
                  <a:gd name="T85" fmla="*/ 222 h 659"/>
                  <a:gd name="T86" fmla="*/ 479 w 912"/>
                  <a:gd name="T87" fmla="*/ 281 h 659"/>
                  <a:gd name="T88" fmla="*/ 464 w 912"/>
                  <a:gd name="T89" fmla="*/ 358 h 659"/>
                  <a:gd name="T90" fmla="*/ 422 w 912"/>
                  <a:gd name="T91" fmla="*/ 421 h 659"/>
                  <a:gd name="T92" fmla="*/ 358 w 912"/>
                  <a:gd name="T93" fmla="*/ 463 h 659"/>
                  <a:gd name="T94" fmla="*/ 282 w 912"/>
                  <a:gd name="T95" fmla="*/ 480 h 6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912" h="659">
                    <a:moveTo>
                      <a:pt x="851" y="471"/>
                    </a:moveTo>
                    <a:lnTo>
                      <a:pt x="851" y="471"/>
                    </a:lnTo>
                    <a:lnTo>
                      <a:pt x="642" y="363"/>
                    </a:lnTo>
                    <a:lnTo>
                      <a:pt x="642" y="363"/>
                    </a:lnTo>
                    <a:lnTo>
                      <a:pt x="644" y="352"/>
                    </a:lnTo>
                    <a:lnTo>
                      <a:pt x="644" y="339"/>
                    </a:lnTo>
                    <a:lnTo>
                      <a:pt x="641" y="328"/>
                    </a:lnTo>
                    <a:lnTo>
                      <a:pt x="637" y="318"/>
                    </a:lnTo>
                    <a:lnTo>
                      <a:pt x="631" y="308"/>
                    </a:lnTo>
                    <a:lnTo>
                      <a:pt x="623" y="298"/>
                    </a:lnTo>
                    <a:lnTo>
                      <a:pt x="615" y="291"/>
                    </a:lnTo>
                    <a:lnTo>
                      <a:pt x="603" y="284"/>
                    </a:lnTo>
                    <a:lnTo>
                      <a:pt x="603" y="284"/>
                    </a:lnTo>
                    <a:lnTo>
                      <a:pt x="593" y="279"/>
                    </a:lnTo>
                    <a:lnTo>
                      <a:pt x="583" y="277"/>
                    </a:lnTo>
                    <a:lnTo>
                      <a:pt x="572" y="276"/>
                    </a:lnTo>
                    <a:lnTo>
                      <a:pt x="562" y="277"/>
                    </a:lnTo>
                    <a:lnTo>
                      <a:pt x="562" y="277"/>
                    </a:lnTo>
                    <a:lnTo>
                      <a:pt x="560" y="248"/>
                    </a:lnTo>
                    <a:lnTo>
                      <a:pt x="556" y="220"/>
                    </a:lnTo>
                    <a:lnTo>
                      <a:pt x="548" y="194"/>
                    </a:lnTo>
                    <a:lnTo>
                      <a:pt x="538" y="169"/>
                    </a:lnTo>
                    <a:lnTo>
                      <a:pt x="527" y="144"/>
                    </a:lnTo>
                    <a:lnTo>
                      <a:pt x="512" y="121"/>
                    </a:lnTo>
                    <a:lnTo>
                      <a:pt x="497" y="100"/>
                    </a:lnTo>
                    <a:lnTo>
                      <a:pt x="478" y="80"/>
                    </a:lnTo>
                    <a:lnTo>
                      <a:pt x="458" y="63"/>
                    </a:lnTo>
                    <a:lnTo>
                      <a:pt x="437" y="46"/>
                    </a:lnTo>
                    <a:lnTo>
                      <a:pt x="414" y="33"/>
                    </a:lnTo>
                    <a:lnTo>
                      <a:pt x="389" y="21"/>
                    </a:lnTo>
                    <a:lnTo>
                      <a:pt x="364" y="13"/>
                    </a:lnTo>
                    <a:lnTo>
                      <a:pt x="337" y="5"/>
                    </a:lnTo>
                    <a:lnTo>
                      <a:pt x="309" y="1"/>
                    </a:lnTo>
                    <a:lnTo>
                      <a:pt x="282" y="0"/>
                    </a:lnTo>
                    <a:lnTo>
                      <a:pt x="282" y="0"/>
                    </a:lnTo>
                    <a:lnTo>
                      <a:pt x="253" y="1"/>
                    </a:lnTo>
                    <a:lnTo>
                      <a:pt x="224" y="5"/>
                    </a:lnTo>
                    <a:lnTo>
                      <a:pt x="198" y="13"/>
                    </a:lnTo>
                    <a:lnTo>
                      <a:pt x="171" y="21"/>
                    </a:lnTo>
                    <a:lnTo>
                      <a:pt x="148" y="34"/>
                    </a:lnTo>
                    <a:lnTo>
                      <a:pt x="124" y="48"/>
                    </a:lnTo>
                    <a:lnTo>
                      <a:pt x="102" y="64"/>
                    </a:lnTo>
                    <a:lnTo>
                      <a:pt x="82" y="81"/>
                    </a:lnTo>
                    <a:lnTo>
                      <a:pt x="64" y="101"/>
                    </a:lnTo>
                    <a:lnTo>
                      <a:pt x="49" y="124"/>
                    </a:lnTo>
                    <a:lnTo>
                      <a:pt x="34" y="147"/>
                    </a:lnTo>
                    <a:lnTo>
                      <a:pt x="22" y="172"/>
                    </a:lnTo>
                    <a:lnTo>
                      <a:pt x="12" y="197"/>
                    </a:lnTo>
                    <a:lnTo>
                      <a:pt x="6" y="224"/>
                    </a:lnTo>
                    <a:lnTo>
                      <a:pt x="1" y="252"/>
                    </a:lnTo>
                    <a:lnTo>
                      <a:pt x="0" y="281"/>
                    </a:lnTo>
                    <a:lnTo>
                      <a:pt x="0" y="281"/>
                    </a:lnTo>
                    <a:lnTo>
                      <a:pt x="1" y="309"/>
                    </a:lnTo>
                    <a:lnTo>
                      <a:pt x="6" y="337"/>
                    </a:lnTo>
                    <a:lnTo>
                      <a:pt x="12" y="364"/>
                    </a:lnTo>
                    <a:lnTo>
                      <a:pt x="22" y="390"/>
                    </a:lnTo>
                    <a:lnTo>
                      <a:pt x="34" y="415"/>
                    </a:lnTo>
                    <a:lnTo>
                      <a:pt x="49" y="438"/>
                    </a:lnTo>
                    <a:lnTo>
                      <a:pt x="64" y="460"/>
                    </a:lnTo>
                    <a:lnTo>
                      <a:pt x="82" y="480"/>
                    </a:lnTo>
                    <a:lnTo>
                      <a:pt x="102" y="497"/>
                    </a:lnTo>
                    <a:lnTo>
                      <a:pt x="124" y="514"/>
                    </a:lnTo>
                    <a:lnTo>
                      <a:pt x="148" y="527"/>
                    </a:lnTo>
                    <a:lnTo>
                      <a:pt x="171" y="540"/>
                    </a:lnTo>
                    <a:lnTo>
                      <a:pt x="198" y="549"/>
                    </a:lnTo>
                    <a:lnTo>
                      <a:pt x="224" y="556"/>
                    </a:lnTo>
                    <a:lnTo>
                      <a:pt x="253" y="560"/>
                    </a:lnTo>
                    <a:lnTo>
                      <a:pt x="282" y="562"/>
                    </a:lnTo>
                    <a:lnTo>
                      <a:pt x="282" y="562"/>
                    </a:lnTo>
                    <a:lnTo>
                      <a:pt x="304" y="561"/>
                    </a:lnTo>
                    <a:lnTo>
                      <a:pt x="325" y="559"/>
                    </a:lnTo>
                    <a:lnTo>
                      <a:pt x="347" y="554"/>
                    </a:lnTo>
                    <a:lnTo>
                      <a:pt x="368" y="549"/>
                    </a:lnTo>
                    <a:lnTo>
                      <a:pt x="388" y="541"/>
                    </a:lnTo>
                    <a:lnTo>
                      <a:pt x="408" y="531"/>
                    </a:lnTo>
                    <a:lnTo>
                      <a:pt x="427" y="521"/>
                    </a:lnTo>
                    <a:lnTo>
                      <a:pt x="444" y="510"/>
                    </a:lnTo>
                    <a:lnTo>
                      <a:pt x="444" y="510"/>
                    </a:lnTo>
                    <a:lnTo>
                      <a:pt x="449" y="519"/>
                    </a:lnTo>
                    <a:lnTo>
                      <a:pt x="457" y="526"/>
                    </a:lnTo>
                    <a:lnTo>
                      <a:pt x="466" y="532"/>
                    </a:lnTo>
                    <a:lnTo>
                      <a:pt x="474" y="539"/>
                    </a:lnTo>
                    <a:lnTo>
                      <a:pt x="474" y="539"/>
                    </a:lnTo>
                    <a:lnTo>
                      <a:pt x="486" y="544"/>
                    </a:lnTo>
                    <a:lnTo>
                      <a:pt x="497" y="546"/>
                    </a:lnTo>
                    <a:lnTo>
                      <a:pt x="508" y="546"/>
                    </a:lnTo>
                    <a:lnTo>
                      <a:pt x="520" y="546"/>
                    </a:lnTo>
                    <a:lnTo>
                      <a:pt x="530" y="544"/>
                    </a:lnTo>
                    <a:lnTo>
                      <a:pt x="540" y="539"/>
                    </a:lnTo>
                    <a:lnTo>
                      <a:pt x="550" y="534"/>
                    </a:lnTo>
                    <a:lnTo>
                      <a:pt x="557" y="526"/>
                    </a:lnTo>
                    <a:lnTo>
                      <a:pt x="557" y="526"/>
                    </a:lnTo>
                    <a:lnTo>
                      <a:pt x="672" y="585"/>
                    </a:lnTo>
                    <a:lnTo>
                      <a:pt x="768" y="635"/>
                    </a:lnTo>
                    <a:lnTo>
                      <a:pt x="768" y="635"/>
                    </a:lnTo>
                    <a:lnTo>
                      <a:pt x="794" y="648"/>
                    </a:lnTo>
                    <a:lnTo>
                      <a:pt x="804" y="653"/>
                    </a:lnTo>
                    <a:lnTo>
                      <a:pt x="814" y="656"/>
                    </a:lnTo>
                    <a:lnTo>
                      <a:pt x="823" y="658"/>
                    </a:lnTo>
                    <a:lnTo>
                      <a:pt x="830" y="659"/>
                    </a:lnTo>
                    <a:lnTo>
                      <a:pt x="838" y="659"/>
                    </a:lnTo>
                    <a:lnTo>
                      <a:pt x="844" y="656"/>
                    </a:lnTo>
                    <a:lnTo>
                      <a:pt x="850" y="654"/>
                    </a:lnTo>
                    <a:lnTo>
                      <a:pt x="855" y="649"/>
                    </a:lnTo>
                    <a:lnTo>
                      <a:pt x="861" y="644"/>
                    </a:lnTo>
                    <a:lnTo>
                      <a:pt x="866" y="636"/>
                    </a:lnTo>
                    <a:lnTo>
                      <a:pt x="878" y="618"/>
                    </a:lnTo>
                    <a:lnTo>
                      <a:pt x="889" y="594"/>
                    </a:lnTo>
                    <a:lnTo>
                      <a:pt x="889" y="594"/>
                    </a:lnTo>
                    <a:lnTo>
                      <a:pt x="902" y="567"/>
                    </a:lnTo>
                    <a:lnTo>
                      <a:pt x="905" y="556"/>
                    </a:lnTo>
                    <a:lnTo>
                      <a:pt x="909" y="546"/>
                    </a:lnTo>
                    <a:lnTo>
                      <a:pt x="910" y="537"/>
                    </a:lnTo>
                    <a:lnTo>
                      <a:pt x="912" y="530"/>
                    </a:lnTo>
                    <a:lnTo>
                      <a:pt x="910" y="522"/>
                    </a:lnTo>
                    <a:lnTo>
                      <a:pt x="909" y="516"/>
                    </a:lnTo>
                    <a:lnTo>
                      <a:pt x="905" y="510"/>
                    </a:lnTo>
                    <a:lnTo>
                      <a:pt x="902" y="504"/>
                    </a:lnTo>
                    <a:lnTo>
                      <a:pt x="897" y="499"/>
                    </a:lnTo>
                    <a:lnTo>
                      <a:pt x="889" y="494"/>
                    </a:lnTo>
                    <a:lnTo>
                      <a:pt x="873" y="482"/>
                    </a:lnTo>
                    <a:lnTo>
                      <a:pt x="851" y="471"/>
                    </a:lnTo>
                    <a:lnTo>
                      <a:pt x="851" y="471"/>
                    </a:lnTo>
                    <a:close/>
                    <a:moveTo>
                      <a:pt x="282" y="480"/>
                    </a:moveTo>
                    <a:lnTo>
                      <a:pt x="282" y="480"/>
                    </a:lnTo>
                    <a:lnTo>
                      <a:pt x="260" y="478"/>
                    </a:lnTo>
                    <a:lnTo>
                      <a:pt x="241" y="476"/>
                    </a:lnTo>
                    <a:lnTo>
                      <a:pt x="221" y="471"/>
                    </a:lnTo>
                    <a:lnTo>
                      <a:pt x="204" y="463"/>
                    </a:lnTo>
                    <a:lnTo>
                      <a:pt x="186" y="456"/>
                    </a:lnTo>
                    <a:lnTo>
                      <a:pt x="170" y="446"/>
                    </a:lnTo>
                    <a:lnTo>
                      <a:pt x="155" y="433"/>
                    </a:lnTo>
                    <a:lnTo>
                      <a:pt x="140" y="421"/>
                    </a:lnTo>
                    <a:lnTo>
                      <a:pt x="127" y="407"/>
                    </a:lnTo>
                    <a:lnTo>
                      <a:pt x="116" y="392"/>
                    </a:lnTo>
                    <a:lnTo>
                      <a:pt x="106" y="376"/>
                    </a:lnTo>
                    <a:lnTo>
                      <a:pt x="97" y="358"/>
                    </a:lnTo>
                    <a:lnTo>
                      <a:pt x="91" y="339"/>
                    </a:lnTo>
                    <a:lnTo>
                      <a:pt x="86" y="321"/>
                    </a:lnTo>
                    <a:lnTo>
                      <a:pt x="84" y="301"/>
                    </a:lnTo>
                    <a:lnTo>
                      <a:pt x="82" y="281"/>
                    </a:lnTo>
                    <a:lnTo>
                      <a:pt x="82" y="281"/>
                    </a:lnTo>
                    <a:lnTo>
                      <a:pt x="84" y="261"/>
                    </a:lnTo>
                    <a:lnTo>
                      <a:pt x="86" y="240"/>
                    </a:lnTo>
                    <a:lnTo>
                      <a:pt x="91" y="222"/>
                    </a:lnTo>
                    <a:lnTo>
                      <a:pt x="97" y="203"/>
                    </a:lnTo>
                    <a:lnTo>
                      <a:pt x="106" y="187"/>
                    </a:lnTo>
                    <a:lnTo>
                      <a:pt x="116" y="169"/>
                    </a:lnTo>
                    <a:lnTo>
                      <a:pt x="127" y="154"/>
                    </a:lnTo>
                    <a:lnTo>
                      <a:pt x="140" y="140"/>
                    </a:lnTo>
                    <a:lnTo>
                      <a:pt x="155" y="128"/>
                    </a:lnTo>
                    <a:lnTo>
                      <a:pt x="170" y="116"/>
                    </a:lnTo>
                    <a:lnTo>
                      <a:pt x="186" y="106"/>
                    </a:lnTo>
                    <a:lnTo>
                      <a:pt x="204" y="98"/>
                    </a:lnTo>
                    <a:lnTo>
                      <a:pt x="221" y="91"/>
                    </a:lnTo>
                    <a:lnTo>
                      <a:pt x="241" y="86"/>
                    </a:lnTo>
                    <a:lnTo>
                      <a:pt x="260" y="83"/>
                    </a:lnTo>
                    <a:lnTo>
                      <a:pt x="282" y="81"/>
                    </a:lnTo>
                    <a:lnTo>
                      <a:pt x="282" y="81"/>
                    </a:lnTo>
                    <a:lnTo>
                      <a:pt x="302" y="83"/>
                    </a:lnTo>
                    <a:lnTo>
                      <a:pt x="320" y="86"/>
                    </a:lnTo>
                    <a:lnTo>
                      <a:pt x="340" y="91"/>
                    </a:lnTo>
                    <a:lnTo>
                      <a:pt x="358" y="98"/>
                    </a:lnTo>
                    <a:lnTo>
                      <a:pt x="375" y="106"/>
                    </a:lnTo>
                    <a:lnTo>
                      <a:pt x="392" y="116"/>
                    </a:lnTo>
                    <a:lnTo>
                      <a:pt x="407" y="128"/>
                    </a:lnTo>
                    <a:lnTo>
                      <a:pt x="422" y="140"/>
                    </a:lnTo>
                    <a:lnTo>
                      <a:pt x="434" y="154"/>
                    </a:lnTo>
                    <a:lnTo>
                      <a:pt x="446" y="169"/>
                    </a:lnTo>
                    <a:lnTo>
                      <a:pt x="456" y="187"/>
                    </a:lnTo>
                    <a:lnTo>
                      <a:pt x="464" y="203"/>
                    </a:lnTo>
                    <a:lnTo>
                      <a:pt x="471" y="222"/>
                    </a:lnTo>
                    <a:lnTo>
                      <a:pt x="476" y="240"/>
                    </a:lnTo>
                    <a:lnTo>
                      <a:pt x="478" y="261"/>
                    </a:lnTo>
                    <a:lnTo>
                      <a:pt x="479" y="281"/>
                    </a:lnTo>
                    <a:lnTo>
                      <a:pt x="479" y="281"/>
                    </a:lnTo>
                    <a:lnTo>
                      <a:pt x="478" y="301"/>
                    </a:lnTo>
                    <a:lnTo>
                      <a:pt x="476" y="321"/>
                    </a:lnTo>
                    <a:lnTo>
                      <a:pt x="471" y="339"/>
                    </a:lnTo>
                    <a:lnTo>
                      <a:pt x="464" y="358"/>
                    </a:lnTo>
                    <a:lnTo>
                      <a:pt x="456" y="376"/>
                    </a:lnTo>
                    <a:lnTo>
                      <a:pt x="446" y="392"/>
                    </a:lnTo>
                    <a:lnTo>
                      <a:pt x="434" y="407"/>
                    </a:lnTo>
                    <a:lnTo>
                      <a:pt x="422" y="421"/>
                    </a:lnTo>
                    <a:lnTo>
                      <a:pt x="407" y="433"/>
                    </a:lnTo>
                    <a:lnTo>
                      <a:pt x="392" y="446"/>
                    </a:lnTo>
                    <a:lnTo>
                      <a:pt x="375" y="456"/>
                    </a:lnTo>
                    <a:lnTo>
                      <a:pt x="358" y="463"/>
                    </a:lnTo>
                    <a:lnTo>
                      <a:pt x="340" y="471"/>
                    </a:lnTo>
                    <a:lnTo>
                      <a:pt x="320" y="476"/>
                    </a:lnTo>
                    <a:lnTo>
                      <a:pt x="302" y="478"/>
                    </a:lnTo>
                    <a:lnTo>
                      <a:pt x="282" y="480"/>
                    </a:lnTo>
                    <a:lnTo>
                      <a:pt x="282" y="480"/>
                    </a:lnTo>
                    <a:close/>
                  </a:path>
                </a:pathLst>
              </a:custGeom>
              <a:solidFill>
                <a:srgbClr val="8DC63F"/>
              </a:solidFill>
              <a:ln>
                <a:noFill/>
              </a:ln>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305" name="Freeform 69"/>
              <p:cNvSpPr>
                <a:spLocks/>
              </p:cNvSpPr>
              <p:nvPr/>
            </p:nvSpPr>
            <p:spPr bwMode="auto">
              <a:xfrm>
                <a:off x="3887780" y="3854734"/>
                <a:ext cx="327619" cy="426667"/>
              </a:xfrm>
              <a:custGeom>
                <a:avLst/>
                <a:gdLst>
                  <a:gd name="T0" fmla="*/ 707 w 775"/>
                  <a:gd name="T1" fmla="*/ 708 h 1010"/>
                  <a:gd name="T2" fmla="*/ 707 w 775"/>
                  <a:gd name="T3" fmla="*/ 708 h 1010"/>
                  <a:gd name="T4" fmla="*/ 697 w 775"/>
                  <a:gd name="T5" fmla="*/ 706 h 1010"/>
                  <a:gd name="T6" fmla="*/ 687 w 775"/>
                  <a:gd name="T7" fmla="*/ 705 h 1010"/>
                  <a:gd name="T8" fmla="*/ 687 w 775"/>
                  <a:gd name="T9" fmla="*/ 922 h 1010"/>
                  <a:gd name="T10" fmla="*/ 87 w 775"/>
                  <a:gd name="T11" fmla="*/ 922 h 1010"/>
                  <a:gd name="T12" fmla="*/ 87 w 775"/>
                  <a:gd name="T13" fmla="*/ 89 h 1010"/>
                  <a:gd name="T14" fmla="*/ 687 w 775"/>
                  <a:gd name="T15" fmla="*/ 89 h 1010"/>
                  <a:gd name="T16" fmla="*/ 687 w 775"/>
                  <a:gd name="T17" fmla="*/ 174 h 1010"/>
                  <a:gd name="T18" fmla="*/ 687 w 775"/>
                  <a:gd name="T19" fmla="*/ 174 h 1010"/>
                  <a:gd name="T20" fmla="*/ 701 w 775"/>
                  <a:gd name="T21" fmla="*/ 188 h 1010"/>
                  <a:gd name="T22" fmla="*/ 715 w 775"/>
                  <a:gd name="T23" fmla="*/ 203 h 1010"/>
                  <a:gd name="T24" fmla="*/ 727 w 775"/>
                  <a:gd name="T25" fmla="*/ 218 h 1010"/>
                  <a:gd name="T26" fmla="*/ 739 w 775"/>
                  <a:gd name="T27" fmla="*/ 233 h 1010"/>
                  <a:gd name="T28" fmla="*/ 750 w 775"/>
                  <a:gd name="T29" fmla="*/ 250 h 1010"/>
                  <a:gd name="T30" fmla="*/ 759 w 775"/>
                  <a:gd name="T31" fmla="*/ 268 h 1010"/>
                  <a:gd name="T32" fmla="*/ 767 w 775"/>
                  <a:gd name="T33" fmla="*/ 286 h 1010"/>
                  <a:gd name="T34" fmla="*/ 775 w 775"/>
                  <a:gd name="T35" fmla="*/ 304 h 1010"/>
                  <a:gd name="T36" fmla="*/ 775 w 775"/>
                  <a:gd name="T37" fmla="*/ 0 h 1010"/>
                  <a:gd name="T38" fmla="*/ 0 w 775"/>
                  <a:gd name="T39" fmla="*/ 0 h 1010"/>
                  <a:gd name="T40" fmla="*/ 0 w 775"/>
                  <a:gd name="T41" fmla="*/ 1010 h 1010"/>
                  <a:gd name="T42" fmla="*/ 775 w 775"/>
                  <a:gd name="T43" fmla="*/ 1010 h 1010"/>
                  <a:gd name="T44" fmla="*/ 775 w 775"/>
                  <a:gd name="T45" fmla="*/ 700 h 1010"/>
                  <a:gd name="T46" fmla="*/ 775 w 775"/>
                  <a:gd name="T47" fmla="*/ 700 h 1010"/>
                  <a:gd name="T48" fmla="*/ 760 w 775"/>
                  <a:gd name="T49" fmla="*/ 693 h 1010"/>
                  <a:gd name="T50" fmla="*/ 760 w 775"/>
                  <a:gd name="T51" fmla="*/ 693 h 1010"/>
                  <a:gd name="T52" fmla="*/ 747 w 775"/>
                  <a:gd name="T53" fmla="*/ 699 h 1010"/>
                  <a:gd name="T54" fmla="*/ 735 w 775"/>
                  <a:gd name="T55" fmla="*/ 704 h 1010"/>
                  <a:gd name="T56" fmla="*/ 721 w 775"/>
                  <a:gd name="T57" fmla="*/ 706 h 1010"/>
                  <a:gd name="T58" fmla="*/ 707 w 775"/>
                  <a:gd name="T59" fmla="*/ 708 h 1010"/>
                  <a:gd name="T60" fmla="*/ 707 w 775"/>
                  <a:gd name="T61" fmla="*/ 708 h 10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75" h="1010">
                    <a:moveTo>
                      <a:pt x="707" y="708"/>
                    </a:moveTo>
                    <a:lnTo>
                      <a:pt x="707" y="708"/>
                    </a:lnTo>
                    <a:lnTo>
                      <a:pt x="697" y="706"/>
                    </a:lnTo>
                    <a:lnTo>
                      <a:pt x="687" y="705"/>
                    </a:lnTo>
                    <a:lnTo>
                      <a:pt x="687" y="922"/>
                    </a:lnTo>
                    <a:lnTo>
                      <a:pt x="87" y="922"/>
                    </a:lnTo>
                    <a:lnTo>
                      <a:pt x="87" y="89"/>
                    </a:lnTo>
                    <a:lnTo>
                      <a:pt x="687" y="89"/>
                    </a:lnTo>
                    <a:lnTo>
                      <a:pt x="687" y="174"/>
                    </a:lnTo>
                    <a:lnTo>
                      <a:pt x="687" y="174"/>
                    </a:lnTo>
                    <a:lnTo>
                      <a:pt x="701" y="188"/>
                    </a:lnTo>
                    <a:lnTo>
                      <a:pt x="715" y="203"/>
                    </a:lnTo>
                    <a:lnTo>
                      <a:pt x="727" y="218"/>
                    </a:lnTo>
                    <a:lnTo>
                      <a:pt x="739" y="233"/>
                    </a:lnTo>
                    <a:lnTo>
                      <a:pt x="750" y="250"/>
                    </a:lnTo>
                    <a:lnTo>
                      <a:pt x="759" y="268"/>
                    </a:lnTo>
                    <a:lnTo>
                      <a:pt x="767" y="286"/>
                    </a:lnTo>
                    <a:lnTo>
                      <a:pt x="775" y="304"/>
                    </a:lnTo>
                    <a:lnTo>
                      <a:pt x="775" y="0"/>
                    </a:lnTo>
                    <a:lnTo>
                      <a:pt x="0" y="0"/>
                    </a:lnTo>
                    <a:lnTo>
                      <a:pt x="0" y="1010"/>
                    </a:lnTo>
                    <a:lnTo>
                      <a:pt x="775" y="1010"/>
                    </a:lnTo>
                    <a:lnTo>
                      <a:pt x="775" y="700"/>
                    </a:lnTo>
                    <a:lnTo>
                      <a:pt x="775" y="700"/>
                    </a:lnTo>
                    <a:lnTo>
                      <a:pt x="760" y="693"/>
                    </a:lnTo>
                    <a:lnTo>
                      <a:pt x="760" y="693"/>
                    </a:lnTo>
                    <a:lnTo>
                      <a:pt x="747" y="699"/>
                    </a:lnTo>
                    <a:lnTo>
                      <a:pt x="735" y="704"/>
                    </a:lnTo>
                    <a:lnTo>
                      <a:pt x="721" y="706"/>
                    </a:lnTo>
                    <a:lnTo>
                      <a:pt x="707" y="708"/>
                    </a:lnTo>
                    <a:lnTo>
                      <a:pt x="707" y="708"/>
                    </a:lnTo>
                    <a:close/>
                  </a:path>
                </a:pathLst>
              </a:custGeom>
              <a:solidFill>
                <a:srgbClr val="8DC63F"/>
              </a:solidFill>
              <a:ln>
                <a:noFill/>
              </a:ln>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grpSp>
        <p:sp>
          <p:nvSpPr>
            <p:cNvPr id="179" name="Ellipse 178"/>
            <p:cNvSpPr/>
            <p:nvPr/>
          </p:nvSpPr>
          <p:spPr>
            <a:xfrm>
              <a:off x="5919382" y="3643759"/>
              <a:ext cx="724423" cy="724423"/>
            </a:xfrm>
            <a:prstGeom prst="ellipse">
              <a:avLst/>
            </a:prstGeom>
            <a:solidFill>
              <a:srgbClr val="92D050"/>
            </a:solidFill>
            <a:ln>
              <a:solidFill>
                <a:srgbClr val="FFFFFF"/>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sp>
          <p:nvSpPr>
            <p:cNvPr id="180" name="Rectangle 52"/>
            <p:cNvSpPr/>
            <p:nvPr/>
          </p:nvSpPr>
          <p:spPr>
            <a:xfrm>
              <a:off x="5908850" y="3860721"/>
              <a:ext cx="776525" cy="267730"/>
            </a:xfrm>
            <a:prstGeom prst="rect">
              <a:avLst/>
            </a:prstGeom>
            <a:no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1400" b="1" dirty="0" smtClean="0">
                  <a:solidFill>
                    <a:srgbClr val="FFFFFF"/>
                  </a:solidFill>
                </a:rPr>
                <a:t>APPs</a:t>
              </a:r>
              <a:endParaRPr lang="en-GB" sz="1400" dirty="0">
                <a:solidFill>
                  <a:srgbClr val="FFFFFF"/>
                </a:solidFill>
              </a:endParaRPr>
            </a:p>
          </p:txBody>
        </p:sp>
        <p:sp>
          <p:nvSpPr>
            <p:cNvPr id="181" name="Ellipse 180"/>
            <p:cNvSpPr/>
            <p:nvPr/>
          </p:nvSpPr>
          <p:spPr>
            <a:xfrm>
              <a:off x="6580426" y="1513563"/>
              <a:ext cx="724423" cy="724423"/>
            </a:xfrm>
            <a:prstGeom prst="ellipse">
              <a:avLst/>
            </a:prstGeom>
            <a:solidFill>
              <a:srgbClr val="8DC63F"/>
            </a:solidFill>
            <a:ln>
              <a:solidFill>
                <a:srgbClr val="FFFFFF"/>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sp>
          <p:nvSpPr>
            <p:cNvPr id="182" name="Rectangle 52"/>
            <p:cNvSpPr/>
            <p:nvPr/>
          </p:nvSpPr>
          <p:spPr>
            <a:xfrm>
              <a:off x="6569894" y="1730525"/>
              <a:ext cx="776525" cy="267730"/>
            </a:xfrm>
            <a:prstGeom prst="rect">
              <a:avLst/>
            </a:prstGeom>
            <a:no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1400" b="1" dirty="0" smtClean="0">
                  <a:solidFill>
                    <a:srgbClr val="FFFFFF"/>
                  </a:solidFill>
                </a:rPr>
                <a:t>IT</a:t>
              </a:r>
              <a:endParaRPr lang="en-GB" sz="1400" dirty="0">
                <a:solidFill>
                  <a:srgbClr val="FFFFFF"/>
                </a:solidFill>
              </a:endParaRPr>
            </a:p>
          </p:txBody>
        </p:sp>
        <p:sp>
          <p:nvSpPr>
            <p:cNvPr id="251" name="Freeform 145"/>
            <p:cNvSpPr>
              <a:spLocks noChangeAspect="1" noEditPoints="1"/>
            </p:cNvSpPr>
            <p:nvPr/>
          </p:nvSpPr>
          <p:spPr bwMode="auto">
            <a:xfrm>
              <a:off x="6448645" y="1035434"/>
              <a:ext cx="318396" cy="424528"/>
            </a:xfrm>
            <a:custGeom>
              <a:avLst/>
              <a:gdLst>
                <a:gd name="T0" fmla="*/ 192 w 216"/>
                <a:gd name="T1" fmla="*/ 98 h 288"/>
                <a:gd name="T2" fmla="*/ 192 w 216"/>
                <a:gd name="T3" fmla="*/ 56 h 288"/>
                <a:gd name="T4" fmla="*/ 188 w 216"/>
                <a:gd name="T5" fmla="*/ 34 h 288"/>
                <a:gd name="T6" fmla="*/ 174 w 216"/>
                <a:gd name="T7" fmla="*/ 16 h 288"/>
                <a:gd name="T8" fmla="*/ 156 w 216"/>
                <a:gd name="T9" fmla="*/ 4 h 288"/>
                <a:gd name="T10" fmla="*/ 132 w 216"/>
                <a:gd name="T11" fmla="*/ 0 h 288"/>
                <a:gd name="T12" fmla="*/ 80 w 216"/>
                <a:gd name="T13" fmla="*/ 0 h 288"/>
                <a:gd name="T14" fmla="*/ 58 w 216"/>
                <a:gd name="T15" fmla="*/ 4 h 288"/>
                <a:gd name="T16" fmla="*/ 38 w 216"/>
                <a:gd name="T17" fmla="*/ 16 h 288"/>
                <a:gd name="T18" fmla="*/ 26 w 216"/>
                <a:gd name="T19" fmla="*/ 34 h 288"/>
                <a:gd name="T20" fmla="*/ 22 w 216"/>
                <a:gd name="T21" fmla="*/ 56 h 288"/>
                <a:gd name="T22" fmla="*/ 14 w 216"/>
                <a:gd name="T23" fmla="*/ 98 h 288"/>
                <a:gd name="T24" fmla="*/ 8 w 216"/>
                <a:gd name="T25" fmla="*/ 100 h 288"/>
                <a:gd name="T26" fmla="*/ 0 w 216"/>
                <a:gd name="T27" fmla="*/ 106 h 288"/>
                <a:gd name="T28" fmla="*/ 0 w 216"/>
                <a:gd name="T29" fmla="*/ 276 h 288"/>
                <a:gd name="T30" fmla="*/ 0 w 216"/>
                <a:gd name="T31" fmla="*/ 280 h 288"/>
                <a:gd name="T32" fmla="*/ 8 w 216"/>
                <a:gd name="T33" fmla="*/ 288 h 288"/>
                <a:gd name="T34" fmla="*/ 202 w 216"/>
                <a:gd name="T35" fmla="*/ 288 h 288"/>
                <a:gd name="T36" fmla="*/ 208 w 216"/>
                <a:gd name="T37" fmla="*/ 288 h 288"/>
                <a:gd name="T38" fmla="*/ 216 w 216"/>
                <a:gd name="T39" fmla="*/ 280 h 288"/>
                <a:gd name="T40" fmla="*/ 216 w 216"/>
                <a:gd name="T41" fmla="*/ 112 h 288"/>
                <a:gd name="T42" fmla="*/ 216 w 216"/>
                <a:gd name="T43" fmla="*/ 106 h 288"/>
                <a:gd name="T44" fmla="*/ 208 w 216"/>
                <a:gd name="T45" fmla="*/ 100 h 288"/>
                <a:gd name="T46" fmla="*/ 202 w 216"/>
                <a:gd name="T47" fmla="*/ 98 h 288"/>
                <a:gd name="T48" fmla="*/ 132 w 216"/>
                <a:gd name="T49" fmla="*/ 34 h 288"/>
                <a:gd name="T50" fmla="*/ 140 w 216"/>
                <a:gd name="T51" fmla="*/ 36 h 288"/>
                <a:gd name="T52" fmla="*/ 152 w 216"/>
                <a:gd name="T53" fmla="*/ 48 h 288"/>
                <a:gd name="T54" fmla="*/ 154 w 216"/>
                <a:gd name="T55" fmla="*/ 98 h 288"/>
                <a:gd name="T56" fmla="*/ 60 w 216"/>
                <a:gd name="T57" fmla="*/ 56 h 288"/>
                <a:gd name="T58" fmla="*/ 62 w 216"/>
                <a:gd name="T59" fmla="*/ 48 h 288"/>
                <a:gd name="T60" fmla="*/ 72 w 216"/>
                <a:gd name="T61" fmla="*/ 36 h 288"/>
                <a:gd name="T62" fmla="*/ 80 w 216"/>
                <a:gd name="T63" fmla="*/ 34 h 288"/>
                <a:gd name="T64" fmla="*/ 82 w 216"/>
                <a:gd name="T65" fmla="*/ 264 h 288"/>
                <a:gd name="T66" fmla="*/ 94 w 216"/>
                <a:gd name="T67" fmla="*/ 192 h 288"/>
                <a:gd name="T68" fmla="*/ 82 w 216"/>
                <a:gd name="T69" fmla="*/ 184 h 288"/>
                <a:gd name="T70" fmla="*/ 78 w 216"/>
                <a:gd name="T71" fmla="*/ 168 h 288"/>
                <a:gd name="T72" fmla="*/ 80 w 216"/>
                <a:gd name="T73" fmla="*/ 158 h 288"/>
                <a:gd name="T74" fmla="*/ 96 w 216"/>
                <a:gd name="T75" fmla="*/ 144 h 288"/>
                <a:gd name="T76" fmla="*/ 108 w 216"/>
                <a:gd name="T77" fmla="*/ 142 h 288"/>
                <a:gd name="T78" fmla="*/ 128 w 216"/>
                <a:gd name="T79" fmla="*/ 150 h 288"/>
                <a:gd name="T80" fmla="*/ 136 w 216"/>
                <a:gd name="T81" fmla="*/ 168 h 288"/>
                <a:gd name="T82" fmla="*/ 136 w 216"/>
                <a:gd name="T83" fmla="*/ 176 h 288"/>
                <a:gd name="T84" fmla="*/ 128 w 216"/>
                <a:gd name="T85" fmla="*/ 190 h 288"/>
                <a:gd name="T86" fmla="*/ 132 w 216"/>
                <a:gd name="T87" fmla="*/ 26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16" h="288">
                  <a:moveTo>
                    <a:pt x="202" y="98"/>
                  </a:moveTo>
                  <a:lnTo>
                    <a:pt x="192" y="98"/>
                  </a:lnTo>
                  <a:lnTo>
                    <a:pt x="192" y="56"/>
                  </a:lnTo>
                  <a:lnTo>
                    <a:pt x="192" y="56"/>
                  </a:lnTo>
                  <a:lnTo>
                    <a:pt x="190" y="46"/>
                  </a:lnTo>
                  <a:lnTo>
                    <a:pt x="188" y="34"/>
                  </a:lnTo>
                  <a:lnTo>
                    <a:pt x="182" y="24"/>
                  </a:lnTo>
                  <a:lnTo>
                    <a:pt x="174" y="16"/>
                  </a:lnTo>
                  <a:lnTo>
                    <a:pt x="166" y="10"/>
                  </a:lnTo>
                  <a:lnTo>
                    <a:pt x="156" y="4"/>
                  </a:lnTo>
                  <a:lnTo>
                    <a:pt x="144" y="0"/>
                  </a:lnTo>
                  <a:lnTo>
                    <a:pt x="132" y="0"/>
                  </a:lnTo>
                  <a:lnTo>
                    <a:pt x="80" y="0"/>
                  </a:lnTo>
                  <a:lnTo>
                    <a:pt x="80" y="0"/>
                  </a:lnTo>
                  <a:lnTo>
                    <a:pt x="68" y="0"/>
                  </a:lnTo>
                  <a:lnTo>
                    <a:pt x="58" y="4"/>
                  </a:lnTo>
                  <a:lnTo>
                    <a:pt x="48" y="10"/>
                  </a:lnTo>
                  <a:lnTo>
                    <a:pt x="38" y="16"/>
                  </a:lnTo>
                  <a:lnTo>
                    <a:pt x="32" y="24"/>
                  </a:lnTo>
                  <a:lnTo>
                    <a:pt x="26" y="34"/>
                  </a:lnTo>
                  <a:lnTo>
                    <a:pt x="22" y="46"/>
                  </a:lnTo>
                  <a:lnTo>
                    <a:pt x="22" y="56"/>
                  </a:lnTo>
                  <a:lnTo>
                    <a:pt x="22" y="98"/>
                  </a:lnTo>
                  <a:lnTo>
                    <a:pt x="14" y="98"/>
                  </a:lnTo>
                  <a:lnTo>
                    <a:pt x="14" y="98"/>
                  </a:lnTo>
                  <a:lnTo>
                    <a:pt x="8" y="100"/>
                  </a:lnTo>
                  <a:lnTo>
                    <a:pt x="4" y="102"/>
                  </a:lnTo>
                  <a:lnTo>
                    <a:pt x="0" y="106"/>
                  </a:lnTo>
                  <a:lnTo>
                    <a:pt x="0" y="112"/>
                  </a:lnTo>
                  <a:lnTo>
                    <a:pt x="0" y="276"/>
                  </a:lnTo>
                  <a:lnTo>
                    <a:pt x="0" y="276"/>
                  </a:lnTo>
                  <a:lnTo>
                    <a:pt x="0" y="280"/>
                  </a:lnTo>
                  <a:lnTo>
                    <a:pt x="4" y="286"/>
                  </a:lnTo>
                  <a:lnTo>
                    <a:pt x="8" y="288"/>
                  </a:lnTo>
                  <a:lnTo>
                    <a:pt x="14" y="288"/>
                  </a:lnTo>
                  <a:lnTo>
                    <a:pt x="202" y="288"/>
                  </a:lnTo>
                  <a:lnTo>
                    <a:pt x="202" y="288"/>
                  </a:lnTo>
                  <a:lnTo>
                    <a:pt x="208" y="288"/>
                  </a:lnTo>
                  <a:lnTo>
                    <a:pt x="212" y="286"/>
                  </a:lnTo>
                  <a:lnTo>
                    <a:pt x="216" y="280"/>
                  </a:lnTo>
                  <a:lnTo>
                    <a:pt x="216" y="276"/>
                  </a:lnTo>
                  <a:lnTo>
                    <a:pt x="216" y="112"/>
                  </a:lnTo>
                  <a:lnTo>
                    <a:pt x="216" y="112"/>
                  </a:lnTo>
                  <a:lnTo>
                    <a:pt x="216" y="106"/>
                  </a:lnTo>
                  <a:lnTo>
                    <a:pt x="212" y="102"/>
                  </a:lnTo>
                  <a:lnTo>
                    <a:pt x="208" y="100"/>
                  </a:lnTo>
                  <a:lnTo>
                    <a:pt x="202" y="98"/>
                  </a:lnTo>
                  <a:lnTo>
                    <a:pt x="202" y="98"/>
                  </a:lnTo>
                  <a:close/>
                  <a:moveTo>
                    <a:pt x="80" y="34"/>
                  </a:moveTo>
                  <a:lnTo>
                    <a:pt x="132" y="34"/>
                  </a:lnTo>
                  <a:lnTo>
                    <a:pt x="132" y="34"/>
                  </a:lnTo>
                  <a:lnTo>
                    <a:pt x="140" y="36"/>
                  </a:lnTo>
                  <a:lnTo>
                    <a:pt x="146" y="40"/>
                  </a:lnTo>
                  <a:lnTo>
                    <a:pt x="152" y="48"/>
                  </a:lnTo>
                  <a:lnTo>
                    <a:pt x="154" y="56"/>
                  </a:lnTo>
                  <a:lnTo>
                    <a:pt x="154" y="98"/>
                  </a:lnTo>
                  <a:lnTo>
                    <a:pt x="60" y="98"/>
                  </a:lnTo>
                  <a:lnTo>
                    <a:pt x="60" y="56"/>
                  </a:lnTo>
                  <a:lnTo>
                    <a:pt x="60" y="56"/>
                  </a:lnTo>
                  <a:lnTo>
                    <a:pt x="62" y="48"/>
                  </a:lnTo>
                  <a:lnTo>
                    <a:pt x="66" y="40"/>
                  </a:lnTo>
                  <a:lnTo>
                    <a:pt x="72" y="36"/>
                  </a:lnTo>
                  <a:lnTo>
                    <a:pt x="80" y="34"/>
                  </a:lnTo>
                  <a:lnTo>
                    <a:pt x="80" y="34"/>
                  </a:lnTo>
                  <a:close/>
                  <a:moveTo>
                    <a:pt x="132" y="264"/>
                  </a:moveTo>
                  <a:lnTo>
                    <a:pt x="82" y="264"/>
                  </a:lnTo>
                  <a:lnTo>
                    <a:pt x="94" y="192"/>
                  </a:lnTo>
                  <a:lnTo>
                    <a:pt x="94" y="192"/>
                  </a:lnTo>
                  <a:lnTo>
                    <a:pt x="86" y="190"/>
                  </a:lnTo>
                  <a:lnTo>
                    <a:pt x="82" y="184"/>
                  </a:lnTo>
                  <a:lnTo>
                    <a:pt x="80" y="176"/>
                  </a:lnTo>
                  <a:lnTo>
                    <a:pt x="78" y="168"/>
                  </a:lnTo>
                  <a:lnTo>
                    <a:pt x="78" y="168"/>
                  </a:lnTo>
                  <a:lnTo>
                    <a:pt x="80" y="158"/>
                  </a:lnTo>
                  <a:lnTo>
                    <a:pt x="88" y="150"/>
                  </a:lnTo>
                  <a:lnTo>
                    <a:pt x="96" y="144"/>
                  </a:lnTo>
                  <a:lnTo>
                    <a:pt x="108" y="142"/>
                  </a:lnTo>
                  <a:lnTo>
                    <a:pt x="108" y="142"/>
                  </a:lnTo>
                  <a:lnTo>
                    <a:pt x="120" y="144"/>
                  </a:lnTo>
                  <a:lnTo>
                    <a:pt x="128" y="150"/>
                  </a:lnTo>
                  <a:lnTo>
                    <a:pt x="134" y="158"/>
                  </a:lnTo>
                  <a:lnTo>
                    <a:pt x="136" y="168"/>
                  </a:lnTo>
                  <a:lnTo>
                    <a:pt x="136" y="168"/>
                  </a:lnTo>
                  <a:lnTo>
                    <a:pt x="136" y="176"/>
                  </a:lnTo>
                  <a:lnTo>
                    <a:pt x="132" y="184"/>
                  </a:lnTo>
                  <a:lnTo>
                    <a:pt x="128" y="190"/>
                  </a:lnTo>
                  <a:lnTo>
                    <a:pt x="120" y="192"/>
                  </a:lnTo>
                  <a:lnTo>
                    <a:pt x="132" y="264"/>
                  </a:lnTo>
                  <a:close/>
                </a:path>
              </a:pathLst>
            </a:custGeom>
            <a:solidFill>
              <a:srgbClr val="8DC63F"/>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231" name="Gruppieren 230"/>
            <p:cNvGrpSpPr>
              <a:grpSpLocks noChangeAspect="1"/>
            </p:cNvGrpSpPr>
            <p:nvPr/>
          </p:nvGrpSpPr>
          <p:grpSpPr>
            <a:xfrm>
              <a:off x="2883995" y="992629"/>
              <a:ext cx="588806" cy="566040"/>
              <a:chOff x="9513887" y="1368425"/>
              <a:chExt cx="903288" cy="868363"/>
            </a:xfrm>
            <a:solidFill>
              <a:srgbClr val="92D050"/>
            </a:solidFill>
          </p:grpSpPr>
          <p:sp>
            <p:nvSpPr>
              <p:cNvPr id="232" name="Freeform 20"/>
              <p:cNvSpPr>
                <a:spLocks noChangeAspect="1"/>
              </p:cNvSpPr>
              <p:nvPr/>
            </p:nvSpPr>
            <p:spPr bwMode="auto">
              <a:xfrm>
                <a:off x="9756775" y="1589088"/>
                <a:ext cx="415925" cy="517525"/>
              </a:xfrm>
              <a:custGeom>
                <a:avLst/>
                <a:gdLst>
                  <a:gd name="T0" fmla="*/ 132 w 263"/>
                  <a:gd name="T1" fmla="*/ 0 h 327"/>
                  <a:gd name="T2" fmla="*/ 0 w 263"/>
                  <a:gd name="T3" fmla="*/ 118 h 327"/>
                  <a:gd name="T4" fmla="*/ 23 w 263"/>
                  <a:gd name="T5" fmla="*/ 184 h 327"/>
                  <a:gd name="T6" fmla="*/ 51 w 263"/>
                  <a:gd name="T7" fmla="*/ 226 h 327"/>
                  <a:gd name="T8" fmla="*/ 72 w 263"/>
                  <a:gd name="T9" fmla="*/ 274 h 327"/>
                  <a:gd name="T10" fmla="*/ 72 w 263"/>
                  <a:gd name="T11" fmla="*/ 307 h 327"/>
                  <a:gd name="T12" fmla="*/ 105 w 263"/>
                  <a:gd name="T13" fmla="*/ 327 h 327"/>
                  <a:gd name="T14" fmla="*/ 113 w 263"/>
                  <a:gd name="T15" fmla="*/ 327 h 327"/>
                  <a:gd name="T16" fmla="*/ 151 w 263"/>
                  <a:gd name="T17" fmla="*/ 327 h 327"/>
                  <a:gd name="T18" fmla="*/ 158 w 263"/>
                  <a:gd name="T19" fmla="*/ 327 h 327"/>
                  <a:gd name="T20" fmla="*/ 192 w 263"/>
                  <a:gd name="T21" fmla="*/ 307 h 327"/>
                  <a:gd name="T22" fmla="*/ 192 w 263"/>
                  <a:gd name="T23" fmla="*/ 274 h 327"/>
                  <a:gd name="T24" fmla="*/ 212 w 263"/>
                  <a:gd name="T25" fmla="*/ 226 h 327"/>
                  <a:gd name="T26" fmla="*/ 242 w 263"/>
                  <a:gd name="T27" fmla="*/ 183 h 327"/>
                  <a:gd name="T28" fmla="*/ 263 w 263"/>
                  <a:gd name="T29" fmla="*/ 118 h 327"/>
                  <a:gd name="T30" fmla="*/ 132 w 263"/>
                  <a:gd name="T31" fmla="*/ 0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63" h="327">
                    <a:moveTo>
                      <a:pt x="132" y="0"/>
                    </a:moveTo>
                    <a:cubicBezTo>
                      <a:pt x="59" y="0"/>
                      <a:pt x="0" y="53"/>
                      <a:pt x="0" y="118"/>
                    </a:cubicBezTo>
                    <a:cubicBezTo>
                      <a:pt x="0" y="143"/>
                      <a:pt x="8" y="165"/>
                      <a:pt x="23" y="184"/>
                    </a:cubicBezTo>
                    <a:cubicBezTo>
                      <a:pt x="27" y="192"/>
                      <a:pt x="35" y="204"/>
                      <a:pt x="51" y="226"/>
                    </a:cubicBezTo>
                    <a:cubicBezTo>
                      <a:pt x="62" y="240"/>
                      <a:pt x="72" y="257"/>
                      <a:pt x="72" y="274"/>
                    </a:cubicBezTo>
                    <a:cubicBezTo>
                      <a:pt x="72" y="307"/>
                      <a:pt x="72" y="307"/>
                      <a:pt x="72" y="307"/>
                    </a:cubicBezTo>
                    <a:cubicBezTo>
                      <a:pt x="72" y="311"/>
                      <a:pt x="81" y="327"/>
                      <a:pt x="105" y="327"/>
                    </a:cubicBezTo>
                    <a:cubicBezTo>
                      <a:pt x="113" y="327"/>
                      <a:pt x="113" y="327"/>
                      <a:pt x="113" y="327"/>
                    </a:cubicBezTo>
                    <a:cubicBezTo>
                      <a:pt x="134" y="327"/>
                      <a:pt x="151" y="327"/>
                      <a:pt x="151" y="327"/>
                    </a:cubicBezTo>
                    <a:cubicBezTo>
                      <a:pt x="158" y="327"/>
                      <a:pt x="158" y="327"/>
                      <a:pt x="158" y="327"/>
                    </a:cubicBezTo>
                    <a:cubicBezTo>
                      <a:pt x="182" y="327"/>
                      <a:pt x="192" y="311"/>
                      <a:pt x="192" y="307"/>
                    </a:cubicBezTo>
                    <a:cubicBezTo>
                      <a:pt x="192" y="274"/>
                      <a:pt x="192" y="274"/>
                      <a:pt x="192" y="274"/>
                    </a:cubicBezTo>
                    <a:cubicBezTo>
                      <a:pt x="192" y="257"/>
                      <a:pt x="202" y="240"/>
                      <a:pt x="212" y="226"/>
                    </a:cubicBezTo>
                    <a:cubicBezTo>
                      <a:pt x="229" y="203"/>
                      <a:pt x="237" y="191"/>
                      <a:pt x="242" y="183"/>
                    </a:cubicBezTo>
                    <a:cubicBezTo>
                      <a:pt x="255" y="164"/>
                      <a:pt x="263" y="142"/>
                      <a:pt x="263" y="118"/>
                    </a:cubicBezTo>
                    <a:cubicBezTo>
                      <a:pt x="263" y="53"/>
                      <a:pt x="204" y="0"/>
                      <a:pt x="132" y="0"/>
                    </a:cubicBezTo>
                    <a:close/>
                  </a:path>
                </a:pathLst>
              </a:custGeom>
              <a:grpFill/>
              <a:ln>
                <a:noFill/>
              </a:ln>
            </p:spPr>
            <p:txBody>
              <a:bodyPr vert="horz" wrap="square" lIns="91440" tIns="45720" rIns="91440" bIns="45720" numCol="1" anchor="t" anchorCtr="0" compatLnSpc="1">
                <a:prstTxWarp prst="textNoShape">
                  <a:avLst/>
                </a:prstTxWarp>
              </a:bodyPr>
              <a:lstStyle/>
              <a:p>
                <a:endParaRPr lang="de-DE"/>
              </a:p>
            </p:txBody>
          </p:sp>
          <p:sp>
            <p:nvSpPr>
              <p:cNvPr id="233" name="Freeform 21"/>
              <p:cNvSpPr>
                <a:spLocks noChangeAspect="1"/>
              </p:cNvSpPr>
              <p:nvPr/>
            </p:nvSpPr>
            <p:spPr bwMode="auto">
              <a:xfrm>
                <a:off x="9877425" y="2144713"/>
                <a:ext cx="174625" cy="17463"/>
              </a:xfrm>
              <a:custGeom>
                <a:avLst/>
                <a:gdLst>
                  <a:gd name="T0" fmla="*/ 106 w 111"/>
                  <a:gd name="T1" fmla="*/ 11 h 11"/>
                  <a:gd name="T2" fmla="*/ 5 w 111"/>
                  <a:gd name="T3" fmla="*/ 11 h 11"/>
                  <a:gd name="T4" fmla="*/ 0 w 111"/>
                  <a:gd name="T5" fmla="*/ 5 h 11"/>
                  <a:gd name="T6" fmla="*/ 5 w 111"/>
                  <a:gd name="T7" fmla="*/ 0 h 11"/>
                  <a:gd name="T8" fmla="*/ 106 w 111"/>
                  <a:gd name="T9" fmla="*/ 0 h 11"/>
                  <a:gd name="T10" fmla="*/ 111 w 111"/>
                  <a:gd name="T11" fmla="*/ 5 h 11"/>
                  <a:gd name="T12" fmla="*/ 106 w 111"/>
                  <a:gd name="T13" fmla="*/ 11 h 11"/>
                </a:gdLst>
                <a:ahLst/>
                <a:cxnLst>
                  <a:cxn ang="0">
                    <a:pos x="T0" y="T1"/>
                  </a:cxn>
                  <a:cxn ang="0">
                    <a:pos x="T2" y="T3"/>
                  </a:cxn>
                  <a:cxn ang="0">
                    <a:pos x="T4" y="T5"/>
                  </a:cxn>
                  <a:cxn ang="0">
                    <a:pos x="T6" y="T7"/>
                  </a:cxn>
                  <a:cxn ang="0">
                    <a:pos x="T8" y="T9"/>
                  </a:cxn>
                  <a:cxn ang="0">
                    <a:pos x="T10" y="T11"/>
                  </a:cxn>
                  <a:cxn ang="0">
                    <a:pos x="T12" y="T13"/>
                  </a:cxn>
                </a:cxnLst>
                <a:rect l="0" t="0" r="r" b="b"/>
                <a:pathLst>
                  <a:path w="111" h="11">
                    <a:moveTo>
                      <a:pt x="106" y="11"/>
                    </a:moveTo>
                    <a:cubicBezTo>
                      <a:pt x="5" y="11"/>
                      <a:pt x="5" y="11"/>
                      <a:pt x="5" y="11"/>
                    </a:cubicBezTo>
                    <a:cubicBezTo>
                      <a:pt x="2" y="11"/>
                      <a:pt x="0" y="8"/>
                      <a:pt x="0" y="5"/>
                    </a:cubicBezTo>
                    <a:cubicBezTo>
                      <a:pt x="0" y="3"/>
                      <a:pt x="2" y="0"/>
                      <a:pt x="5" y="0"/>
                    </a:cubicBezTo>
                    <a:cubicBezTo>
                      <a:pt x="106" y="0"/>
                      <a:pt x="106" y="0"/>
                      <a:pt x="106" y="0"/>
                    </a:cubicBezTo>
                    <a:cubicBezTo>
                      <a:pt x="109" y="0"/>
                      <a:pt x="111" y="3"/>
                      <a:pt x="111" y="5"/>
                    </a:cubicBezTo>
                    <a:cubicBezTo>
                      <a:pt x="111" y="8"/>
                      <a:pt x="109" y="11"/>
                      <a:pt x="106" y="11"/>
                    </a:cubicBezTo>
                    <a:close/>
                  </a:path>
                </a:pathLst>
              </a:custGeom>
              <a:grpFill/>
              <a:ln>
                <a:noFill/>
              </a:ln>
            </p:spPr>
            <p:txBody>
              <a:bodyPr vert="horz" wrap="square" lIns="91440" tIns="45720" rIns="91440" bIns="45720" numCol="1" anchor="t" anchorCtr="0" compatLnSpc="1">
                <a:prstTxWarp prst="textNoShape">
                  <a:avLst/>
                </a:prstTxWarp>
              </a:bodyPr>
              <a:lstStyle/>
              <a:p>
                <a:endParaRPr lang="de-DE"/>
              </a:p>
            </p:txBody>
          </p:sp>
          <p:sp>
            <p:nvSpPr>
              <p:cNvPr id="234" name="Freeform 22"/>
              <p:cNvSpPr>
                <a:spLocks noChangeAspect="1"/>
              </p:cNvSpPr>
              <p:nvPr/>
            </p:nvSpPr>
            <p:spPr bwMode="auto">
              <a:xfrm>
                <a:off x="9883775" y="2182813"/>
                <a:ext cx="163513" cy="15875"/>
              </a:xfrm>
              <a:custGeom>
                <a:avLst/>
                <a:gdLst>
                  <a:gd name="T0" fmla="*/ 99 w 104"/>
                  <a:gd name="T1" fmla="*/ 10 h 10"/>
                  <a:gd name="T2" fmla="*/ 5 w 104"/>
                  <a:gd name="T3" fmla="*/ 10 h 10"/>
                  <a:gd name="T4" fmla="*/ 0 w 104"/>
                  <a:gd name="T5" fmla="*/ 5 h 10"/>
                  <a:gd name="T6" fmla="*/ 5 w 104"/>
                  <a:gd name="T7" fmla="*/ 0 h 10"/>
                  <a:gd name="T8" fmla="*/ 99 w 104"/>
                  <a:gd name="T9" fmla="*/ 0 h 10"/>
                  <a:gd name="T10" fmla="*/ 104 w 104"/>
                  <a:gd name="T11" fmla="*/ 5 h 10"/>
                  <a:gd name="T12" fmla="*/ 99 w 104"/>
                  <a:gd name="T13" fmla="*/ 10 h 10"/>
                </a:gdLst>
                <a:ahLst/>
                <a:cxnLst>
                  <a:cxn ang="0">
                    <a:pos x="T0" y="T1"/>
                  </a:cxn>
                  <a:cxn ang="0">
                    <a:pos x="T2" y="T3"/>
                  </a:cxn>
                  <a:cxn ang="0">
                    <a:pos x="T4" y="T5"/>
                  </a:cxn>
                  <a:cxn ang="0">
                    <a:pos x="T6" y="T7"/>
                  </a:cxn>
                  <a:cxn ang="0">
                    <a:pos x="T8" y="T9"/>
                  </a:cxn>
                  <a:cxn ang="0">
                    <a:pos x="T10" y="T11"/>
                  </a:cxn>
                  <a:cxn ang="0">
                    <a:pos x="T12" y="T13"/>
                  </a:cxn>
                </a:cxnLst>
                <a:rect l="0" t="0" r="r" b="b"/>
                <a:pathLst>
                  <a:path w="104" h="10">
                    <a:moveTo>
                      <a:pt x="99" y="10"/>
                    </a:moveTo>
                    <a:cubicBezTo>
                      <a:pt x="5" y="10"/>
                      <a:pt x="5" y="10"/>
                      <a:pt x="5" y="10"/>
                    </a:cubicBezTo>
                    <a:cubicBezTo>
                      <a:pt x="2" y="10"/>
                      <a:pt x="0" y="8"/>
                      <a:pt x="0" y="5"/>
                    </a:cubicBezTo>
                    <a:cubicBezTo>
                      <a:pt x="0" y="2"/>
                      <a:pt x="2" y="0"/>
                      <a:pt x="5" y="0"/>
                    </a:cubicBezTo>
                    <a:cubicBezTo>
                      <a:pt x="99" y="0"/>
                      <a:pt x="99" y="0"/>
                      <a:pt x="99" y="0"/>
                    </a:cubicBezTo>
                    <a:cubicBezTo>
                      <a:pt x="101" y="0"/>
                      <a:pt x="104" y="2"/>
                      <a:pt x="104" y="5"/>
                    </a:cubicBezTo>
                    <a:cubicBezTo>
                      <a:pt x="104" y="8"/>
                      <a:pt x="101" y="10"/>
                      <a:pt x="99" y="10"/>
                    </a:cubicBezTo>
                    <a:close/>
                  </a:path>
                </a:pathLst>
              </a:custGeom>
              <a:grpFill/>
              <a:ln>
                <a:noFill/>
              </a:ln>
            </p:spPr>
            <p:txBody>
              <a:bodyPr vert="horz" wrap="square" lIns="91440" tIns="45720" rIns="91440" bIns="45720" numCol="1" anchor="t" anchorCtr="0" compatLnSpc="1">
                <a:prstTxWarp prst="textNoShape">
                  <a:avLst/>
                </a:prstTxWarp>
              </a:bodyPr>
              <a:lstStyle/>
              <a:p>
                <a:endParaRPr lang="de-DE"/>
              </a:p>
            </p:txBody>
          </p:sp>
          <p:sp>
            <p:nvSpPr>
              <p:cNvPr id="235" name="Freeform 23"/>
              <p:cNvSpPr>
                <a:spLocks noChangeAspect="1"/>
              </p:cNvSpPr>
              <p:nvPr/>
            </p:nvSpPr>
            <p:spPr bwMode="auto">
              <a:xfrm>
                <a:off x="9893300" y="2219325"/>
                <a:ext cx="144463" cy="17463"/>
              </a:xfrm>
              <a:custGeom>
                <a:avLst/>
                <a:gdLst>
                  <a:gd name="T0" fmla="*/ 87 w 92"/>
                  <a:gd name="T1" fmla="*/ 11 h 11"/>
                  <a:gd name="T2" fmla="*/ 5 w 92"/>
                  <a:gd name="T3" fmla="*/ 11 h 11"/>
                  <a:gd name="T4" fmla="*/ 0 w 92"/>
                  <a:gd name="T5" fmla="*/ 6 h 11"/>
                  <a:gd name="T6" fmla="*/ 5 w 92"/>
                  <a:gd name="T7" fmla="*/ 0 h 11"/>
                  <a:gd name="T8" fmla="*/ 87 w 92"/>
                  <a:gd name="T9" fmla="*/ 0 h 11"/>
                  <a:gd name="T10" fmla="*/ 92 w 92"/>
                  <a:gd name="T11" fmla="*/ 6 h 11"/>
                  <a:gd name="T12" fmla="*/ 87 w 92"/>
                  <a:gd name="T13" fmla="*/ 11 h 11"/>
                </a:gdLst>
                <a:ahLst/>
                <a:cxnLst>
                  <a:cxn ang="0">
                    <a:pos x="T0" y="T1"/>
                  </a:cxn>
                  <a:cxn ang="0">
                    <a:pos x="T2" y="T3"/>
                  </a:cxn>
                  <a:cxn ang="0">
                    <a:pos x="T4" y="T5"/>
                  </a:cxn>
                  <a:cxn ang="0">
                    <a:pos x="T6" y="T7"/>
                  </a:cxn>
                  <a:cxn ang="0">
                    <a:pos x="T8" y="T9"/>
                  </a:cxn>
                  <a:cxn ang="0">
                    <a:pos x="T10" y="T11"/>
                  </a:cxn>
                  <a:cxn ang="0">
                    <a:pos x="T12" y="T13"/>
                  </a:cxn>
                </a:cxnLst>
                <a:rect l="0" t="0" r="r" b="b"/>
                <a:pathLst>
                  <a:path w="92" h="11">
                    <a:moveTo>
                      <a:pt x="87" y="11"/>
                    </a:moveTo>
                    <a:cubicBezTo>
                      <a:pt x="5" y="11"/>
                      <a:pt x="5" y="11"/>
                      <a:pt x="5" y="11"/>
                    </a:cubicBezTo>
                    <a:cubicBezTo>
                      <a:pt x="2" y="11"/>
                      <a:pt x="0" y="8"/>
                      <a:pt x="0" y="6"/>
                    </a:cubicBezTo>
                    <a:cubicBezTo>
                      <a:pt x="0" y="3"/>
                      <a:pt x="2" y="0"/>
                      <a:pt x="5" y="0"/>
                    </a:cubicBezTo>
                    <a:cubicBezTo>
                      <a:pt x="87" y="0"/>
                      <a:pt x="87" y="0"/>
                      <a:pt x="87" y="0"/>
                    </a:cubicBezTo>
                    <a:cubicBezTo>
                      <a:pt x="90" y="0"/>
                      <a:pt x="92" y="3"/>
                      <a:pt x="92" y="6"/>
                    </a:cubicBezTo>
                    <a:cubicBezTo>
                      <a:pt x="92" y="8"/>
                      <a:pt x="90" y="11"/>
                      <a:pt x="87" y="11"/>
                    </a:cubicBezTo>
                    <a:close/>
                  </a:path>
                </a:pathLst>
              </a:custGeom>
              <a:grpFill/>
              <a:ln>
                <a:noFill/>
              </a:ln>
            </p:spPr>
            <p:txBody>
              <a:bodyPr vert="horz" wrap="square" lIns="91440" tIns="45720" rIns="91440" bIns="45720" numCol="1" anchor="t" anchorCtr="0" compatLnSpc="1">
                <a:prstTxWarp prst="textNoShape">
                  <a:avLst/>
                </a:prstTxWarp>
              </a:bodyPr>
              <a:lstStyle/>
              <a:p>
                <a:endParaRPr lang="de-DE"/>
              </a:p>
            </p:txBody>
          </p:sp>
          <p:sp>
            <p:nvSpPr>
              <p:cNvPr id="236" name="Freeform 24"/>
              <p:cNvSpPr>
                <a:spLocks noChangeAspect="1" noEditPoints="1"/>
              </p:cNvSpPr>
              <p:nvPr/>
            </p:nvSpPr>
            <p:spPr bwMode="auto">
              <a:xfrm>
                <a:off x="9513887" y="1368425"/>
                <a:ext cx="903288" cy="476250"/>
              </a:xfrm>
              <a:custGeom>
                <a:avLst/>
                <a:gdLst>
                  <a:gd name="T0" fmla="*/ 85 w 570"/>
                  <a:gd name="T1" fmla="*/ 301 h 301"/>
                  <a:gd name="T2" fmla="*/ 22 w 570"/>
                  <a:gd name="T3" fmla="*/ 301 h 301"/>
                  <a:gd name="T4" fmla="*/ 22 w 570"/>
                  <a:gd name="T5" fmla="*/ 269 h 301"/>
                  <a:gd name="T6" fmla="*/ 85 w 570"/>
                  <a:gd name="T7" fmla="*/ 269 h 301"/>
                  <a:gd name="T8" fmla="*/ 85 w 570"/>
                  <a:gd name="T9" fmla="*/ 301 h 301"/>
                  <a:gd name="T10" fmla="*/ 110 w 570"/>
                  <a:gd name="T11" fmla="*/ 87 h 301"/>
                  <a:gd name="T12" fmla="*/ 155 w 570"/>
                  <a:gd name="T13" fmla="*/ 132 h 301"/>
                  <a:gd name="T14" fmla="*/ 132 w 570"/>
                  <a:gd name="T15" fmla="*/ 155 h 301"/>
                  <a:gd name="T16" fmla="*/ 87 w 570"/>
                  <a:gd name="T17" fmla="*/ 110 h 301"/>
                  <a:gd name="T18" fmla="*/ 110 w 570"/>
                  <a:gd name="T19" fmla="*/ 87 h 301"/>
                  <a:gd name="T20" fmla="*/ 301 w 570"/>
                  <a:gd name="T21" fmla="*/ 21 h 301"/>
                  <a:gd name="T22" fmla="*/ 301 w 570"/>
                  <a:gd name="T23" fmla="*/ 85 h 301"/>
                  <a:gd name="T24" fmla="*/ 269 w 570"/>
                  <a:gd name="T25" fmla="*/ 85 h 301"/>
                  <a:gd name="T26" fmla="*/ 269 w 570"/>
                  <a:gd name="T27" fmla="*/ 21 h 301"/>
                  <a:gd name="T28" fmla="*/ 301 w 570"/>
                  <a:gd name="T29" fmla="*/ 21 h 301"/>
                  <a:gd name="T30" fmla="*/ 483 w 570"/>
                  <a:gd name="T31" fmla="*/ 110 h 301"/>
                  <a:gd name="T32" fmla="*/ 438 w 570"/>
                  <a:gd name="T33" fmla="*/ 155 h 301"/>
                  <a:gd name="T34" fmla="*/ 415 w 570"/>
                  <a:gd name="T35" fmla="*/ 132 h 301"/>
                  <a:gd name="T36" fmla="*/ 460 w 570"/>
                  <a:gd name="T37" fmla="*/ 87 h 301"/>
                  <a:gd name="T38" fmla="*/ 483 w 570"/>
                  <a:gd name="T39" fmla="*/ 110 h 301"/>
                  <a:gd name="T40" fmla="*/ 548 w 570"/>
                  <a:gd name="T41" fmla="*/ 301 h 301"/>
                  <a:gd name="T42" fmla="*/ 485 w 570"/>
                  <a:gd name="T43" fmla="*/ 301 h 301"/>
                  <a:gd name="T44" fmla="*/ 485 w 570"/>
                  <a:gd name="T45" fmla="*/ 269 h 301"/>
                  <a:gd name="T46" fmla="*/ 548 w 570"/>
                  <a:gd name="T47" fmla="*/ 269 h 301"/>
                  <a:gd name="T48" fmla="*/ 548 w 570"/>
                  <a:gd name="T49" fmla="*/ 301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70" h="301">
                    <a:moveTo>
                      <a:pt x="85" y="301"/>
                    </a:moveTo>
                    <a:cubicBezTo>
                      <a:pt x="22" y="301"/>
                      <a:pt x="22" y="301"/>
                      <a:pt x="22" y="301"/>
                    </a:cubicBezTo>
                    <a:cubicBezTo>
                      <a:pt x="0" y="301"/>
                      <a:pt x="0" y="269"/>
                      <a:pt x="22" y="269"/>
                    </a:cubicBezTo>
                    <a:cubicBezTo>
                      <a:pt x="85" y="269"/>
                      <a:pt x="85" y="269"/>
                      <a:pt x="85" y="269"/>
                    </a:cubicBezTo>
                    <a:cubicBezTo>
                      <a:pt x="107" y="269"/>
                      <a:pt x="107" y="301"/>
                      <a:pt x="85" y="301"/>
                    </a:cubicBezTo>
                    <a:close/>
                    <a:moveTo>
                      <a:pt x="110" y="87"/>
                    </a:moveTo>
                    <a:cubicBezTo>
                      <a:pt x="155" y="132"/>
                      <a:pt x="155" y="132"/>
                      <a:pt x="155" y="132"/>
                    </a:cubicBezTo>
                    <a:cubicBezTo>
                      <a:pt x="170" y="147"/>
                      <a:pt x="147" y="170"/>
                      <a:pt x="132" y="155"/>
                    </a:cubicBezTo>
                    <a:cubicBezTo>
                      <a:pt x="87" y="110"/>
                      <a:pt x="87" y="110"/>
                      <a:pt x="87" y="110"/>
                    </a:cubicBezTo>
                    <a:cubicBezTo>
                      <a:pt x="72" y="95"/>
                      <a:pt x="95" y="72"/>
                      <a:pt x="110" y="87"/>
                    </a:cubicBezTo>
                    <a:close/>
                    <a:moveTo>
                      <a:pt x="301" y="21"/>
                    </a:moveTo>
                    <a:cubicBezTo>
                      <a:pt x="301" y="85"/>
                      <a:pt x="301" y="85"/>
                      <a:pt x="301" y="85"/>
                    </a:cubicBezTo>
                    <a:cubicBezTo>
                      <a:pt x="301" y="106"/>
                      <a:pt x="269" y="106"/>
                      <a:pt x="269" y="85"/>
                    </a:cubicBezTo>
                    <a:cubicBezTo>
                      <a:pt x="269" y="21"/>
                      <a:pt x="269" y="21"/>
                      <a:pt x="269" y="21"/>
                    </a:cubicBezTo>
                    <a:cubicBezTo>
                      <a:pt x="269" y="0"/>
                      <a:pt x="301" y="0"/>
                      <a:pt x="301" y="21"/>
                    </a:cubicBezTo>
                    <a:close/>
                    <a:moveTo>
                      <a:pt x="483" y="110"/>
                    </a:moveTo>
                    <a:cubicBezTo>
                      <a:pt x="438" y="155"/>
                      <a:pt x="438" y="155"/>
                      <a:pt x="438" y="155"/>
                    </a:cubicBezTo>
                    <a:cubicBezTo>
                      <a:pt x="423" y="170"/>
                      <a:pt x="400" y="147"/>
                      <a:pt x="415" y="132"/>
                    </a:cubicBezTo>
                    <a:cubicBezTo>
                      <a:pt x="460" y="87"/>
                      <a:pt x="460" y="87"/>
                      <a:pt x="460" y="87"/>
                    </a:cubicBezTo>
                    <a:cubicBezTo>
                      <a:pt x="475" y="72"/>
                      <a:pt x="498" y="95"/>
                      <a:pt x="483" y="110"/>
                    </a:cubicBezTo>
                    <a:close/>
                    <a:moveTo>
                      <a:pt x="548" y="301"/>
                    </a:moveTo>
                    <a:cubicBezTo>
                      <a:pt x="485" y="301"/>
                      <a:pt x="485" y="301"/>
                      <a:pt x="485" y="301"/>
                    </a:cubicBezTo>
                    <a:cubicBezTo>
                      <a:pt x="464" y="301"/>
                      <a:pt x="464" y="269"/>
                      <a:pt x="485" y="269"/>
                    </a:cubicBezTo>
                    <a:cubicBezTo>
                      <a:pt x="548" y="269"/>
                      <a:pt x="548" y="269"/>
                      <a:pt x="548" y="269"/>
                    </a:cubicBezTo>
                    <a:cubicBezTo>
                      <a:pt x="570" y="269"/>
                      <a:pt x="570" y="301"/>
                      <a:pt x="548" y="301"/>
                    </a:cubicBezTo>
                    <a:close/>
                  </a:path>
                </a:pathLst>
              </a:custGeom>
              <a:grpFill/>
              <a:ln>
                <a:noFill/>
              </a:ln>
            </p:spPr>
            <p:txBody>
              <a:bodyPr vert="horz" wrap="square" lIns="91440" tIns="45720" rIns="91440" bIns="45720" numCol="1" anchor="t" anchorCtr="0" compatLnSpc="1">
                <a:prstTxWarp prst="textNoShape">
                  <a:avLst/>
                </a:prstTxWarp>
              </a:bodyPr>
              <a:lstStyle/>
              <a:p>
                <a:endParaRPr lang="de-DE"/>
              </a:p>
            </p:txBody>
          </p:sp>
        </p:grpSp>
        <p:cxnSp>
          <p:nvCxnSpPr>
            <p:cNvPr id="214" name="Straight Connector 326"/>
            <p:cNvCxnSpPr/>
            <p:nvPr/>
          </p:nvCxnSpPr>
          <p:spPr>
            <a:xfrm flipH="1">
              <a:off x="2127176" y="4225947"/>
              <a:ext cx="329589" cy="212901"/>
            </a:xfrm>
            <a:prstGeom prst="line">
              <a:avLst/>
            </a:prstGeom>
            <a:ln w="12700">
              <a:solidFill>
                <a:schemeClr val="tx1"/>
              </a:solidFill>
              <a:prstDash val="sysDash"/>
            </a:ln>
          </p:spPr>
          <p:style>
            <a:lnRef idx="2">
              <a:schemeClr val="accent1"/>
            </a:lnRef>
            <a:fillRef idx="0">
              <a:schemeClr val="accent1"/>
            </a:fillRef>
            <a:effectRef idx="1">
              <a:schemeClr val="accent1"/>
            </a:effectRef>
            <a:fontRef idx="minor">
              <a:schemeClr val="tx1"/>
            </a:fontRef>
          </p:style>
        </p:cxnSp>
        <p:cxnSp>
          <p:nvCxnSpPr>
            <p:cNvPr id="384" name="Straight Connector 325"/>
            <p:cNvCxnSpPr>
              <a:endCxn id="169" idx="2"/>
            </p:cNvCxnSpPr>
            <p:nvPr/>
          </p:nvCxnSpPr>
          <p:spPr>
            <a:xfrm>
              <a:off x="1652888" y="3849227"/>
              <a:ext cx="646800" cy="227410"/>
            </a:xfrm>
            <a:prstGeom prst="line">
              <a:avLst/>
            </a:prstGeom>
            <a:ln w="12700">
              <a:solidFill>
                <a:schemeClr val="tx1"/>
              </a:solidFill>
              <a:prstDash val="sysDash"/>
            </a:ln>
          </p:spPr>
          <p:style>
            <a:lnRef idx="2">
              <a:schemeClr val="accent1"/>
            </a:lnRef>
            <a:fillRef idx="0">
              <a:schemeClr val="accent1"/>
            </a:fillRef>
            <a:effectRef idx="1">
              <a:schemeClr val="accent1"/>
            </a:effectRef>
            <a:fontRef idx="minor">
              <a:schemeClr val="tx1"/>
            </a:fontRef>
          </p:style>
        </p:cxnSp>
        <p:grpSp>
          <p:nvGrpSpPr>
            <p:cNvPr id="349" name="Group 32"/>
            <p:cNvGrpSpPr>
              <a:grpSpLocks noChangeAspect="1"/>
            </p:cNvGrpSpPr>
            <p:nvPr/>
          </p:nvGrpSpPr>
          <p:grpSpPr bwMode="auto">
            <a:xfrm>
              <a:off x="1630447" y="4192338"/>
              <a:ext cx="561796" cy="468477"/>
              <a:chOff x="2426" y="1835"/>
              <a:chExt cx="1204" cy="1004"/>
            </a:xfrm>
            <a:solidFill>
              <a:srgbClr val="8DC63F"/>
            </a:solidFill>
          </p:grpSpPr>
          <p:sp>
            <p:nvSpPr>
              <p:cNvPr id="350" name="Freeform 33"/>
              <p:cNvSpPr>
                <a:spLocks/>
              </p:cNvSpPr>
              <p:nvPr/>
            </p:nvSpPr>
            <p:spPr bwMode="auto">
              <a:xfrm>
                <a:off x="3256" y="2051"/>
                <a:ext cx="374" cy="788"/>
              </a:xfrm>
              <a:custGeom>
                <a:avLst/>
                <a:gdLst>
                  <a:gd name="T0" fmla="*/ 94 w 374"/>
                  <a:gd name="T1" fmla="*/ 0 h 788"/>
                  <a:gd name="T2" fmla="*/ 82 w 374"/>
                  <a:gd name="T3" fmla="*/ 0 h 788"/>
                  <a:gd name="T4" fmla="*/ 50 w 374"/>
                  <a:gd name="T5" fmla="*/ 10 h 788"/>
                  <a:gd name="T6" fmla="*/ 20 w 374"/>
                  <a:gd name="T7" fmla="*/ 32 h 788"/>
                  <a:gd name="T8" fmla="*/ 4 w 374"/>
                  <a:gd name="T9" fmla="*/ 58 h 788"/>
                  <a:gd name="T10" fmla="*/ 0 w 374"/>
                  <a:gd name="T11" fmla="*/ 78 h 788"/>
                  <a:gd name="T12" fmla="*/ 0 w 374"/>
                  <a:gd name="T13" fmla="*/ 92 h 788"/>
                  <a:gd name="T14" fmla="*/ 0 w 374"/>
                  <a:gd name="T15" fmla="*/ 354 h 788"/>
                  <a:gd name="T16" fmla="*/ 2 w 374"/>
                  <a:gd name="T17" fmla="*/ 366 h 788"/>
                  <a:gd name="T18" fmla="*/ 18 w 374"/>
                  <a:gd name="T19" fmla="*/ 384 h 788"/>
                  <a:gd name="T20" fmla="*/ 30 w 374"/>
                  <a:gd name="T21" fmla="*/ 386 h 788"/>
                  <a:gd name="T22" fmla="*/ 36 w 374"/>
                  <a:gd name="T23" fmla="*/ 386 h 788"/>
                  <a:gd name="T24" fmla="*/ 52 w 374"/>
                  <a:gd name="T25" fmla="*/ 376 h 788"/>
                  <a:gd name="T26" fmla="*/ 60 w 374"/>
                  <a:gd name="T27" fmla="*/ 360 h 788"/>
                  <a:gd name="T28" fmla="*/ 62 w 374"/>
                  <a:gd name="T29" fmla="*/ 128 h 788"/>
                  <a:gd name="T30" fmla="*/ 88 w 374"/>
                  <a:gd name="T31" fmla="*/ 346 h 788"/>
                  <a:gd name="T32" fmla="*/ 88 w 374"/>
                  <a:gd name="T33" fmla="*/ 354 h 788"/>
                  <a:gd name="T34" fmla="*/ 88 w 374"/>
                  <a:gd name="T35" fmla="*/ 744 h 788"/>
                  <a:gd name="T36" fmla="*/ 92 w 374"/>
                  <a:gd name="T37" fmla="*/ 760 h 788"/>
                  <a:gd name="T38" fmla="*/ 102 w 374"/>
                  <a:gd name="T39" fmla="*/ 776 h 788"/>
                  <a:gd name="T40" fmla="*/ 114 w 374"/>
                  <a:gd name="T41" fmla="*/ 784 h 788"/>
                  <a:gd name="T42" fmla="*/ 132 w 374"/>
                  <a:gd name="T43" fmla="*/ 788 h 788"/>
                  <a:gd name="T44" fmla="*/ 140 w 374"/>
                  <a:gd name="T45" fmla="*/ 788 h 788"/>
                  <a:gd name="T46" fmla="*/ 156 w 374"/>
                  <a:gd name="T47" fmla="*/ 780 h 788"/>
                  <a:gd name="T48" fmla="*/ 168 w 374"/>
                  <a:gd name="T49" fmla="*/ 768 h 788"/>
                  <a:gd name="T50" fmla="*/ 174 w 374"/>
                  <a:gd name="T51" fmla="*/ 752 h 788"/>
                  <a:gd name="T52" fmla="*/ 176 w 374"/>
                  <a:gd name="T53" fmla="*/ 400 h 788"/>
                  <a:gd name="T54" fmla="*/ 196 w 374"/>
                  <a:gd name="T55" fmla="*/ 744 h 788"/>
                  <a:gd name="T56" fmla="*/ 198 w 374"/>
                  <a:gd name="T57" fmla="*/ 752 h 788"/>
                  <a:gd name="T58" fmla="*/ 204 w 374"/>
                  <a:gd name="T59" fmla="*/ 768 h 788"/>
                  <a:gd name="T60" fmla="*/ 216 w 374"/>
                  <a:gd name="T61" fmla="*/ 780 h 788"/>
                  <a:gd name="T62" fmla="*/ 232 w 374"/>
                  <a:gd name="T63" fmla="*/ 788 h 788"/>
                  <a:gd name="T64" fmla="*/ 240 w 374"/>
                  <a:gd name="T65" fmla="*/ 788 h 788"/>
                  <a:gd name="T66" fmla="*/ 256 w 374"/>
                  <a:gd name="T67" fmla="*/ 784 h 788"/>
                  <a:gd name="T68" fmla="*/ 270 w 374"/>
                  <a:gd name="T69" fmla="*/ 776 h 788"/>
                  <a:gd name="T70" fmla="*/ 280 w 374"/>
                  <a:gd name="T71" fmla="*/ 760 h 788"/>
                  <a:gd name="T72" fmla="*/ 284 w 374"/>
                  <a:gd name="T73" fmla="*/ 744 h 788"/>
                  <a:gd name="T74" fmla="*/ 284 w 374"/>
                  <a:gd name="T75" fmla="*/ 342 h 788"/>
                  <a:gd name="T76" fmla="*/ 306 w 374"/>
                  <a:gd name="T77" fmla="*/ 128 h 788"/>
                  <a:gd name="T78" fmla="*/ 306 w 374"/>
                  <a:gd name="T79" fmla="*/ 354 h 788"/>
                  <a:gd name="T80" fmla="*/ 310 w 374"/>
                  <a:gd name="T81" fmla="*/ 366 h 788"/>
                  <a:gd name="T82" fmla="*/ 316 w 374"/>
                  <a:gd name="T83" fmla="*/ 376 h 788"/>
                  <a:gd name="T84" fmla="*/ 334 w 374"/>
                  <a:gd name="T85" fmla="*/ 386 h 788"/>
                  <a:gd name="T86" fmla="*/ 340 w 374"/>
                  <a:gd name="T87" fmla="*/ 386 h 788"/>
                  <a:gd name="T88" fmla="*/ 352 w 374"/>
                  <a:gd name="T89" fmla="*/ 384 h 788"/>
                  <a:gd name="T90" fmla="*/ 368 w 374"/>
                  <a:gd name="T91" fmla="*/ 372 h 788"/>
                  <a:gd name="T92" fmla="*/ 372 w 374"/>
                  <a:gd name="T93" fmla="*/ 360 h 788"/>
                  <a:gd name="T94" fmla="*/ 374 w 374"/>
                  <a:gd name="T95" fmla="*/ 92 h 788"/>
                  <a:gd name="T96" fmla="*/ 374 w 374"/>
                  <a:gd name="T97" fmla="*/ 74 h 788"/>
                  <a:gd name="T98" fmla="*/ 372 w 374"/>
                  <a:gd name="T99" fmla="*/ 64 h 788"/>
                  <a:gd name="T100" fmla="*/ 360 w 374"/>
                  <a:gd name="T101" fmla="*/ 40 h 788"/>
                  <a:gd name="T102" fmla="*/ 338 w 374"/>
                  <a:gd name="T103" fmla="*/ 18 h 788"/>
                  <a:gd name="T104" fmla="*/ 304 w 374"/>
                  <a:gd name="T105" fmla="*/ 2 h 788"/>
                  <a:gd name="T106" fmla="*/ 284 w 374"/>
                  <a:gd name="T107" fmla="*/ 0 h 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74" h="788">
                    <a:moveTo>
                      <a:pt x="284" y="0"/>
                    </a:moveTo>
                    <a:lnTo>
                      <a:pt x="94" y="0"/>
                    </a:lnTo>
                    <a:lnTo>
                      <a:pt x="94" y="0"/>
                    </a:lnTo>
                    <a:lnTo>
                      <a:pt x="82" y="0"/>
                    </a:lnTo>
                    <a:lnTo>
                      <a:pt x="70" y="2"/>
                    </a:lnTo>
                    <a:lnTo>
                      <a:pt x="50" y="10"/>
                    </a:lnTo>
                    <a:lnTo>
                      <a:pt x="34" y="20"/>
                    </a:lnTo>
                    <a:lnTo>
                      <a:pt x="20" y="32"/>
                    </a:lnTo>
                    <a:lnTo>
                      <a:pt x="12" y="44"/>
                    </a:lnTo>
                    <a:lnTo>
                      <a:pt x="4" y="58"/>
                    </a:lnTo>
                    <a:lnTo>
                      <a:pt x="0" y="68"/>
                    </a:lnTo>
                    <a:lnTo>
                      <a:pt x="0" y="78"/>
                    </a:lnTo>
                    <a:lnTo>
                      <a:pt x="0" y="80"/>
                    </a:lnTo>
                    <a:lnTo>
                      <a:pt x="0" y="92"/>
                    </a:lnTo>
                    <a:lnTo>
                      <a:pt x="0" y="354"/>
                    </a:lnTo>
                    <a:lnTo>
                      <a:pt x="0" y="354"/>
                    </a:lnTo>
                    <a:lnTo>
                      <a:pt x="0" y="360"/>
                    </a:lnTo>
                    <a:lnTo>
                      <a:pt x="2" y="366"/>
                    </a:lnTo>
                    <a:lnTo>
                      <a:pt x="8" y="376"/>
                    </a:lnTo>
                    <a:lnTo>
                      <a:pt x="18" y="384"/>
                    </a:lnTo>
                    <a:lnTo>
                      <a:pt x="24" y="386"/>
                    </a:lnTo>
                    <a:lnTo>
                      <a:pt x="30" y="386"/>
                    </a:lnTo>
                    <a:lnTo>
                      <a:pt x="30" y="386"/>
                    </a:lnTo>
                    <a:lnTo>
                      <a:pt x="36" y="386"/>
                    </a:lnTo>
                    <a:lnTo>
                      <a:pt x="42" y="384"/>
                    </a:lnTo>
                    <a:lnTo>
                      <a:pt x="52" y="376"/>
                    </a:lnTo>
                    <a:lnTo>
                      <a:pt x="60" y="366"/>
                    </a:lnTo>
                    <a:lnTo>
                      <a:pt x="60" y="360"/>
                    </a:lnTo>
                    <a:lnTo>
                      <a:pt x="62" y="354"/>
                    </a:lnTo>
                    <a:lnTo>
                      <a:pt x="62" y="128"/>
                    </a:lnTo>
                    <a:lnTo>
                      <a:pt x="88" y="128"/>
                    </a:lnTo>
                    <a:lnTo>
                      <a:pt x="88" y="346"/>
                    </a:lnTo>
                    <a:lnTo>
                      <a:pt x="88" y="346"/>
                    </a:lnTo>
                    <a:lnTo>
                      <a:pt x="88" y="354"/>
                    </a:lnTo>
                    <a:lnTo>
                      <a:pt x="88" y="744"/>
                    </a:lnTo>
                    <a:lnTo>
                      <a:pt x="88" y="744"/>
                    </a:lnTo>
                    <a:lnTo>
                      <a:pt x="90" y="752"/>
                    </a:lnTo>
                    <a:lnTo>
                      <a:pt x="92" y="760"/>
                    </a:lnTo>
                    <a:lnTo>
                      <a:pt x="96" y="768"/>
                    </a:lnTo>
                    <a:lnTo>
                      <a:pt x="102" y="776"/>
                    </a:lnTo>
                    <a:lnTo>
                      <a:pt x="108" y="780"/>
                    </a:lnTo>
                    <a:lnTo>
                      <a:pt x="114" y="784"/>
                    </a:lnTo>
                    <a:lnTo>
                      <a:pt x="124" y="788"/>
                    </a:lnTo>
                    <a:lnTo>
                      <a:pt x="132" y="788"/>
                    </a:lnTo>
                    <a:lnTo>
                      <a:pt x="132" y="788"/>
                    </a:lnTo>
                    <a:lnTo>
                      <a:pt x="140" y="788"/>
                    </a:lnTo>
                    <a:lnTo>
                      <a:pt x="148" y="784"/>
                    </a:lnTo>
                    <a:lnTo>
                      <a:pt x="156" y="780"/>
                    </a:lnTo>
                    <a:lnTo>
                      <a:pt x="162" y="776"/>
                    </a:lnTo>
                    <a:lnTo>
                      <a:pt x="168" y="768"/>
                    </a:lnTo>
                    <a:lnTo>
                      <a:pt x="172" y="760"/>
                    </a:lnTo>
                    <a:lnTo>
                      <a:pt x="174" y="752"/>
                    </a:lnTo>
                    <a:lnTo>
                      <a:pt x="176" y="744"/>
                    </a:lnTo>
                    <a:lnTo>
                      <a:pt x="176" y="400"/>
                    </a:lnTo>
                    <a:lnTo>
                      <a:pt x="196" y="400"/>
                    </a:lnTo>
                    <a:lnTo>
                      <a:pt x="196" y="744"/>
                    </a:lnTo>
                    <a:lnTo>
                      <a:pt x="196" y="744"/>
                    </a:lnTo>
                    <a:lnTo>
                      <a:pt x="198" y="752"/>
                    </a:lnTo>
                    <a:lnTo>
                      <a:pt x="200" y="760"/>
                    </a:lnTo>
                    <a:lnTo>
                      <a:pt x="204" y="768"/>
                    </a:lnTo>
                    <a:lnTo>
                      <a:pt x="210" y="776"/>
                    </a:lnTo>
                    <a:lnTo>
                      <a:pt x="216" y="780"/>
                    </a:lnTo>
                    <a:lnTo>
                      <a:pt x="222" y="784"/>
                    </a:lnTo>
                    <a:lnTo>
                      <a:pt x="232" y="788"/>
                    </a:lnTo>
                    <a:lnTo>
                      <a:pt x="240" y="788"/>
                    </a:lnTo>
                    <a:lnTo>
                      <a:pt x="240" y="788"/>
                    </a:lnTo>
                    <a:lnTo>
                      <a:pt x="248" y="788"/>
                    </a:lnTo>
                    <a:lnTo>
                      <a:pt x="256" y="784"/>
                    </a:lnTo>
                    <a:lnTo>
                      <a:pt x="264" y="780"/>
                    </a:lnTo>
                    <a:lnTo>
                      <a:pt x="270" y="776"/>
                    </a:lnTo>
                    <a:lnTo>
                      <a:pt x="276" y="768"/>
                    </a:lnTo>
                    <a:lnTo>
                      <a:pt x="280" y="760"/>
                    </a:lnTo>
                    <a:lnTo>
                      <a:pt x="282" y="752"/>
                    </a:lnTo>
                    <a:lnTo>
                      <a:pt x="284" y="744"/>
                    </a:lnTo>
                    <a:lnTo>
                      <a:pt x="284" y="346"/>
                    </a:lnTo>
                    <a:lnTo>
                      <a:pt x="284" y="342"/>
                    </a:lnTo>
                    <a:lnTo>
                      <a:pt x="284" y="128"/>
                    </a:lnTo>
                    <a:lnTo>
                      <a:pt x="306" y="128"/>
                    </a:lnTo>
                    <a:lnTo>
                      <a:pt x="306" y="354"/>
                    </a:lnTo>
                    <a:lnTo>
                      <a:pt x="306" y="354"/>
                    </a:lnTo>
                    <a:lnTo>
                      <a:pt x="308" y="360"/>
                    </a:lnTo>
                    <a:lnTo>
                      <a:pt x="310" y="366"/>
                    </a:lnTo>
                    <a:lnTo>
                      <a:pt x="312" y="372"/>
                    </a:lnTo>
                    <a:lnTo>
                      <a:pt x="316" y="376"/>
                    </a:lnTo>
                    <a:lnTo>
                      <a:pt x="326" y="384"/>
                    </a:lnTo>
                    <a:lnTo>
                      <a:pt x="334" y="386"/>
                    </a:lnTo>
                    <a:lnTo>
                      <a:pt x="340" y="386"/>
                    </a:lnTo>
                    <a:lnTo>
                      <a:pt x="340" y="386"/>
                    </a:lnTo>
                    <a:lnTo>
                      <a:pt x="346" y="386"/>
                    </a:lnTo>
                    <a:lnTo>
                      <a:pt x="352" y="384"/>
                    </a:lnTo>
                    <a:lnTo>
                      <a:pt x="364" y="376"/>
                    </a:lnTo>
                    <a:lnTo>
                      <a:pt x="368" y="372"/>
                    </a:lnTo>
                    <a:lnTo>
                      <a:pt x="370" y="366"/>
                    </a:lnTo>
                    <a:lnTo>
                      <a:pt x="372" y="360"/>
                    </a:lnTo>
                    <a:lnTo>
                      <a:pt x="374" y="354"/>
                    </a:lnTo>
                    <a:lnTo>
                      <a:pt x="374" y="92"/>
                    </a:lnTo>
                    <a:lnTo>
                      <a:pt x="374" y="80"/>
                    </a:lnTo>
                    <a:lnTo>
                      <a:pt x="374" y="74"/>
                    </a:lnTo>
                    <a:lnTo>
                      <a:pt x="374" y="74"/>
                    </a:lnTo>
                    <a:lnTo>
                      <a:pt x="372" y="64"/>
                    </a:lnTo>
                    <a:lnTo>
                      <a:pt x="368" y="52"/>
                    </a:lnTo>
                    <a:lnTo>
                      <a:pt x="360" y="40"/>
                    </a:lnTo>
                    <a:lnTo>
                      <a:pt x="350" y="28"/>
                    </a:lnTo>
                    <a:lnTo>
                      <a:pt x="338" y="18"/>
                    </a:lnTo>
                    <a:lnTo>
                      <a:pt x="322" y="8"/>
                    </a:lnTo>
                    <a:lnTo>
                      <a:pt x="304" y="2"/>
                    </a:lnTo>
                    <a:lnTo>
                      <a:pt x="284" y="0"/>
                    </a:lnTo>
                    <a:lnTo>
                      <a:pt x="28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51" name="Freeform 34"/>
              <p:cNvSpPr>
                <a:spLocks/>
              </p:cNvSpPr>
              <p:nvPr/>
            </p:nvSpPr>
            <p:spPr bwMode="auto">
              <a:xfrm>
                <a:off x="3368" y="1887"/>
                <a:ext cx="148" cy="150"/>
              </a:xfrm>
              <a:custGeom>
                <a:avLst/>
                <a:gdLst>
                  <a:gd name="T0" fmla="*/ 74 w 148"/>
                  <a:gd name="T1" fmla="*/ 150 h 150"/>
                  <a:gd name="T2" fmla="*/ 74 w 148"/>
                  <a:gd name="T3" fmla="*/ 150 h 150"/>
                  <a:gd name="T4" fmla="*/ 90 w 148"/>
                  <a:gd name="T5" fmla="*/ 148 h 150"/>
                  <a:gd name="T6" fmla="*/ 104 w 148"/>
                  <a:gd name="T7" fmla="*/ 144 h 150"/>
                  <a:gd name="T8" fmla="*/ 116 w 148"/>
                  <a:gd name="T9" fmla="*/ 138 h 150"/>
                  <a:gd name="T10" fmla="*/ 126 w 148"/>
                  <a:gd name="T11" fmla="*/ 128 h 150"/>
                  <a:gd name="T12" fmla="*/ 136 w 148"/>
                  <a:gd name="T13" fmla="*/ 118 h 150"/>
                  <a:gd name="T14" fmla="*/ 142 w 148"/>
                  <a:gd name="T15" fmla="*/ 104 h 150"/>
                  <a:gd name="T16" fmla="*/ 148 w 148"/>
                  <a:gd name="T17" fmla="*/ 90 h 150"/>
                  <a:gd name="T18" fmla="*/ 148 w 148"/>
                  <a:gd name="T19" fmla="*/ 76 h 150"/>
                  <a:gd name="T20" fmla="*/ 148 w 148"/>
                  <a:gd name="T21" fmla="*/ 76 h 150"/>
                  <a:gd name="T22" fmla="*/ 148 w 148"/>
                  <a:gd name="T23" fmla="*/ 60 h 150"/>
                  <a:gd name="T24" fmla="*/ 142 w 148"/>
                  <a:gd name="T25" fmla="*/ 46 h 150"/>
                  <a:gd name="T26" fmla="*/ 136 w 148"/>
                  <a:gd name="T27" fmla="*/ 34 h 150"/>
                  <a:gd name="T28" fmla="*/ 126 w 148"/>
                  <a:gd name="T29" fmla="*/ 22 h 150"/>
                  <a:gd name="T30" fmla="*/ 116 w 148"/>
                  <a:gd name="T31" fmla="*/ 14 h 150"/>
                  <a:gd name="T32" fmla="*/ 104 w 148"/>
                  <a:gd name="T33" fmla="*/ 6 h 150"/>
                  <a:gd name="T34" fmla="*/ 90 w 148"/>
                  <a:gd name="T35" fmla="*/ 2 h 150"/>
                  <a:gd name="T36" fmla="*/ 74 w 148"/>
                  <a:gd name="T37" fmla="*/ 0 h 150"/>
                  <a:gd name="T38" fmla="*/ 74 w 148"/>
                  <a:gd name="T39" fmla="*/ 0 h 150"/>
                  <a:gd name="T40" fmla="*/ 60 w 148"/>
                  <a:gd name="T41" fmla="*/ 2 h 150"/>
                  <a:gd name="T42" fmla="*/ 46 w 148"/>
                  <a:gd name="T43" fmla="*/ 6 h 150"/>
                  <a:gd name="T44" fmla="*/ 32 w 148"/>
                  <a:gd name="T45" fmla="*/ 14 h 150"/>
                  <a:gd name="T46" fmla="*/ 22 w 148"/>
                  <a:gd name="T47" fmla="*/ 22 h 150"/>
                  <a:gd name="T48" fmla="*/ 12 w 148"/>
                  <a:gd name="T49" fmla="*/ 34 h 150"/>
                  <a:gd name="T50" fmla="*/ 6 w 148"/>
                  <a:gd name="T51" fmla="*/ 46 h 150"/>
                  <a:gd name="T52" fmla="*/ 2 w 148"/>
                  <a:gd name="T53" fmla="*/ 60 h 150"/>
                  <a:gd name="T54" fmla="*/ 0 w 148"/>
                  <a:gd name="T55" fmla="*/ 76 h 150"/>
                  <a:gd name="T56" fmla="*/ 0 w 148"/>
                  <a:gd name="T57" fmla="*/ 76 h 150"/>
                  <a:gd name="T58" fmla="*/ 2 w 148"/>
                  <a:gd name="T59" fmla="*/ 90 h 150"/>
                  <a:gd name="T60" fmla="*/ 6 w 148"/>
                  <a:gd name="T61" fmla="*/ 104 h 150"/>
                  <a:gd name="T62" fmla="*/ 12 w 148"/>
                  <a:gd name="T63" fmla="*/ 118 h 150"/>
                  <a:gd name="T64" fmla="*/ 22 w 148"/>
                  <a:gd name="T65" fmla="*/ 128 h 150"/>
                  <a:gd name="T66" fmla="*/ 32 w 148"/>
                  <a:gd name="T67" fmla="*/ 138 h 150"/>
                  <a:gd name="T68" fmla="*/ 46 w 148"/>
                  <a:gd name="T69" fmla="*/ 144 h 150"/>
                  <a:gd name="T70" fmla="*/ 60 w 148"/>
                  <a:gd name="T71" fmla="*/ 148 h 150"/>
                  <a:gd name="T72" fmla="*/ 74 w 148"/>
                  <a:gd name="T73" fmla="*/ 150 h 150"/>
                  <a:gd name="T74" fmla="*/ 74 w 148"/>
                  <a:gd name="T75" fmla="*/ 15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8" h="150">
                    <a:moveTo>
                      <a:pt x="74" y="150"/>
                    </a:moveTo>
                    <a:lnTo>
                      <a:pt x="74" y="150"/>
                    </a:lnTo>
                    <a:lnTo>
                      <a:pt x="90" y="148"/>
                    </a:lnTo>
                    <a:lnTo>
                      <a:pt x="104" y="144"/>
                    </a:lnTo>
                    <a:lnTo>
                      <a:pt x="116" y="138"/>
                    </a:lnTo>
                    <a:lnTo>
                      <a:pt x="126" y="128"/>
                    </a:lnTo>
                    <a:lnTo>
                      <a:pt x="136" y="118"/>
                    </a:lnTo>
                    <a:lnTo>
                      <a:pt x="142" y="104"/>
                    </a:lnTo>
                    <a:lnTo>
                      <a:pt x="148" y="90"/>
                    </a:lnTo>
                    <a:lnTo>
                      <a:pt x="148" y="76"/>
                    </a:lnTo>
                    <a:lnTo>
                      <a:pt x="148" y="76"/>
                    </a:lnTo>
                    <a:lnTo>
                      <a:pt x="148" y="60"/>
                    </a:lnTo>
                    <a:lnTo>
                      <a:pt x="142" y="46"/>
                    </a:lnTo>
                    <a:lnTo>
                      <a:pt x="136" y="34"/>
                    </a:lnTo>
                    <a:lnTo>
                      <a:pt x="126" y="22"/>
                    </a:lnTo>
                    <a:lnTo>
                      <a:pt x="116" y="14"/>
                    </a:lnTo>
                    <a:lnTo>
                      <a:pt x="104" y="6"/>
                    </a:lnTo>
                    <a:lnTo>
                      <a:pt x="90" y="2"/>
                    </a:lnTo>
                    <a:lnTo>
                      <a:pt x="74" y="0"/>
                    </a:lnTo>
                    <a:lnTo>
                      <a:pt x="74" y="0"/>
                    </a:lnTo>
                    <a:lnTo>
                      <a:pt x="60" y="2"/>
                    </a:lnTo>
                    <a:lnTo>
                      <a:pt x="46" y="6"/>
                    </a:lnTo>
                    <a:lnTo>
                      <a:pt x="32" y="14"/>
                    </a:lnTo>
                    <a:lnTo>
                      <a:pt x="22" y="22"/>
                    </a:lnTo>
                    <a:lnTo>
                      <a:pt x="12" y="34"/>
                    </a:lnTo>
                    <a:lnTo>
                      <a:pt x="6" y="46"/>
                    </a:lnTo>
                    <a:lnTo>
                      <a:pt x="2" y="60"/>
                    </a:lnTo>
                    <a:lnTo>
                      <a:pt x="0" y="76"/>
                    </a:lnTo>
                    <a:lnTo>
                      <a:pt x="0" y="76"/>
                    </a:lnTo>
                    <a:lnTo>
                      <a:pt x="2" y="90"/>
                    </a:lnTo>
                    <a:lnTo>
                      <a:pt x="6" y="104"/>
                    </a:lnTo>
                    <a:lnTo>
                      <a:pt x="12" y="118"/>
                    </a:lnTo>
                    <a:lnTo>
                      <a:pt x="22" y="128"/>
                    </a:lnTo>
                    <a:lnTo>
                      <a:pt x="32" y="138"/>
                    </a:lnTo>
                    <a:lnTo>
                      <a:pt x="46" y="144"/>
                    </a:lnTo>
                    <a:lnTo>
                      <a:pt x="60" y="148"/>
                    </a:lnTo>
                    <a:lnTo>
                      <a:pt x="74" y="150"/>
                    </a:lnTo>
                    <a:lnTo>
                      <a:pt x="74" y="15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52" name="Freeform 35"/>
              <p:cNvSpPr>
                <a:spLocks/>
              </p:cNvSpPr>
              <p:nvPr/>
            </p:nvSpPr>
            <p:spPr bwMode="auto">
              <a:xfrm>
                <a:off x="2840" y="2051"/>
                <a:ext cx="374" cy="788"/>
              </a:xfrm>
              <a:custGeom>
                <a:avLst/>
                <a:gdLst>
                  <a:gd name="T0" fmla="*/ 96 w 374"/>
                  <a:gd name="T1" fmla="*/ 0 h 788"/>
                  <a:gd name="T2" fmla="*/ 84 w 374"/>
                  <a:gd name="T3" fmla="*/ 0 h 788"/>
                  <a:gd name="T4" fmla="*/ 52 w 374"/>
                  <a:gd name="T5" fmla="*/ 10 h 788"/>
                  <a:gd name="T6" fmla="*/ 22 w 374"/>
                  <a:gd name="T7" fmla="*/ 32 h 788"/>
                  <a:gd name="T8" fmla="*/ 6 w 374"/>
                  <a:gd name="T9" fmla="*/ 58 h 788"/>
                  <a:gd name="T10" fmla="*/ 0 w 374"/>
                  <a:gd name="T11" fmla="*/ 78 h 788"/>
                  <a:gd name="T12" fmla="*/ 0 w 374"/>
                  <a:gd name="T13" fmla="*/ 92 h 788"/>
                  <a:gd name="T14" fmla="*/ 0 w 374"/>
                  <a:gd name="T15" fmla="*/ 354 h 788"/>
                  <a:gd name="T16" fmla="*/ 2 w 374"/>
                  <a:gd name="T17" fmla="*/ 366 h 788"/>
                  <a:gd name="T18" fmla="*/ 20 w 374"/>
                  <a:gd name="T19" fmla="*/ 384 h 788"/>
                  <a:gd name="T20" fmla="*/ 32 w 374"/>
                  <a:gd name="T21" fmla="*/ 386 h 788"/>
                  <a:gd name="T22" fmla="*/ 38 w 374"/>
                  <a:gd name="T23" fmla="*/ 386 h 788"/>
                  <a:gd name="T24" fmla="*/ 54 w 374"/>
                  <a:gd name="T25" fmla="*/ 376 h 788"/>
                  <a:gd name="T26" fmla="*/ 62 w 374"/>
                  <a:gd name="T27" fmla="*/ 360 h 788"/>
                  <a:gd name="T28" fmla="*/ 62 w 374"/>
                  <a:gd name="T29" fmla="*/ 128 h 788"/>
                  <a:gd name="T30" fmla="*/ 88 w 374"/>
                  <a:gd name="T31" fmla="*/ 346 h 788"/>
                  <a:gd name="T32" fmla="*/ 90 w 374"/>
                  <a:gd name="T33" fmla="*/ 354 h 788"/>
                  <a:gd name="T34" fmla="*/ 90 w 374"/>
                  <a:gd name="T35" fmla="*/ 744 h 788"/>
                  <a:gd name="T36" fmla="*/ 92 w 374"/>
                  <a:gd name="T37" fmla="*/ 760 h 788"/>
                  <a:gd name="T38" fmla="*/ 102 w 374"/>
                  <a:gd name="T39" fmla="*/ 776 h 788"/>
                  <a:gd name="T40" fmla="*/ 116 w 374"/>
                  <a:gd name="T41" fmla="*/ 784 h 788"/>
                  <a:gd name="T42" fmla="*/ 132 w 374"/>
                  <a:gd name="T43" fmla="*/ 788 h 788"/>
                  <a:gd name="T44" fmla="*/ 142 w 374"/>
                  <a:gd name="T45" fmla="*/ 788 h 788"/>
                  <a:gd name="T46" fmla="*/ 158 w 374"/>
                  <a:gd name="T47" fmla="*/ 780 h 788"/>
                  <a:gd name="T48" fmla="*/ 168 w 374"/>
                  <a:gd name="T49" fmla="*/ 768 h 788"/>
                  <a:gd name="T50" fmla="*/ 176 w 374"/>
                  <a:gd name="T51" fmla="*/ 752 h 788"/>
                  <a:gd name="T52" fmla="*/ 176 w 374"/>
                  <a:gd name="T53" fmla="*/ 400 h 788"/>
                  <a:gd name="T54" fmla="*/ 198 w 374"/>
                  <a:gd name="T55" fmla="*/ 744 h 788"/>
                  <a:gd name="T56" fmla="*/ 198 w 374"/>
                  <a:gd name="T57" fmla="*/ 752 h 788"/>
                  <a:gd name="T58" fmla="*/ 204 w 374"/>
                  <a:gd name="T59" fmla="*/ 768 h 788"/>
                  <a:gd name="T60" fmla="*/ 216 w 374"/>
                  <a:gd name="T61" fmla="*/ 780 h 788"/>
                  <a:gd name="T62" fmla="*/ 232 w 374"/>
                  <a:gd name="T63" fmla="*/ 788 h 788"/>
                  <a:gd name="T64" fmla="*/ 240 w 374"/>
                  <a:gd name="T65" fmla="*/ 788 h 788"/>
                  <a:gd name="T66" fmla="*/ 258 w 374"/>
                  <a:gd name="T67" fmla="*/ 784 h 788"/>
                  <a:gd name="T68" fmla="*/ 272 w 374"/>
                  <a:gd name="T69" fmla="*/ 776 h 788"/>
                  <a:gd name="T70" fmla="*/ 280 w 374"/>
                  <a:gd name="T71" fmla="*/ 760 h 788"/>
                  <a:gd name="T72" fmla="*/ 284 w 374"/>
                  <a:gd name="T73" fmla="*/ 744 h 788"/>
                  <a:gd name="T74" fmla="*/ 284 w 374"/>
                  <a:gd name="T75" fmla="*/ 342 h 788"/>
                  <a:gd name="T76" fmla="*/ 308 w 374"/>
                  <a:gd name="T77" fmla="*/ 128 h 788"/>
                  <a:gd name="T78" fmla="*/ 308 w 374"/>
                  <a:gd name="T79" fmla="*/ 354 h 788"/>
                  <a:gd name="T80" fmla="*/ 310 w 374"/>
                  <a:gd name="T81" fmla="*/ 366 h 788"/>
                  <a:gd name="T82" fmla="*/ 318 w 374"/>
                  <a:gd name="T83" fmla="*/ 376 h 788"/>
                  <a:gd name="T84" fmla="*/ 334 w 374"/>
                  <a:gd name="T85" fmla="*/ 386 h 788"/>
                  <a:gd name="T86" fmla="*/ 340 w 374"/>
                  <a:gd name="T87" fmla="*/ 386 h 788"/>
                  <a:gd name="T88" fmla="*/ 354 w 374"/>
                  <a:gd name="T89" fmla="*/ 384 h 788"/>
                  <a:gd name="T90" fmla="*/ 368 w 374"/>
                  <a:gd name="T91" fmla="*/ 372 h 788"/>
                  <a:gd name="T92" fmla="*/ 374 w 374"/>
                  <a:gd name="T93" fmla="*/ 360 h 788"/>
                  <a:gd name="T94" fmla="*/ 374 w 374"/>
                  <a:gd name="T95" fmla="*/ 92 h 788"/>
                  <a:gd name="T96" fmla="*/ 374 w 374"/>
                  <a:gd name="T97" fmla="*/ 74 h 788"/>
                  <a:gd name="T98" fmla="*/ 372 w 374"/>
                  <a:gd name="T99" fmla="*/ 64 h 788"/>
                  <a:gd name="T100" fmla="*/ 362 w 374"/>
                  <a:gd name="T101" fmla="*/ 40 h 788"/>
                  <a:gd name="T102" fmla="*/ 338 w 374"/>
                  <a:gd name="T103" fmla="*/ 18 h 788"/>
                  <a:gd name="T104" fmla="*/ 304 w 374"/>
                  <a:gd name="T105" fmla="*/ 2 h 788"/>
                  <a:gd name="T106" fmla="*/ 284 w 374"/>
                  <a:gd name="T107" fmla="*/ 0 h 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74" h="788">
                    <a:moveTo>
                      <a:pt x="284" y="0"/>
                    </a:moveTo>
                    <a:lnTo>
                      <a:pt x="96" y="0"/>
                    </a:lnTo>
                    <a:lnTo>
                      <a:pt x="96" y="0"/>
                    </a:lnTo>
                    <a:lnTo>
                      <a:pt x="84" y="0"/>
                    </a:lnTo>
                    <a:lnTo>
                      <a:pt x="72" y="2"/>
                    </a:lnTo>
                    <a:lnTo>
                      <a:pt x="52" y="10"/>
                    </a:lnTo>
                    <a:lnTo>
                      <a:pt x="34" y="20"/>
                    </a:lnTo>
                    <a:lnTo>
                      <a:pt x="22" y="32"/>
                    </a:lnTo>
                    <a:lnTo>
                      <a:pt x="12" y="44"/>
                    </a:lnTo>
                    <a:lnTo>
                      <a:pt x="6" y="58"/>
                    </a:lnTo>
                    <a:lnTo>
                      <a:pt x="2" y="68"/>
                    </a:lnTo>
                    <a:lnTo>
                      <a:pt x="0" y="78"/>
                    </a:lnTo>
                    <a:lnTo>
                      <a:pt x="0" y="80"/>
                    </a:lnTo>
                    <a:lnTo>
                      <a:pt x="0" y="92"/>
                    </a:lnTo>
                    <a:lnTo>
                      <a:pt x="0" y="354"/>
                    </a:lnTo>
                    <a:lnTo>
                      <a:pt x="0" y="354"/>
                    </a:lnTo>
                    <a:lnTo>
                      <a:pt x="2" y="360"/>
                    </a:lnTo>
                    <a:lnTo>
                      <a:pt x="2" y="366"/>
                    </a:lnTo>
                    <a:lnTo>
                      <a:pt x="10" y="376"/>
                    </a:lnTo>
                    <a:lnTo>
                      <a:pt x="20" y="384"/>
                    </a:lnTo>
                    <a:lnTo>
                      <a:pt x="26" y="386"/>
                    </a:lnTo>
                    <a:lnTo>
                      <a:pt x="32" y="386"/>
                    </a:lnTo>
                    <a:lnTo>
                      <a:pt x="32" y="386"/>
                    </a:lnTo>
                    <a:lnTo>
                      <a:pt x="38" y="386"/>
                    </a:lnTo>
                    <a:lnTo>
                      <a:pt x="44" y="384"/>
                    </a:lnTo>
                    <a:lnTo>
                      <a:pt x="54" y="376"/>
                    </a:lnTo>
                    <a:lnTo>
                      <a:pt x="60" y="366"/>
                    </a:lnTo>
                    <a:lnTo>
                      <a:pt x="62" y="360"/>
                    </a:lnTo>
                    <a:lnTo>
                      <a:pt x="62" y="354"/>
                    </a:lnTo>
                    <a:lnTo>
                      <a:pt x="62" y="128"/>
                    </a:lnTo>
                    <a:lnTo>
                      <a:pt x="88" y="128"/>
                    </a:lnTo>
                    <a:lnTo>
                      <a:pt x="88" y="346"/>
                    </a:lnTo>
                    <a:lnTo>
                      <a:pt x="88" y="346"/>
                    </a:lnTo>
                    <a:lnTo>
                      <a:pt x="90" y="354"/>
                    </a:lnTo>
                    <a:lnTo>
                      <a:pt x="90" y="744"/>
                    </a:lnTo>
                    <a:lnTo>
                      <a:pt x="90" y="744"/>
                    </a:lnTo>
                    <a:lnTo>
                      <a:pt x="90" y="752"/>
                    </a:lnTo>
                    <a:lnTo>
                      <a:pt x="92" y="760"/>
                    </a:lnTo>
                    <a:lnTo>
                      <a:pt x="96" y="768"/>
                    </a:lnTo>
                    <a:lnTo>
                      <a:pt x="102" y="776"/>
                    </a:lnTo>
                    <a:lnTo>
                      <a:pt x="108" y="780"/>
                    </a:lnTo>
                    <a:lnTo>
                      <a:pt x="116" y="784"/>
                    </a:lnTo>
                    <a:lnTo>
                      <a:pt x="124" y="788"/>
                    </a:lnTo>
                    <a:lnTo>
                      <a:pt x="132" y="788"/>
                    </a:lnTo>
                    <a:lnTo>
                      <a:pt x="132" y="788"/>
                    </a:lnTo>
                    <a:lnTo>
                      <a:pt x="142" y="788"/>
                    </a:lnTo>
                    <a:lnTo>
                      <a:pt x="150" y="784"/>
                    </a:lnTo>
                    <a:lnTo>
                      <a:pt x="158" y="780"/>
                    </a:lnTo>
                    <a:lnTo>
                      <a:pt x="164" y="776"/>
                    </a:lnTo>
                    <a:lnTo>
                      <a:pt x="168" y="768"/>
                    </a:lnTo>
                    <a:lnTo>
                      <a:pt x="172" y="760"/>
                    </a:lnTo>
                    <a:lnTo>
                      <a:pt x="176" y="752"/>
                    </a:lnTo>
                    <a:lnTo>
                      <a:pt x="176" y="744"/>
                    </a:lnTo>
                    <a:lnTo>
                      <a:pt x="176" y="400"/>
                    </a:lnTo>
                    <a:lnTo>
                      <a:pt x="198" y="400"/>
                    </a:lnTo>
                    <a:lnTo>
                      <a:pt x="198" y="744"/>
                    </a:lnTo>
                    <a:lnTo>
                      <a:pt x="198" y="744"/>
                    </a:lnTo>
                    <a:lnTo>
                      <a:pt x="198" y="752"/>
                    </a:lnTo>
                    <a:lnTo>
                      <a:pt x="200" y="760"/>
                    </a:lnTo>
                    <a:lnTo>
                      <a:pt x="204" y="768"/>
                    </a:lnTo>
                    <a:lnTo>
                      <a:pt x="210" y="776"/>
                    </a:lnTo>
                    <a:lnTo>
                      <a:pt x="216" y="780"/>
                    </a:lnTo>
                    <a:lnTo>
                      <a:pt x="224" y="784"/>
                    </a:lnTo>
                    <a:lnTo>
                      <a:pt x="232" y="788"/>
                    </a:lnTo>
                    <a:lnTo>
                      <a:pt x="240" y="788"/>
                    </a:lnTo>
                    <a:lnTo>
                      <a:pt x="240" y="788"/>
                    </a:lnTo>
                    <a:lnTo>
                      <a:pt x="250" y="788"/>
                    </a:lnTo>
                    <a:lnTo>
                      <a:pt x="258" y="784"/>
                    </a:lnTo>
                    <a:lnTo>
                      <a:pt x="264" y="780"/>
                    </a:lnTo>
                    <a:lnTo>
                      <a:pt x="272" y="776"/>
                    </a:lnTo>
                    <a:lnTo>
                      <a:pt x="276" y="768"/>
                    </a:lnTo>
                    <a:lnTo>
                      <a:pt x="280" y="760"/>
                    </a:lnTo>
                    <a:lnTo>
                      <a:pt x="284" y="752"/>
                    </a:lnTo>
                    <a:lnTo>
                      <a:pt x="284" y="744"/>
                    </a:lnTo>
                    <a:lnTo>
                      <a:pt x="284" y="346"/>
                    </a:lnTo>
                    <a:lnTo>
                      <a:pt x="284" y="342"/>
                    </a:lnTo>
                    <a:lnTo>
                      <a:pt x="284" y="128"/>
                    </a:lnTo>
                    <a:lnTo>
                      <a:pt x="308" y="128"/>
                    </a:lnTo>
                    <a:lnTo>
                      <a:pt x="308" y="354"/>
                    </a:lnTo>
                    <a:lnTo>
                      <a:pt x="308" y="354"/>
                    </a:lnTo>
                    <a:lnTo>
                      <a:pt x="308" y="360"/>
                    </a:lnTo>
                    <a:lnTo>
                      <a:pt x="310" y="366"/>
                    </a:lnTo>
                    <a:lnTo>
                      <a:pt x="314" y="372"/>
                    </a:lnTo>
                    <a:lnTo>
                      <a:pt x="318" y="376"/>
                    </a:lnTo>
                    <a:lnTo>
                      <a:pt x="328" y="384"/>
                    </a:lnTo>
                    <a:lnTo>
                      <a:pt x="334" y="386"/>
                    </a:lnTo>
                    <a:lnTo>
                      <a:pt x="340" y="386"/>
                    </a:lnTo>
                    <a:lnTo>
                      <a:pt x="340" y="386"/>
                    </a:lnTo>
                    <a:lnTo>
                      <a:pt x="348" y="386"/>
                    </a:lnTo>
                    <a:lnTo>
                      <a:pt x="354" y="384"/>
                    </a:lnTo>
                    <a:lnTo>
                      <a:pt x="364" y="376"/>
                    </a:lnTo>
                    <a:lnTo>
                      <a:pt x="368" y="372"/>
                    </a:lnTo>
                    <a:lnTo>
                      <a:pt x="372" y="366"/>
                    </a:lnTo>
                    <a:lnTo>
                      <a:pt x="374" y="360"/>
                    </a:lnTo>
                    <a:lnTo>
                      <a:pt x="374" y="354"/>
                    </a:lnTo>
                    <a:lnTo>
                      <a:pt x="374" y="92"/>
                    </a:lnTo>
                    <a:lnTo>
                      <a:pt x="374" y="80"/>
                    </a:lnTo>
                    <a:lnTo>
                      <a:pt x="374" y="74"/>
                    </a:lnTo>
                    <a:lnTo>
                      <a:pt x="374" y="74"/>
                    </a:lnTo>
                    <a:lnTo>
                      <a:pt x="372" y="64"/>
                    </a:lnTo>
                    <a:lnTo>
                      <a:pt x="368" y="52"/>
                    </a:lnTo>
                    <a:lnTo>
                      <a:pt x="362" y="40"/>
                    </a:lnTo>
                    <a:lnTo>
                      <a:pt x="352" y="28"/>
                    </a:lnTo>
                    <a:lnTo>
                      <a:pt x="338" y="18"/>
                    </a:lnTo>
                    <a:lnTo>
                      <a:pt x="322" y="8"/>
                    </a:lnTo>
                    <a:lnTo>
                      <a:pt x="304" y="2"/>
                    </a:lnTo>
                    <a:lnTo>
                      <a:pt x="284" y="0"/>
                    </a:lnTo>
                    <a:lnTo>
                      <a:pt x="28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53" name="Freeform 36"/>
              <p:cNvSpPr>
                <a:spLocks/>
              </p:cNvSpPr>
              <p:nvPr/>
            </p:nvSpPr>
            <p:spPr bwMode="auto">
              <a:xfrm>
                <a:off x="2952" y="1887"/>
                <a:ext cx="150" cy="150"/>
              </a:xfrm>
              <a:custGeom>
                <a:avLst/>
                <a:gdLst>
                  <a:gd name="T0" fmla="*/ 76 w 150"/>
                  <a:gd name="T1" fmla="*/ 150 h 150"/>
                  <a:gd name="T2" fmla="*/ 76 w 150"/>
                  <a:gd name="T3" fmla="*/ 150 h 150"/>
                  <a:gd name="T4" fmla="*/ 90 w 150"/>
                  <a:gd name="T5" fmla="*/ 148 h 150"/>
                  <a:gd name="T6" fmla="*/ 104 w 150"/>
                  <a:gd name="T7" fmla="*/ 144 h 150"/>
                  <a:gd name="T8" fmla="*/ 116 w 150"/>
                  <a:gd name="T9" fmla="*/ 138 h 150"/>
                  <a:gd name="T10" fmla="*/ 128 w 150"/>
                  <a:gd name="T11" fmla="*/ 128 h 150"/>
                  <a:gd name="T12" fmla="*/ 138 w 150"/>
                  <a:gd name="T13" fmla="*/ 118 h 150"/>
                  <a:gd name="T14" fmla="*/ 144 w 150"/>
                  <a:gd name="T15" fmla="*/ 104 h 150"/>
                  <a:gd name="T16" fmla="*/ 148 w 150"/>
                  <a:gd name="T17" fmla="*/ 90 h 150"/>
                  <a:gd name="T18" fmla="*/ 150 w 150"/>
                  <a:gd name="T19" fmla="*/ 76 h 150"/>
                  <a:gd name="T20" fmla="*/ 150 w 150"/>
                  <a:gd name="T21" fmla="*/ 76 h 150"/>
                  <a:gd name="T22" fmla="*/ 148 w 150"/>
                  <a:gd name="T23" fmla="*/ 60 h 150"/>
                  <a:gd name="T24" fmla="*/ 144 w 150"/>
                  <a:gd name="T25" fmla="*/ 46 h 150"/>
                  <a:gd name="T26" fmla="*/ 138 w 150"/>
                  <a:gd name="T27" fmla="*/ 34 h 150"/>
                  <a:gd name="T28" fmla="*/ 128 w 150"/>
                  <a:gd name="T29" fmla="*/ 22 h 150"/>
                  <a:gd name="T30" fmla="*/ 116 w 150"/>
                  <a:gd name="T31" fmla="*/ 14 h 150"/>
                  <a:gd name="T32" fmla="*/ 104 w 150"/>
                  <a:gd name="T33" fmla="*/ 6 h 150"/>
                  <a:gd name="T34" fmla="*/ 90 w 150"/>
                  <a:gd name="T35" fmla="*/ 2 h 150"/>
                  <a:gd name="T36" fmla="*/ 76 w 150"/>
                  <a:gd name="T37" fmla="*/ 0 h 150"/>
                  <a:gd name="T38" fmla="*/ 76 w 150"/>
                  <a:gd name="T39" fmla="*/ 0 h 150"/>
                  <a:gd name="T40" fmla="*/ 60 w 150"/>
                  <a:gd name="T41" fmla="*/ 2 h 150"/>
                  <a:gd name="T42" fmla="*/ 46 w 150"/>
                  <a:gd name="T43" fmla="*/ 6 h 150"/>
                  <a:gd name="T44" fmla="*/ 34 w 150"/>
                  <a:gd name="T45" fmla="*/ 14 h 150"/>
                  <a:gd name="T46" fmla="*/ 22 w 150"/>
                  <a:gd name="T47" fmla="*/ 22 h 150"/>
                  <a:gd name="T48" fmla="*/ 14 w 150"/>
                  <a:gd name="T49" fmla="*/ 34 h 150"/>
                  <a:gd name="T50" fmla="*/ 6 w 150"/>
                  <a:gd name="T51" fmla="*/ 46 h 150"/>
                  <a:gd name="T52" fmla="*/ 2 w 150"/>
                  <a:gd name="T53" fmla="*/ 60 h 150"/>
                  <a:gd name="T54" fmla="*/ 0 w 150"/>
                  <a:gd name="T55" fmla="*/ 76 h 150"/>
                  <a:gd name="T56" fmla="*/ 0 w 150"/>
                  <a:gd name="T57" fmla="*/ 76 h 150"/>
                  <a:gd name="T58" fmla="*/ 2 w 150"/>
                  <a:gd name="T59" fmla="*/ 90 h 150"/>
                  <a:gd name="T60" fmla="*/ 6 w 150"/>
                  <a:gd name="T61" fmla="*/ 104 h 150"/>
                  <a:gd name="T62" fmla="*/ 14 w 150"/>
                  <a:gd name="T63" fmla="*/ 118 h 150"/>
                  <a:gd name="T64" fmla="*/ 22 w 150"/>
                  <a:gd name="T65" fmla="*/ 128 h 150"/>
                  <a:gd name="T66" fmla="*/ 34 w 150"/>
                  <a:gd name="T67" fmla="*/ 138 h 150"/>
                  <a:gd name="T68" fmla="*/ 46 w 150"/>
                  <a:gd name="T69" fmla="*/ 144 h 150"/>
                  <a:gd name="T70" fmla="*/ 60 w 150"/>
                  <a:gd name="T71" fmla="*/ 148 h 150"/>
                  <a:gd name="T72" fmla="*/ 76 w 150"/>
                  <a:gd name="T73" fmla="*/ 150 h 150"/>
                  <a:gd name="T74" fmla="*/ 76 w 150"/>
                  <a:gd name="T75" fmla="*/ 15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50" h="150">
                    <a:moveTo>
                      <a:pt x="76" y="150"/>
                    </a:moveTo>
                    <a:lnTo>
                      <a:pt x="76" y="150"/>
                    </a:lnTo>
                    <a:lnTo>
                      <a:pt x="90" y="148"/>
                    </a:lnTo>
                    <a:lnTo>
                      <a:pt x="104" y="144"/>
                    </a:lnTo>
                    <a:lnTo>
                      <a:pt x="116" y="138"/>
                    </a:lnTo>
                    <a:lnTo>
                      <a:pt x="128" y="128"/>
                    </a:lnTo>
                    <a:lnTo>
                      <a:pt x="138" y="118"/>
                    </a:lnTo>
                    <a:lnTo>
                      <a:pt x="144" y="104"/>
                    </a:lnTo>
                    <a:lnTo>
                      <a:pt x="148" y="90"/>
                    </a:lnTo>
                    <a:lnTo>
                      <a:pt x="150" y="76"/>
                    </a:lnTo>
                    <a:lnTo>
                      <a:pt x="150" y="76"/>
                    </a:lnTo>
                    <a:lnTo>
                      <a:pt x="148" y="60"/>
                    </a:lnTo>
                    <a:lnTo>
                      <a:pt x="144" y="46"/>
                    </a:lnTo>
                    <a:lnTo>
                      <a:pt x="138" y="34"/>
                    </a:lnTo>
                    <a:lnTo>
                      <a:pt x="128" y="22"/>
                    </a:lnTo>
                    <a:lnTo>
                      <a:pt x="116" y="14"/>
                    </a:lnTo>
                    <a:lnTo>
                      <a:pt x="104" y="6"/>
                    </a:lnTo>
                    <a:lnTo>
                      <a:pt x="90" y="2"/>
                    </a:lnTo>
                    <a:lnTo>
                      <a:pt x="76" y="0"/>
                    </a:lnTo>
                    <a:lnTo>
                      <a:pt x="76" y="0"/>
                    </a:lnTo>
                    <a:lnTo>
                      <a:pt x="60" y="2"/>
                    </a:lnTo>
                    <a:lnTo>
                      <a:pt x="46" y="6"/>
                    </a:lnTo>
                    <a:lnTo>
                      <a:pt x="34" y="14"/>
                    </a:lnTo>
                    <a:lnTo>
                      <a:pt x="22" y="22"/>
                    </a:lnTo>
                    <a:lnTo>
                      <a:pt x="14" y="34"/>
                    </a:lnTo>
                    <a:lnTo>
                      <a:pt x="6" y="46"/>
                    </a:lnTo>
                    <a:lnTo>
                      <a:pt x="2" y="60"/>
                    </a:lnTo>
                    <a:lnTo>
                      <a:pt x="0" y="76"/>
                    </a:lnTo>
                    <a:lnTo>
                      <a:pt x="0" y="76"/>
                    </a:lnTo>
                    <a:lnTo>
                      <a:pt x="2" y="90"/>
                    </a:lnTo>
                    <a:lnTo>
                      <a:pt x="6" y="104"/>
                    </a:lnTo>
                    <a:lnTo>
                      <a:pt x="14" y="118"/>
                    </a:lnTo>
                    <a:lnTo>
                      <a:pt x="22" y="128"/>
                    </a:lnTo>
                    <a:lnTo>
                      <a:pt x="34" y="138"/>
                    </a:lnTo>
                    <a:lnTo>
                      <a:pt x="46" y="144"/>
                    </a:lnTo>
                    <a:lnTo>
                      <a:pt x="60" y="148"/>
                    </a:lnTo>
                    <a:lnTo>
                      <a:pt x="76" y="150"/>
                    </a:lnTo>
                    <a:lnTo>
                      <a:pt x="76" y="15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54" name="Freeform 37"/>
              <p:cNvSpPr>
                <a:spLocks/>
              </p:cNvSpPr>
              <p:nvPr/>
            </p:nvSpPr>
            <p:spPr bwMode="auto">
              <a:xfrm>
                <a:off x="2426" y="2051"/>
                <a:ext cx="372" cy="788"/>
              </a:xfrm>
              <a:custGeom>
                <a:avLst/>
                <a:gdLst>
                  <a:gd name="T0" fmla="*/ 94 w 372"/>
                  <a:gd name="T1" fmla="*/ 0 h 788"/>
                  <a:gd name="T2" fmla="*/ 82 w 372"/>
                  <a:gd name="T3" fmla="*/ 0 h 788"/>
                  <a:gd name="T4" fmla="*/ 50 w 372"/>
                  <a:gd name="T5" fmla="*/ 10 h 788"/>
                  <a:gd name="T6" fmla="*/ 20 w 372"/>
                  <a:gd name="T7" fmla="*/ 32 h 788"/>
                  <a:gd name="T8" fmla="*/ 4 w 372"/>
                  <a:gd name="T9" fmla="*/ 58 h 788"/>
                  <a:gd name="T10" fmla="*/ 0 w 372"/>
                  <a:gd name="T11" fmla="*/ 78 h 788"/>
                  <a:gd name="T12" fmla="*/ 0 w 372"/>
                  <a:gd name="T13" fmla="*/ 92 h 788"/>
                  <a:gd name="T14" fmla="*/ 0 w 372"/>
                  <a:gd name="T15" fmla="*/ 354 h 788"/>
                  <a:gd name="T16" fmla="*/ 2 w 372"/>
                  <a:gd name="T17" fmla="*/ 366 h 788"/>
                  <a:gd name="T18" fmla="*/ 18 w 372"/>
                  <a:gd name="T19" fmla="*/ 384 h 788"/>
                  <a:gd name="T20" fmla="*/ 30 w 372"/>
                  <a:gd name="T21" fmla="*/ 386 h 788"/>
                  <a:gd name="T22" fmla="*/ 36 w 372"/>
                  <a:gd name="T23" fmla="*/ 386 h 788"/>
                  <a:gd name="T24" fmla="*/ 52 w 372"/>
                  <a:gd name="T25" fmla="*/ 376 h 788"/>
                  <a:gd name="T26" fmla="*/ 60 w 372"/>
                  <a:gd name="T27" fmla="*/ 360 h 788"/>
                  <a:gd name="T28" fmla="*/ 62 w 372"/>
                  <a:gd name="T29" fmla="*/ 128 h 788"/>
                  <a:gd name="T30" fmla="*/ 88 w 372"/>
                  <a:gd name="T31" fmla="*/ 346 h 788"/>
                  <a:gd name="T32" fmla="*/ 88 w 372"/>
                  <a:gd name="T33" fmla="*/ 354 h 788"/>
                  <a:gd name="T34" fmla="*/ 88 w 372"/>
                  <a:gd name="T35" fmla="*/ 744 h 788"/>
                  <a:gd name="T36" fmla="*/ 92 w 372"/>
                  <a:gd name="T37" fmla="*/ 760 h 788"/>
                  <a:gd name="T38" fmla="*/ 102 w 372"/>
                  <a:gd name="T39" fmla="*/ 776 h 788"/>
                  <a:gd name="T40" fmla="*/ 114 w 372"/>
                  <a:gd name="T41" fmla="*/ 784 h 788"/>
                  <a:gd name="T42" fmla="*/ 132 w 372"/>
                  <a:gd name="T43" fmla="*/ 788 h 788"/>
                  <a:gd name="T44" fmla="*/ 140 w 372"/>
                  <a:gd name="T45" fmla="*/ 788 h 788"/>
                  <a:gd name="T46" fmla="*/ 156 w 372"/>
                  <a:gd name="T47" fmla="*/ 780 h 788"/>
                  <a:gd name="T48" fmla="*/ 168 w 372"/>
                  <a:gd name="T49" fmla="*/ 768 h 788"/>
                  <a:gd name="T50" fmla="*/ 174 w 372"/>
                  <a:gd name="T51" fmla="*/ 752 h 788"/>
                  <a:gd name="T52" fmla="*/ 176 w 372"/>
                  <a:gd name="T53" fmla="*/ 400 h 788"/>
                  <a:gd name="T54" fmla="*/ 196 w 372"/>
                  <a:gd name="T55" fmla="*/ 744 h 788"/>
                  <a:gd name="T56" fmla="*/ 198 w 372"/>
                  <a:gd name="T57" fmla="*/ 752 h 788"/>
                  <a:gd name="T58" fmla="*/ 204 w 372"/>
                  <a:gd name="T59" fmla="*/ 768 h 788"/>
                  <a:gd name="T60" fmla="*/ 216 w 372"/>
                  <a:gd name="T61" fmla="*/ 780 h 788"/>
                  <a:gd name="T62" fmla="*/ 230 w 372"/>
                  <a:gd name="T63" fmla="*/ 788 h 788"/>
                  <a:gd name="T64" fmla="*/ 240 w 372"/>
                  <a:gd name="T65" fmla="*/ 788 h 788"/>
                  <a:gd name="T66" fmla="*/ 256 w 372"/>
                  <a:gd name="T67" fmla="*/ 784 h 788"/>
                  <a:gd name="T68" fmla="*/ 270 w 372"/>
                  <a:gd name="T69" fmla="*/ 776 h 788"/>
                  <a:gd name="T70" fmla="*/ 280 w 372"/>
                  <a:gd name="T71" fmla="*/ 760 h 788"/>
                  <a:gd name="T72" fmla="*/ 282 w 372"/>
                  <a:gd name="T73" fmla="*/ 744 h 788"/>
                  <a:gd name="T74" fmla="*/ 282 w 372"/>
                  <a:gd name="T75" fmla="*/ 342 h 788"/>
                  <a:gd name="T76" fmla="*/ 306 w 372"/>
                  <a:gd name="T77" fmla="*/ 128 h 788"/>
                  <a:gd name="T78" fmla="*/ 306 w 372"/>
                  <a:gd name="T79" fmla="*/ 354 h 788"/>
                  <a:gd name="T80" fmla="*/ 308 w 372"/>
                  <a:gd name="T81" fmla="*/ 366 h 788"/>
                  <a:gd name="T82" fmla="*/ 316 w 372"/>
                  <a:gd name="T83" fmla="*/ 376 h 788"/>
                  <a:gd name="T84" fmla="*/ 332 w 372"/>
                  <a:gd name="T85" fmla="*/ 386 h 788"/>
                  <a:gd name="T86" fmla="*/ 340 w 372"/>
                  <a:gd name="T87" fmla="*/ 386 h 788"/>
                  <a:gd name="T88" fmla="*/ 352 w 372"/>
                  <a:gd name="T89" fmla="*/ 384 h 788"/>
                  <a:gd name="T90" fmla="*/ 368 w 372"/>
                  <a:gd name="T91" fmla="*/ 372 h 788"/>
                  <a:gd name="T92" fmla="*/ 372 w 372"/>
                  <a:gd name="T93" fmla="*/ 360 h 788"/>
                  <a:gd name="T94" fmla="*/ 372 w 372"/>
                  <a:gd name="T95" fmla="*/ 92 h 788"/>
                  <a:gd name="T96" fmla="*/ 372 w 372"/>
                  <a:gd name="T97" fmla="*/ 74 h 788"/>
                  <a:gd name="T98" fmla="*/ 372 w 372"/>
                  <a:gd name="T99" fmla="*/ 64 h 788"/>
                  <a:gd name="T100" fmla="*/ 360 w 372"/>
                  <a:gd name="T101" fmla="*/ 40 h 788"/>
                  <a:gd name="T102" fmla="*/ 338 w 372"/>
                  <a:gd name="T103" fmla="*/ 18 h 788"/>
                  <a:gd name="T104" fmla="*/ 304 w 372"/>
                  <a:gd name="T105" fmla="*/ 2 h 788"/>
                  <a:gd name="T106" fmla="*/ 282 w 372"/>
                  <a:gd name="T107" fmla="*/ 0 h 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72" h="788">
                    <a:moveTo>
                      <a:pt x="282" y="0"/>
                    </a:moveTo>
                    <a:lnTo>
                      <a:pt x="94" y="0"/>
                    </a:lnTo>
                    <a:lnTo>
                      <a:pt x="94" y="0"/>
                    </a:lnTo>
                    <a:lnTo>
                      <a:pt x="82" y="0"/>
                    </a:lnTo>
                    <a:lnTo>
                      <a:pt x="70" y="2"/>
                    </a:lnTo>
                    <a:lnTo>
                      <a:pt x="50" y="10"/>
                    </a:lnTo>
                    <a:lnTo>
                      <a:pt x="34" y="20"/>
                    </a:lnTo>
                    <a:lnTo>
                      <a:pt x="20" y="32"/>
                    </a:lnTo>
                    <a:lnTo>
                      <a:pt x="12" y="44"/>
                    </a:lnTo>
                    <a:lnTo>
                      <a:pt x="4" y="58"/>
                    </a:lnTo>
                    <a:lnTo>
                      <a:pt x="0" y="68"/>
                    </a:lnTo>
                    <a:lnTo>
                      <a:pt x="0" y="78"/>
                    </a:lnTo>
                    <a:lnTo>
                      <a:pt x="0" y="80"/>
                    </a:lnTo>
                    <a:lnTo>
                      <a:pt x="0" y="92"/>
                    </a:lnTo>
                    <a:lnTo>
                      <a:pt x="0" y="354"/>
                    </a:lnTo>
                    <a:lnTo>
                      <a:pt x="0" y="354"/>
                    </a:lnTo>
                    <a:lnTo>
                      <a:pt x="0" y="360"/>
                    </a:lnTo>
                    <a:lnTo>
                      <a:pt x="2" y="366"/>
                    </a:lnTo>
                    <a:lnTo>
                      <a:pt x="8" y="376"/>
                    </a:lnTo>
                    <a:lnTo>
                      <a:pt x="18" y="384"/>
                    </a:lnTo>
                    <a:lnTo>
                      <a:pt x="24" y="386"/>
                    </a:lnTo>
                    <a:lnTo>
                      <a:pt x="30" y="386"/>
                    </a:lnTo>
                    <a:lnTo>
                      <a:pt x="30" y="386"/>
                    </a:lnTo>
                    <a:lnTo>
                      <a:pt x="36" y="386"/>
                    </a:lnTo>
                    <a:lnTo>
                      <a:pt x="42" y="384"/>
                    </a:lnTo>
                    <a:lnTo>
                      <a:pt x="52" y="376"/>
                    </a:lnTo>
                    <a:lnTo>
                      <a:pt x="60" y="366"/>
                    </a:lnTo>
                    <a:lnTo>
                      <a:pt x="60" y="360"/>
                    </a:lnTo>
                    <a:lnTo>
                      <a:pt x="62" y="354"/>
                    </a:lnTo>
                    <a:lnTo>
                      <a:pt x="62" y="128"/>
                    </a:lnTo>
                    <a:lnTo>
                      <a:pt x="88" y="128"/>
                    </a:lnTo>
                    <a:lnTo>
                      <a:pt x="88" y="346"/>
                    </a:lnTo>
                    <a:lnTo>
                      <a:pt x="88" y="346"/>
                    </a:lnTo>
                    <a:lnTo>
                      <a:pt x="88" y="354"/>
                    </a:lnTo>
                    <a:lnTo>
                      <a:pt x="88" y="744"/>
                    </a:lnTo>
                    <a:lnTo>
                      <a:pt x="88" y="744"/>
                    </a:lnTo>
                    <a:lnTo>
                      <a:pt x="90" y="752"/>
                    </a:lnTo>
                    <a:lnTo>
                      <a:pt x="92" y="760"/>
                    </a:lnTo>
                    <a:lnTo>
                      <a:pt x="96" y="768"/>
                    </a:lnTo>
                    <a:lnTo>
                      <a:pt x="102" y="776"/>
                    </a:lnTo>
                    <a:lnTo>
                      <a:pt x="108" y="780"/>
                    </a:lnTo>
                    <a:lnTo>
                      <a:pt x="114" y="784"/>
                    </a:lnTo>
                    <a:lnTo>
                      <a:pt x="124" y="788"/>
                    </a:lnTo>
                    <a:lnTo>
                      <a:pt x="132" y="788"/>
                    </a:lnTo>
                    <a:lnTo>
                      <a:pt x="132" y="788"/>
                    </a:lnTo>
                    <a:lnTo>
                      <a:pt x="140" y="788"/>
                    </a:lnTo>
                    <a:lnTo>
                      <a:pt x="148" y="784"/>
                    </a:lnTo>
                    <a:lnTo>
                      <a:pt x="156" y="780"/>
                    </a:lnTo>
                    <a:lnTo>
                      <a:pt x="162" y="776"/>
                    </a:lnTo>
                    <a:lnTo>
                      <a:pt x="168" y="768"/>
                    </a:lnTo>
                    <a:lnTo>
                      <a:pt x="172" y="760"/>
                    </a:lnTo>
                    <a:lnTo>
                      <a:pt x="174" y="752"/>
                    </a:lnTo>
                    <a:lnTo>
                      <a:pt x="176" y="744"/>
                    </a:lnTo>
                    <a:lnTo>
                      <a:pt x="176" y="400"/>
                    </a:lnTo>
                    <a:lnTo>
                      <a:pt x="196" y="400"/>
                    </a:lnTo>
                    <a:lnTo>
                      <a:pt x="196" y="744"/>
                    </a:lnTo>
                    <a:lnTo>
                      <a:pt x="196" y="744"/>
                    </a:lnTo>
                    <a:lnTo>
                      <a:pt x="198" y="752"/>
                    </a:lnTo>
                    <a:lnTo>
                      <a:pt x="200" y="760"/>
                    </a:lnTo>
                    <a:lnTo>
                      <a:pt x="204" y="768"/>
                    </a:lnTo>
                    <a:lnTo>
                      <a:pt x="210" y="776"/>
                    </a:lnTo>
                    <a:lnTo>
                      <a:pt x="216" y="780"/>
                    </a:lnTo>
                    <a:lnTo>
                      <a:pt x="222" y="784"/>
                    </a:lnTo>
                    <a:lnTo>
                      <a:pt x="230" y="788"/>
                    </a:lnTo>
                    <a:lnTo>
                      <a:pt x="240" y="788"/>
                    </a:lnTo>
                    <a:lnTo>
                      <a:pt x="240" y="788"/>
                    </a:lnTo>
                    <a:lnTo>
                      <a:pt x="248" y="788"/>
                    </a:lnTo>
                    <a:lnTo>
                      <a:pt x="256" y="784"/>
                    </a:lnTo>
                    <a:lnTo>
                      <a:pt x="264" y="780"/>
                    </a:lnTo>
                    <a:lnTo>
                      <a:pt x="270" y="776"/>
                    </a:lnTo>
                    <a:lnTo>
                      <a:pt x="276" y="768"/>
                    </a:lnTo>
                    <a:lnTo>
                      <a:pt x="280" y="760"/>
                    </a:lnTo>
                    <a:lnTo>
                      <a:pt x="282" y="752"/>
                    </a:lnTo>
                    <a:lnTo>
                      <a:pt x="282" y="744"/>
                    </a:lnTo>
                    <a:lnTo>
                      <a:pt x="282" y="346"/>
                    </a:lnTo>
                    <a:lnTo>
                      <a:pt x="282" y="342"/>
                    </a:lnTo>
                    <a:lnTo>
                      <a:pt x="282" y="128"/>
                    </a:lnTo>
                    <a:lnTo>
                      <a:pt x="306" y="128"/>
                    </a:lnTo>
                    <a:lnTo>
                      <a:pt x="306" y="354"/>
                    </a:lnTo>
                    <a:lnTo>
                      <a:pt x="306" y="354"/>
                    </a:lnTo>
                    <a:lnTo>
                      <a:pt x="308" y="360"/>
                    </a:lnTo>
                    <a:lnTo>
                      <a:pt x="308" y="366"/>
                    </a:lnTo>
                    <a:lnTo>
                      <a:pt x="312" y="372"/>
                    </a:lnTo>
                    <a:lnTo>
                      <a:pt x="316" y="376"/>
                    </a:lnTo>
                    <a:lnTo>
                      <a:pt x="326" y="384"/>
                    </a:lnTo>
                    <a:lnTo>
                      <a:pt x="332" y="386"/>
                    </a:lnTo>
                    <a:lnTo>
                      <a:pt x="340" y="386"/>
                    </a:lnTo>
                    <a:lnTo>
                      <a:pt x="340" y="386"/>
                    </a:lnTo>
                    <a:lnTo>
                      <a:pt x="346" y="386"/>
                    </a:lnTo>
                    <a:lnTo>
                      <a:pt x="352" y="384"/>
                    </a:lnTo>
                    <a:lnTo>
                      <a:pt x="364" y="376"/>
                    </a:lnTo>
                    <a:lnTo>
                      <a:pt x="368" y="372"/>
                    </a:lnTo>
                    <a:lnTo>
                      <a:pt x="370" y="366"/>
                    </a:lnTo>
                    <a:lnTo>
                      <a:pt x="372" y="360"/>
                    </a:lnTo>
                    <a:lnTo>
                      <a:pt x="372" y="354"/>
                    </a:lnTo>
                    <a:lnTo>
                      <a:pt x="372" y="92"/>
                    </a:lnTo>
                    <a:lnTo>
                      <a:pt x="372" y="80"/>
                    </a:lnTo>
                    <a:lnTo>
                      <a:pt x="372" y="74"/>
                    </a:lnTo>
                    <a:lnTo>
                      <a:pt x="372" y="74"/>
                    </a:lnTo>
                    <a:lnTo>
                      <a:pt x="372" y="64"/>
                    </a:lnTo>
                    <a:lnTo>
                      <a:pt x="368" y="52"/>
                    </a:lnTo>
                    <a:lnTo>
                      <a:pt x="360" y="40"/>
                    </a:lnTo>
                    <a:lnTo>
                      <a:pt x="350" y="28"/>
                    </a:lnTo>
                    <a:lnTo>
                      <a:pt x="338" y="18"/>
                    </a:lnTo>
                    <a:lnTo>
                      <a:pt x="322" y="8"/>
                    </a:lnTo>
                    <a:lnTo>
                      <a:pt x="304" y="2"/>
                    </a:lnTo>
                    <a:lnTo>
                      <a:pt x="282" y="0"/>
                    </a:lnTo>
                    <a:lnTo>
                      <a:pt x="28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55" name="Freeform 38"/>
              <p:cNvSpPr>
                <a:spLocks/>
              </p:cNvSpPr>
              <p:nvPr/>
            </p:nvSpPr>
            <p:spPr bwMode="auto">
              <a:xfrm>
                <a:off x="2538" y="1887"/>
                <a:ext cx="148" cy="150"/>
              </a:xfrm>
              <a:custGeom>
                <a:avLst/>
                <a:gdLst>
                  <a:gd name="T0" fmla="*/ 74 w 148"/>
                  <a:gd name="T1" fmla="*/ 150 h 150"/>
                  <a:gd name="T2" fmla="*/ 74 w 148"/>
                  <a:gd name="T3" fmla="*/ 150 h 150"/>
                  <a:gd name="T4" fmla="*/ 90 w 148"/>
                  <a:gd name="T5" fmla="*/ 148 h 150"/>
                  <a:gd name="T6" fmla="*/ 104 w 148"/>
                  <a:gd name="T7" fmla="*/ 144 h 150"/>
                  <a:gd name="T8" fmla="*/ 116 w 148"/>
                  <a:gd name="T9" fmla="*/ 138 h 150"/>
                  <a:gd name="T10" fmla="*/ 126 w 148"/>
                  <a:gd name="T11" fmla="*/ 128 h 150"/>
                  <a:gd name="T12" fmla="*/ 136 w 148"/>
                  <a:gd name="T13" fmla="*/ 118 h 150"/>
                  <a:gd name="T14" fmla="*/ 142 w 148"/>
                  <a:gd name="T15" fmla="*/ 104 h 150"/>
                  <a:gd name="T16" fmla="*/ 148 w 148"/>
                  <a:gd name="T17" fmla="*/ 90 h 150"/>
                  <a:gd name="T18" fmla="*/ 148 w 148"/>
                  <a:gd name="T19" fmla="*/ 76 h 150"/>
                  <a:gd name="T20" fmla="*/ 148 w 148"/>
                  <a:gd name="T21" fmla="*/ 76 h 150"/>
                  <a:gd name="T22" fmla="*/ 148 w 148"/>
                  <a:gd name="T23" fmla="*/ 60 h 150"/>
                  <a:gd name="T24" fmla="*/ 142 w 148"/>
                  <a:gd name="T25" fmla="*/ 46 h 150"/>
                  <a:gd name="T26" fmla="*/ 136 w 148"/>
                  <a:gd name="T27" fmla="*/ 34 h 150"/>
                  <a:gd name="T28" fmla="*/ 126 w 148"/>
                  <a:gd name="T29" fmla="*/ 22 h 150"/>
                  <a:gd name="T30" fmla="*/ 116 w 148"/>
                  <a:gd name="T31" fmla="*/ 14 h 150"/>
                  <a:gd name="T32" fmla="*/ 104 w 148"/>
                  <a:gd name="T33" fmla="*/ 6 h 150"/>
                  <a:gd name="T34" fmla="*/ 90 w 148"/>
                  <a:gd name="T35" fmla="*/ 2 h 150"/>
                  <a:gd name="T36" fmla="*/ 74 w 148"/>
                  <a:gd name="T37" fmla="*/ 0 h 150"/>
                  <a:gd name="T38" fmla="*/ 74 w 148"/>
                  <a:gd name="T39" fmla="*/ 0 h 150"/>
                  <a:gd name="T40" fmla="*/ 60 w 148"/>
                  <a:gd name="T41" fmla="*/ 2 h 150"/>
                  <a:gd name="T42" fmla="*/ 46 w 148"/>
                  <a:gd name="T43" fmla="*/ 6 h 150"/>
                  <a:gd name="T44" fmla="*/ 32 w 148"/>
                  <a:gd name="T45" fmla="*/ 14 h 150"/>
                  <a:gd name="T46" fmla="*/ 22 w 148"/>
                  <a:gd name="T47" fmla="*/ 22 h 150"/>
                  <a:gd name="T48" fmla="*/ 12 w 148"/>
                  <a:gd name="T49" fmla="*/ 34 h 150"/>
                  <a:gd name="T50" fmla="*/ 6 w 148"/>
                  <a:gd name="T51" fmla="*/ 46 h 150"/>
                  <a:gd name="T52" fmla="*/ 2 w 148"/>
                  <a:gd name="T53" fmla="*/ 60 h 150"/>
                  <a:gd name="T54" fmla="*/ 0 w 148"/>
                  <a:gd name="T55" fmla="*/ 76 h 150"/>
                  <a:gd name="T56" fmla="*/ 0 w 148"/>
                  <a:gd name="T57" fmla="*/ 76 h 150"/>
                  <a:gd name="T58" fmla="*/ 2 w 148"/>
                  <a:gd name="T59" fmla="*/ 90 h 150"/>
                  <a:gd name="T60" fmla="*/ 6 w 148"/>
                  <a:gd name="T61" fmla="*/ 104 h 150"/>
                  <a:gd name="T62" fmla="*/ 12 w 148"/>
                  <a:gd name="T63" fmla="*/ 118 h 150"/>
                  <a:gd name="T64" fmla="*/ 22 w 148"/>
                  <a:gd name="T65" fmla="*/ 128 h 150"/>
                  <a:gd name="T66" fmla="*/ 32 w 148"/>
                  <a:gd name="T67" fmla="*/ 138 h 150"/>
                  <a:gd name="T68" fmla="*/ 46 w 148"/>
                  <a:gd name="T69" fmla="*/ 144 h 150"/>
                  <a:gd name="T70" fmla="*/ 60 w 148"/>
                  <a:gd name="T71" fmla="*/ 148 h 150"/>
                  <a:gd name="T72" fmla="*/ 74 w 148"/>
                  <a:gd name="T73" fmla="*/ 150 h 150"/>
                  <a:gd name="T74" fmla="*/ 74 w 148"/>
                  <a:gd name="T75" fmla="*/ 15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8" h="150">
                    <a:moveTo>
                      <a:pt x="74" y="150"/>
                    </a:moveTo>
                    <a:lnTo>
                      <a:pt x="74" y="150"/>
                    </a:lnTo>
                    <a:lnTo>
                      <a:pt x="90" y="148"/>
                    </a:lnTo>
                    <a:lnTo>
                      <a:pt x="104" y="144"/>
                    </a:lnTo>
                    <a:lnTo>
                      <a:pt x="116" y="138"/>
                    </a:lnTo>
                    <a:lnTo>
                      <a:pt x="126" y="128"/>
                    </a:lnTo>
                    <a:lnTo>
                      <a:pt x="136" y="118"/>
                    </a:lnTo>
                    <a:lnTo>
                      <a:pt x="142" y="104"/>
                    </a:lnTo>
                    <a:lnTo>
                      <a:pt x="148" y="90"/>
                    </a:lnTo>
                    <a:lnTo>
                      <a:pt x="148" y="76"/>
                    </a:lnTo>
                    <a:lnTo>
                      <a:pt x="148" y="76"/>
                    </a:lnTo>
                    <a:lnTo>
                      <a:pt x="148" y="60"/>
                    </a:lnTo>
                    <a:lnTo>
                      <a:pt x="142" y="46"/>
                    </a:lnTo>
                    <a:lnTo>
                      <a:pt x="136" y="34"/>
                    </a:lnTo>
                    <a:lnTo>
                      <a:pt x="126" y="22"/>
                    </a:lnTo>
                    <a:lnTo>
                      <a:pt x="116" y="14"/>
                    </a:lnTo>
                    <a:lnTo>
                      <a:pt x="104" y="6"/>
                    </a:lnTo>
                    <a:lnTo>
                      <a:pt x="90" y="2"/>
                    </a:lnTo>
                    <a:lnTo>
                      <a:pt x="74" y="0"/>
                    </a:lnTo>
                    <a:lnTo>
                      <a:pt x="74" y="0"/>
                    </a:lnTo>
                    <a:lnTo>
                      <a:pt x="60" y="2"/>
                    </a:lnTo>
                    <a:lnTo>
                      <a:pt x="46" y="6"/>
                    </a:lnTo>
                    <a:lnTo>
                      <a:pt x="32" y="14"/>
                    </a:lnTo>
                    <a:lnTo>
                      <a:pt x="22" y="22"/>
                    </a:lnTo>
                    <a:lnTo>
                      <a:pt x="12" y="34"/>
                    </a:lnTo>
                    <a:lnTo>
                      <a:pt x="6" y="46"/>
                    </a:lnTo>
                    <a:lnTo>
                      <a:pt x="2" y="60"/>
                    </a:lnTo>
                    <a:lnTo>
                      <a:pt x="0" y="76"/>
                    </a:lnTo>
                    <a:lnTo>
                      <a:pt x="0" y="76"/>
                    </a:lnTo>
                    <a:lnTo>
                      <a:pt x="2" y="90"/>
                    </a:lnTo>
                    <a:lnTo>
                      <a:pt x="6" y="104"/>
                    </a:lnTo>
                    <a:lnTo>
                      <a:pt x="12" y="118"/>
                    </a:lnTo>
                    <a:lnTo>
                      <a:pt x="22" y="128"/>
                    </a:lnTo>
                    <a:lnTo>
                      <a:pt x="32" y="138"/>
                    </a:lnTo>
                    <a:lnTo>
                      <a:pt x="46" y="144"/>
                    </a:lnTo>
                    <a:lnTo>
                      <a:pt x="60" y="148"/>
                    </a:lnTo>
                    <a:lnTo>
                      <a:pt x="74" y="150"/>
                    </a:lnTo>
                    <a:lnTo>
                      <a:pt x="74" y="15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56" name="Freeform 39"/>
              <p:cNvSpPr>
                <a:spLocks/>
              </p:cNvSpPr>
              <p:nvPr/>
            </p:nvSpPr>
            <p:spPr bwMode="auto">
              <a:xfrm>
                <a:off x="2770" y="1835"/>
                <a:ext cx="102" cy="102"/>
              </a:xfrm>
              <a:custGeom>
                <a:avLst/>
                <a:gdLst>
                  <a:gd name="T0" fmla="*/ 52 w 102"/>
                  <a:gd name="T1" fmla="*/ 102 h 102"/>
                  <a:gd name="T2" fmla="*/ 52 w 102"/>
                  <a:gd name="T3" fmla="*/ 102 h 102"/>
                  <a:gd name="T4" fmla="*/ 62 w 102"/>
                  <a:gd name="T5" fmla="*/ 100 h 102"/>
                  <a:gd name="T6" fmla="*/ 70 w 102"/>
                  <a:gd name="T7" fmla="*/ 98 h 102"/>
                  <a:gd name="T8" fmla="*/ 80 w 102"/>
                  <a:gd name="T9" fmla="*/ 94 h 102"/>
                  <a:gd name="T10" fmla="*/ 86 w 102"/>
                  <a:gd name="T11" fmla="*/ 88 h 102"/>
                  <a:gd name="T12" fmla="*/ 94 w 102"/>
                  <a:gd name="T13" fmla="*/ 80 h 102"/>
                  <a:gd name="T14" fmla="*/ 98 w 102"/>
                  <a:gd name="T15" fmla="*/ 70 h 102"/>
                  <a:gd name="T16" fmla="*/ 100 w 102"/>
                  <a:gd name="T17" fmla="*/ 62 h 102"/>
                  <a:gd name="T18" fmla="*/ 102 w 102"/>
                  <a:gd name="T19" fmla="*/ 52 h 102"/>
                  <a:gd name="T20" fmla="*/ 102 w 102"/>
                  <a:gd name="T21" fmla="*/ 52 h 102"/>
                  <a:gd name="T22" fmla="*/ 100 w 102"/>
                  <a:gd name="T23" fmla="*/ 40 h 102"/>
                  <a:gd name="T24" fmla="*/ 98 w 102"/>
                  <a:gd name="T25" fmla="*/ 32 h 102"/>
                  <a:gd name="T26" fmla="*/ 94 w 102"/>
                  <a:gd name="T27" fmla="*/ 22 h 102"/>
                  <a:gd name="T28" fmla="*/ 86 w 102"/>
                  <a:gd name="T29" fmla="*/ 16 h 102"/>
                  <a:gd name="T30" fmla="*/ 80 w 102"/>
                  <a:gd name="T31" fmla="*/ 10 h 102"/>
                  <a:gd name="T32" fmla="*/ 70 w 102"/>
                  <a:gd name="T33" fmla="*/ 4 h 102"/>
                  <a:gd name="T34" fmla="*/ 62 w 102"/>
                  <a:gd name="T35" fmla="*/ 2 h 102"/>
                  <a:gd name="T36" fmla="*/ 52 w 102"/>
                  <a:gd name="T37" fmla="*/ 0 h 102"/>
                  <a:gd name="T38" fmla="*/ 52 w 102"/>
                  <a:gd name="T39" fmla="*/ 0 h 102"/>
                  <a:gd name="T40" fmla="*/ 40 w 102"/>
                  <a:gd name="T41" fmla="*/ 2 h 102"/>
                  <a:gd name="T42" fmla="*/ 32 w 102"/>
                  <a:gd name="T43" fmla="*/ 4 h 102"/>
                  <a:gd name="T44" fmla="*/ 22 w 102"/>
                  <a:gd name="T45" fmla="*/ 10 h 102"/>
                  <a:gd name="T46" fmla="*/ 16 w 102"/>
                  <a:gd name="T47" fmla="*/ 16 h 102"/>
                  <a:gd name="T48" fmla="*/ 10 w 102"/>
                  <a:gd name="T49" fmla="*/ 22 h 102"/>
                  <a:gd name="T50" fmla="*/ 4 w 102"/>
                  <a:gd name="T51" fmla="*/ 32 h 102"/>
                  <a:gd name="T52" fmla="*/ 2 w 102"/>
                  <a:gd name="T53" fmla="*/ 40 h 102"/>
                  <a:gd name="T54" fmla="*/ 0 w 102"/>
                  <a:gd name="T55" fmla="*/ 52 h 102"/>
                  <a:gd name="T56" fmla="*/ 0 w 102"/>
                  <a:gd name="T57" fmla="*/ 52 h 102"/>
                  <a:gd name="T58" fmla="*/ 2 w 102"/>
                  <a:gd name="T59" fmla="*/ 62 h 102"/>
                  <a:gd name="T60" fmla="*/ 4 w 102"/>
                  <a:gd name="T61" fmla="*/ 70 h 102"/>
                  <a:gd name="T62" fmla="*/ 10 w 102"/>
                  <a:gd name="T63" fmla="*/ 80 h 102"/>
                  <a:gd name="T64" fmla="*/ 16 w 102"/>
                  <a:gd name="T65" fmla="*/ 88 h 102"/>
                  <a:gd name="T66" fmla="*/ 22 w 102"/>
                  <a:gd name="T67" fmla="*/ 94 h 102"/>
                  <a:gd name="T68" fmla="*/ 32 w 102"/>
                  <a:gd name="T69" fmla="*/ 98 h 102"/>
                  <a:gd name="T70" fmla="*/ 40 w 102"/>
                  <a:gd name="T71" fmla="*/ 100 h 102"/>
                  <a:gd name="T72" fmla="*/ 52 w 102"/>
                  <a:gd name="T73" fmla="*/ 102 h 102"/>
                  <a:gd name="T74" fmla="*/ 52 w 102"/>
                  <a:gd name="T75" fmla="*/ 102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2" h="102">
                    <a:moveTo>
                      <a:pt x="52" y="102"/>
                    </a:moveTo>
                    <a:lnTo>
                      <a:pt x="52" y="102"/>
                    </a:lnTo>
                    <a:lnTo>
                      <a:pt x="62" y="100"/>
                    </a:lnTo>
                    <a:lnTo>
                      <a:pt x="70" y="98"/>
                    </a:lnTo>
                    <a:lnTo>
                      <a:pt x="80" y="94"/>
                    </a:lnTo>
                    <a:lnTo>
                      <a:pt x="86" y="88"/>
                    </a:lnTo>
                    <a:lnTo>
                      <a:pt x="94" y="80"/>
                    </a:lnTo>
                    <a:lnTo>
                      <a:pt x="98" y="70"/>
                    </a:lnTo>
                    <a:lnTo>
                      <a:pt x="100" y="62"/>
                    </a:lnTo>
                    <a:lnTo>
                      <a:pt x="102" y="52"/>
                    </a:lnTo>
                    <a:lnTo>
                      <a:pt x="102" y="52"/>
                    </a:lnTo>
                    <a:lnTo>
                      <a:pt x="100" y="40"/>
                    </a:lnTo>
                    <a:lnTo>
                      <a:pt x="98" y="32"/>
                    </a:lnTo>
                    <a:lnTo>
                      <a:pt x="94" y="22"/>
                    </a:lnTo>
                    <a:lnTo>
                      <a:pt x="86" y="16"/>
                    </a:lnTo>
                    <a:lnTo>
                      <a:pt x="80" y="10"/>
                    </a:lnTo>
                    <a:lnTo>
                      <a:pt x="70" y="4"/>
                    </a:lnTo>
                    <a:lnTo>
                      <a:pt x="62" y="2"/>
                    </a:lnTo>
                    <a:lnTo>
                      <a:pt x="52" y="0"/>
                    </a:lnTo>
                    <a:lnTo>
                      <a:pt x="52" y="0"/>
                    </a:lnTo>
                    <a:lnTo>
                      <a:pt x="40" y="2"/>
                    </a:lnTo>
                    <a:lnTo>
                      <a:pt x="32" y="4"/>
                    </a:lnTo>
                    <a:lnTo>
                      <a:pt x="22" y="10"/>
                    </a:lnTo>
                    <a:lnTo>
                      <a:pt x="16" y="16"/>
                    </a:lnTo>
                    <a:lnTo>
                      <a:pt x="10" y="22"/>
                    </a:lnTo>
                    <a:lnTo>
                      <a:pt x="4" y="32"/>
                    </a:lnTo>
                    <a:lnTo>
                      <a:pt x="2" y="40"/>
                    </a:lnTo>
                    <a:lnTo>
                      <a:pt x="0" y="52"/>
                    </a:lnTo>
                    <a:lnTo>
                      <a:pt x="0" y="52"/>
                    </a:lnTo>
                    <a:lnTo>
                      <a:pt x="2" y="62"/>
                    </a:lnTo>
                    <a:lnTo>
                      <a:pt x="4" y="70"/>
                    </a:lnTo>
                    <a:lnTo>
                      <a:pt x="10" y="80"/>
                    </a:lnTo>
                    <a:lnTo>
                      <a:pt x="16" y="88"/>
                    </a:lnTo>
                    <a:lnTo>
                      <a:pt x="22" y="94"/>
                    </a:lnTo>
                    <a:lnTo>
                      <a:pt x="32" y="98"/>
                    </a:lnTo>
                    <a:lnTo>
                      <a:pt x="40" y="100"/>
                    </a:lnTo>
                    <a:lnTo>
                      <a:pt x="52" y="102"/>
                    </a:lnTo>
                    <a:lnTo>
                      <a:pt x="5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57" name="Freeform 40"/>
              <p:cNvSpPr>
                <a:spLocks/>
              </p:cNvSpPr>
              <p:nvPr/>
            </p:nvSpPr>
            <p:spPr bwMode="auto">
              <a:xfrm>
                <a:off x="2694" y="1947"/>
                <a:ext cx="254" cy="190"/>
              </a:xfrm>
              <a:custGeom>
                <a:avLst/>
                <a:gdLst>
                  <a:gd name="T0" fmla="*/ 192 w 254"/>
                  <a:gd name="T1" fmla="*/ 0 h 190"/>
                  <a:gd name="T2" fmla="*/ 66 w 254"/>
                  <a:gd name="T3" fmla="*/ 0 h 190"/>
                  <a:gd name="T4" fmla="*/ 66 w 254"/>
                  <a:gd name="T5" fmla="*/ 0 h 190"/>
                  <a:gd name="T6" fmla="*/ 48 w 254"/>
                  <a:gd name="T7" fmla="*/ 2 h 190"/>
                  <a:gd name="T8" fmla="*/ 34 w 254"/>
                  <a:gd name="T9" fmla="*/ 6 h 190"/>
                  <a:gd name="T10" fmla="*/ 24 w 254"/>
                  <a:gd name="T11" fmla="*/ 12 h 190"/>
                  <a:gd name="T12" fmla="*/ 14 w 254"/>
                  <a:gd name="T13" fmla="*/ 20 h 190"/>
                  <a:gd name="T14" fmla="*/ 8 w 254"/>
                  <a:gd name="T15" fmla="*/ 30 h 190"/>
                  <a:gd name="T16" fmla="*/ 4 w 254"/>
                  <a:gd name="T17" fmla="*/ 38 h 190"/>
                  <a:gd name="T18" fmla="*/ 2 w 254"/>
                  <a:gd name="T19" fmla="*/ 46 h 190"/>
                  <a:gd name="T20" fmla="*/ 0 w 254"/>
                  <a:gd name="T21" fmla="*/ 52 h 190"/>
                  <a:gd name="T22" fmla="*/ 0 w 254"/>
                  <a:gd name="T23" fmla="*/ 54 h 190"/>
                  <a:gd name="T24" fmla="*/ 0 w 254"/>
                  <a:gd name="T25" fmla="*/ 62 h 190"/>
                  <a:gd name="T26" fmla="*/ 0 w 254"/>
                  <a:gd name="T27" fmla="*/ 80 h 190"/>
                  <a:gd name="T28" fmla="*/ 0 w 254"/>
                  <a:gd name="T29" fmla="*/ 80 h 190"/>
                  <a:gd name="T30" fmla="*/ 0 w 254"/>
                  <a:gd name="T31" fmla="*/ 80 h 190"/>
                  <a:gd name="T32" fmla="*/ 0 w 254"/>
                  <a:gd name="T33" fmla="*/ 80 h 190"/>
                  <a:gd name="T34" fmla="*/ 24 w 254"/>
                  <a:gd name="T35" fmla="*/ 82 h 190"/>
                  <a:gd name="T36" fmla="*/ 46 w 254"/>
                  <a:gd name="T37" fmla="*/ 88 h 190"/>
                  <a:gd name="T38" fmla="*/ 66 w 254"/>
                  <a:gd name="T39" fmla="*/ 98 h 190"/>
                  <a:gd name="T40" fmla="*/ 84 w 254"/>
                  <a:gd name="T41" fmla="*/ 112 h 190"/>
                  <a:gd name="T42" fmla="*/ 100 w 254"/>
                  <a:gd name="T43" fmla="*/ 128 h 190"/>
                  <a:gd name="T44" fmla="*/ 112 w 254"/>
                  <a:gd name="T45" fmla="*/ 146 h 190"/>
                  <a:gd name="T46" fmla="*/ 122 w 254"/>
                  <a:gd name="T47" fmla="*/ 166 h 190"/>
                  <a:gd name="T48" fmla="*/ 126 w 254"/>
                  <a:gd name="T49" fmla="*/ 190 h 190"/>
                  <a:gd name="T50" fmla="*/ 126 w 254"/>
                  <a:gd name="T51" fmla="*/ 190 h 190"/>
                  <a:gd name="T52" fmla="*/ 132 w 254"/>
                  <a:gd name="T53" fmla="*/ 166 h 190"/>
                  <a:gd name="T54" fmla="*/ 142 w 254"/>
                  <a:gd name="T55" fmla="*/ 146 h 190"/>
                  <a:gd name="T56" fmla="*/ 154 w 254"/>
                  <a:gd name="T57" fmla="*/ 128 h 190"/>
                  <a:gd name="T58" fmla="*/ 170 w 254"/>
                  <a:gd name="T59" fmla="*/ 112 h 190"/>
                  <a:gd name="T60" fmla="*/ 188 w 254"/>
                  <a:gd name="T61" fmla="*/ 98 h 190"/>
                  <a:gd name="T62" fmla="*/ 208 w 254"/>
                  <a:gd name="T63" fmla="*/ 88 h 190"/>
                  <a:gd name="T64" fmla="*/ 230 w 254"/>
                  <a:gd name="T65" fmla="*/ 82 h 190"/>
                  <a:gd name="T66" fmla="*/ 254 w 254"/>
                  <a:gd name="T67" fmla="*/ 80 h 190"/>
                  <a:gd name="T68" fmla="*/ 254 w 254"/>
                  <a:gd name="T69" fmla="*/ 80 h 190"/>
                  <a:gd name="T70" fmla="*/ 254 w 254"/>
                  <a:gd name="T71" fmla="*/ 80 h 190"/>
                  <a:gd name="T72" fmla="*/ 254 w 254"/>
                  <a:gd name="T73" fmla="*/ 62 h 190"/>
                  <a:gd name="T74" fmla="*/ 254 w 254"/>
                  <a:gd name="T75" fmla="*/ 54 h 190"/>
                  <a:gd name="T76" fmla="*/ 254 w 254"/>
                  <a:gd name="T77" fmla="*/ 50 h 190"/>
                  <a:gd name="T78" fmla="*/ 254 w 254"/>
                  <a:gd name="T79" fmla="*/ 50 h 190"/>
                  <a:gd name="T80" fmla="*/ 252 w 254"/>
                  <a:gd name="T81" fmla="*/ 42 h 190"/>
                  <a:gd name="T82" fmla="*/ 250 w 254"/>
                  <a:gd name="T83" fmla="*/ 34 h 190"/>
                  <a:gd name="T84" fmla="*/ 246 w 254"/>
                  <a:gd name="T85" fmla="*/ 26 h 190"/>
                  <a:gd name="T86" fmla="*/ 238 w 254"/>
                  <a:gd name="T87" fmla="*/ 18 h 190"/>
                  <a:gd name="T88" fmla="*/ 230 w 254"/>
                  <a:gd name="T89" fmla="*/ 12 h 190"/>
                  <a:gd name="T90" fmla="*/ 220 w 254"/>
                  <a:gd name="T91" fmla="*/ 6 h 190"/>
                  <a:gd name="T92" fmla="*/ 206 w 254"/>
                  <a:gd name="T93" fmla="*/ 2 h 190"/>
                  <a:gd name="T94" fmla="*/ 192 w 254"/>
                  <a:gd name="T95" fmla="*/ 0 h 190"/>
                  <a:gd name="T96" fmla="*/ 192 w 254"/>
                  <a:gd name="T97" fmla="*/ 0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54" h="190">
                    <a:moveTo>
                      <a:pt x="192" y="0"/>
                    </a:moveTo>
                    <a:lnTo>
                      <a:pt x="66" y="0"/>
                    </a:lnTo>
                    <a:lnTo>
                      <a:pt x="66" y="0"/>
                    </a:lnTo>
                    <a:lnTo>
                      <a:pt x="48" y="2"/>
                    </a:lnTo>
                    <a:lnTo>
                      <a:pt x="34" y="6"/>
                    </a:lnTo>
                    <a:lnTo>
                      <a:pt x="24" y="12"/>
                    </a:lnTo>
                    <a:lnTo>
                      <a:pt x="14" y="20"/>
                    </a:lnTo>
                    <a:lnTo>
                      <a:pt x="8" y="30"/>
                    </a:lnTo>
                    <a:lnTo>
                      <a:pt x="4" y="38"/>
                    </a:lnTo>
                    <a:lnTo>
                      <a:pt x="2" y="46"/>
                    </a:lnTo>
                    <a:lnTo>
                      <a:pt x="0" y="52"/>
                    </a:lnTo>
                    <a:lnTo>
                      <a:pt x="0" y="54"/>
                    </a:lnTo>
                    <a:lnTo>
                      <a:pt x="0" y="62"/>
                    </a:lnTo>
                    <a:lnTo>
                      <a:pt x="0" y="80"/>
                    </a:lnTo>
                    <a:lnTo>
                      <a:pt x="0" y="80"/>
                    </a:lnTo>
                    <a:lnTo>
                      <a:pt x="0" y="80"/>
                    </a:lnTo>
                    <a:lnTo>
                      <a:pt x="0" y="80"/>
                    </a:lnTo>
                    <a:lnTo>
                      <a:pt x="24" y="82"/>
                    </a:lnTo>
                    <a:lnTo>
                      <a:pt x="46" y="88"/>
                    </a:lnTo>
                    <a:lnTo>
                      <a:pt x="66" y="98"/>
                    </a:lnTo>
                    <a:lnTo>
                      <a:pt x="84" y="112"/>
                    </a:lnTo>
                    <a:lnTo>
                      <a:pt x="100" y="128"/>
                    </a:lnTo>
                    <a:lnTo>
                      <a:pt x="112" y="146"/>
                    </a:lnTo>
                    <a:lnTo>
                      <a:pt x="122" y="166"/>
                    </a:lnTo>
                    <a:lnTo>
                      <a:pt x="126" y="190"/>
                    </a:lnTo>
                    <a:lnTo>
                      <a:pt x="126" y="190"/>
                    </a:lnTo>
                    <a:lnTo>
                      <a:pt x="132" y="166"/>
                    </a:lnTo>
                    <a:lnTo>
                      <a:pt x="142" y="146"/>
                    </a:lnTo>
                    <a:lnTo>
                      <a:pt x="154" y="128"/>
                    </a:lnTo>
                    <a:lnTo>
                      <a:pt x="170" y="112"/>
                    </a:lnTo>
                    <a:lnTo>
                      <a:pt x="188" y="98"/>
                    </a:lnTo>
                    <a:lnTo>
                      <a:pt x="208" y="88"/>
                    </a:lnTo>
                    <a:lnTo>
                      <a:pt x="230" y="82"/>
                    </a:lnTo>
                    <a:lnTo>
                      <a:pt x="254" y="80"/>
                    </a:lnTo>
                    <a:lnTo>
                      <a:pt x="254" y="80"/>
                    </a:lnTo>
                    <a:lnTo>
                      <a:pt x="254" y="80"/>
                    </a:lnTo>
                    <a:lnTo>
                      <a:pt x="254" y="62"/>
                    </a:lnTo>
                    <a:lnTo>
                      <a:pt x="254" y="54"/>
                    </a:lnTo>
                    <a:lnTo>
                      <a:pt x="254" y="50"/>
                    </a:lnTo>
                    <a:lnTo>
                      <a:pt x="254" y="50"/>
                    </a:lnTo>
                    <a:lnTo>
                      <a:pt x="252" y="42"/>
                    </a:lnTo>
                    <a:lnTo>
                      <a:pt x="250" y="34"/>
                    </a:lnTo>
                    <a:lnTo>
                      <a:pt x="246" y="26"/>
                    </a:lnTo>
                    <a:lnTo>
                      <a:pt x="238" y="18"/>
                    </a:lnTo>
                    <a:lnTo>
                      <a:pt x="230" y="12"/>
                    </a:lnTo>
                    <a:lnTo>
                      <a:pt x="220" y="6"/>
                    </a:lnTo>
                    <a:lnTo>
                      <a:pt x="206" y="2"/>
                    </a:lnTo>
                    <a:lnTo>
                      <a:pt x="192" y="0"/>
                    </a:lnTo>
                    <a:lnTo>
                      <a:pt x="19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58" name="Freeform 41"/>
              <p:cNvSpPr>
                <a:spLocks/>
              </p:cNvSpPr>
              <p:nvPr/>
            </p:nvSpPr>
            <p:spPr bwMode="auto">
              <a:xfrm>
                <a:off x="3184" y="1835"/>
                <a:ext cx="102" cy="102"/>
              </a:xfrm>
              <a:custGeom>
                <a:avLst/>
                <a:gdLst>
                  <a:gd name="T0" fmla="*/ 52 w 102"/>
                  <a:gd name="T1" fmla="*/ 102 h 102"/>
                  <a:gd name="T2" fmla="*/ 52 w 102"/>
                  <a:gd name="T3" fmla="*/ 102 h 102"/>
                  <a:gd name="T4" fmla="*/ 62 w 102"/>
                  <a:gd name="T5" fmla="*/ 100 h 102"/>
                  <a:gd name="T6" fmla="*/ 72 w 102"/>
                  <a:gd name="T7" fmla="*/ 98 h 102"/>
                  <a:gd name="T8" fmla="*/ 80 w 102"/>
                  <a:gd name="T9" fmla="*/ 94 h 102"/>
                  <a:gd name="T10" fmla="*/ 88 w 102"/>
                  <a:gd name="T11" fmla="*/ 88 h 102"/>
                  <a:gd name="T12" fmla="*/ 94 w 102"/>
                  <a:gd name="T13" fmla="*/ 80 h 102"/>
                  <a:gd name="T14" fmla="*/ 98 w 102"/>
                  <a:gd name="T15" fmla="*/ 70 h 102"/>
                  <a:gd name="T16" fmla="*/ 102 w 102"/>
                  <a:gd name="T17" fmla="*/ 62 h 102"/>
                  <a:gd name="T18" fmla="*/ 102 w 102"/>
                  <a:gd name="T19" fmla="*/ 52 h 102"/>
                  <a:gd name="T20" fmla="*/ 102 w 102"/>
                  <a:gd name="T21" fmla="*/ 52 h 102"/>
                  <a:gd name="T22" fmla="*/ 102 w 102"/>
                  <a:gd name="T23" fmla="*/ 40 h 102"/>
                  <a:gd name="T24" fmla="*/ 98 w 102"/>
                  <a:gd name="T25" fmla="*/ 32 h 102"/>
                  <a:gd name="T26" fmla="*/ 94 w 102"/>
                  <a:gd name="T27" fmla="*/ 22 h 102"/>
                  <a:gd name="T28" fmla="*/ 88 w 102"/>
                  <a:gd name="T29" fmla="*/ 16 h 102"/>
                  <a:gd name="T30" fmla="*/ 80 w 102"/>
                  <a:gd name="T31" fmla="*/ 10 h 102"/>
                  <a:gd name="T32" fmla="*/ 72 w 102"/>
                  <a:gd name="T33" fmla="*/ 4 h 102"/>
                  <a:gd name="T34" fmla="*/ 62 w 102"/>
                  <a:gd name="T35" fmla="*/ 2 h 102"/>
                  <a:gd name="T36" fmla="*/ 52 w 102"/>
                  <a:gd name="T37" fmla="*/ 0 h 102"/>
                  <a:gd name="T38" fmla="*/ 52 w 102"/>
                  <a:gd name="T39" fmla="*/ 0 h 102"/>
                  <a:gd name="T40" fmla="*/ 42 w 102"/>
                  <a:gd name="T41" fmla="*/ 2 h 102"/>
                  <a:gd name="T42" fmla="*/ 32 w 102"/>
                  <a:gd name="T43" fmla="*/ 4 h 102"/>
                  <a:gd name="T44" fmla="*/ 24 w 102"/>
                  <a:gd name="T45" fmla="*/ 10 h 102"/>
                  <a:gd name="T46" fmla="*/ 16 w 102"/>
                  <a:gd name="T47" fmla="*/ 16 h 102"/>
                  <a:gd name="T48" fmla="*/ 10 w 102"/>
                  <a:gd name="T49" fmla="*/ 22 h 102"/>
                  <a:gd name="T50" fmla="*/ 4 w 102"/>
                  <a:gd name="T51" fmla="*/ 32 h 102"/>
                  <a:gd name="T52" fmla="*/ 2 w 102"/>
                  <a:gd name="T53" fmla="*/ 40 h 102"/>
                  <a:gd name="T54" fmla="*/ 0 w 102"/>
                  <a:gd name="T55" fmla="*/ 52 h 102"/>
                  <a:gd name="T56" fmla="*/ 0 w 102"/>
                  <a:gd name="T57" fmla="*/ 52 h 102"/>
                  <a:gd name="T58" fmla="*/ 2 w 102"/>
                  <a:gd name="T59" fmla="*/ 62 h 102"/>
                  <a:gd name="T60" fmla="*/ 4 w 102"/>
                  <a:gd name="T61" fmla="*/ 70 h 102"/>
                  <a:gd name="T62" fmla="*/ 10 w 102"/>
                  <a:gd name="T63" fmla="*/ 80 h 102"/>
                  <a:gd name="T64" fmla="*/ 16 w 102"/>
                  <a:gd name="T65" fmla="*/ 88 h 102"/>
                  <a:gd name="T66" fmla="*/ 24 w 102"/>
                  <a:gd name="T67" fmla="*/ 94 h 102"/>
                  <a:gd name="T68" fmla="*/ 32 w 102"/>
                  <a:gd name="T69" fmla="*/ 98 h 102"/>
                  <a:gd name="T70" fmla="*/ 42 w 102"/>
                  <a:gd name="T71" fmla="*/ 100 h 102"/>
                  <a:gd name="T72" fmla="*/ 52 w 102"/>
                  <a:gd name="T73" fmla="*/ 102 h 102"/>
                  <a:gd name="T74" fmla="*/ 52 w 102"/>
                  <a:gd name="T75" fmla="*/ 102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2" h="102">
                    <a:moveTo>
                      <a:pt x="52" y="102"/>
                    </a:moveTo>
                    <a:lnTo>
                      <a:pt x="52" y="102"/>
                    </a:lnTo>
                    <a:lnTo>
                      <a:pt x="62" y="100"/>
                    </a:lnTo>
                    <a:lnTo>
                      <a:pt x="72" y="98"/>
                    </a:lnTo>
                    <a:lnTo>
                      <a:pt x="80" y="94"/>
                    </a:lnTo>
                    <a:lnTo>
                      <a:pt x="88" y="88"/>
                    </a:lnTo>
                    <a:lnTo>
                      <a:pt x="94" y="80"/>
                    </a:lnTo>
                    <a:lnTo>
                      <a:pt x="98" y="70"/>
                    </a:lnTo>
                    <a:lnTo>
                      <a:pt x="102" y="62"/>
                    </a:lnTo>
                    <a:lnTo>
                      <a:pt x="102" y="52"/>
                    </a:lnTo>
                    <a:lnTo>
                      <a:pt x="102" y="52"/>
                    </a:lnTo>
                    <a:lnTo>
                      <a:pt x="102" y="40"/>
                    </a:lnTo>
                    <a:lnTo>
                      <a:pt x="98" y="32"/>
                    </a:lnTo>
                    <a:lnTo>
                      <a:pt x="94" y="22"/>
                    </a:lnTo>
                    <a:lnTo>
                      <a:pt x="88" y="16"/>
                    </a:lnTo>
                    <a:lnTo>
                      <a:pt x="80" y="10"/>
                    </a:lnTo>
                    <a:lnTo>
                      <a:pt x="72" y="4"/>
                    </a:lnTo>
                    <a:lnTo>
                      <a:pt x="62" y="2"/>
                    </a:lnTo>
                    <a:lnTo>
                      <a:pt x="52" y="0"/>
                    </a:lnTo>
                    <a:lnTo>
                      <a:pt x="52" y="0"/>
                    </a:lnTo>
                    <a:lnTo>
                      <a:pt x="42" y="2"/>
                    </a:lnTo>
                    <a:lnTo>
                      <a:pt x="32" y="4"/>
                    </a:lnTo>
                    <a:lnTo>
                      <a:pt x="24" y="10"/>
                    </a:lnTo>
                    <a:lnTo>
                      <a:pt x="16" y="16"/>
                    </a:lnTo>
                    <a:lnTo>
                      <a:pt x="10" y="22"/>
                    </a:lnTo>
                    <a:lnTo>
                      <a:pt x="4" y="32"/>
                    </a:lnTo>
                    <a:lnTo>
                      <a:pt x="2" y="40"/>
                    </a:lnTo>
                    <a:lnTo>
                      <a:pt x="0" y="52"/>
                    </a:lnTo>
                    <a:lnTo>
                      <a:pt x="0" y="52"/>
                    </a:lnTo>
                    <a:lnTo>
                      <a:pt x="2" y="62"/>
                    </a:lnTo>
                    <a:lnTo>
                      <a:pt x="4" y="70"/>
                    </a:lnTo>
                    <a:lnTo>
                      <a:pt x="10" y="80"/>
                    </a:lnTo>
                    <a:lnTo>
                      <a:pt x="16" y="88"/>
                    </a:lnTo>
                    <a:lnTo>
                      <a:pt x="24" y="94"/>
                    </a:lnTo>
                    <a:lnTo>
                      <a:pt x="32" y="98"/>
                    </a:lnTo>
                    <a:lnTo>
                      <a:pt x="42" y="100"/>
                    </a:lnTo>
                    <a:lnTo>
                      <a:pt x="52" y="102"/>
                    </a:lnTo>
                    <a:lnTo>
                      <a:pt x="5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59" name="Freeform 42"/>
              <p:cNvSpPr>
                <a:spLocks/>
              </p:cNvSpPr>
              <p:nvPr/>
            </p:nvSpPr>
            <p:spPr bwMode="auto">
              <a:xfrm>
                <a:off x="3108" y="1947"/>
                <a:ext cx="254" cy="190"/>
              </a:xfrm>
              <a:custGeom>
                <a:avLst/>
                <a:gdLst>
                  <a:gd name="T0" fmla="*/ 194 w 254"/>
                  <a:gd name="T1" fmla="*/ 0 h 190"/>
                  <a:gd name="T2" fmla="*/ 66 w 254"/>
                  <a:gd name="T3" fmla="*/ 0 h 190"/>
                  <a:gd name="T4" fmla="*/ 66 w 254"/>
                  <a:gd name="T5" fmla="*/ 0 h 190"/>
                  <a:gd name="T6" fmla="*/ 50 w 254"/>
                  <a:gd name="T7" fmla="*/ 2 h 190"/>
                  <a:gd name="T8" fmla="*/ 36 w 254"/>
                  <a:gd name="T9" fmla="*/ 6 h 190"/>
                  <a:gd name="T10" fmla="*/ 24 w 254"/>
                  <a:gd name="T11" fmla="*/ 12 h 190"/>
                  <a:gd name="T12" fmla="*/ 16 w 254"/>
                  <a:gd name="T13" fmla="*/ 20 h 190"/>
                  <a:gd name="T14" fmla="*/ 8 w 254"/>
                  <a:gd name="T15" fmla="*/ 30 h 190"/>
                  <a:gd name="T16" fmla="*/ 4 w 254"/>
                  <a:gd name="T17" fmla="*/ 38 h 190"/>
                  <a:gd name="T18" fmla="*/ 2 w 254"/>
                  <a:gd name="T19" fmla="*/ 46 h 190"/>
                  <a:gd name="T20" fmla="*/ 0 w 254"/>
                  <a:gd name="T21" fmla="*/ 52 h 190"/>
                  <a:gd name="T22" fmla="*/ 0 w 254"/>
                  <a:gd name="T23" fmla="*/ 54 h 190"/>
                  <a:gd name="T24" fmla="*/ 0 w 254"/>
                  <a:gd name="T25" fmla="*/ 62 h 190"/>
                  <a:gd name="T26" fmla="*/ 0 w 254"/>
                  <a:gd name="T27" fmla="*/ 80 h 190"/>
                  <a:gd name="T28" fmla="*/ 2 w 254"/>
                  <a:gd name="T29" fmla="*/ 80 h 190"/>
                  <a:gd name="T30" fmla="*/ 0 w 254"/>
                  <a:gd name="T31" fmla="*/ 80 h 190"/>
                  <a:gd name="T32" fmla="*/ 0 w 254"/>
                  <a:gd name="T33" fmla="*/ 80 h 190"/>
                  <a:gd name="T34" fmla="*/ 24 w 254"/>
                  <a:gd name="T35" fmla="*/ 82 h 190"/>
                  <a:gd name="T36" fmla="*/ 46 w 254"/>
                  <a:gd name="T37" fmla="*/ 88 h 190"/>
                  <a:gd name="T38" fmla="*/ 66 w 254"/>
                  <a:gd name="T39" fmla="*/ 98 h 190"/>
                  <a:gd name="T40" fmla="*/ 84 w 254"/>
                  <a:gd name="T41" fmla="*/ 112 h 190"/>
                  <a:gd name="T42" fmla="*/ 100 w 254"/>
                  <a:gd name="T43" fmla="*/ 128 h 190"/>
                  <a:gd name="T44" fmla="*/ 112 w 254"/>
                  <a:gd name="T45" fmla="*/ 146 h 190"/>
                  <a:gd name="T46" fmla="*/ 122 w 254"/>
                  <a:gd name="T47" fmla="*/ 166 h 190"/>
                  <a:gd name="T48" fmla="*/ 128 w 254"/>
                  <a:gd name="T49" fmla="*/ 190 h 190"/>
                  <a:gd name="T50" fmla="*/ 128 w 254"/>
                  <a:gd name="T51" fmla="*/ 190 h 190"/>
                  <a:gd name="T52" fmla="*/ 132 w 254"/>
                  <a:gd name="T53" fmla="*/ 166 h 190"/>
                  <a:gd name="T54" fmla="*/ 142 w 254"/>
                  <a:gd name="T55" fmla="*/ 146 h 190"/>
                  <a:gd name="T56" fmla="*/ 154 w 254"/>
                  <a:gd name="T57" fmla="*/ 128 h 190"/>
                  <a:gd name="T58" fmla="*/ 170 w 254"/>
                  <a:gd name="T59" fmla="*/ 112 h 190"/>
                  <a:gd name="T60" fmla="*/ 188 w 254"/>
                  <a:gd name="T61" fmla="*/ 98 h 190"/>
                  <a:gd name="T62" fmla="*/ 208 w 254"/>
                  <a:gd name="T63" fmla="*/ 88 h 190"/>
                  <a:gd name="T64" fmla="*/ 230 w 254"/>
                  <a:gd name="T65" fmla="*/ 82 h 190"/>
                  <a:gd name="T66" fmla="*/ 254 w 254"/>
                  <a:gd name="T67" fmla="*/ 80 h 190"/>
                  <a:gd name="T68" fmla="*/ 254 w 254"/>
                  <a:gd name="T69" fmla="*/ 80 h 190"/>
                  <a:gd name="T70" fmla="*/ 254 w 254"/>
                  <a:gd name="T71" fmla="*/ 80 h 190"/>
                  <a:gd name="T72" fmla="*/ 254 w 254"/>
                  <a:gd name="T73" fmla="*/ 62 h 190"/>
                  <a:gd name="T74" fmla="*/ 254 w 254"/>
                  <a:gd name="T75" fmla="*/ 54 h 190"/>
                  <a:gd name="T76" fmla="*/ 254 w 254"/>
                  <a:gd name="T77" fmla="*/ 50 h 190"/>
                  <a:gd name="T78" fmla="*/ 254 w 254"/>
                  <a:gd name="T79" fmla="*/ 50 h 190"/>
                  <a:gd name="T80" fmla="*/ 254 w 254"/>
                  <a:gd name="T81" fmla="*/ 42 h 190"/>
                  <a:gd name="T82" fmla="*/ 250 w 254"/>
                  <a:gd name="T83" fmla="*/ 34 h 190"/>
                  <a:gd name="T84" fmla="*/ 246 w 254"/>
                  <a:gd name="T85" fmla="*/ 26 h 190"/>
                  <a:gd name="T86" fmla="*/ 238 w 254"/>
                  <a:gd name="T87" fmla="*/ 18 h 190"/>
                  <a:gd name="T88" fmla="*/ 230 w 254"/>
                  <a:gd name="T89" fmla="*/ 12 h 190"/>
                  <a:gd name="T90" fmla="*/ 220 w 254"/>
                  <a:gd name="T91" fmla="*/ 6 h 190"/>
                  <a:gd name="T92" fmla="*/ 208 w 254"/>
                  <a:gd name="T93" fmla="*/ 2 h 190"/>
                  <a:gd name="T94" fmla="*/ 194 w 254"/>
                  <a:gd name="T95" fmla="*/ 0 h 190"/>
                  <a:gd name="T96" fmla="*/ 194 w 254"/>
                  <a:gd name="T97" fmla="*/ 0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54" h="190">
                    <a:moveTo>
                      <a:pt x="194" y="0"/>
                    </a:moveTo>
                    <a:lnTo>
                      <a:pt x="66" y="0"/>
                    </a:lnTo>
                    <a:lnTo>
                      <a:pt x="66" y="0"/>
                    </a:lnTo>
                    <a:lnTo>
                      <a:pt x="50" y="2"/>
                    </a:lnTo>
                    <a:lnTo>
                      <a:pt x="36" y="6"/>
                    </a:lnTo>
                    <a:lnTo>
                      <a:pt x="24" y="12"/>
                    </a:lnTo>
                    <a:lnTo>
                      <a:pt x="16" y="20"/>
                    </a:lnTo>
                    <a:lnTo>
                      <a:pt x="8" y="30"/>
                    </a:lnTo>
                    <a:lnTo>
                      <a:pt x="4" y="38"/>
                    </a:lnTo>
                    <a:lnTo>
                      <a:pt x="2" y="46"/>
                    </a:lnTo>
                    <a:lnTo>
                      <a:pt x="0" y="52"/>
                    </a:lnTo>
                    <a:lnTo>
                      <a:pt x="0" y="54"/>
                    </a:lnTo>
                    <a:lnTo>
                      <a:pt x="0" y="62"/>
                    </a:lnTo>
                    <a:lnTo>
                      <a:pt x="0" y="80"/>
                    </a:lnTo>
                    <a:lnTo>
                      <a:pt x="2" y="80"/>
                    </a:lnTo>
                    <a:lnTo>
                      <a:pt x="0" y="80"/>
                    </a:lnTo>
                    <a:lnTo>
                      <a:pt x="0" y="80"/>
                    </a:lnTo>
                    <a:lnTo>
                      <a:pt x="24" y="82"/>
                    </a:lnTo>
                    <a:lnTo>
                      <a:pt x="46" y="88"/>
                    </a:lnTo>
                    <a:lnTo>
                      <a:pt x="66" y="98"/>
                    </a:lnTo>
                    <a:lnTo>
                      <a:pt x="84" y="112"/>
                    </a:lnTo>
                    <a:lnTo>
                      <a:pt x="100" y="128"/>
                    </a:lnTo>
                    <a:lnTo>
                      <a:pt x="112" y="146"/>
                    </a:lnTo>
                    <a:lnTo>
                      <a:pt x="122" y="166"/>
                    </a:lnTo>
                    <a:lnTo>
                      <a:pt x="128" y="190"/>
                    </a:lnTo>
                    <a:lnTo>
                      <a:pt x="128" y="190"/>
                    </a:lnTo>
                    <a:lnTo>
                      <a:pt x="132" y="166"/>
                    </a:lnTo>
                    <a:lnTo>
                      <a:pt x="142" y="146"/>
                    </a:lnTo>
                    <a:lnTo>
                      <a:pt x="154" y="128"/>
                    </a:lnTo>
                    <a:lnTo>
                      <a:pt x="170" y="112"/>
                    </a:lnTo>
                    <a:lnTo>
                      <a:pt x="188" y="98"/>
                    </a:lnTo>
                    <a:lnTo>
                      <a:pt x="208" y="88"/>
                    </a:lnTo>
                    <a:lnTo>
                      <a:pt x="230" y="82"/>
                    </a:lnTo>
                    <a:lnTo>
                      <a:pt x="254" y="80"/>
                    </a:lnTo>
                    <a:lnTo>
                      <a:pt x="254" y="80"/>
                    </a:lnTo>
                    <a:lnTo>
                      <a:pt x="254" y="80"/>
                    </a:lnTo>
                    <a:lnTo>
                      <a:pt x="254" y="62"/>
                    </a:lnTo>
                    <a:lnTo>
                      <a:pt x="254" y="54"/>
                    </a:lnTo>
                    <a:lnTo>
                      <a:pt x="254" y="50"/>
                    </a:lnTo>
                    <a:lnTo>
                      <a:pt x="254" y="50"/>
                    </a:lnTo>
                    <a:lnTo>
                      <a:pt x="254" y="42"/>
                    </a:lnTo>
                    <a:lnTo>
                      <a:pt x="250" y="34"/>
                    </a:lnTo>
                    <a:lnTo>
                      <a:pt x="246" y="26"/>
                    </a:lnTo>
                    <a:lnTo>
                      <a:pt x="238" y="18"/>
                    </a:lnTo>
                    <a:lnTo>
                      <a:pt x="230" y="12"/>
                    </a:lnTo>
                    <a:lnTo>
                      <a:pt x="220" y="6"/>
                    </a:lnTo>
                    <a:lnTo>
                      <a:pt x="208" y="2"/>
                    </a:lnTo>
                    <a:lnTo>
                      <a:pt x="194" y="0"/>
                    </a:lnTo>
                    <a:lnTo>
                      <a:pt x="19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366" name="Freeform 5"/>
            <p:cNvSpPr>
              <a:spLocks noChangeAspect="1" noEditPoints="1"/>
            </p:cNvSpPr>
            <p:nvPr/>
          </p:nvSpPr>
          <p:spPr bwMode="auto">
            <a:xfrm>
              <a:off x="1313205" y="3782228"/>
              <a:ext cx="369502" cy="308980"/>
            </a:xfrm>
            <a:custGeom>
              <a:avLst/>
              <a:gdLst>
                <a:gd name="T0" fmla="*/ 7 w 465"/>
                <a:gd name="T1" fmla="*/ 0 h 389"/>
                <a:gd name="T2" fmla="*/ 0 w 465"/>
                <a:gd name="T3" fmla="*/ 7 h 389"/>
                <a:gd name="T4" fmla="*/ 0 w 465"/>
                <a:gd name="T5" fmla="*/ 284 h 389"/>
                <a:gd name="T6" fmla="*/ 7 w 465"/>
                <a:gd name="T7" fmla="*/ 292 h 389"/>
                <a:gd name="T8" fmla="*/ 60 w 465"/>
                <a:gd name="T9" fmla="*/ 292 h 389"/>
                <a:gd name="T10" fmla="*/ 67 w 465"/>
                <a:gd name="T11" fmla="*/ 300 h 389"/>
                <a:gd name="T12" fmla="*/ 67 w 465"/>
                <a:gd name="T13" fmla="*/ 383 h 389"/>
                <a:gd name="T14" fmla="*/ 73 w 465"/>
                <a:gd name="T15" fmla="*/ 386 h 389"/>
                <a:gd name="T16" fmla="*/ 191 w 465"/>
                <a:gd name="T17" fmla="*/ 297 h 389"/>
                <a:gd name="T18" fmla="*/ 205 w 465"/>
                <a:gd name="T19" fmla="*/ 292 h 389"/>
                <a:gd name="T20" fmla="*/ 458 w 465"/>
                <a:gd name="T21" fmla="*/ 292 h 389"/>
                <a:gd name="T22" fmla="*/ 465 w 465"/>
                <a:gd name="T23" fmla="*/ 284 h 389"/>
                <a:gd name="T24" fmla="*/ 465 w 465"/>
                <a:gd name="T25" fmla="*/ 7 h 389"/>
                <a:gd name="T26" fmla="*/ 458 w 465"/>
                <a:gd name="T27" fmla="*/ 0 h 389"/>
                <a:gd name="T28" fmla="*/ 7 w 465"/>
                <a:gd name="T29" fmla="*/ 0 h 389"/>
                <a:gd name="T30" fmla="*/ 115 w 465"/>
                <a:gd name="T31" fmla="*/ 177 h 389"/>
                <a:gd name="T32" fmla="*/ 82 w 465"/>
                <a:gd name="T33" fmla="*/ 145 h 389"/>
                <a:gd name="T34" fmla="*/ 115 w 465"/>
                <a:gd name="T35" fmla="*/ 112 h 389"/>
                <a:gd name="T36" fmla="*/ 147 w 465"/>
                <a:gd name="T37" fmla="*/ 145 h 389"/>
                <a:gd name="T38" fmla="*/ 115 w 465"/>
                <a:gd name="T39" fmla="*/ 177 h 389"/>
                <a:gd name="T40" fmla="*/ 232 w 465"/>
                <a:gd name="T41" fmla="*/ 177 h 389"/>
                <a:gd name="T42" fmla="*/ 200 w 465"/>
                <a:gd name="T43" fmla="*/ 145 h 389"/>
                <a:gd name="T44" fmla="*/ 232 w 465"/>
                <a:gd name="T45" fmla="*/ 112 h 389"/>
                <a:gd name="T46" fmla="*/ 265 w 465"/>
                <a:gd name="T47" fmla="*/ 145 h 389"/>
                <a:gd name="T48" fmla="*/ 232 w 465"/>
                <a:gd name="T49" fmla="*/ 177 h 389"/>
                <a:gd name="T50" fmla="*/ 350 w 465"/>
                <a:gd name="T51" fmla="*/ 177 h 389"/>
                <a:gd name="T52" fmla="*/ 318 w 465"/>
                <a:gd name="T53" fmla="*/ 145 h 389"/>
                <a:gd name="T54" fmla="*/ 350 w 465"/>
                <a:gd name="T55" fmla="*/ 112 h 389"/>
                <a:gd name="T56" fmla="*/ 383 w 465"/>
                <a:gd name="T57" fmla="*/ 145 h 389"/>
                <a:gd name="T58" fmla="*/ 350 w 465"/>
                <a:gd name="T59" fmla="*/ 177 h 3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65" h="389">
                  <a:moveTo>
                    <a:pt x="7" y="0"/>
                  </a:moveTo>
                  <a:cubicBezTo>
                    <a:pt x="3" y="0"/>
                    <a:pt x="0" y="3"/>
                    <a:pt x="0" y="7"/>
                  </a:cubicBezTo>
                  <a:cubicBezTo>
                    <a:pt x="0" y="284"/>
                    <a:pt x="0" y="284"/>
                    <a:pt x="0" y="284"/>
                  </a:cubicBezTo>
                  <a:cubicBezTo>
                    <a:pt x="0" y="289"/>
                    <a:pt x="3" y="292"/>
                    <a:pt x="7" y="292"/>
                  </a:cubicBezTo>
                  <a:cubicBezTo>
                    <a:pt x="60" y="292"/>
                    <a:pt x="60" y="292"/>
                    <a:pt x="60" y="292"/>
                  </a:cubicBezTo>
                  <a:cubicBezTo>
                    <a:pt x="64" y="292"/>
                    <a:pt x="67" y="295"/>
                    <a:pt x="67" y="300"/>
                  </a:cubicBezTo>
                  <a:cubicBezTo>
                    <a:pt x="67" y="383"/>
                    <a:pt x="67" y="383"/>
                    <a:pt x="67" y="383"/>
                  </a:cubicBezTo>
                  <a:cubicBezTo>
                    <a:pt x="67" y="387"/>
                    <a:pt x="70" y="389"/>
                    <a:pt x="73" y="386"/>
                  </a:cubicBezTo>
                  <a:cubicBezTo>
                    <a:pt x="191" y="297"/>
                    <a:pt x="191" y="297"/>
                    <a:pt x="191" y="297"/>
                  </a:cubicBezTo>
                  <a:cubicBezTo>
                    <a:pt x="194" y="294"/>
                    <a:pt x="200" y="292"/>
                    <a:pt x="205" y="292"/>
                  </a:cubicBezTo>
                  <a:cubicBezTo>
                    <a:pt x="458" y="292"/>
                    <a:pt x="458" y="292"/>
                    <a:pt x="458" y="292"/>
                  </a:cubicBezTo>
                  <a:cubicBezTo>
                    <a:pt x="462" y="292"/>
                    <a:pt x="465" y="289"/>
                    <a:pt x="465" y="284"/>
                  </a:cubicBezTo>
                  <a:cubicBezTo>
                    <a:pt x="465" y="7"/>
                    <a:pt x="465" y="7"/>
                    <a:pt x="465" y="7"/>
                  </a:cubicBezTo>
                  <a:cubicBezTo>
                    <a:pt x="465" y="3"/>
                    <a:pt x="462" y="0"/>
                    <a:pt x="458" y="0"/>
                  </a:cubicBezTo>
                  <a:lnTo>
                    <a:pt x="7" y="0"/>
                  </a:lnTo>
                  <a:close/>
                  <a:moveTo>
                    <a:pt x="115" y="177"/>
                  </a:moveTo>
                  <a:cubicBezTo>
                    <a:pt x="97" y="177"/>
                    <a:pt x="82" y="162"/>
                    <a:pt x="82" y="145"/>
                  </a:cubicBezTo>
                  <a:cubicBezTo>
                    <a:pt x="82" y="127"/>
                    <a:pt x="97" y="112"/>
                    <a:pt x="115" y="112"/>
                  </a:cubicBezTo>
                  <a:cubicBezTo>
                    <a:pt x="133" y="112"/>
                    <a:pt x="147" y="127"/>
                    <a:pt x="147" y="145"/>
                  </a:cubicBezTo>
                  <a:cubicBezTo>
                    <a:pt x="147" y="162"/>
                    <a:pt x="133" y="177"/>
                    <a:pt x="115" y="177"/>
                  </a:cubicBezTo>
                  <a:close/>
                  <a:moveTo>
                    <a:pt x="232" y="177"/>
                  </a:moveTo>
                  <a:cubicBezTo>
                    <a:pt x="215" y="177"/>
                    <a:pt x="200" y="162"/>
                    <a:pt x="200" y="145"/>
                  </a:cubicBezTo>
                  <a:cubicBezTo>
                    <a:pt x="200" y="127"/>
                    <a:pt x="215" y="112"/>
                    <a:pt x="232" y="112"/>
                  </a:cubicBezTo>
                  <a:cubicBezTo>
                    <a:pt x="250" y="112"/>
                    <a:pt x="265" y="127"/>
                    <a:pt x="265" y="145"/>
                  </a:cubicBezTo>
                  <a:cubicBezTo>
                    <a:pt x="265" y="162"/>
                    <a:pt x="250" y="177"/>
                    <a:pt x="232" y="177"/>
                  </a:cubicBezTo>
                  <a:close/>
                  <a:moveTo>
                    <a:pt x="350" y="177"/>
                  </a:moveTo>
                  <a:cubicBezTo>
                    <a:pt x="332" y="177"/>
                    <a:pt x="318" y="162"/>
                    <a:pt x="318" y="145"/>
                  </a:cubicBezTo>
                  <a:cubicBezTo>
                    <a:pt x="318" y="127"/>
                    <a:pt x="332" y="112"/>
                    <a:pt x="350" y="112"/>
                  </a:cubicBezTo>
                  <a:cubicBezTo>
                    <a:pt x="368" y="112"/>
                    <a:pt x="383" y="127"/>
                    <a:pt x="383" y="145"/>
                  </a:cubicBezTo>
                  <a:cubicBezTo>
                    <a:pt x="383" y="162"/>
                    <a:pt x="368" y="177"/>
                    <a:pt x="350" y="177"/>
                  </a:cubicBezTo>
                  <a:close/>
                </a:path>
              </a:pathLst>
            </a:custGeom>
            <a:solidFill>
              <a:srgbClr val="8DC63F"/>
            </a:solidFill>
            <a:ln>
              <a:noFill/>
            </a:ln>
          </p:spPr>
          <p:txBody>
            <a:bodyPr vert="horz" wrap="square" lIns="91440" tIns="45720" rIns="91440" bIns="45720" numCol="1" anchor="t" anchorCtr="0" compatLnSpc="1">
              <a:prstTxWarp prst="textNoShape">
                <a:avLst/>
              </a:prstTxWarp>
            </a:bodyPr>
            <a:lstStyle/>
            <a:p>
              <a:endParaRPr lang="de-DE"/>
            </a:p>
          </p:txBody>
        </p:sp>
        <p:grpSp>
          <p:nvGrpSpPr>
            <p:cNvPr id="165" name="Gruppieren 164"/>
            <p:cNvGrpSpPr/>
            <p:nvPr/>
          </p:nvGrpSpPr>
          <p:grpSpPr>
            <a:xfrm>
              <a:off x="2267469" y="3714425"/>
              <a:ext cx="776525" cy="724423"/>
              <a:chOff x="2267469" y="3714425"/>
              <a:chExt cx="776525" cy="724423"/>
            </a:xfrm>
          </p:grpSpPr>
          <p:sp>
            <p:nvSpPr>
              <p:cNvPr id="169" name="Ellipse 168"/>
              <p:cNvSpPr/>
              <p:nvPr/>
            </p:nvSpPr>
            <p:spPr>
              <a:xfrm>
                <a:off x="2299688" y="3714425"/>
                <a:ext cx="724423" cy="724423"/>
              </a:xfrm>
              <a:prstGeom prst="ellipse">
                <a:avLst/>
              </a:prstGeom>
              <a:solidFill>
                <a:srgbClr val="92D050"/>
              </a:solidFill>
              <a:ln>
                <a:solidFill>
                  <a:srgbClr val="FFFFFF"/>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sp>
            <p:nvSpPr>
              <p:cNvPr id="170" name="Rectangle 52"/>
              <p:cNvSpPr/>
              <p:nvPr/>
            </p:nvSpPr>
            <p:spPr>
              <a:xfrm>
                <a:off x="2267469" y="3940101"/>
                <a:ext cx="776525" cy="267730"/>
              </a:xfrm>
              <a:prstGeom prst="rect">
                <a:avLst/>
              </a:prstGeom>
              <a:no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1400" b="1" dirty="0" smtClean="0">
                    <a:solidFill>
                      <a:srgbClr val="FFFFFF"/>
                    </a:solidFill>
                  </a:rPr>
                  <a:t>PEOPLE</a:t>
                </a:r>
                <a:endParaRPr lang="en-GB" sz="1400" dirty="0">
                  <a:solidFill>
                    <a:srgbClr val="FFFFFF"/>
                  </a:solidFill>
                </a:endParaRPr>
              </a:p>
            </p:txBody>
          </p:sp>
        </p:grpSp>
        <p:sp>
          <p:nvSpPr>
            <p:cNvPr id="317" name="Freeform 39"/>
            <p:cNvSpPr>
              <a:spLocks noChangeAspect="1" noEditPoints="1"/>
            </p:cNvSpPr>
            <p:nvPr/>
          </p:nvSpPr>
          <p:spPr bwMode="auto">
            <a:xfrm>
              <a:off x="4384365" y="4044161"/>
              <a:ext cx="181669" cy="573542"/>
            </a:xfrm>
            <a:custGeom>
              <a:avLst/>
              <a:gdLst>
                <a:gd name="T0" fmla="*/ 280 w 560"/>
                <a:gd name="T1" fmla="*/ 2 h 1768"/>
                <a:gd name="T2" fmla="*/ 22 w 560"/>
                <a:gd name="T3" fmla="*/ 90 h 1768"/>
                <a:gd name="T4" fmla="*/ 32 w 560"/>
                <a:gd name="T5" fmla="*/ 1662 h 1768"/>
                <a:gd name="T6" fmla="*/ 280 w 560"/>
                <a:gd name="T7" fmla="*/ 1768 h 1768"/>
                <a:gd name="T8" fmla="*/ 532 w 560"/>
                <a:gd name="T9" fmla="*/ 1648 h 1768"/>
                <a:gd name="T10" fmla="*/ 416 w 560"/>
                <a:gd name="T11" fmla="*/ 284 h 1768"/>
                <a:gd name="T12" fmla="*/ 430 w 560"/>
                <a:gd name="T13" fmla="*/ 354 h 1768"/>
                <a:gd name="T14" fmla="*/ 386 w 560"/>
                <a:gd name="T15" fmla="*/ 300 h 1768"/>
                <a:gd name="T16" fmla="*/ 452 w 560"/>
                <a:gd name="T17" fmla="*/ 414 h 1768"/>
                <a:gd name="T18" fmla="*/ 390 w 560"/>
                <a:gd name="T19" fmla="*/ 448 h 1768"/>
                <a:gd name="T20" fmla="*/ 416 w 560"/>
                <a:gd name="T21" fmla="*/ 484 h 1768"/>
                <a:gd name="T22" fmla="*/ 436 w 560"/>
                <a:gd name="T23" fmla="*/ 552 h 1768"/>
                <a:gd name="T24" fmla="*/ 382 w 560"/>
                <a:gd name="T25" fmla="*/ 506 h 1768"/>
                <a:gd name="T26" fmla="*/ 450 w 560"/>
                <a:gd name="T27" fmla="*/ 612 h 1768"/>
                <a:gd name="T28" fmla="*/ 396 w 560"/>
                <a:gd name="T29" fmla="*/ 656 h 1768"/>
                <a:gd name="T30" fmla="*/ 416 w 560"/>
                <a:gd name="T31" fmla="*/ 588 h 1768"/>
                <a:gd name="T32" fmla="*/ 238 w 560"/>
                <a:gd name="T33" fmla="*/ 852 h 1768"/>
                <a:gd name="T34" fmla="*/ 352 w 560"/>
                <a:gd name="T35" fmla="*/ 914 h 1768"/>
                <a:gd name="T36" fmla="*/ 332 w 560"/>
                <a:gd name="T37" fmla="*/ 1068 h 1768"/>
                <a:gd name="T38" fmla="*/ 254 w 560"/>
                <a:gd name="T39" fmla="*/ 1002 h 1768"/>
                <a:gd name="T40" fmla="*/ 286 w 560"/>
                <a:gd name="T41" fmla="*/ 792 h 1768"/>
                <a:gd name="T42" fmla="*/ 302 w 560"/>
                <a:gd name="T43" fmla="*/ 726 h 1768"/>
                <a:gd name="T44" fmla="*/ 182 w 560"/>
                <a:gd name="T45" fmla="*/ 500 h 1768"/>
                <a:gd name="T46" fmla="*/ 138 w 560"/>
                <a:gd name="T47" fmla="*/ 554 h 1768"/>
                <a:gd name="T48" fmla="*/ 152 w 560"/>
                <a:gd name="T49" fmla="*/ 484 h 1768"/>
                <a:gd name="T50" fmla="*/ 172 w 560"/>
                <a:gd name="T51" fmla="*/ 392 h 1768"/>
                <a:gd name="T52" fmla="*/ 152 w 560"/>
                <a:gd name="T53" fmla="*/ 458 h 1768"/>
                <a:gd name="T54" fmla="*/ 178 w 560"/>
                <a:gd name="T55" fmla="*/ 600 h 1768"/>
                <a:gd name="T56" fmla="*/ 144 w 560"/>
                <a:gd name="T57" fmla="*/ 662 h 1768"/>
                <a:gd name="T58" fmla="*/ 144 w 560"/>
                <a:gd name="T59" fmla="*/ 590 h 1768"/>
                <a:gd name="T60" fmla="*/ 320 w 560"/>
                <a:gd name="T61" fmla="*/ 334 h 1768"/>
                <a:gd name="T62" fmla="*/ 250 w 560"/>
                <a:gd name="T63" fmla="*/ 320 h 1768"/>
                <a:gd name="T64" fmla="*/ 306 w 560"/>
                <a:gd name="T65" fmla="*/ 392 h 1768"/>
                <a:gd name="T66" fmla="*/ 286 w 560"/>
                <a:gd name="T67" fmla="*/ 458 h 1768"/>
                <a:gd name="T68" fmla="*/ 272 w 560"/>
                <a:gd name="T69" fmla="*/ 388 h 1768"/>
                <a:gd name="T70" fmla="*/ 322 w 560"/>
                <a:gd name="T71" fmla="*/ 528 h 1768"/>
                <a:gd name="T72" fmla="*/ 250 w 560"/>
                <a:gd name="T73" fmla="*/ 528 h 1768"/>
                <a:gd name="T74" fmla="*/ 300 w 560"/>
                <a:gd name="T75" fmla="*/ 592 h 1768"/>
                <a:gd name="T76" fmla="*/ 286 w 560"/>
                <a:gd name="T77" fmla="*/ 662 h 1768"/>
                <a:gd name="T78" fmla="*/ 266 w 560"/>
                <a:gd name="T79" fmla="*/ 596 h 1768"/>
                <a:gd name="T80" fmla="*/ 116 w 560"/>
                <a:gd name="T81" fmla="*/ 320 h 1768"/>
                <a:gd name="T82" fmla="*/ 186 w 560"/>
                <a:gd name="T83" fmla="*/ 306 h 1768"/>
                <a:gd name="T84" fmla="*/ 74 w 560"/>
                <a:gd name="T85" fmla="*/ 152 h 1768"/>
                <a:gd name="T86" fmla="*/ 178 w 560"/>
                <a:gd name="T87" fmla="*/ 152 h 1768"/>
                <a:gd name="T88" fmla="*/ 88 w 560"/>
                <a:gd name="T89" fmla="*/ 200 h 1768"/>
                <a:gd name="T90" fmla="*/ 184 w 560"/>
                <a:gd name="T91" fmla="*/ 934 h 1768"/>
                <a:gd name="T92" fmla="*/ 116 w 560"/>
                <a:gd name="T93" fmla="*/ 870 h 1768"/>
                <a:gd name="T94" fmla="*/ 116 w 560"/>
                <a:gd name="T95" fmla="*/ 1320 h 1768"/>
                <a:gd name="T96" fmla="*/ 188 w 560"/>
                <a:gd name="T97" fmla="*/ 1338 h 1768"/>
                <a:gd name="T98" fmla="*/ 188 w 560"/>
                <a:gd name="T99" fmla="*/ 1226 h 1768"/>
                <a:gd name="T100" fmla="*/ 122 w 560"/>
                <a:gd name="T101" fmla="*/ 1186 h 1768"/>
                <a:gd name="T102" fmla="*/ 208 w 560"/>
                <a:gd name="T103" fmla="*/ 1180 h 1768"/>
                <a:gd name="T104" fmla="*/ 252 w 560"/>
                <a:gd name="T105" fmla="*/ 1304 h 1768"/>
                <a:gd name="T106" fmla="*/ 260 w 560"/>
                <a:gd name="T107" fmla="*/ 1262 h 1768"/>
                <a:gd name="T108" fmla="*/ 330 w 560"/>
                <a:gd name="T109" fmla="*/ 1236 h 1768"/>
                <a:gd name="T110" fmla="*/ 238 w 560"/>
                <a:gd name="T111" fmla="*/ 1174 h 1768"/>
                <a:gd name="T112" fmla="*/ 312 w 560"/>
                <a:gd name="T113" fmla="*/ 1192 h 1768"/>
                <a:gd name="T114" fmla="*/ 430 w 560"/>
                <a:gd name="T115" fmla="*/ 1302 h 1768"/>
                <a:gd name="T116" fmla="*/ 364 w 560"/>
                <a:gd name="T117" fmla="*/ 1256 h 1768"/>
                <a:gd name="T118" fmla="*/ 450 w 560"/>
                <a:gd name="T119" fmla="*/ 1252 h 1768"/>
                <a:gd name="T120" fmla="*/ 370 w 560"/>
                <a:gd name="T121" fmla="*/ 1156 h 1768"/>
                <a:gd name="T122" fmla="*/ 374 w 560"/>
                <a:gd name="T123" fmla="*/ 960 h 1768"/>
                <a:gd name="T124" fmla="*/ 450 w 560"/>
                <a:gd name="T125" fmla="*/ 842 h 1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0" h="1768">
                  <a:moveTo>
                    <a:pt x="540" y="106"/>
                  </a:moveTo>
                  <a:lnTo>
                    <a:pt x="540" y="106"/>
                  </a:lnTo>
                  <a:lnTo>
                    <a:pt x="538" y="92"/>
                  </a:lnTo>
                  <a:lnTo>
                    <a:pt x="532" y="82"/>
                  </a:lnTo>
                  <a:lnTo>
                    <a:pt x="522" y="70"/>
                  </a:lnTo>
                  <a:lnTo>
                    <a:pt x="510" y="60"/>
                  </a:lnTo>
                  <a:lnTo>
                    <a:pt x="496" y="52"/>
                  </a:lnTo>
                  <a:lnTo>
                    <a:pt x="480" y="42"/>
                  </a:lnTo>
                  <a:lnTo>
                    <a:pt x="462" y="36"/>
                  </a:lnTo>
                  <a:lnTo>
                    <a:pt x="442" y="28"/>
                  </a:lnTo>
                  <a:lnTo>
                    <a:pt x="402" y="16"/>
                  </a:lnTo>
                  <a:lnTo>
                    <a:pt x="360" y="8"/>
                  </a:lnTo>
                  <a:lnTo>
                    <a:pt x="318" y="4"/>
                  </a:lnTo>
                  <a:lnTo>
                    <a:pt x="280" y="2"/>
                  </a:lnTo>
                  <a:lnTo>
                    <a:pt x="280" y="2"/>
                  </a:lnTo>
                  <a:lnTo>
                    <a:pt x="280" y="2"/>
                  </a:lnTo>
                  <a:lnTo>
                    <a:pt x="280" y="2"/>
                  </a:lnTo>
                  <a:lnTo>
                    <a:pt x="280" y="0"/>
                  </a:lnTo>
                  <a:lnTo>
                    <a:pt x="280" y="0"/>
                  </a:lnTo>
                  <a:lnTo>
                    <a:pt x="242" y="2"/>
                  </a:lnTo>
                  <a:lnTo>
                    <a:pt x="200" y="6"/>
                  </a:lnTo>
                  <a:lnTo>
                    <a:pt x="158" y="14"/>
                  </a:lnTo>
                  <a:lnTo>
                    <a:pt x="118" y="26"/>
                  </a:lnTo>
                  <a:lnTo>
                    <a:pt x="98" y="34"/>
                  </a:lnTo>
                  <a:lnTo>
                    <a:pt x="80" y="40"/>
                  </a:lnTo>
                  <a:lnTo>
                    <a:pt x="64" y="50"/>
                  </a:lnTo>
                  <a:lnTo>
                    <a:pt x="50" y="58"/>
                  </a:lnTo>
                  <a:lnTo>
                    <a:pt x="38" y="68"/>
                  </a:lnTo>
                  <a:lnTo>
                    <a:pt x="28" y="80"/>
                  </a:lnTo>
                  <a:lnTo>
                    <a:pt x="22" y="90"/>
                  </a:lnTo>
                  <a:lnTo>
                    <a:pt x="20" y="104"/>
                  </a:lnTo>
                  <a:lnTo>
                    <a:pt x="20" y="104"/>
                  </a:lnTo>
                  <a:lnTo>
                    <a:pt x="14" y="178"/>
                  </a:lnTo>
                  <a:lnTo>
                    <a:pt x="10" y="262"/>
                  </a:lnTo>
                  <a:lnTo>
                    <a:pt x="6" y="354"/>
                  </a:lnTo>
                  <a:lnTo>
                    <a:pt x="2" y="452"/>
                  </a:lnTo>
                  <a:lnTo>
                    <a:pt x="0" y="660"/>
                  </a:lnTo>
                  <a:lnTo>
                    <a:pt x="0" y="878"/>
                  </a:lnTo>
                  <a:lnTo>
                    <a:pt x="2" y="1092"/>
                  </a:lnTo>
                  <a:lnTo>
                    <a:pt x="8" y="1294"/>
                  </a:lnTo>
                  <a:lnTo>
                    <a:pt x="16" y="1472"/>
                  </a:lnTo>
                  <a:lnTo>
                    <a:pt x="24" y="1616"/>
                  </a:lnTo>
                  <a:lnTo>
                    <a:pt x="24" y="1616"/>
                  </a:lnTo>
                  <a:lnTo>
                    <a:pt x="28" y="1646"/>
                  </a:lnTo>
                  <a:lnTo>
                    <a:pt x="32" y="1662"/>
                  </a:lnTo>
                  <a:lnTo>
                    <a:pt x="38" y="1676"/>
                  </a:lnTo>
                  <a:lnTo>
                    <a:pt x="44" y="1688"/>
                  </a:lnTo>
                  <a:lnTo>
                    <a:pt x="54" y="1700"/>
                  </a:lnTo>
                  <a:lnTo>
                    <a:pt x="64" y="1712"/>
                  </a:lnTo>
                  <a:lnTo>
                    <a:pt x="76" y="1722"/>
                  </a:lnTo>
                  <a:lnTo>
                    <a:pt x="92" y="1732"/>
                  </a:lnTo>
                  <a:lnTo>
                    <a:pt x="110" y="1740"/>
                  </a:lnTo>
                  <a:lnTo>
                    <a:pt x="130" y="1748"/>
                  </a:lnTo>
                  <a:lnTo>
                    <a:pt x="154" y="1754"/>
                  </a:lnTo>
                  <a:lnTo>
                    <a:pt x="180" y="1758"/>
                  </a:lnTo>
                  <a:lnTo>
                    <a:pt x="210" y="1762"/>
                  </a:lnTo>
                  <a:lnTo>
                    <a:pt x="244" y="1764"/>
                  </a:lnTo>
                  <a:lnTo>
                    <a:pt x="280" y="1766"/>
                  </a:lnTo>
                  <a:lnTo>
                    <a:pt x="280" y="1766"/>
                  </a:lnTo>
                  <a:lnTo>
                    <a:pt x="280" y="1768"/>
                  </a:lnTo>
                  <a:lnTo>
                    <a:pt x="280" y="1768"/>
                  </a:lnTo>
                  <a:lnTo>
                    <a:pt x="318" y="1766"/>
                  </a:lnTo>
                  <a:lnTo>
                    <a:pt x="350" y="1764"/>
                  </a:lnTo>
                  <a:lnTo>
                    <a:pt x="380" y="1760"/>
                  </a:lnTo>
                  <a:lnTo>
                    <a:pt x="406" y="1756"/>
                  </a:lnTo>
                  <a:lnTo>
                    <a:pt x="430" y="1750"/>
                  </a:lnTo>
                  <a:lnTo>
                    <a:pt x="450" y="1742"/>
                  </a:lnTo>
                  <a:lnTo>
                    <a:pt x="468" y="1734"/>
                  </a:lnTo>
                  <a:lnTo>
                    <a:pt x="484" y="1724"/>
                  </a:lnTo>
                  <a:lnTo>
                    <a:pt x="496" y="1714"/>
                  </a:lnTo>
                  <a:lnTo>
                    <a:pt x="506" y="1702"/>
                  </a:lnTo>
                  <a:lnTo>
                    <a:pt x="516" y="1690"/>
                  </a:lnTo>
                  <a:lnTo>
                    <a:pt x="522" y="1678"/>
                  </a:lnTo>
                  <a:lnTo>
                    <a:pt x="528" y="1664"/>
                  </a:lnTo>
                  <a:lnTo>
                    <a:pt x="532" y="1648"/>
                  </a:lnTo>
                  <a:lnTo>
                    <a:pt x="536" y="1618"/>
                  </a:lnTo>
                  <a:lnTo>
                    <a:pt x="536" y="1618"/>
                  </a:lnTo>
                  <a:lnTo>
                    <a:pt x="546" y="1474"/>
                  </a:lnTo>
                  <a:lnTo>
                    <a:pt x="552" y="1296"/>
                  </a:lnTo>
                  <a:lnTo>
                    <a:pt x="558" y="1094"/>
                  </a:lnTo>
                  <a:lnTo>
                    <a:pt x="560" y="880"/>
                  </a:lnTo>
                  <a:lnTo>
                    <a:pt x="560" y="662"/>
                  </a:lnTo>
                  <a:lnTo>
                    <a:pt x="558" y="454"/>
                  </a:lnTo>
                  <a:lnTo>
                    <a:pt x="554" y="356"/>
                  </a:lnTo>
                  <a:lnTo>
                    <a:pt x="552" y="264"/>
                  </a:lnTo>
                  <a:lnTo>
                    <a:pt x="546" y="180"/>
                  </a:lnTo>
                  <a:lnTo>
                    <a:pt x="540" y="106"/>
                  </a:lnTo>
                  <a:lnTo>
                    <a:pt x="540" y="106"/>
                  </a:lnTo>
                  <a:close/>
                  <a:moveTo>
                    <a:pt x="416" y="284"/>
                  </a:moveTo>
                  <a:lnTo>
                    <a:pt x="416" y="284"/>
                  </a:lnTo>
                  <a:lnTo>
                    <a:pt x="424" y="284"/>
                  </a:lnTo>
                  <a:lnTo>
                    <a:pt x="430" y="286"/>
                  </a:lnTo>
                  <a:lnTo>
                    <a:pt x="436" y="290"/>
                  </a:lnTo>
                  <a:lnTo>
                    <a:pt x="442" y="294"/>
                  </a:lnTo>
                  <a:lnTo>
                    <a:pt x="446" y="300"/>
                  </a:lnTo>
                  <a:lnTo>
                    <a:pt x="450" y="306"/>
                  </a:lnTo>
                  <a:lnTo>
                    <a:pt x="452" y="312"/>
                  </a:lnTo>
                  <a:lnTo>
                    <a:pt x="452" y="320"/>
                  </a:lnTo>
                  <a:lnTo>
                    <a:pt x="452" y="320"/>
                  </a:lnTo>
                  <a:lnTo>
                    <a:pt x="452" y="328"/>
                  </a:lnTo>
                  <a:lnTo>
                    <a:pt x="450" y="334"/>
                  </a:lnTo>
                  <a:lnTo>
                    <a:pt x="446" y="340"/>
                  </a:lnTo>
                  <a:lnTo>
                    <a:pt x="442" y="346"/>
                  </a:lnTo>
                  <a:lnTo>
                    <a:pt x="436" y="350"/>
                  </a:lnTo>
                  <a:lnTo>
                    <a:pt x="430" y="354"/>
                  </a:lnTo>
                  <a:lnTo>
                    <a:pt x="424" y="356"/>
                  </a:lnTo>
                  <a:lnTo>
                    <a:pt x="416" y="356"/>
                  </a:lnTo>
                  <a:lnTo>
                    <a:pt x="416" y="356"/>
                  </a:lnTo>
                  <a:lnTo>
                    <a:pt x="408" y="356"/>
                  </a:lnTo>
                  <a:lnTo>
                    <a:pt x="402" y="354"/>
                  </a:lnTo>
                  <a:lnTo>
                    <a:pt x="396" y="350"/>
                  </a:lnTo>
                  <a:lnTo>
                    <a:pt x="390" y="346"/>
                  </a:lnTo>
                  <a:lnTo>
                    <a:pt x="386" y="340"/>
                  </a:lnTo>
                  <a:lnTo>
                    <a:pt x="382" y="334"/>
                  </a:lnTo>
                  <a:lnTo>
                    <a:pt x="380" y="328"/>
                  </a:lnTo>
                  <a:lnTo>
                    <a:pt x="380" y="320"/>
                  </a:lnTo>
                  <a:lnTo>
                    <a:pt x="380" y="320"/>
                  </a:lnTo>
                  <a:lnTo>
                    <a:pt x="380" y="312"/>
                  </a:lnTo>
                  <a:lnTo>
                    <a:pt x="382" y="306"/>
                  </a:lnTo>
                  <a:lnTo>
                    <a:pt x="386" y="300"/>
                  </a:lnTo>
                  <a:lnTo>
                    <a:pt x="390" y="294"/>
                  </a:lnTo>
                  <a:lnTo>
                    <a:pt x="396" y="290"/>
                  </a:lnTo>
                  <a:lnTo>
                    <a:pt x="402" y="286"/>
                  </a:lnTo>
                  <a:lnTo>
                    <a:pt x="408" y="284"/>
                  </a:lnTo>
                  <a:lnTo>
                    <a:pt x="416" y="284"/>
                  </a:lnTo>
                  <a:lnTo>
                    <a:pt x="416" y="284"/>
                  </a:lnTo>
                  <a:close/>
                  <a:moveTo>
                    <a:pt x="416" y="386"/>
                  </a:moveTo>
                  <a:lnTo>
                    <a:pt x="416" y="386"/>
                  </a:lnTo>
                  <a:lnTo>
                    <a:pt x="424" y="386"/>
                  </a:lnTo>
                  <a:lnTo>
                    <a:pt x="430" y="388"/>
                  </a:lnTo>
                  <a:lnTo>
                    <a:pt x="436" y="392"/>
                  </a:lnTo>
                  <a:lnTo>
                    <a:pt x="442" y="396"/>
                  </a:lnTo>
                  <a:lnTo>
                    <a:pt x="446" y="402"/>
                  </a:lnTo>
                  <a:lnTo>
                    <a:pt x="450" y="408"/>
                  </a:lnTo>
                  <a:lnTo>
                    <a:pt x="452" y="414"/>
                  </a:lnTo>
                  <a:lnTo>
                    <a:pt x="452" y="422"/>
                  </a:lnTo>
                  <a:lnTo>
                    <a:pt x="452" y="422"/>
                  </a:lnTo>
                  <a:lnTo>
                    <a:pt x="452" y="430"/>
                  </a:lnTo>
                  <a:lnTo>
                    <a:pt x="450" y="436"/>
                  </a:lnTo>
                  <a:lnTo>
                    <a:pt x="446" y="442"/>
                  </a:lnTo>
                  <a:lnTo>
                    <a:pt x="442" y="448"/>
                  </a:lnTo>
                  <a:lnTo>
                    <a:pt x="436" y="452"/>
                  </a:lnTo>
                  <a:lnTo>
                    <a:pt x="430" y="456"/>
                  </a:lnTo>
                  <a:lnTo>
                    <a:pt x="424" y="458"/>
                  </a:lnTo>
                  <a:lnTo>
                    <a:pt x="416" y="458"/>
                  </a:lnTo>
                  <a:lnTo>
                    <a:pt x="416" y="458"/>
                  </a:lnTo>
                  <a:lnTo>
                    <a:pt x="408" y="458"/>
                  </a:lnTo>
                  <a:lnTo>
                    <a:pt x="402" y="456"/>
                  </a:lnTo>
                  <a:lnTo>
                    <a:pt x="396" y="452"/>
                  </a:lnTo>
                  <a:lnTo>
                    <a:pt x="390" y="448"/>
                  </a:lnTo>
                  <a:lnTo>
                    <a:pt x="386" y="442"/>
                  </a:lnTo>
                  <a:lnTo>
                    <a:pt x="382" y="436"/>
                  </a:lnTo>
                  <a:lnTo>
                    <a:pt x="380" y="430"/>
                  </a:lnTo>
                  <a:lnTo>
                    <a:pt x="380" y="422"/>
                  </a:lnTo>
                  <a:lnTo>
                    <a:pt x="380" y="422"/>
                  </a:lnTo>
                  <a:lnTo>
                    <a:pt x="380" y="414"/>
                  </a:lnTo>
                  <a:lnTo>
                    <a:pt x="382" y="408"/>
                  </a:lnTo>
                  <a:lnTo>
                    <a:pt x="386" y="402"/>
                  </a:lnTo>
                  <a:lnTo>
                    <a:pt x="390" y="396"/>
                  </a:lnTo>
                  <a:lnTo>
                    <a:pt x="396" y="392"/>
                  </a:lnTo>
                  <a:lnTo>
                    <a:pt x="402" y="388"/>
                  </a:lnTo>
                  <a:lnTo>
                    <a:pt x="408" y="386"/>
                  </a:lnTo>
                  <a:lnTo>
                    <a:pt x="416" y="386"/>
                  </a:lnTo>
                  <a:lnTo>
                    <a:pt x="416" y="386"/>
                  </a:lnTo>
                  <a:close/>
                  <a:moveTo>
                    <a:pt x="416" y="484"/>
                  </a:moveTo>
                  <a:lnTo>
                    <a:pt x="416" y="484"/>
                  </a:lnTo>
                  <a:lnTo>
                    <a:pt x="424" y="484"/>
                  </a:lnTo>
                  <a:lnTo>
                    <a:pt x="430" y="488"/>
                  </a:lnTo>
                  <a:lnTo>
                    <a:pt x="436" y="490"/>
                  </a:lnTo>
                  <a:lnTo>
                    <a:pt x="442" y="494"/>
                  </a:lnTo>
                  <a:lnTo>
                    <a:pt x="446" y="500"/>
                  </a:lnTo>
                  <a:lnTo>
                    <a:pt x="450" y="506"/>
                  </a:lnTo>
                  <a:lnTo>
                    <a:pt x="452" y="514"/>
                  </a:lnTo>
                  <a:lnTo>
                    <a:pt x="452" y="520"/>
                  </a:lnTo>
                  <a:lnTo>
                    <a:pt x="452" y="520"/>
                  </a:lnTo>
                  <a:lnTo>
                    <a:pt x="452" y="528"/>
                  </a:lnTo>
                  <a:lnTo>
                    <a:pt x="450" y="536"/>
                  </a:lnTo>
                  <a:lnTo>
                    <a:pt x="446" y="542"/>
                  </a:lnTo>
                  <a:lnTo>
                    <a:pt x="442" y="546"/>
                  </a:lnTo>
                  <a:lnTo>
                    <a:pt x="436" y="552"/>
                  </a:lnTo>
                  <a:lnTo>
                    <a:pt x="430" y="554"/>
                  </a:lnTo>
                  <a:lnTo>
                    <a:pt x="424" y="556"/>
                  </a:lnTo>
                  <a:lnTo>
                    <a:pt x="416" y="558"/>
                  </a:lnTo>
                  <a:lnTo>
                    <a:pt x="416" y="558"/>
                  </a:lnTo>
                  <a:lnTo>
                    <a:pt x="408" y="556"/>
                  </a:lnTo>
                  <a:lnTo>
                    <a:pt x="402" y="554"/>
                  </a:lnTo>
                  <a:lnTo>
                    <a:pt x="396" y="552"/>
                  </a:lnTo>
                  <a:lnTo>
                    <a:pt x="390" y="546"/>
                  </a:lnTo>
                  <a:lnTo>
                    <a:pt x="386" y="542"/>
                  </a:lnTo>
                  <a:lnTo>
                    <a:pt x="382" y="536"/>
                  </a:lnTo>
                  <a:lnTo>
                    <a:pt x="380" y="528"/>
                  </a:lnTo>
                  <a:lnTo>
                    <a:pt x="380" y="520"/>
                  </a:lnTo>
                  <a:lnTo>
                    <a:pt x="380" y="520"/>
                  </a:lnTo>
                  <a:lnTo>
                    <a:pt x="380" y="514"/>
                  </a:lnTo>
                  <a:lnTo>
                    <a:pt x="382" y="506"/>
                  </a:lnTo>
                  <a:lnTo>
                    <a:pt x="386" y="500"/>
                  </a:lnTo>
                  <a:lnTo>
                    <a:pt x="390" y="494"/>
                  </a:lnTo>
                  <a:lnTo>
                    <a:pt x="396" y="490"/>
                  </a:lnTo>
                  <a:lnTo>
                    <a:pt x="402" y="488"/>
                  </a:lnTo>
                  <a:lnTo>
                    <a:pt x="408" y="484"/>
                  </a:lnTo>
                  <a:lnTo>
                    <a:pt x="416" y="484"/>
                  </a:lnTo>
                  <a:lnTo>
                    <a:pt x="416" y="484"/>
                  </a:lnTo>
                  <a:close/>
                  <a:moveTo>
                    <a:pt x="416" y="588"/>
                  </a:moveTo>
                  <a:lnTo>
                    <a:pt x="416" y="588"/>
                  </a:lnTo>
                  <a:lnTo>
                    <a:pt x="424" y="590"/>
                  </a:lnTo>
                  <a:lnTo>
                    <a:pt x="430" y="592"/>
                  </a:lnTo>
                  <a:lnTo>
                    <a:pt x="436" y="596"/>
                  </a:lnTo>
                  <a:lnTo>
                    <a:pt x="442" y="600"/>
                  </a:lnTo>
                  <a:lnTo>
                    <a:pt x="446" y="606"/>
                  </a:lnTo>
                  <a:lnTo>
                    <a:pt x="450" y="612"/>
                  </a:lnTo>
                  <a:lnTo>
                    <a:pt x="452" y="618"/>
                  </a:lnTo>
                  <a:lnTo>
                    <a:pt x="452" y="626"/>
                  </a:lnTo>
                  <a:lnTo>
                    <a:pt x="452" y="626"/>
                  </a:lnTo>
                  <a:lnTo>
                    <a:pt x="452" y="634"/>
                  </a:lnTo>
                  <a:lnTo>
                    <a:pt x="450" y="640"/>
                  </a:lnTo>
                  <a:lnTo>
                    <a:pt x="446" y="646"/>
                  </a:lnTo>
                  <a:lnTo>
                    <a:pt x="442" y="652"/>
                  </a:lnTo>
                  <a:lnTo>
                    <a:pt x="436" y="656"/>
                  </a:lnTo>
                  <a:lnTo>
                    <a:pt x="430" y="660"/>
                  </a:lnTo>
                  <a:lnTo>
                    <a:pt x="424" y="662"/>
                  </a:lnTo>
                  <a:lnTo>
                    <a:pt x="416" y="662"/>
                  </a:lnTo>
                  <a:lnTo>
                    <a:pt x="416" y="662"/>
                  </a:lnTo>
                  <a:lnTo>
                    <a:pt x="408" y="662"/>
                  </a:lnTo>
                  <a:lnTo>
                    <a:pt x="402" y="660"/>
                  </a:lnTo>
                  <a:lnTo>
                    <a:pt x="396" y="656"/>
                  </a:lnTo>
                  <a:lnTo>
                    <a:pt x="390" y="652"/>
                  </a:lnTo>
                  <a:lnTo>
                    <a:pt x="386" y="646"/>
                  </a:lnTo>
                  <a:lnTo>
                    <a:pt x="382" y="640"/>
                  </a:lnTo>
                  <a:lnTo>
                    <a:pt x="380" y="634"/>
                  </a:lnTo>
                  <a:lnTo>
                    <a:pt x="380" y="626"/>
                  </a:lnTo>
                  <a:lnTo>
                    <a:pt x="380" y="626"/>
                  </a:lnTo>
                  <a:lnTo>
                    <a:pt x="380" y="618"/>
                  </a:lnTo>
                  <a:lnTo>
                    <a:pt x="382" y="612"/>
                  </a:lnTo>
                  <a:lnTo>
                    <a:pt x="386" y="606"/>
                  </a:lnTo>
                  <a:lnTo>
                    <a:pt x="390" y="600"/>
                  </a:lnTo>
                  <a:lnTo>
                    <a:pt x="396" y="596"/>
                  </a:lnTo>
                  <a:lnTo>
                    <a:pt x="402" y="592"/>
                  </a:lnTo>
                  <a:lnTo>
                    <a:pt x="408" y="590"/>
                  </a:lnTo>
                  <a:lnTo>
                    <a:pt x="416" y="588"/>
                  </a:lnTo>
                  <a:lnTo>
                    <a:pt x="416" y="588"/>
                  </a:lnTo>
                  <a:close/>
                  <a:moveTo>
                    <a:pt x="286" y="968"/>
                  </a:moveTo>
                  <a:lnTo>
                    <a:pt x="286" y="968"/>
                  </a:lnTo>
                  <a:lnTo>
                    <a:pt x="272" y="966"/>
                  </a:lnTo>
                  <a:lnTo>
                    <a:pt x="260" y="962"/>
                  </a:lnTo>
                  <a:lnTo>
                    <a:pt x="248" y="956"/>
                  </a:lnTo>
                  <a:lnTo>
                    <a:pt x="238" y="948"/>
                  </a:lnTo>
                  <a:lnTo>
                    <a:pt x="230" y="938"/>
                  </a:lnTo>
                  <a:lnTo>
                    <a:pt x="224" y="926"/>
                  </a:lnTo>
                  <a:lnTo>
                    <a:pt x="220" y="914"/>
                  </a:lnTo>
                  <a:lnTo>
                    <a:pt x="218" y="900"/>
                  </a:lnTo>
                  <a:lnTo>
                    <a:pt x="218" y="900"/>
                  </a:lnTo>
                  <a:lnTo>
                    <a:pt x="220" y="886"/>
                  </a:lnTo>
                  <a:lnTo>
                    <a:pt x="224" y="874"/>
                  </a:lnTo>
                  <a:lnTo>
                    <a:pt x="230" y="862"/>
                  </a:lnTo>
                  <a:lnTo>
                    <a:pt x="238" y="852"/>
                  </a:lnTo>
                  <a:lnTo>
                    <a:pt x="248" y="844"/>
                  </a:lnTo>
                  <a:lnTo>
                    <a:pt x="260" y="838"/>
                  </a:lnTo>
                  <a:lnTo>
                    <a:pt x="272" y="834"/>
                  </a:lnTo>
                  <a:lnTo>
                    <a:pt x="286" y="832"/>
                  </a:lnTo>
                  <a:lnTo>
                    <a:pt x="286" y="832"/>
                  </a:lnTo>
                  <a:lnTo>
                    <a:pt x="300" y="834"/>
                  </a:lnTo>
                  <a:lnTo>
                    <a:pt x="312" y="838"/>
                  </a:lnTo>
                  <a:lnTo>
                    <a:pt x="324" y="844"/>
                  </a:lnTo>
                  <a:lnTo>
                    <a:pt x="334" y="852"/>
                  </a:lnTo>
                  <a:lnTo>
                    <a:pt x="342" y="862"/>
                  </a:lnTo>
                  <a:lnTo>
                    <a:pt x="348" y="874"/>
                  </a:lnTo>
                  <a:lnTo>
                    <a:pt x="352" y="886"/>
                  </a:lnTo>
                  <a:lnTo>
                    <a:pt x="354" y="900"/>
                  </a:lnTo>
                  <a:lnTo>
                    <a:pt x="354" y="900"/>
                  </a:lnTo>
                  <a:lnTo>
                    <a:pt x="352" y="914"/>
                  </a:lnTo>
                  <a:lnTo>
                    <a:pt x="348" y="926"/>
                  </a:lnTo>
                  <a:lnTo>
                    <a:pt x="342" y="938"/>
                  </a:lnTo>
                  <a:lnTo>
                    <a:pt x="334" y="948"/>
                  </a:lnTo>
                  <a:lnTo>
                    <a:pt x="324" y="956"/>
                  </a:lnTo>
                  <a:lnTo>
                    <a:pt x="312" y="962"/>
                  </a:lnTo>
                  <a:lnTo>
                    <a:pt x="300" y="966"/>
                  </a:lnTo>
                  <a:lnTo>
                    <a:pt x="286" y="968"/>
                  </a:lnTo>
                  <a:lnTo>
                    <a:pt x="286" y="968"/>
                  </a:lnTo>
                  <a:close/>
                  <a:moveTo>
                    <a:pt x="398" y="1034"/>
                  </a:moveTo>
                  <a:lnTo>
                    <a:pt x="398" y="1034"/>
                  </a:lnTo>
                  <a:lnTo>
                    <a:pt x="386" y="1042"/>
                  </a:lnTo>
                  <a:lnTo>
                    <a:pt x="372" y="1050"/>
                  </a:lnTo>
                  <a:lnTo>
                    <a:pt x="360" y="1058"/>
                  </a:lnTo>
                  <a:lnTo>
                    <a:pt x="346" y="1064"/>
                  </a:lnTo>
                  <a:lnTo>
                    <a:pt x="332" y="1068"/>
                  </a:lnTo>
                  <a:lnTo>
                    <a:pt x="316" y="1070"/>
                  </a:lnTo>
                  <a:lnTo>
                    <a:pt x="302" y="1074"/>
                  </a:lnTo>
                  <a:lnTo>
                    <a:pt x="286" y="1074"/>
                  </a:lnTo>
                  <a:lnTo>
                    <a:pt x="286" y="1074"/>
                  </a:lnTo>
                  <a:lnTo>
                    <a:pt x="270" y="1074"/>
                  </a:lnTo>
                  <a:lnTo>
                    <a:pt x="256" y="1072"/>
                  </a:lnTo>
                  <a:lnTo>
                    <a:pt x="242" y="1068"/>
                  </a:lnTo>
                  <a:lnTo>
                    <a:pt x="228" y="1064"/>
                  </a:lnTo>
                  <a:lnTo>
                    <a:pt x="214" y="1058"/>
                  </a:lnTo>
                  <a:lnTo>
                    <a:pt x="200" y="1052"/>
                  </a:lnTo>
                  <a:lnTo>
                    <a:pt x="178" y="1036"/>
                  </a:lnTo>
                  <a:lnTo>
                    <a:pt x="224" y="988"/>
                  </a:lnTo>
                  <a:lnTo>
                    <a:pt x="224" y="988"/>
                  </a:lnTo>
                  <a:lnTo>
                    <a:pt x="238" y="996"/>
                  </a:lnTo>
                  <a:lnTo>
                    <a:pt x="254" y="1002"/>
                  </a:lnTo>
                  <a:lnTo>
                    <a:pt x="270" y="1006"/>
                  </a:lnTo>
                  <a:lnTo>
                    <a:pt x="286" y="1008"/>
                  </a:lnTo>
                  <a:lnTo>
                    <a:pt x="286" y="1008"/>
                  </a:lnTo>
                  <a:lnTo>
                    <a:pt x="304" y="1006"/>
                  </a:lnTo>
                  <a:lnTo>
                    <a:pt x="320" y="1002"/>
                  </a:lnTo>
                  <a:lnTo>
                    <a:pt x="336" y="996"/>
                  </a:lnTo>
                  <a:lnTo>
                    <a:pt x="350" y="986"/>
                  </a:lnTo>
                  <a:lnTo>
                    <a:pt x="398" y="1034"/>
                  </a:lnTo>
                  <a:close/>
                  <a:moveTo>
                    <a:pt x="350" y="814"/>
                  </a:moveTo>
                  <a:lnTo>
                    <a:pt x="350" y="814"/>
                  </a:lnTo>
                  <a:lnTo>
                    <a:pt x="336" y="804"/>
                  </a:lnTo>
                  <a:lnTo>
                    <a:pt x="320" y="798"/>
                  </a:lnTo>
                  <a:lnTo>
                    <a:pt x="304" y="794"/>
                  </a:lnTo>
                  <a:lnTo>
                    <a:pt x="286" y="792"/>
                  </a:lnTo>
                  <a:lnTo>
                    <a:pt x="286" y="792"/>
                  </a:lnTo>
                  <a:lnTo>
                    <a:pt x="270" y="794"/>
                  </a:lnTo>
                  <a:lnTo>
                    <a:pt x="254" y="798"/>
                  </a:lnTo>
                  <a:lnTo>
                    <a:pt x="238" y="804"/>
                  </a:lnTo>
                  <a:lnTo>
                    <a:pt x="226" y="812"/>
                  </a:lnTo>
                  <a:lnTo>
                    <a:pt x="178" y="764"/>
                  </a:lnTo>
                  <a:lnTo>
                    <a:pt x="178" y="764"/>
                  </a:lnTo>
                  <a:lnTo>
                    <a:pt x="202" y="748"/>
                  </a:lnTo>
                  <a:lnTo>
                    <a:pt x="214" y="742"/>
                  </a:lnTo>
                  <a:lnTo>
                    <a:pt x="228" y="736"/>
                  </a:lnTo>
                  <a:lnTo>
                    <a:pt x="242" y="732"/>
                  </a:lnTo>
                  <a:lnTo>
                    <a:pt x="256" y="728"/>
                  </a:lnTo>
                  <a:lnTo>
                    <a:pt x="270" y="726"/>
                  </a:lnTo>
                  <a:lnTo>
                    <a:pt x="286" y="726"/>
                  </a:lnTo>
                  <a:lnTo>
                    <a:pt x="286" y="726"/>
                  </a:lnTo>
                  <a:lnTo>
                    <a:pt x="302" y="726"/>
                  </a:lnTo>
                  <a:lnTo>
                    <a:pt x="316" y="730"/>
                  </a:lnTo>
                  <a:lnTo>
                    <a:pt x="332" y="732"/>
                  </a:lnTo>
                  <a:lnTo>
                    <a:pt x="346" y="736"/>
                  </a:lnTo>
                  <a:lnTo>
                    <a:pt x="360" y="742"/>
                  </a:lnTo>
                  <a:lnTo>
                    <a:pt x="372" y="750"/>
                  </a:lnTo>
                  <a:lnTo>
                    <a:pt x="384" y="758"/>
                  </a:lnTo>
                  <a:lnTo>
                    <a:pt x="396" y="766"/>
                  </a:lnTo>
                  <a:lnTo>
                    <a:pt x="350" y="814"/>
                  </a:lnTo>
                  <a:close/>
                  <a:moveTo>
                    <a:pt x="152" y="484"/>
                  </a:moveTo>
                  <a:lnTo>
                    <a:pt x="152" y="484"/>
                  </a:lnTo>
                  <a:lnTo>
                    <a:pt x="160" y="484"/>
                  </a:lnTo>
                  <a:lnTo>
                    <a:pt x="166" y="488"/>
                  </a:lnTo>
                  <a:lnTo>
                    <a:pt x="172" y="490"/>
                  </a:lnTo>
                  <a:lnTo>
                    <a:pt x="178" y="494"/>
                  </a:lnTo>
                  <a:lnTo>
                    <a:pt x="182" y="500"/>
                  </a:lnTo>
                  <a:lnTo>
                    <a:pt x="186" y="506"/>
                  </a:lnTo>
                  <a:lnTo>
                    <a:pt x="188" y="514"/>
                  </a:lnTo>
                  <a:lnTo>
                    <a:pt x="188" y="520"/>
                  </a:lnTo>
                  <a:lnTo>
                    <a:pt x="188" y="520"/>
                  </a:lnTo>
                  <a:lnTo>
                    <a:pt x="188" y="528"/>
                  </a:lnTo>
                  <a:lnTo>
                    <a:pt x="186" y="536"/>
                  </a:lnTo>
                  <a:lnTo>
                    <a:pt x="182" y="542"/>
                  </a:lnTo>
                  <a:lnTo>
                    <a:pt x="178" y="546"/>
                  </a:lnTo>
                  <a:lnTo>
                    <a:pt x="172" y="552"/>
                  </a:lnTo>
                  <a:lnTo>
                    <a:pt x="166" y="554"/>
                  </a:lnTo>
                  <a:lnTo>
                    <a:pt x="160" y="556"/>
                  </a:lnTo>
                  <a:lnTo>
                    <a:pt x="152" y="558"/>
                  </a:lnTo>
                  <a:lnTo>
                    <a:pt x="152" y="558"/>
                  </a:lnTo>
                  <a:lnTo>
                    <a:pt x="144" y="556"/>
                  </a:lnTo>
                  <a:lnTo>
                    <a:pt x="138" y="554"/>
                  </a:lnTo>
                  <a:lnTo>
                    <a:pt x="132" y="552"/>
                  </a:lnTo>
                  <a:lnTo>
                    <a:pt x="126" y="546"/>
                  </a:lnTo>
                  <a:lnTo>
                    <a:pt x="122" y="542"/>
                  </a:lnTo>
                  <a:lnTo>
                    <a:pt x="118" y="536"/>
                  </a:lnTo>
                  <a:lnTo>
                    <a:pt x="116" y="528"/>
                  </a:lnTo>
                  <a:lnTo>
                    <a:pt x="116" y="520"/>
                  </a:lnTo>
                  <a:lnTo>
                    <a:pt x="116" y="520"/>
                  </a:lnTo>
                  <a:lnTo>
                    <a:pt x="116" y="514"/>
                  </a:lnTo>
                  <a:lnTo>
                    <a:pt x="118" y="506"/>
                  </a:lnTo>
                  <a:lnTo>
                    <a:pt x="122" y="500"/>
                  </a:lnTo>
                  <a:lnTo>
                    <a:pt x="126" y="494"/>
                  </a:lnTo>
                  <a:lnTo>
                    <a:pt x="132" y="490"/>
                  </a:lnTo>
                  <a:lnTo>
                    <a:pt x="138" y="488"/>
                  </a:lnTo>
                  <a:lnTo>
                    <a:pt x="144" y="484"/>
                  </a:lnTo>
                  <a:lnTo>
                    <a:pt x="152" y="484"/>
                  </a:lnTo>
                  <a:lnTo>
                    <a:pt x="152" y="484"/>
                  </a:lnTo>
                  <a:close/>
                  <a:moveTo>
                    <a:pt x="116" y="422"/>
                  </a:moveTo>
                  <a:lnTo>
                    <a:pt x="116" y="422"/>
                  </a:lnTo>
                  <a:lnTo>
                    <a:pt x="116" y="414"/>
                  </a:lnTo>
                  <a:lnTo>
                    <a:pt x="118" y="408"/>
                  </a:lnTo>
                  <a:lnTo>
                    <a:pt x="122" y="402"/>
                  </a:lnTo>
                  <a:lnTo>
                    <a:pt x="126" y="396"/>
                  </a:lnTo>
                  <a:lnTo>
                    <a:pt x="132" y="392"/>
                  </a:lnTo>
                  <a:lnTo>
                    <a:pt x="138" y="388"/>
                  </a:lnTo>
                  <a:lnTo>
                    <a:pt x="144" y="386"/>
                  </a:lnTo>
                  <a:lnTo>
                    <a:pt x="152" y="386"/>
                  </a:lnTo>
                  <a:lnTo>
                    <a:pt x="152" y="386"/>
                  </a:lnTo>
                  <a:lnTo>
                    <a:pt x="160" y="386"/>
                  </a:lnTo>
                  <a:lnTo>
                    <a:pt x="166" y="388"/>
                  </a:lnTo>
                  <a:lnTo>
                    <a:pt x="172" y="392"/>
                  </a:lnTo>
                  <a:lnTo>
                    <a:pt x="178" y="396"/>
                  </a:lnTo>
                  <a:lnTo>
                    <a:pt x="182" y="402"/>
                  </a:lnTo>
                  <a:lnTo>
                    <a:pt x="186" y="408"/>
                  </a:lnTo>
                  <a:lnTo>
                    <a:pt x="188" y="414"/>
                  </a:lnTo>
                  <a:lnTo>
                    <a:pt x="188" y="422"/>
                  </a:lnTo>
                  <a:lnTo>
                    <a:pt x="188" y="422"/>
                  </a:lnTo>
                  <a:lnTo>
                    <a:pt x="188" y="430"/>
                  </a:lnTo>
                  <a:lnTo>
                    <a:pt x="186" y="436"/>
                  </a:lnTo>
                  <a:lnTo>
                    <a:pt x="182" y="442"/>
                  </a:lnTo>
                  <a:lnTo>
                    <a:pt x="178" y="448"/>
                  </a:lnTo>
                  <a:lnTo>
                    <a:pt x="172" y="452"/>
                  </a:lnTo>
                  <a:lnTo>
                    <a:pt x="166" y="456"/>
                  </a:lnTo>
                  <a:lnTo>
                    <a:pt x="160" y="458"/>
                  </a:lnTo>
                  <a:lnTo>
                    <a:pt x="152" y="458"/>
                  </a:lnTo>
                  <a:lnTo>
                    <a:pt x="152" y="458"/>
                  </a:lnTo>
                  <a:lnTo>
                    <a:pt x="144" y="458"/>
                  </a:lnTo>
                  <a:lnTo>
                    <a:pt x="138" y="456"/>
                  </a:lnTo>
                  <a:lnTo>
                    <a:pt x="132" y="452"/>
                  </a:lnTo>
                  <a:lnTo>
                    <a:pt x="126" y="448"/>
                  </a:lnTo>
                  <a:lnTo>
                    <a:pt x="122" y="442"/>
                  </a:lnTo>
                  <a:lnTo>
                    <a:pt x="118" y="436"/>
                  </a:lnTo>
                  <a:lnTo>
                    <a:pt x="116" y="430"/>
                  </a:lnTo>
                  <a:lnTo>
                    <a:pt x="116" y="422"/>
                  </a:lnTo>
                  <a:lnTo>
                    <a:pt x="116" y="422"/>
                  </a:lnTo>
                  <a:close/>
                  <a:moveTo>
                    <a:pt x="152" y="588"/>
                  </a:moveTo>
                  <a:lnTo>
                    <a:pt x="152" y="588"/>
                  </a:lnTo>
                  <a:lnTo>
                    <a:pt x="160" y="590"/>
                  </a:lnTo>
                  <a:lnTo>
                    <a:pt x="166" y="592"/>
                  </a:lnTo>
                  <a:lnTo>
                    <a:pt x="172" y="596"/>
                  </a:lnTo>
                  <a:lnTo>
                    <a:pt x="178" y="600"/>
                  </a:lnTo>
                  <a:lnTo>
                    <a:pt x="182" y="606"/>
                  </a:lnTo>
                  <a:lnTo>
                    <a:pt x="186" y="612"/>
                  </a:lnTo>
                  <a:lnTo>
                    <a:pt x="188" y="618"/>
                  </a:lnTo>
                  <a:lnTo>
                    <a:pt x="188" y="626"/>
                  </a:lnTo>
                  <a:lnTo>
                    <a:pt x="188" y="626"/>
                  </a:lnTo>
                  <a:lnTo>
                    <a:pt x="188" y="634"/>
                  </a:lnTo>
                  <a:lnTo>
                    <a:pt x="186" y="640"/>
                  </a:lnTo>
                  <a:lnTo>
                    <a:pt x="182" y="646"/>
                  </a:lnTo>
                  <a:lnTo>
                    <a:pt x="178" y="652"/>
                  </a:lnTo>
                  <a:lnTo>
                    <a:pt x="172" y="656"/>
                  </a:lnTo>
                  <a:lnTo>
                    <a:pt x="166" y="660"/>
                  </a:lnTo>
                  <a:lnTo>
                    <a:pt x="160" y="662"/>
                  </a:lnTo>
                  <a:lnTo>
                    <a:pt x="152" y="662"/>
                  </a:lnTo>
                  <a:lnTo>
                    <a:pt x="152" y="662"/>
                  </a:lnTo>
                  <a:lnTo>
                    <a:pt x="144" y="662"/>
                  </a:lnTo>
                  <a:lnTo>
                    <a:pt x="138" y="660"/>
                  </a:lnTo>
                  <a:lnTo>
                    <a:pt x="132" y="656"/>
                  </a:lnTo>
                  <a:lnTo>
                    <a:pt x="126" y="652"/>
                  </a:lnTo>
                  <a:lnTo>
                    <a:pt x="122" y="646"/>
                  </a:lnTo>
                  <a:lnTo>
                    <a:pt x="118" y="640"/>
                  </a:lnTo>
                  <a:lnTo>
                    <a:pt x="116" y="634"/>
                  </a:lnTo>
                  <a:lnTo>
                    <a:pt x="116" y="626"/>
                  </a:lnTo>
                  <a:lnTo>
                    <a:pt x="116" y="626"/>
                  </a:lnTo>
                  <a:lnTo>
                    <a:pt x="116" y="618"/>
                  </a:lnTo>
                  <a:lnTo>
                    <a:pt x="118" y="612"/>
                  </a:lnTo>
                  <a:lnTo>
                    <a:pt x="122" y="606"/>
                  </a:lnTo>
                  <a:lnTo>
                    <a:pt x="126" y="600"/>
                  </a:lnTo>
                  <a:lnTo>
                    <a:pt x="132" y="596"/>
                  </a:lnTo>
                  <a:lnTo>
                    <a:pt x="138" y="592"/>
                  </a:lnTo>
                  <a:lnTo>
                    <a:pt x="144" y="590"/>
                  </a:lnTo>
                  <a:lnTo>
                    <a:pt x="152" y="588"/>
                  </a:lnTo>
                  <a:lnTo>
                    <a:pt x="152" y="588"/>
                  </a:lnTo>
                  <a:close/>
                  <a:moveTo>
                    <a:pt x="286" y="284"/>
                  </a:moveTo>
                  <a:lnTo>
                    <a:pt x="286" y="284"/>
                  </a:lnTo>
                  <a:lnTo>
                    <a:pt x="294" y="284"/>
                  </a:lnTo>
                  <a:lnTo>
                    <a:pt x="300" y="286"/>
                  </a:lnTo>
                  <a:lnTo>
                    <a:pt x="306" y="290"/>
                  </a:lnTo>
                  <a:lnTo>
                    <a:pt x="312" y="294"/>
                  </a:lnTo>
                  <a:lnTo>
                    <a:pt x="316" y="300"/>
                  </a:lnTo>
                  <a:lnTo>
                    <a:pt x="320" y="306"/>
                  </a:lnTo>
                  <a:lnTo>
                    <a:pt x="322" y="312"/>
                  </a:lnTo>
                  <a:lnTo>
                    <a:pt x="322" y="320"/>
                  </a:lnTo>
                  <a:lnTo>
                    <a:pt x="322" y="320"/>
                  </a:lnTo>
                  <a:lnTo>
                    <a:pt x="322" y="328"/>
                  </a:lnTo>
                  <a:lnTo>
                    <a:pt x="320" y="334"/>
                  </a:lnTo>
                  <a:lnTo>
                    <a:pt x="316" y="340"/>
                  </a:lnTo>
                  <a:lnTo>
                    <a:pt x="312" y="346"/>
                  </a:lnTo>
                  <a:lnTo>
                    <a:pt x="306" y="350"/>
                  </a:lnTo>
                  <a:lnTo>
                    <a:pt x="300" y="354"/>
                  </a:lnTo>
                  <a:lnTo>
                    <a:pt x="294" y="356"/>
                  </a:lnTo>
                  <a:lnTo>
                    <a:pt x="286" y="356"/>
                  </a:lnTo>
                  <a:lnTo>
                    <a:pt x="286" y="356"/>
                  </a:lnTo>
                  <a:lnTo>
                    <a:pt x="278" y="356"/>
                  </a:lnTo>
                  <a:lnTo>
                    <a:pt x="272" y="354"/>
                  </a:lnTo>
                  <a:lnTo>
                    <a:pt x="266" y="350"/>
                  </a:lnTo>
                  <a:lnTo>
                    <a:pt x="260" y="346"/>
                  </a:lnTo>
                  <a:lnTo>
                    <a:pt x="256" y="340"/>
                  </a:lnTo>
                  <a:lnTo>
                    <a:pt x="252" y="334"/>
                  </a:lnTo>
                  <a:lnTo>
                    <a:pt x="250" y="328"/>
                  </a:lnTo>
                  <a:lnTo>
                    <a:pt x="250" y="320"/>
                  </a:lnTo>
                  <a:lnTo>
                    <a:pt x="250" y="320"/>
                  </a:lnTo>
                  <a:lnTo>
                    <a:pt x="250" y="312"/>
                  </a:lnTo>
                  <a:lnTo>
                    <a:pt x="252" y="306"/>
                  </a:lnTo>
                  <a:lnTo>
                    <a:pt x="256" y="300"/>
                  </a:lnTo>
                  <a:lnTo>
                    <a:pt x="260" y="294"/>
                  </a:lnTo>
                  <a:lnTo>
                    <a:pt x="266" y="290"/>
                  </a:lnTo>
                  <a:lnTo>
                    <a:pt x="272" y="286"/>
                  </a:lnTo>
                  <a:lnTo>
                    <a:pt x="278" y="284"/>
                  </a:lnTo>
                  <a:lnTo>
                    <a:pt x="286" y="284"/>
                  </a:lnTo>
                  <a:lnTo>
                    <a:pt x="286" y="284"/>
                  </a:lnTo>
                  <a:close/>
                  <a:moveTo>
                    <a:pt x="286" y="386"/>
                  </a:moveTo>
                  <a:lnTo>
                    <a:pt x="286" y="386"/>
                  </a:lnTo>
                  <a:lnTo>
                    <a:pt x="294" y="386"/>
                  </a:lnTo>
                  <a:lnTo>
                    <a:pt x="300" y="388"/>
                  </a:lnTo>
                  <a:lnTo>
                    <a:pt x="306" y="392"/>
                  </a:lnTo>
                  <a:lnTo>
                    <a:pt x="312" y="396"/>
                  </a:lnTo>
                  <a:lnTo>
                    <a:pt x="316" y="402"/>
                  </a:lnTo>
                  <a:lnTo>
                    <a:pt x="320" y="408"/>
                  </a:lnTo>
                  <a:lnTo>
                    <a:pt x="322" y="414"/>
                  </a:lnTo>
                  <a:lnTo>
                    <a:pt x="322" y="422"/>
                  </a:lnTo>
                  <a:lnTo>
                    <a:pt x="322" y="422"/>
                  </a:lnTo>
                  <a:lnTo>
                    <a:pt x="322" y="430"/>
                  </a:lnTo>
                  <a:lnTo>
                    <a:pt x="320" y="436"/>
                  </a:lnTo>
                  <a:lnTo>
                    <a:pt x="316" y="442"/>
                  </a:lnTo>
                  <a:lnTo>
                    <a:pt x="312" y="448"/>
                  </a:lnTo>
                  <a:lnTo>
                    <a:pt x="306" y="452"/>
                  </a:lnTo>
                  <a:lnTo>
                    <a:pt x="300" y="456"/>
                  </a:lnTo>
                  <a:lnTo>
                    <a:pt x="294" y="458"/>
                  </a:lnTo>
                  <a:lnTo>
                    <a:pt x="286" y="458"/>
                  </a:lnTo>
                  <a:lnTo>
                    <a:pt x="286" y="458"/>
                  </a:lnTo>
                  <a:lnTo>
                    <a:pt x="278" y="458"/>
                  </a:lnTo>
                  <a:lnTo>
                    <a:pt x="272" y="456"/>
                  </a:lnTo>
                  <a:lnTo>
                    <a:pt x="266" y="452"/>
                  </a:lnTo>
                  <a:lnTo>
                    <a:pt x="260" y="448"/>
                  </a:lnTo>
                  <a:lnTo>
                    <a:pt x="256" y="442"/>
                  </a:lnTo>
                  <a:lnTo>
                    <a:pt x="252" y="436"/>
                  </a:lnTo>
                  <a:lnTo>
                    <a:pt x="250" y="430"/>
                  </a:lnTo>
                  <a:lnTo>
                    <a:pt x="250" y="422"/>
                  </a:lnTo>
                  <a:lnTo>
                    <a:pt x="250" y="422"/>
                  </a:lnTo>
                  <a:lnTo>
                    <a:pt x="250" y="414"/>
                  </a:lnTo>
                  <a:lnTo>
                    <a:pt x="252" y="408"/>
                  </a:lnTo>
                  <a:lnTo>
                    <a:pt x="256" y="402"/>
                  </a:lnTo>
                  <a:lnTo>
                    <a:pt x="260" y="396"/>
                  </a:lnTo>
                  <a:lnTo>
                    <a:pt x="266" y="392"/>
                  </a:lnTo>
                  <a:lnTo>
                    <a:pt x="272" y="388"/>
                  </a:lnTo>
                  <a:lnTo>
                    <a:pt x="278" y="386"/>
                  </a:lnTo>
                  <a:lnTo>
                    <a:pt x="286" y="386"/>
                  </a:lnTo>
                  <a:lnTo>
                    <a:pt x="286" y="386"/>
                  </a:lnTo>
                  <a:close/>
                  <a:moveTo>
                    <a:pt x="286" y="484"/>
                  </a:moveTo>
                  <a:lnTo>
                    <a:pt x="286" y="484"/>
                  </a:lnTo>
                  <a:lnTo>
                    <a:pt x="294" y="484"/>
                  </a:lnTo>
                  <a:lnTo>
                    <a:pt x="300" y="488"/>
                  </a:lnTo>
                  <a:lnTo>
                    <a:pt x="306" y="490"/>
                  </a:lnTo>
                  <a:lnTo>
                    <a:pt x="312" y="494"/>
                  </a:lnTo>
                  <a:lnTo>
                    <a:pt x="316" y="500"/>
                  </a:lnTo>
                  <a:lnTo>
                    <a:pt x="320" y="506"/>
                  </a:lnTo>
                  <a:lnTo>
                    <a:pt x="322" y="514"/>
                  </a:lnTo>
                  <a:lnTo>
                    <a:pt x="322" y="520"/>
                  </a:lnTo>
                  <a:lnTo>
                    <a:pt x="322" y="520"/>
                  </a:lnTo>
                  <a:lnTo>
                    <a:pt x="322" y="528"/>
                  </a:lnTo>
                  <a:lnTo>
                    <a:pt x="320" y="536"/>
                  </a:lnTo>
                  <a:lnTo>
                    <a:pt x="316" y="542"/>
                  </a:lnTo>
                  <a:lnTo>
                    <a:pt x="312" y="546"/>
                  </a:lnTo>
                  <a:lnTo>
                    <a:pt x="306" y="552"/>
                  </a:lnTo>
                  <a:lnTo>
                    <a:pt x="300" y="554"/>
                  </a:lnTo>
                  <a:lnTo>
                    <a:pt x="294" y="556"/>
                  </a:lnTo>
                  <a:lnTo>
                    <a:pt x="286" y="558"/>
                  </a:lnTo>
                  <a:lnTo>
                    <a:pt x="286" y="558"/>
                  </a:lnTo>
                  <a:lnTo>
                    <a:pt x="278" y="556"/>
                  </a:lnTo>
                  <a:lnTo>
                    <a:pt x="272" y="554"/>
                  </a:lnTo>
                  <a:lnTo>
                    <a:pt x="266" y="552"/>
                  </a:lnTo>
                  <a:lnTo>
                    <a:pt x="260" y="546"/>
                  </a:lnTo>
                  <a:lnTo>
                    <a:pt x="256" y="542"/>
                  </a:lnTo>
                  <a:lnTo>
                    <a:pt x="252" y="536"/>
                  </a:lnTo>
                  <a:lnTo>
                    <a:pt x="250" y="528"/>
                  </a:lnTo>
                  <a:lnTo>
                    <a:pt x="250" y="520"/>
                  </a:lnTo>
                  <a:lnTo>
                    <a:pt x="250" y="520"/>
                  </a:lnTo>
                  <a:lnTo>
                    <a:pt x="250" y="514"/>
                  </a:lnTo>
                  <a:lnTo>
                    <a:pt x="252" y="506"/>
                  </a:lnTo>
                  <a:lnTo>
                    <a:pt x="256" y="500"/>
                  </a:lnTo>
                  <a:lnTo>
                    <a:pt x="260" y="494"/>
                  </a:lnTo>
                  <a:lnTo>
                    <a:pt x="266" y="490"/>
                  </a:lnTo>
                  <a:lnTo>
                    <a:pt x="272" y="488"/>
                  </a:lnTo>
                  <a:lnTo>
                    <a:pt x="278" y="484"/>
                  </a:lnTo>
                  <a:lnTo>
                    <a:pt x="286" y="484"/>
                  </a:lnTo>
                  <a:lnTo>
                    <a:pt x="286" y="484"/>
                  </a:lnTo>
                  <a:close/>
                  <a:moveTo>
                    <a:pt x="286" y="588"/>
                  </a:moveTo>
                  <a:lnTo>
                    <a:pt x="286" y="588"/>
                  </a:lnTo>
                  <a:lnTo>
                    <a:pt x="294" y="590"/>
                  </a:lnTo>
                  <a:lnTo>
                    <a:pt x="300" y="592"/>
                  </a:lnTo>
                  <a:lnTo>
                    <a:pt x="306" y="596"/>
                  </a:lnTo>
                  <a:lnTo>
                    <a:pt x="312" y="600"/>
                  </a:lnTo>
                  <a:lnTo>
                    <a:pt x="316" y="606"/>
                  </a:lnTo>
                  <a:lnTo>
                    <a:pt x="320" y="612"/>
                  </a:lnTo>
                  <a:lnTo>
                    <a:pt x="322" y="618"/>
                  </a:lnTo>
                  <a:lnTo>
                    <a:pt x="322" y="626"/>
                  </a:lnTo>
                  <a:lnTo>
                    <a:pt x="322" y="626"/>
                  </a:lnTo>
                  <a:lnTo>
                    <a:pt x="322" y="634"/>
                  </a:lnTo>
                  <a:lnTo>
                    <a:pt x="320" y="640"/>
                  </a:lnTo>
                  <a:lnTo>
                    <a:pt x="316" y="646"/>
                  </a:lnTo>
                  <a:lnTo>
                    <a:pt x="312" y="652"/>
                  </a:lnTo>
                  <a:lnTo>
                    <a:pt x="306" y="656"/>
                  </a:lnTo>
                  <a:lnTo>
                    <a:pt x="300" y="660"/>
                  </a:lnTo>
                  <a:lnTo>
                    <a:pt x="294" y="662"/>
                  </a:lnTo>
                  <a:lnTo>
                    <a:pt x="286" y="662"/>
                  </a:lnTo>
                  <a:lnTo>
                    <a:pt x="286" y="662"/>
                  </a:lnTo>
                  <a:lnTo>
                    <a:pt x="278" y="662"/>
                  </a:lnTo>
                  <a:lnTo>
                    <a:pt x="272" y="660"/>
                  </a:lnTo>
                  <a:lnTo>
                    <a:pt x="266" y="656"/>
                  </a:lnTo>
                  <a:lnTo>
                    <a:pt x="260" y="652"/>
                  </a:lnTo>
                  <a:lnTo>
                    <a:pt x="256" y="646"/>
                  </a:lnTo>
                  <a:lnTo>
                    <a:pt x="252" y="640"/>
                  </a:lnTo>
                  <a:lnTo>
                    <a:pt x="250" y="634"/>
                  </a:lnTo>
                  <a:lnTo>
                    <a:pt x="250" y="626"/>
                  </a:lnTo>
                  <a:lnTo>
                    <a:pt x="250" y="626"/>
                  </a:lnTo>
                  <a:lnTo>
                    <a:pt x="250" y="618"/>
                  </a:lnTo>
                  <a:lnTo>
                    <a:pt x="252" y="612"/>
                  </a:lnTo>
                  <a:lnTo>
                    <a:pt x="256" y="606"/>
                  </a:lnTo>
                  <a:lnTo>
                    <a:pt x="260" y="600"/>
                  </a:lnTo>
                  <a:lnTo>
                    <a:pt x="266" y="596"/>
                  </a:lnTo>
                  <a:lnTo>
                    <a:pt x="272" y="592"/>
                  </a:lnTo>
                  <a:lnTo>
                    <a:pt x="278" y="590"/>
                  </a:lnTo>
                  <a:lnTo>
                    <a:pt x="286" y="588"/>
                  </a:lnTo>
                  <a:lnTo>
                    <a:pt x="286" y="588"/>
                  </a:lnTo>
                  <a:close/>
                  <a:moveTo>
                    <a:pt x="152" y="356"/>
                  </a:moveTo>
                  <a:lnTo>
                    <a:pt x="152" y="356"/>
                  </a:lnTo>
                  <a:lnTo>
                    <a:pt x="144" y="356"/>
                  </a:lnTo>
                  <a:lnTo>
                    <a:pt x="138" y="354"/>
                  </a:lnTo>
                  <a:lnTo>
                    <a:pt x="132" y="350"/>
                  </a:lnTo>
                  <a:lnTo>
                    <a:pt x="126" y="346"/>
                  </a:lnTo>
                  <a:lnTo>
                    <a:pt x="122" y="340"/>
                  </a:lnTo>
                  <a:lnTo>
                    <a:pt x="118" y="334"/>
                  </a:lnTo>
                  <a:lnTo>
                    <a:pt x="116" y="328"/>
                  </a:lnTo>
                  <a:lnTo>
                    <a:pt x="116" y="320"/>
                  </a:lnTo>
                  <a:lnTo>
                    <a:pt x="116" y="320"/>
                  </a:lnTo>
                  <a:lnTo>
                    <a:pt x="116" y="312"/>
                  </a:lnTo>
                  <a:lnTo>
                    <a:pt x="118" y="306"/>
                  </a:lnTo>
                  <a:lnTo>
                    <a:pt x="122" y="300"/>
                  </a:lnTo>
                  <a:lnTo>
                    <a:pt x="126" y="294"/>
                  </a:lnTo>
                  <a:lnTo>
                    <a:pt x="132" y="290"/>
                  </a:lnTo>
                  <a:lnTo>
                    <a:pt x="138" y="286"/>
                  </a:lnTo>
                  <a:lnTo>
                    <a:pt x="144" y="284"/>
                  </a:lnTo>
                  <a:lnTo>
                    <a:pt x="152" y="284"/>
                  </a:lnTo>
                  <a:lnTo>
                    <a:pt x="152" y="284"/>
                  </a:lnTo>
                  <a:lnTo>
                    <a:pt x="160" y="284"/>
                  </a:lnTo>
                  <a:lnTo>
                    <a:pt x="166" y="286"/>
                  </a:lnTo>
                  <a:lnTo>
                    <a:pt x="172" y="290"/>
                  </a:lnTo>
                  <a:lnTo>
                    <a:pt x="178" y="294"/>
                  </a:lnTo>
                  <a:lnTo>
                    <a:pt x="182" y="300"/>
                  </a:lnTo>
                  <a:lnTo>
                    <a:pt x="186" y="306"/>
                  </a:lnTo>
                  <a:lnTo>
                    <a:pt x="188" y="312"/>
                  </a:lnTo>
                  <a:lnTo>
                    <a:pt x="188" y="320"/>
                  </a:lnTo>
                  <a:lnTo>
                    <a:pt x="188" y="320"/>
                  </a:lnTo>
                  <a:lnTo>
                    <a:pt x="188" y="328"/>
                  </a:lnTo>
                  <a:lnTo>
                    <a:pt x="186" y="334"/>
                  </a:lnTo>
                  <a:lnTo>
                    <a:pt x="182" y="340"/>
                  </a:lnTo>
                  <a:lnTo>
                    <a:pt x="178" y="346"/>
                  </a:lnTo>
                  <a:lnTo>
                    <a:pt x="172" y="350"/>
                  </a:lnTo>
                  <a:lnTo>
                    <a:pt x="166" y="354"/>
                  </a:lnTo>
                  <a:lnTo>
                    <a:pt x="160" y="356"/>
                  </a:lnTo>
                  <a:lnTo>
                    <a:pt x="152" y="356"/>
                  </a:lnTo>
                  <a:lnTo>
                    <a:pt x="152" y="356"/>
                  </a:lnTo>
                  <a:close/>
                  <a:moveTo>
                    <a:pt x="72" y="162"/>
                  </a:moveTo>
                  <a:lnTo>
                    <a:pt x="72" y="162"/>
                  </a:lnTo>
                  <a:lnTo>
                    <a:pt x="74" y="152"/>
                  </a:lnTo>
                  <a:lnTo>
                    <a:pt x="76" y="142"/>
                  </a:lnTo>
                  <a:lnTo>
                    <a:pt x="82" y="132"/>
                  </a:lnTo>
                  <a:lnTo>
                    <a:pt x="88" y="124"/>
                  </a:lnTo>
                  <a:lnTo>
                    <a:pt x="96" y="118"/>
                  </a:lnTo>
                  <a:lnTo>
                    <a:pt x="106" y="112"/>
                  </a:lnTo>
                  <a:lnTo>
                    <a:pt x="116" y="110"/>
                  </a:lnTo>
                  <a:lnTo>
                    <a:pt x="126" y="108"/>
                  </a:lnTo>
                  <a:lnTo>
                    <a:pt x="126" y="108"/>
                  </a:lnTo>
                  <a:lnTo>
                    <a:pt x="136" y="110"/>
                  </a:lnTo>
                  <a:lnTo>
                    <a:pt x="146" y="112"/>
                  </a:lnTo>
                  <a:lnTo>
                    <a:pt x="156" y="118"/>
                  </a:lnTo>
                  <a:lnTo>
                    <a:pt x="164" y="124"/>
                  </a:lnTo>
                  <a:lnTo>
                    <a:pt x="170" y="132"/>
                  </a:lnTo>
                  <a:lnTo>
                    <a:pt x="176" y="142"/>
                  </a:lnTo>
                  <a:lnTo>
                    <a:pt x="178" y="152"/>
                  </a:lnTo>
                  <a:lnTo>
                    <a:pt x="180" y="162"/>
                  </a:lnTo>
                  <a:lnTo>
                    <a:pt x="180" y="162"/>
                  </a:lnTo>
                  <a:lnTo>
                    <a:pt x="178" y="172"/>
                  </a:lnTo>
                  <a:lnTo>
                    <a:pt x="176" y="182"/>
                  </a:lnTo>
                  <a:lnTo>
                    <a:pt x="170" y="192"/>
                  </a:lnTo>
                  <a:lnTo>
                    <a:pt x="164" y="200"/>
                  </a:lnTo>
                  <a:lnTo>
                    <a:pt x="156" y="206"/>
                  </a:lnTo>
                  <a:lnTo>
                    <a:pt x="146" y="212"/>
                  </a:lnTo>
                  <a:lnTo>
                    <a:pt x="136" y="214"/>
                  </a:lnTo>
                  <a:lnTo>
                    <a:pt x="126" y="216"/>
                  </a:lnTo>
                  <a:lnTo>
                    <a:pt x="126" y="216"/>
                  </a:lnTo>
                  <a:lnTo>
                    <a:pt x="116" y="214"/>
                  </a:lnTo>
                  <a:lnTo>
                    <a:pt x="106" y="212"/>
                  </a:lnTo>
                  <a:lnTo>
                    <a:pt x="96" y="206"/>
                  </a:lnTo>
                  <a:lnTo>
                    <a:pt x="88" y="200"/>
                  </a:lnTo>
                  <a:lnTo>
                    <a:pt x="82" y="192"/>
                  </a:lnTo>
                  <a:lnTo>
                    <a:pt x="76" y="182"/>
                  </a:lnTo>
                  <a:lnTo>
                    <a:pt x="74" y="172"/>
                  </a:lnTo>
                  <a:lnTo>
                    <a:pt x="72" y="162"/>
                  </a:lnTo>
                  <a:lnTo>
                    <a:pt x="72" y="162"/>
                  </a:lnTo>
                  <a:close/>
                  <a:moveTo>
                    <a:pt x="152" y="790"/>
                  </a:moveTo>
                  <a:lnTo>
                    <a:pt x="200" y="836"/>
                  </a:lnTo>
                  <a:lnTo>
                    <a:pt x="200" y="836"/>
                  </a:lnTo>
                  <a:lnTo>
                    <a:pt x="190" y="850"/>
                  </a:lnTo>
                  <a:lnTo>
                    <a:pt x="184" y="866"/>
                  </a:lnTo>
                  <a:lnTo>
                    <a:pt x="180" y="882"/>
                  </a:lnTo>
                  <a:lnTo>
                    <a:pt x="178" y="900"/>
                  </a:lnTo>
                  <a:lnTo>
                    <a:pt x="178" y="900"/>
                  </a:lnTo>
                  <a:lnTo>
                    <a:pt x="180" y="918"/>
                  </a:lnTo>
                  <a:lnTo>
                    <a:pt x="184" y="934"/>
                  </a:lnTo>
                  <a:lnTo>
                    <a:pt x="190" y="948"/>
                  </a:lnTo>
                  <a:lnTo>
                    <a:pt x="198" y="962"/>
                  </a:lnTo>
                  <a:lnTo>
                    <a:pt x="152" y="1010"/>
                  </a:lnTo>
                  <a:lnTo>
                    <a:pt x="152" y="1010"/>
                  </a:lnTo>
                  <a:lnTo>
                    <a:pt x="142" y="998"/>
                  </a:lnTo>
                  <a:lnTo>
                    <a:pt x="136" y="986"/>
                  </a:lnTo>
                  <a:lnTo>
                    <a:pt x="128" y="972"/>
                  </a:lnTo>
                  <a:lnTo>
                    <a:pt x="122" y="960"/>
                  </a:lnTo>
                  <a:lnTo>
                    <a:pt x="118" y="946"/>
                  </a:lnTo>
                  <a:lnTo>
                    <a:pt x="114" y="930"/>
                  </a:lnTo>
                  <a:lnTo>
                    <a:pt x="112" y="916"/>
                  </a:lnTo>
                  <a:lnTo>
                    <a:pt x="112" y="900"/>
                  </a:lnTo>
                  <a:lnTo>
                    <a:pt x="112" y="900"/>
                  </a:lnTo>
                  <a:lnTo>
                    <a:pt x="112" y="884"/>
                  </a:lnTo>
                  <a:lnTo>
                    <a:pt x="116" y="870"/>
                  </a:lnTo>
                  <a:lnTo>
                    <a:pt x="118" y="854"/>
                  </a:lnTo>
                  <a:lnTo>
                    <a:pt x="122" y="840"/>
                  </a:lnTo>
                  <a:lnTo>
                    <a:pt x="128" y="826"/>
                  </a:lnTo>
                  <a:lnTo>
                    <a:pt x="136" y="814"/>
                  </a:lnTo>
                  <a:lnTo>
                    <a:pt x="144" y="802"/>
                  </a:lnTo>
                  <a:lnTo>
                    <a:pt x="152" y="790"/>
                  </a:lnTo>
                  <a:lnTo>
                    <a:pt x="152" y="790"/>
                  </a:lnTo>
                  <a:close/>
                  <a:moveTo>
                    <a:pt x="188" y="1338"/>
                  </a:moveTo>
                  <a:lnTo>
                    <a:pt x="136" y="1338"/>
                  </a:lnTo>
                  <a:lnTo>
                    <a:pt x="136" y="1338"/>
                  </a:lnTo>
                  <a:lnTo>
                    <a:pt x="128" y="1336"/>
                  </a:lnTo>
                  <a:lnTo>
                    <a:pt x="122" y="1332"/>
                  </a:lnTo>
                  <a:lnTo>
                    <a:pt x="116" y="1328"/>
                  </a:lnTo>
                  <a:lnTo>
                    <a:pt x="116" y="1320"/>
                  </a:lnTo>
                  <a:lnTo>
                    <a:pt x="116" y="1320"/>
                  </a:lnTo>
                  <a:lnTo>
                    <a:pt x="116" y="1312"/>
                  </a:lnTo>
                  <a:lnTo>
                    <a:pt x="122" y="1308"/>
                  </a:lnTo>
                  <a:lnTo>
                    <a:pt x="128" y="1304"/>
                  </a:lnTo>
                  <a:lnTo>
                    <a:pt x="136" y="1302"/>
                  </a:lnTo>
                  <a:lnTo>
                    <a:pt x="188" y="1302"/>
                  </a:lnTo>
                  <a:lnTo>
                    <a:pt x="188" y="1302"/>
                  </a:lnTo>
                  <a:lnTo>
                    <a:pt x="196" y="1304"/>
                  </a:lnTo>
                  <a:lnTo>
                    <a:pt x="202" y="1308"/>
                  </a:lnTo>
                  <a:lnTo>
                    <a:pt x="208" y="1312"/>
                  </a:lnTo>
                  <a:lnTo>
                    <a:pt x="208" y="1320"/>
                  </a:lnTo>
                  <a:lnTo>
                    <a:pt x="208" y="1320"/>
                  </a:lnTo>
                  <a:lnTo>
                    <a:pt x="208" y="1328"/>
                  </a:lnTo>
                  <a:lnTo>
                    <a:pt x="202" y="1332"/>
                  </a:lnTo>
                  <a:lnTo>
                    <a:pt x="196" y="1336"/>
                  </a:lnTo>
                  <a:lnTo>
                    <a:pt x="188" y="1338"/>
                  </a:lnTo>
                  <a:lnTo>
                    <a:pt x="188" y="1338"/>
                  </a:lnTo>
                  <a:close/>
                  <a:moveTo>
                    <a:pt x="188" y="1262"/>
                  </a:moveTo>
                  <a:lnTo>
                    <a:pt x="136" y="1262"/>
                  </a:lnTo>
                  <a:lnTo>
                    <a:pt x="136" y="1262"/>
                  </a:lnTo>
                  <a:lnTo>
                    <a:pt x="128" y="1260"/>
                  </a:lnTo>
                  <a:lnTo>
                    <a:pt x="122" y="1256"/>
                  </a:lnTo>
                  <a:lnTo>
                    <a:pt x="116" y="1252"/>
                  </a:lnTo>
                  <a:lnTo>
                    <a:pt x="116" y="1244"/>
                  </a:lnTo>
                  <a:lnTo>
                    <a:pt x="116" y="1244"/>
                  </a:lnTo>
                  <a:lnTo>
                    <a:pt x="116" y="1236"/>
                  </a:lnTo>
                  <a:lnTo>
                    <a:pt x="122" y="1232"/>
                  </a:lnTo>
                  <a:lnTo>
                    <a:pt x="128" y="1228"/>
                  </a:lnTo>
                  <a:lnTo>
                    <a:pt x="136" y="1226"/>
                  </a:lnTo>
                  <a:lnTo>
                    <a:pt x="188" y="1226"/>
                  </a:lnTo>
                  <a:lnTo>
                    <a:pt x="188" y="1226"/>
                  </a:lnTo>
                  <a:lnTo>
                    <a:pt x="196" y="1228"/>
                  </a:lnTo>
                  <a:lnTo>
                    <a:pt x="202" y="1232"/>
                  </a:lnTo>
                  <a:lnTo>
                    <a:pt x="208" y="1236"/>
                  </a:lnTo>
                  <a:lnTo>
                    <a:pt x="208" y="1244"/>
                  </a:lnTo>
                  <a:lnTo>
                    <a:pt x="208" y="1244"/>
                  </a:lnTo>
                  <a:lnTo>
                    <a:pt x="208" y="1252"/>
                  </a:lnTo>
                  <a:lnTo>
                    <a:pt x="202" y="1256"/>
                  </a:lnTo>
                  <a:lnTo>
                    <a:pt x="196" y="1260"/>
                  </a:lnTo>
                  <a:lnTo>
                    <a:pt x="188" y="1262"/>
                  </a:lnTo>
                  <a:lnTo>
                    <a:pt x="188" y="1262"/>
                  </a:lnTo>
                  <a:close/>
                  <a:moveTo>
                    <a:pt x="188" y="1192"/>
                  </a:moveTo>
                  <a:lnTo>
                    <a:pt x="136" y="1192"/>
                  </a:lnTo>
                  <a:lnTo>
                    <a:pt x="136" y="1192"/>
                  </a:lnTo>
                  <a:lnTo>
                    <a:pt x="128" y="1190"/>
                  </a:lnTo>
                  <a:lnTo>
                    <a:pt x="122" y="1186"/>
                  </a:lnTo>
                  <a:lnTo>
                    <a:pt x="116" y="1180"/>
                  </a:lnTo>
                  <a:lnTo>
                    <a:pt x="116" y="1174"/>
                  </a:lnTo>
                  <a:lnTo>
                    <a:pt x="116" y="1174"/>
                  </a:lnTo>
                  <a:lnTo>
                    <a:pt x="116" y="1166"/>
                  </a:lnTo>
                  <a:lnTo>
                    <a:pt x="122" y="1160"/>
                  </a:lnTo>
                  <a:lnTo>
                    <a:pt x="128" y="1156"/>
                  </a:lnTo>
                  <a:lnTo>
                    <a:pt x="136" y="1156"/>
                  </a:lnTo>
                  <a:lnTo>
                    <a:pt x="188" y="1156"/>
                  </a:lnTo>
                  <a:lnTo>
                    <a:pt x="188" y="1156"/>
                  </a:lnTo>
                  <a:lnTo>
                    <a:pt x="196" y="1156"/>
                  </a:lnTo>
                  <a:lnTo>
                    <a:pt x="202" y="1160"/>
                  </a:lnTo>
                  <a:lnTo>
                    <a:pt x="208" y="1166"/>
                  </a:lnTo>
                  <a:lnTo>
                    <a:pt x="208" y="1174"/>
                  </a:lnTo>
                  <a:lnTo>
                    <a:pt x="208" y="1174"/>
                  </a:lnTo>
                  <a:lnTo>
                    <a:pt x="208" y="1180"/>
                  </a:lnTo>
                  <a:lnTo>
                    <a:pt x="202" y="1186"/>
                  </a:lnTo>
                  <a:lnTo>
                    <a:pt x="196" y="1190"/>
                  </a:lnTo>
                  <a:lnTo>
                    <a:pt x="188" y="1192"/>
                  </a:lnTo>
                  <a:lnTo>
                    <a:pt x="188" y="1192"/>
                  </a:lnTo>
                  <a:close/>
                  <a:moveTo>
                    <a:pt x="312" y="1338"/>
                  </a:moveTo>
                  <a:lnTo>
                    <a:pt x="260" y="1338"/>
                  </a:lnTo>
                  <a:lnTo>
                    <a:pt x="260" y="1338"/>
                  </a:lnTo>
                  <a:lnTo>
                    <a:pt x="252" y="1336"/>
                  </a:lnTo>
                  <a:lnTo>
                    <a:pt x="244" y="1332"/>
                  </a:lnTo>
                  <a:lnTo>
                    <a:pt x="240" y="1328"/>
                  </a:lnTo>
                  <a:lnTo>
                    <a:pt x="238" y="1320"/>
                  </a:lnTo>
                  <a:lnTo>
                    <a:pt x="238" y="1320"/>
                  </a:lnTo>
                  <a:lnTo>
                    <a:pt x="240" y="1312"/>
                  </a:lnTo>
                  <a:lnTo>
                    <a:pt x="244" y="1308"/>
                  </a:lnTo>
                  <a:lnTo>
                    <a:pt x="252" y="1304"/>
                  </a:lnTo>
                  <a:lnTo>
                    <a:pt x="260" y="1302"/>
                  </a:lnTo>
                  <a:lnTo>
                    <a:pt x="312" y="1302"/>
                  </a:lnTo>
                  <a:lnTo>
                    <a:pt x="312" y="1302"/>
                  </a:lnTo>
                  <a:lnTo>
                    <a:pt x="320" y="1304"/>
                  </a:lnTo>
                  <a:lnTo>
                    <a:pt x="326" y="1308"/>
                  </a:lnTo>
                  <a:lnTo>
                    <a:pt x="330" y="1312"/>
                  </a:lnTo>
                  <a:lnTo>
                    <a:pt x="332" y="1320"/>
                  </a:lnTo>
                  <a:lnTo>
                    <a:pt x="332" y="1320"/>
                  </a:lnTo>
                  <a:lnTo>
                    <a:pt x="330" y="1328"/>
                  </a:lnTo>
                  <a:lnTo>
                    <a:pt x="326" y="1332"/>
                  </a:lnTo>
                  <a:lnTo>
                    <a:pt x="320" y="1336"/>
                  </a:lnTo>
                  <a:lnTo>
                    <a:pt x="312" y="1338"/>
                  </a:lnTo>
                  <a:lnTo>
                    <a:pt x="312" y="1338"/>
                  </a:lnTo>
                  <a:close/>
                  <a:moveTo>
                    <a:pt x="312" y="1262"/>
                  </a:moveTo>
                  <a:lnTo>
                    <a:pt x="260" y="1262"/>
                  </a:lnTo>
                  <a:lnTo>
                    <a:pt x="260" y="1262"/>
                  </a:lnTo>
                  <a:lnTo>
                    <a:pt x="252" y="1260"/>
                  </a:lnTo>
                  <a:lnTo>
                    <a:pt x="244" y="1256"/>
                  </a:lnTo>
                  <a:lnTo>
                    <a:pt x="240" y="1252"/>
                  </a:lnTo>
                  <a:lnTo>
                    <a:pt x="238" y="1244"/>
                  </a:lnTo>
                  <a:lnTo>
                    <a:pt x="238" y="1244"/>
                  </a:lnTo>
                  <a:lnTo>
                    <a:pt x="240" y="1236"/>
                  </a:lnTo>
                  <a:lnTo>
                    <a:pt x="244" y="1232"/>
                  </a:lnTo>
                  <a:lnTo>
                    <a:pt x="252" y="1228"/>
                  </a:lnTo>
                  <a:lnTo>
                    <a:pt x="260" y="1226"/>
                  </a:lnTo>
                  <a:lnTo>
                    <a:pt x="312" y="1226"/>
                  </a:lnTo>
                  <a:lnTo>
                    <a:pt x="312" y="1226"/>
                  </a:lnTo>
                  <a:lnTo>
                    <a:pt x="320" y="1228"/>
                  </a:lnTo>
                  <a:lnTo>
                    <a:pt x="326" y="1232"/>
                  </a:lnTo>
                  <a:lnTo>
                    <a:pt x="330" y="1236"/>
                  </a:lnTo>
                  <a:lnTo>
                    <a:pt x="332" y="1244"/>
                  </a:lnTo>
                  <a:lnTo>
                    <a:pt x="332" y="1244"/>
                  </a:lnTo>
                  <a:lnTo>
                    <a:pt x="330" y="1252"/>
                  </a:lnTo>
                  <a:lnTo>
                    <a:pt x="326" y="1256"/>
                  </a:lnTo>
                  <a:lnTo>
                    <a:pt x="320" y="1260"/>
                  </a:lnTo>
                  <a:lnTo>
                    <a:pt x="312" y="1262"/>
                  </a:lnTo>
                  <a:lnTo>
                    <a:pt x="312" y="1262"/>
                  </a:lnTo>
                  <a:close/>
                  <a:moveTo>
                    <a:pt x="312" y="1192"/>
                  </a:moveTo>
                  <a:lnTo>
                    <a:pt x="260" y="1192"/>
                  </a:lnTo>
                  <a:lnTo>
                    <a:pt x="260" y="1192"/>
                  </a:lnTo>
                  <a:lnTo>
                    <a:pt x="252" y="1190"/>
                  </a:lnTo>
                  <a:lnTo>
                    <a:pt x="244" y="1186"/>
                  </a:lnTo>
                  <a:lnTo>
                    <a:pt x="240" y="1180"/>
                  </a:lnTo>
                  <a:lnTo>
                    <a:pt x="238" y="1174"/>
                  </a:lnTo>
                  <a:lnTo>
                    <a:pt x="238" y="1174"/>
                  </a:lnTo>
                  <a:lnTo>
                    <a:pt x="240" y="1166"/>
                  </a:lnTo>
                  <a:lnTo>
                    <a:pt x="244" y="1160"/>
                  </a:lnTo>
                  <a:lnTo>
                    <a:pt x="252" y="1156"/>
                  </a:lnTo>
                  <a:lnTo>
                    <a:pt x="260" y="1156"/>
                  </a:lnTo>
                  <a:lnTo>
                    <a:pt x="312" y="1156"/>
                  </a:lnTo>
                  <a:lnTo>
                    <a:pt x="312" y="1156"/>
                  </a:lnTo>
                  <a:lnTo>
                    <a:pt x="320" y="1156"/>
                  </a:lnTo>
                  <a:lnTo>
                    <a:pt x="326" y="1160"/>
                  </a:lnTo>
                  <a:lnTo>
                    <a:pt x="330" y="1166"/>
                  </a:lnTo>
                  <a:lnTo>
                    <a:pt x="332" y="1174"/>
                  </a:lnTo>
                  <a:lnTo>
                    <a:pt x="332" y="1174"/>
                  </a:lnTo>
                  <a:lnTo>
                    <a:pt x="330" y="1180"/>
                  </a:lnTo>
                  <a:lnTo>
                    <a:pt x="326" y="1186"/>
                  </a:lnTo>
                  <a:lnTo>
                    <a:pt x="320" y="1190"/>
                  </a:lnTo>
                  <a:lnTo>
                    <a:pt x="312" y="1192"/>
                  </a:lnTo>
                  <a:lnTo>
                    <a:pt x="312" y="1192"/>
                  </a:lnTo>
                  <a:close/>
                  <a:moveTo>
                    <a:pt x="430" y="1338"/>
                  </a:moveTo>
                  <a:lnTo>
                    <a:pt x="378" y="1338"/>
                  </a:lnTo>
                  <a:lnTo>
                    <a:pt x="378" y="1338"/>
                  </a:lnTo>
                  <a:lnTo>
                    <a:pt x="370" y="1336"/>
                  </a:lnTo>
                  <a:lnTo>
                    <a:pt x="364" y="1332"/>
                  </a:lnTo>
                  <a:lnTo>
                    <a:pt x="358" y="1328"/>
                  </a:lnTo>
                  <a:lnTo>
                    <a:pt x="358" y="1320"/>
                  </a:lnTo>
                  <a:lnTo>
                    <a:pt x="358" y="1320"/>
                  </a:lnTo>
                  <a:lnTo>
                    <a:pt x="358" y="1312"/>
                  </a:lnTo>
                  <a:lnTo>
                    <a:pt x="364" y="1308"/>
                  </a:lnTo>
                  <a:lnTo>
                    <a:pt x="370" y="1304"/>
                  </a:lnTo>
                  <a:lnTo>
                    <a:pt x="378" y="1302"/>
                  </a:lnTo>
                  <a:lnTo>
                    <a:pt x="430" y="1302"/>
                  </a:lnTo>
                  <a:lnTo>
                    <a:pt x="430" y="1302"/>
                  </a:lnTo>
                  <a:lnTo>
                    <a:pt x="438" y="1304"/>
                  </a:lnTo>
                  <a:lnTo>
                    <a:pt x="444" y="1308"/>
                  </a:lnTo>
                  <a:lnTo>
                    <a:pt x="450" y="1312"/>
                  </a:lnTo>
                  <a:lnTo>
                    <a:pt x="450" y="1320"/>
                  </a:lnTo>
                  <a:lnTo>
                    <a:pt x="450" y="1320"/>
                  </a:lnTo>
                  <a:lnTo>
                    <a:pt x="450" y="1328"/>
                  </a:lnTo>
                  <a:lnTo>
                    <a:pt x="444" y="1332"/>
                  </a:lnTo>
                  <a:lnTo>
                    <a:pt x="438" y="1336"/>
                  </a:lnTo>
                  <a:lnTo>
                    <a:pt x="430" y="1338"/>
                  </a:lnTo>
                  <a:lnTo>
                    <a:pt x="430" y="1338"/>
                  </a:lnTo>
                  <a:close/>
                  <a:moveTo>
                    <a:pt x="430" y="1262"/>
                  </a:moveTo>
                  <a:lnTo>
                    <a:pt x="378" y="1262"/>
                  </a:lnTo>
                  <a:lnTo>
                    <a:pt x="378" y="1262"/>
                  </a:lnTo>
                  <a:lnTo>
                    <a:pt x="370" y="1260"/>
                  </a:lnTo>
                  <a:lnTo>
                    <a:pt x="364" y="1256"/>
                  </a:lnTo>
                  <a:lnTo>
                    <a:pt x="358" y="1252"/>
                  </a:lnTo>
                  <a:lnTo>
                    <a:pt x="358" y="1244"/>
                  </a:lnTo>
                  <a:lnTo>
                    <a:pt x="358" y="1244"/>
                  </a:lnTo>
                  <a:lnTo>
                    <a:pt x="358" y="1236"/>
                  </a:lnTo>
                  <a:lnTo>
                    <a:pt x="364" y="1232"/>
                  </a:lnTo>
                  <a:lnTo>
                    <a:pt x="370" y="1228"/>
                  </a:lnTo>
                  <a:lnTo>
                    <a:pt x="378" y="1226"/>
                  </a:lnTo>
                  <a:lnTo>
                    <a:pt x="430" y="1226"/>
                  </a:lnTo>
                  <a:lnTo>
                    <a:pt x="430" y="1226"/>
                  </a:lnTo>
                  <a:lnTo>
                    <a:pt x="438" y="1228"/>
                  </a:lnTo>
                  <a:lnTo>
                    <a:pt x="444" y="1232"/>
                  </a:lnTo>
                  <a:lnTo>
                    <a:pt x="450" y="1236"/>
                  </a:lnTo>
                  <a:lnTo>
                    <a:pt x="450" y="1244"/>
                  </a:lnTo>
                  <a:lnTo>
                    <a:pt x="450" y="1244"/>
                  </a:lnTo>
                  <a:lnTo>
                    <a:pt x="450" y="1252"/>
                  </a:lnTo>
                  <a:lnTo>
                    <a:pt x="444" y="1256"/>
                  </a:lnTo>
                  <a:lnTo>
                    <a:pt x="438" y="1260"/>
                  </a:lnTo>
                  <a:lnTo>
                    <a:pt x="430" y="1262"/>
                  </a:lnTo>
                  <a:lnTo>
                    <a:pt x="430" y="1262"/>
                  </a:lnTo>
                  <a:close/>
                  <a:moveTo>
                    <a:pt x="430" y="1192"/>
                  </a:moveTo>
                  <a:lnTo>
                    <a:pt x="378" y="1192"/>
                  </a:lnTo>
                  <a:lnTo>
                    <a:pt x="378" y="1192"/>
                  </a:lnTo>
                  <a:lnTo>
                    <a:pt x="370" y="1190"/>
                  </a:lnTo>
                  <a:lnTo>
                    <a:pt x="364" y="1186"/>
                  </a:lnTo>
                  <a:lnTo>
                    <a:pt x="358" y="1180"/>
                  </a:lnTo>
                  <a:lnTo>
                    <a:pt x="358" y="1174"/>
                  </a:lnTo>
                  <a:lnTo>
                    <a:pt x="358" y="1174"/>
                  </a:lnTo>
                  <a:lnTo>
                    <a:pt x="358" y="1166"/>
                  </a:lnTo>
                  <a:lnTo>
                    <a:pt x="364" y="1160"/>
                  </a:lnTo>
                  <a:lnTo>
                    <a:pt x="370" y="1156"/>
                  </a:lnTo>
                  <a:lnTo>
                    <a:pt x="378" y="1156"/>
                  </a:lnTo>
                  <a:lnTo>
                    <a:pt x="430" y="1156"/>
                  </a:lnTo>
                  <a:lnTo>
                    <a:pt x="430" y="1156"/>
                  </a:lnTo>
                  <a:lnTo>
                    <a:pt x="438" y="1156"/>
                  </a:lnTo>
                  <a:lnTo>
                    <a:pt x="444" y="1160"/>
                  </a:lnTo>
                  <a:lnTo>
                    <a:pt x="450" y="1166"/>
                  </a:lnTo>
                  <a:lnTo>
                    <a:pt x="450" y="1174"/>
                  </a:lnTo>
                  <a:lnTo>
                    <a:pt x="450" y="1174"/>
                  </a:lnTo>
                  <a:lnTo>
                    <a:pt x="450" y="1180"/>
                  </a:lnTo>
                  <a:lnTo>
                    <a:pt x="444" y="1186"/>
                  </a:lnTo>
                  <a:lnTo>
                    <a:pt x="438" y="1190"/>
                  </a:lnTo>
                  <a:lnTo>
                    <a:pt x="430" y="1192"/>
                  </a:lnTo>
                  <a:lnTo>
                    <a:pt x="430" y="1192"/>
                  </a:lnTo>
                  <a:close/>
                  <a:moveTo>
                    <a:pt x="422" y="1008"/>
                  </a:moveTo>
                  <a:lnTo>
                    <a:pt x="374" y="960"/>
                  </a:lnTo>
                  <a:lnTo>
                    <a:pt x="374" y="960"/>
                  </a:lnTo>
                  <a:lnTo>
                    <a:pt x="382" y="946"/>
                  </a:lnTo>
                  <a:lnTo>
                    <a:pt x="388" y="932"/>
                  </a:lnTo>
                  <a:lnTo>
                    <a:pt x="392" y="916"/>
                  </a:lnTo>
                  <a:lnTo>
                    <a:pt x="394" y="900"/>
                  </a:lnTo>
                  <a:lnTo>
                    <a:pt x="394" y="900"/>
                  </a:lnTo>
                  <a:lnTo>
                    <a:pt x="392" y="884"/>
                  </a:lnTo>
                  <a:lnTo>
                    <a:pt x="388" y="868"/>
                  </a:lnTo>
                  <a:lnTo>
                    <a:pt x="382" y="852"/>
                  </a:lnTo>
                  <a:lnTo>
                    <a:pt x="374" y="838"/>
                  </a:lnTo>
                  <a:lnTo>
                    <a:pt x="422" y="792"/>
                  </a:lnTo>
                  <a:lnTo>
                    <a:pt x="422" y="792"/>
                  </a:lnTo>
                  <a:lnTo>
                    <a:pt x="438" y="816"/>
                  </a:lnTo>
                  <a:lnTo>
                    <a:pt x="444" y="828"/>
                  </a:lnTo>
                  <a:lnTo>
                    <a:pt x="450" y="842"/>
                  </a:lnTo>
                  <a:lnTo>
                    <a:pt x="454" y="856"/>
                  </a:lnTo>
                  <a:lnTo>
                    <a:pt x="458" y="870"/>
                  </a:lnTo>
                  <a:lnTo>
                    <a:pt x="460" y="884"/>
                  </a:lnTo>
                  <a:lnTo>
                    <a:pt x="460" y="900"/>
                  </a:lnTo>
                  <a:lnTo>
                    <a:pt x="460" y="900"/>
                  </a:lnTo>
                  <a:lnTo>
                    <a:pt x="460" y="916"/>
                  </a:lnTo>
                  <a:lnTo>
                    <a:pt x="458" y="930"/>
                  </a:lnTo>
                  <a:lnTo>
                    <a:pt x="454" y="944"/>
                  </a:lnTo>
                  <a:lnTo>
                    <a:pt x="450" y="958"/>
                  </a:lnTo>
                  <a:lnTo>
                    <a:pt x="438" y="984"/>
                  </a:lnTo>
                  <a:lnTo>
                    <a:pt x="422" y="1008"/>
                  </a:lnTo>
                  <a:lnTo>
                    <a:pt x="422" y="1008"/>
                  </a:lnTo>
                  <a:close/>
                </a:path>
              </a:pathLst>
            </a:custGeom>
            <a:solidFill>
              <a:srgbClr val="8DC63F"/>
            </a:solidFill>
            <a:ln>
              <a:noFill/>
            </a:ln>
            <a:extLst/>
          </p:spPr>
          <p:txBody>
            <a:bodyPr vert="horz" wrap="square" lIns="91440" tIns="45720" rIns="91440" bIns="45720" numCol="1" anchor="t" anchorCtr="0" compatLnSpc="1">
              <a:prstTxWarp prst="textNoShape">
                <a:avLst/>
              </a:prstTxWarp>
            </a:bodyPr>
            <a:lstStyle/>
            <a:p>
              <a:endParaRPr lang="de-DE"/>
            </a:p>
          </p:txBody>
        </p:sp>
        <p:grpSp>
          <p:nvGrpSpPr>
            <p:cNvPr id="238" name="Gruppieren 237"/>
            <p:cNvGrpSpPr>
              <a:grpSpLocks noChangeAspect="1"/>
            </p:cNvGrpSpPr>
            <p:nvPr/>
          </p:nvGrpSpPr>
          <p:grpSpPr>
            <a:xfrm>
              <a:off x="1308439" y="1116696"/>
              <a:ext cx="526381" cy="441973"/>
              <a:chOff x="4032250" y="279400"/>
              <a:chExt cx="747713" cy="601663"/>
            </a:xfrm>
            <a:solidFill>
              <a:srgbClr val="8DC63F"/>
            </a:solidFill>
          </p:grpSpPr>
          <p:sp>
            <p:nvSpPr>
              <p:cNvPr id="239" name="Freeform 5"/>
              <p:cNvSpPr>
                <a:spLocks noEditPoints="1"/>
              </p:cNvSpPr>
              <p:nvPr/>
            </p:nvSpPr>
            <p:spPr bwMode="auto">
              <a:xfrm>
                <a:off x="4032250" y="481013"/>
                <a:ext cx="674688" cy="400050"/>
              </a:xfrm>
              <a:custGeom>
                <a:avLst/>
                <a:gdLst>
                  <a:gd name="T0" fmla="*/ 590 w 2122"/>
                  <a:gd name="T1" fmla="*/ 477 h 1262"/>
                  <a:gd name="T2" fmla="*/ 590 w 2122"/>
                  <a:gd name="T3" fmla="*/ 1262 h 1262"/>
                  <a:gd name="T4" fmla="*/ 942 w 2122"/>
                  <a:gd name="T5" fmla="*/ 1262 h 1262"/>
                  <a:gd name="T6" fmla="*/ 942 w 2122"/>
                  <a:gd name="T7" fmla="*/ 482 h 1262"/>
                  <a:gd name="T8" fmla="*/ 765 w 2122"/>
                  <a:gd name="T9" fmla="*/ 334 h 1262"/>
                  <a:gd name="T10" fmla="*/ 590 w 2122"/>
                  <a:gd name="T11" fmla="*/ 477 h 1262"/>
                  <a:gd name="T12" fmla="*/ 0 w 2122"/>
                  <a:gd name="T13" fmla="*/ 1262 h 1262"/>
                  <a:gd name="T14" fmla="*/ 352 w 2122"/>
                  <a:gd name="T15" fmla="*/ 1262 h 1262"/>
                  <a:gd name="T16" fmla="*/ 352 w 2122"/>
                  <a:gd name="T17" fmla="*/ 673 h 1262"/>
                  <a:gd name="T18" fmla="*/ 0 w 2122"/>
                  <a:gd name="T19" fmla="*/ 959 h 1262"/>
                  <a:gd name="T20" fmla="*/ 0 w 2122"/>
                  <a:gd name="T21" fmla="*/ 1262 h 1262"/>
                  <a:gd name="T22" fmla="*/ 1770 w 2122"/>
                  <a:gd name="T23" fmla="*/ 301 h 1262"/>
                  <a:gd name="T24" fmla="*/ 1770 w 2122"/>
                  <a:gd name="T25" fmla="*/ 1262 h 1262"/>
                  <a:gd name="T26" fmla="*/ 2122 w 2122"/>
                  <a:gd name="T27" fmla="*/ 1262 h 1262"/>
                  <a:gd name="T28" fmla="*/ 2122 w 2122"/>
                  <a:gd name="T29" fmla="*/ 0 h 1262"/>
                  <a:gd name="T30" fmla="*/ 1770 w 2122"/>
                  <a:gd name="T31" fmla="*/ 301 h 1262"/>
                  <a:gd name="T32" fmla="*/ 1180 w 2122"/>
                  <a:gd name="T33" fmla="*/ 683 h 1262"/>
                  <a:gd name="T34" fmla="*/ 1180 w 2122"/>
                  <a:gd name="T35" fmla="*/ 1262 h 1262"/>
                  <a:gd name="T36" fmla="*/ 1532 w 2122"/>
                  <a:gd name="T37" fmla="*/ 1262 h 1262"/>
                  <a:gd name="T38" fmla="*/ 1532 w 2122"/>
                  <a:gd name="T39" fmla="*/ 504 h 1262"/>
                  <a:gd name="T40" fmla="*/ 1250 w 2122"/>
                  <a:gd name="T41" fmla="*/ 743 h 1262"/>
                  <a:gd name="T42" fmla="*/ 1180 w 2122"/>
                  <a:gd name="T43" fmla="*/ 683 h 1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122" h="1262">
                    <a:moveTo>
                      <a:pt x="590" y="477"/>
                    </a:moveTo>
                    <a:lnTo>
                      <a:pt x="590" y="1262"/>
                    </a:lnTo>
                    <a:lnTo>
                      <a:pt x="942" y="1262"/>
                    </a:lnTo>
                    <a:lnTo>
                      <a:pt x="942" y="482"/>
                    </a:lnTo>
                    <a:lnTo>
                      <a:pt x="765" y="334"/>
                    </a:lnTo>
                    <a:lnTo>
                      <a:pt x="590" y="477"/>
                    </a:lnTo>
                    <a:close/>
                    <a:moveTo>
                      <a:pt x="0" y="1262"/>
                    </a:moveTo>
                    <a:lnTo>
                      <a:pt x="352" y="1262"/>
                    </a:lnTo>
                    <a:lnTo>
                      <a:pt x="352" y="673"/>
                    </a:lnTo>
                    <a:lnTo>
                      <a:pt x="0" y="959"/>
                    </a:lnTo>
                    <a:lnTo>
                      <a:pt x="0" y="1262"/>
                    </a:lnTo>
                    <a:close/>
                    <a:moveTo>
                      <a:pt x="1770" y="301"/>
                    </a:moveTo>
                    <a:lnTo>
                      <a:pt x="1770" y="1262"/>
                    </a:lnTo>
                    <a:lnTo>
                      <a:pt x="2122" y="1262"/>
                    </a:lnTo>
                    <a:lnTo>
                      <a:pt x="2122" y="0"/>
                    </a:lnTo>
                    <a:lnTo>
                      <a:pt x="1770" y="301"/>
                    </a:lnTo>
                    <a:close/>
                    <a:moveTo>
                      <a:pt x="1180" y="683"/>
                    </a:moveTo>
                    <a:lnTo>
                      <a:pt x="1180" y="1262"/>
                    </a:lnTo>
                    <a:lnTo>
                      <a:pt x="1532" y="1262"/>
                    </a:lnTo>
                    <a:lnTo>
                      <a:pt x="1532" y="504"/>
                    </a:lnTo>
                    <a:lnTo>
                      <a:pt x="1250" y="743"/>
                    </a:lnTo>
                    <a:lnTo>
                      <a:pt x="1180" y="683"/>
                    </a:lnTo>
                    <a:close/>
                  </a:path>
                </a:pathLst>
              </a:custGeom>
              <a:grpFill/>
              <a:ln>
                <a:noFill/>
              </a:ln>
            </p:spPr>
            <p:txBody>
              <a:bodyPr vert="horz" wrap="square" lIns="91440" tIns="45720" rIns="91440" bIns="45720" numCol="1" anchor="t" anchorCtr="0" compatLnSpc="1">
                <a:prstTxWarp prst="textNoShape">
                  <a:avLst/>
                </a:prstTxWarp>
              </a:bodyPr>
              <a:lstStyle/>
              <a:p>
                <a:endParaRPr lang="en-GB" dirty="0"/>
              </a:p>
            </p:txBody>
          </p:sp>
          <p:sp>
            <p:nvSpPr>
              <p:cNvPr id="240" name="Freeform 6"/>
              <p:cNvSpPr>
                <a:spLocks/>
              </p:cNvSpPr>
              <p:nvPr/>
            </p:nvSpPr>
            <p:spPr bwMode="auto">
              <a:xfrm>
                <a:off x="4032250" y="279400"/>
                <a:ext cx="747713" cy="436563"/>
              </a:xfrm>
              <a:custGeom>
                <a:avLst/>
                <a:gdLst>
                  <a:gd name="T0" fmla="*/ 2355 w 2355"/>
                  <a:gd name="T1" fmla="*/ 0 h 1376"/>
                  <a:gd name="T2" fmla="*/ 1681 w 2355"/>
                  <a:gd name="T3" fmla="*/ 0 h 1376"/>
                  <a:gd name="T4" fmla="*/ 1967 w 2355"/>
                  <a:gd name="T5" fmla="*/ 278 h 1376"/>
                  <a:gd name="T6" fmla="*/ 1252 w 2355"/>
                  <a:gd name="T7" fmla="*/ 887 h 1376"/>
                  <a:gd name="T8" fmla="*/ 767 w 2355"/>
                  <a:gd name="T9" fmla="*/ 478 h 1376"/>
                  <a:gd name="T10" fmla="*/ 0 w 2355"/>
                  <a:gd name="T11" fmla="*/ 1106 h 1376"/>
                  <a:gd name="T12" fmla="*/ 0 w 2355"/>
                  <a:gd name="T13" fmla="*/ 1376 h 1376"/>
                  <a:gd name="T14" fmla="*/ 767 w 2355"/>
                  <a:gd name="T15" fmla="*/ 750 h 1376"/>
                  <a:gd name="T16" fmla="*/ 1252 w 2355"/>
                  <a:gd name="T17" fmla="*/ 1158 h 1376"/>
                  <a:gd name="T18" fmla="*/ 2116 w 2355"/>
                  <a:gd name="T19" fmla="*/ 423 h 1376"/>
                  <a:gd name="T20" fmla="*/ 2355 w 2355"/>
                  <a:gd name="T21" fmla="*/ 655 h 1376"/>
                  <a:gd name="T22" fmla="*/ 2355 w 2355"/>
                  <a:gd name="T23" fmla="*/ 0 h 1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55" h="1376">
                    <a:moveTo>
                      <a:pt x="2355" y="0"/>
                    </a:moveTo>
                    <a:lnTo>
                      <a:pt x="1681" y="0"/>
                    </a:lnTo>
                    <a:lnTo>
                      <a:pt x="1967" y="278"/>
                    </a:lnTo>
                    <a:lnTo>
                      <a:pt x="1252" y="887"/>
                    </a:lnTo>
                    <a:lnTo>
                      <a:pt x="767" y="478"/>
                    </a:lnTo>
                    <a:lnTo>
                      <a:pt x="0" y="1106"/>
                    </a:lnTo>
                    <a:lnTo>
                      <a:pt x="0" y="1376"/>
                    </a:lnTo>
                    <a:lnTo>
                      <a:pt x="767" y="750"/>
                    </a:lnTo>
                    <a:lnTo>
                      <a:pt x="1252" y="1158"/>
                    </a:lnTo>
                    <a:lnTo>
                      <a:pt x="2116" y="423"/>
                    </a:lnTo>
                    <a:lnTo>
                      <a:pt x="2355" y="655"/>
                    </a:lnTo>
                    <a:lnTo>
                      <a:pt x="2355" y="0"/>
                    </a:lnTo>
                    <a:close/>
                  </a:path>
                </a:pathLst>
              </a:custGeom>
              <a:grpFill/>
              <a:ln>
                <a:noFill/>
              </a:ln>
            </p:spPr>
            <p:txBody>
              <a:bodyPr vert="horz" wrap="square" lIns="91440" tIns="45720" rIns="91440" bIns="45720" numCol="1" anchor="t" anchorCtr="0" compatLnSpc="1">
                <a:prstTxWarp prst="textNoShape">
                  <a:avLst/>
                </a:prstTxWarp>
              </a:bodyPr>
              <a:lstStyle/>
              <a:p>
                <a:endParaRPr lang="en-GB" dirty="0"/>
              </a:p>
            </p:txBody>
          </p:sp>
        </p:grpSp>
        <p:cxnSp>
          <p:nvCxnSpPr>
            <p:cNvPr id="385" name="Straight Connector 396"/>
            <p:cNvCxnSpPr/>
            <p:nvPr/>
          </p:nvCxnSpPr>
          <p:spPr>
            <a:xfrm flipH="1" flipV="1">
              <a:off x="3727160" y="1761443"/>
              <a:ext cx="394790" cy="491278"/>
            </a:xfrm>
            <a:prstGeom prst="line">
              <a:avLst/>
            </a:prstGeom>
            <a:ln w="12700">
              <a:solidFill>
                <a:schemeClr val="tx1"/>
              </a:solidFill>
              <a:prstDash val="sysDash"/>
            </a:ln>
          </p:spPr>
          <p:style>
            <a:lnRef idx="2">
              <a:schemeClr val="accent1"/>
            </a:lnRef>
            <a:fillRef idx="0">
              <a:schemeClr val="accent1"/>
            </a:fillRef>
            <a:effectRef idx="1">
              <a:schemeClr val="accent1"/>
            </a:effectRef>
            <a:fontRef idx="minor">
              <a:schemeClr val="tx1"/>
            </a:fontRef>
          </p:style>
        </p:cxnSp>
        <p:grpSp>
          <p:nvGrpSpPr>
            <p:cNvPr id="247" name="Gruppieren 174"/>
            <p:cNvGrpSpPr>
              <a:grpSpLocks noChangeAspect="1"/>
            </p:cNvGrpSpPr>
            <p:nvPr/>
          </p:nvGrpSpPr>
          <p:grpSpPr>
            <a:xfrm>
              <a:off x="3465401" y="1371674"/>
              <a:ext cx="495304" cy="484329"/>
              <a:chOff x="7769607" y="2797113"/>
              <a:chExt cx="453178" cy="443139"/>
            </a:xfrm>
            <a:solidFill>
              <a:srgbClr val="8DC63F"/>
            </a:solidFill>
          </p:grpSpPr>
          <p:sp>
            <p:nvSpPr>
              <p:cNvPr id="248" name="Freeform 127"/>
              <p:cNvSpPr>
                <a:spLocks/>
              </p:cNvSpPr>
              <p:nvPr/>
            </p:nvSpPr>
            <p:spPr bwMode="auto">
              <a:xfrm>
                <a:off x="7769607" y="2805718"/>
                <a:ext cx="410155" cy="434534"/>
              </a:xfrm>
              <a:custGeom>
                <a:avLst/>
                <a:gdLst>
                  <a:gd name="T0" fmla="*/ 294 w 573"/>
                  <a:gd name="T1" fmla="*/ 310 h 607"/>
                  <a:gd name="T2" fmla="*/ 294 w 573"/>
                  <a:gd name="T3" fmla="*/ 0 h 607"/>
                  <a:gd name="T4" fmla="*/ 294 w 573"/>
                  <a:gd name="T5" fmla="*/ 0 h 607"/>
                  <a:gd name="T6" fmla="*/ 264 w 573"/>
                  <a:gd name="T7" fmla="*/ 3 h 607"/>
                  <a:gd name="T8" fmla="*/ 235 w 573"/>
                  <a:gd name="T9" fmla="*/ 8 h 607"/>
                  <a:gd name="T10" fmla="*/ 206 w 573"/>
                  <a:gd name="T11" fmla="*/ 16 h 607"/>
                  <a:gd name="T12" fmla="*/ 180 w 573"/>
                  <a:gd name="T13" fmla="*/ 27 h 607"/>
                  <a:gd name="T14" fmla="*/ 154 w 573"/>
                  <a:gd name="T15" fmla="*/ 39 h 607"/>
                  <a:gd name="T16" fmla="*/ 129 w 573"/>
                  <a:gd name="T17" fmla="*/ 55 h 607"/>
                  <a:gd name="T18" fmla="*/ 107 w 573"/>
                  <a:gd name="T19" fmla="*/ 73 h 607"/>
                  <a:gd name="T20" fmla="*/ 86 w 573"/>
                  <a:gd name="T21" fmla="*/ 91 h 607"/>
                  <a:gd name="T22" fmla="*/ 67 w 573"/>
                  <a:gd name="T23" fmla="*/ 113 h 607"/>
                  <a:gd name="T24" fmla="*/ 50 w 573"/>
                  <a:gd name="T25" fmla="*/ 137 h 607"/>
                  <a:gd name="T26" fmla="*/ 36 w 573"/>
                  <a:gd name="T27" fmla="*/ 161 h 607"/>
                  <a:gd name="T28" fmla="*/ 23 w 573"/>
                  <a:gd name="T29" fmla="*/ 188 h 607"/>
                  <a:gd name="T30" fmla="*/ 14 w 573"/>
                  <a:gd name="T31" fmla="*/ 215 h 607"/>
                  <a:gd name="T32" fmla="*/ 7 w 573"/>
                  <a:gd name="T33" fmla="*/ 243 h 607"/>
                  <a:gd name="T34" fmla="*/ 2 w 573"/>
                  <a:gd name="T35" fmla="*/ 272 h 607"/>
                  <a:gd name="T36" fmla="*/ 0 w 573"/>
                  <a:gd name="T37" fmla="*/ 303 h 607"/>
                  <a:gd name="T38" fmla="*/ 0 w 573"/>
                  <a:gd name="T39" fmla="*/ 303 h 607"/>
                  <a:gd name="T40" fmla="*/ 2 w 573"/>
                  <a:gd name="T41" fmla="*/ 334 h 607"/>
                  <a:gd name="T42" fmla="*/ 7 w 573"/>
                  <a:gd name="T43" fmla="*/ 365 h 607"/>
                  <a:gd name="T44" fmla="*/ 14 w 573"/>
                  <a:gd name="T45" fmla="*/ 393 h 607"/>
                  <a:gd name="T46" fmla="*/ 24 w 573"/>
                  <a:gd name="T47" fmla="*/ 421 h 607"/>
                  <a:gd name="T48" fmla="*/ 38 w 573"/>
                  <a:gd name="T49" fmla="*/ 448 h 607"/>
                  <a:gd name="T50" fmla="*/ 53 w 573"/>
                  <a:gd name="T51" fmla="*/ 473 h 607"/>
                  <a:gd name="T52" fmla="*/ 70 w 573"/>
                  <a:gd name="T53" fmla="*/ 496 h 607"/>
                  <a:gd name="T54" fmla="*/ 90 w 573"/>
                  <a:gd name="T55" fmla="*/ 517 h 607"/>
                  <a:gd name="T56" fmla="*/ 111 w 573"/>
                  <a:gd name="T57" fmla="*/ 537 h 607"/>
                  <a:gd name="T58" fmla="*/ 134 w 573"/>
                  <a:gd name="T59" fmla="*/ 555 h 607"/>
                  <a:gd name="T60" fmla="*/ 160 w 573"/>
                  <a:gd name="T61" fmla="*/ 569 h 607"/>
                  <a:gd name="T62" fmla="*/ 186 w 573"/>
                  <a:gd name="T63" fmla="*/ 583 h 607"/>
                  <a:gd name="T64" fmla="*/ 213 w 573"/>
                  <a:gd name="T65" fmla="*/ 592 h 607"/>
                  <a:gd name="T66" fmla="*/ 243 w 573"/>
                  <a:gd name="T67" fmla="*/ 600 h 607"/>
                  <a:gd name="T68" fmla="*/ 273 w 573"/>
                  <a:gd name="T69" fmla="*/ 604 h 607"/>
                  <a:gd name="T70" fmla="*/ 304 w 573"/>
                  <a:gd name="T71" fmla="*/ 607 h 607"/>
                  <a:gd name="T72" fmla="*/ 304 w 573"/>
                  <a:gd name="T73" fmla="*/ 607 h 607"/>
                  <a:gd name="T74" fmla="*/ 326 w 573"/>
                  <a:gd name="T75" fmla="*/ 606 h 607"/>
                  <a:gd name="T76" fmla="*/ 347 w 573"/>
                  <a:gd name="T77" fmla="*/ 603 h 607"/>
                  <a:gd name="T78" fmla="*/ 368 w 573"/>
                  <a:gd name="T79" fmla="*/ 599 h 607"/>
                  <a:gd name="T80" fmla="*/ 389 w 573"/>
                  <a:gd name="T81" fmla="*/ 595 h 607"/>
                  <a:gd name="T82" fmla="*/ 409 w 573"/>
                  <a:gd name="T83" fmla="*/ 588 h 607"/>
                  <a:gd name="T84" fmla="*/ 427 w 573"/>
                  <a:gd name="T85" fmla="*/ 580 h 607"/>
                  <a:gd name="T86" fmla="*/ 446 w 573"/>
                  <a:gd name="T87" fmla="*/ 571 h 607"/>
                  <a:gd name="T88" fmla="*/ 465 w 573"/>
                  <a:gd name="T89" fmla="*/ 560 h 607"/>
                  <a:gd name="T90" fmla="*/ 481 w 573"/>
                  <a:gd name="T91" fmla="*/ 549 h 607"/>
                  <a:gd name="T92" fmla="*/ 497 w 573"/>
                  <a:gd name="T93" fmla="*/ 536 h 607"/>
                  <a:gd name="T94" fmla="*/ 513 w 573"/>
                  <a:gd name="T95" fmla="*/ 523 h 607"/>
                  <a:gd name="T96" fmla="*/ 528 w 573"/>
                  <a:gd name="T97" fmla="*/ 508 h 607"/>
                  <a:gd name="T98" fmla="*/ 540 w 573"/>
                  <a:gd name="T99" fmla="*/ 493 h 607"/>
                  <a:gd name="T100" fmla="*/ 553 w 573"/>
                  <a:gd name="T101" fmla="*/ 476 h 607"/>
                  <a:gd name="T102" fmla="*/ 564 w 573"/>
                  <a:gd name="T103" fmla="*/ 460 h 607"/>
                  <a:gd name="T104" fmla="*/ 573 w 573"/>
                  <a:gd name="T105" fmla="*/ 441 h 607"/>
                  <a:gd name="T106" fmla="*/ 294 w 573"/>
                  <a:gd name="T107" fmla="*/ 310 h 6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73" h="607">
                    <a:moveTo>
                      <a:pt x="294" y="310"/>
                    </a:moveTo>
                    <a:lnTo>
                      <a:pt x="294" y="0"/>
                    </a:lnTo>
                    <a:lnTo>
                      <a:pt x="294" y="0"/>
                    </a:lnTo>
                    <a:lnTo>
                      <a:pt x="264" y="3"/>
                    </a:lnTo>
                    <a:lnTo>
                      <a:pt x="235" y="8"/>
                    </a:lnTo>
                    <a:lnTo>
                      <a:pt x="206" y="16"/>
                    </a:lnTo>
                    <a:lnTo>
                      <a:pt x="180" y="27"/>
                    </a:lnTo>
                    <a:lnTo>
                      <a:pt x="154" y="39"/>
                    </a:lnTo>
                    <a:lnTo>
                      <a:pt x="129" y="55"/>
                    </a:lnTo>
                    <a:lnTo>
                      <a:pt x="107" y="73"/>
                    </a:lnTo>
                    <a:lnTo>
                      <a:pt x="86" y="91"/>
                    </a:lnTo>
                    <a:lnTo>
                      <a:pt x="67" y="113"/>
                    </a:lnTo>
                    <a:lnTo>
                      <a:pt x="50" y="137"/>
                    </a:lnTo>
                    <a:lnTo>
                      <a:pt x="36" y="161"/>
                    </a:lnTo>
                    <a:lnTo>
                      <a:pt x="23" y="188"/>
                    </a:lnTo>
                    <a:lnTo>
                      <a:pt x="14" y="215"/>
                    </a:lnTo>
                    <a:lnTo>
                      <a:pt x="7" y="243"/>
                    </a:lnTo>
                    <a:lnTo>
                      <a:pt x="2" y="272"/>
                    </a:lnTo>
                    <a:lnTo>
                      <a:pt x="0" y="303"/>
                    </a:lnTo>
                    <a:lnTo>
                      <a:pt x="0" y="303"/>
                    </a:lnTo>
                    <a:lnTo>
                      <a:pt x="2" y="334"/>
                    </a:lnTo>
                    <a:lnTo>
                      <a:pt x="7" y="365"/>
                    </a:lnTo>
                    <a:lnTo>
                      <a:pt x="14" y="393"/>
                    </a:lnTo>
                    <a:lnTo>
                      <a:pt x="24" y="421"/>
                    </a:lnTo>
                    <a:lnTo>
                      <a:pt x="38" y="448"/>
                    </a:lnTo>
                    <a:lnTo>
                      <a:pt x="53" y="473"/>
                    </a:lnTo>
                    <a:lnTo>
                      <a:pt x="70" y="496"/>
                    </a:lnTo>
                    <a:lnTo>
                      <a:pt x="90" y="517"/>
                    </a:lnTo>
                    <a:lnTo>
                      <a:pt x="111" y="537"/>
                    </a:lnTo>
                    <a:lnTo>
                      <a:pt x="134" y="555"/>
                    </a:lnTo>
                    <a:lnTo>
                      <a:pt x="160" y="569"/>
                    </a:lnTo>
                    <a:lnTo>
                      <a:pt x="186" y="583"/>
                    </a:lnTo>
                    <a:lnTo>
                      <a:pt x="213" y="592"/>
                    </a:lnTo>
                    <a:lnTo>
                      <a:pt x="243" y="600"/>
                    </a:lnTo>
                    <a:lnTo>
                      <a:pt x="273" y="604"/>
                    </a:lnTo>
                    <a:lnTo>
                      <a:pt x="304" y="607"/>
                    </a:lnTo>
                    <a:lnTo>
                      <a:pt x="304" y="607"/>
                    </a:lnTo>
                    <a:lnTo>
                      <a:pt x="326" y="606"/>
                    </a:lnTo>
                    <a:lnTo>
                      <a:pt x="347" y="603"/>
                    </a:lnTo>
                    <a:lnTo>
                      <a:pt x="368" y="599"/>
                    </a:lnTo>
                    <a:lnTo>
                      <a:pt x="389" y="595"/>
                    </a:lnTo>
                    <a:lnTo>
                      <a:pt x="409" y="588"/>
                    </a:lnTo>
                    <a:lnTo>
                      <a:pt x="427" y="580"/>
                    </a:lnTo>
                    <a:lnTo>
                      <a:pt x="446" y="571"/>
                    </a:lnTo>
                    <a:lnTo>
                      <a:pt x="465" y="560"/>
                    </a:lnTo>
                    <a:lnTo>
                      <a:pt x="481" y="549"/>
                    </a:lnTo>
                    <a:lnTo>
                      <a:pt x="497" y="536"/>
                    </a:lnTo>
                    <a:lnTo>
                      <a:pt x="513" y="523"/>
                    </a:lnTo>
                    <a:lnTo>
                      <a:pt x="528" y="508"/>
                    </a:lnTo>
                    <a:lnTo>
                      <a:pt x="540" y="493"/>
                    </a:lnTo>
                    <a:lnTo>
                      <a:pt x="553" y="476"/>
                    </a:lnTo>
                    <a:lnTo>
                      <a:pt x="564" y="460"/>
                    </a:lnTo>
                    <a:lnTo>
                      <a:pt x="573" y="441"/>
                    </a:lnTo>
                    <a:lnTo>
                      <a:pt x="294" y="310"/>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dirty="0"/>
              </a:p>
            </p:txBody>
          </p:sp>
          <p:sp>
            <p:nvSpPr>
              <p:cNvPr id="249" name="Freeform 128"/>
              <p:cNvSpPr>
                <a:spLocks/>
              </p:cNvSpPr>
              <p:nvPr/>
            </p:nvSpPr>
            <p:spPr bwMode="auto">
              <a:xfrm>
                <a:off x="8009103" y="2797113"/>
                <a:ext cx="213682" cy="305465"/>
              </a:xfrm>
              <a:custGeom>
                <a:avLst/>
                <a:gdLst>
                  <a:gd name="T0" fmla="*/ 0 w 297"/>
                  <a:gd name="T1" fmla="*/ 299 h 426"/>
                  <a:gd name="T2" fmla="*/ 270 w 297"/>
                  <a:gd name="T3" fmla="*/ 426 h 426"/>
                  <a:gd name="T4" fmla="*/ 270 w 297"/>
                  <a:gd name="T5" fmla="*/ 426 h 426"/>
                  <a:gd name="T6" fmla="*/ 281 w 297"/>
                  <a:gd name="T7" fmla="*/ 397 h 426"/>
                  <a:gd name="T8" fmla="*/ 287 w 297"/>
                  <a:gd name="T9" fmla="*/ 382 h 426"/>
                  <a:gd name="T10" fmla="*/ 291 w 297"/>
                  <a:gd name="T11" fmla="*/ 367 h 426"/>
                  <a:gd name="T12" fmla="*/ 293 w 297"/>
                  <a:gd name="T13" fmla="*/ 351 h 426"/>
                  <a:gd name="T14" fmla="*/ 295 w 297"/>
                  <a:gd name="T15" fmla="*/ 335 h 426"/>
                  <a:gd name="T16" fmla="*/ 296 w 297"/>
                  <a:gd name="T17" fmla="*/ 319 h 426"/>
                  <a:gd name="T18" fmla="*/ 297 w 297"/>
                  <a:gd name="T19" fmla="*/ 303 h 426"/>
                  <a:gd name="T20" fmla="*/ 297 w 297"/>
                  <a:gd name="T21" fmla="*/ 303 h 426"/>
                  <a:gd name="T22" fmla="*/ 295 w 297"/>
                  <a:gd name="T23" fmla="*/ 272 h 426"/>
                  <a:gd name="T24" fmla="*/ 291 w 297"/>
                  <a:gd name="T25" fmla="*/ 243 h 426"/>
                  <a:gd name="T26" fmla="*/ 284 w 297"/>
                  <a:gd name="T27" fmla="*/ 214 h 426"/>
                  <a:gd name="T28" fmla="*/ 273 w 297"/>
                  <a:gd name="T29" fmla="*/ 186 h 426"/>
                  <a:gd name="T30" fmla="*/ 261 w 297"/>
                  <a:gd name="T31" fmla="*/ 160 h 426"/>
                  <a:gd name="T32" fmla="*/ 246 w 297"/>
                  <a:gd name="T33" fmla="*/ 135 h 426"/>
                  <a:gd name="T34" fmla="*/ 229 w 297"/>
                  <a:gd name="T35" fmla="*/ 113 h 426"/>
                  <a:gd name="T36" fmla="*/ 210 w 297"/>
                  <a:gd name="T37" fmla="*/ 91 h 426"/>
                  <a:gd name="T38" fmla="*/ 189 w 297"/>
                  <a:gd name="T39" fmla="*/ 71 h 426"/>
                  <a:gd name="T40" fmla="*/ 166 w 297"/>
                  <a:gd name="T41" fmla="*/ 54 h 426"/>
                  <a:gd name="T42" fmla="*/ 142 w 297"/>
                  <a:gd name="T43" fmla="*/ 38 h 426"/>
                  <a:gd name="T44" fmla="*/ 115 w 297"/>
                  <a:gd name="T45" fmla="*/ 26 h 426"/>
                  <a:gd name="T46" fmla="*/ 88 w 297"/>
                  <a:gd name="T47" fmla="*/ 15 h 426"/>
                  <a:gd name="T48" fmla="*/ 60 w 297"/>
                  <a:gd name="T49" fmla="*/ 7 h 426"/>
                  <a:gd name="T50" fmla="*/ 31 w 297"/>
                  <a:gd name="T51" fmla="*/ 2 h 426"/>
                  <a:gd name="T52" fmla="*/ 0 w 297"/>
                  <a:gd name="T53" fmla="*/ 0 h 426"/>
                  <a:gd name="T54" fmla="*/ 0 w 297"/>
                  <a:gd name="T55" fmla="*/ 299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97" h="426">
                    <a:moveTo>
                      <a:pt x="0" y="299"/>
                    </a:moveTo>
                    <a:lnTo>
                      <a:pt x="270" y="426"/>
                    </a:lnTo>
                    <a:lnTo>
                      <a:pt x="270" y="426"/>
                    </a:lnTo>
                    <a:lnTo>
                      <a:pt x="281" y="397"/>
                    </a:lnTo>
                    <a:lnTo>
                      <a:pt x="287" y="382"/>
                    </a:lnTo>
                    <a:lnTo>
                      <a:pt x="291" y="367"/>
                    </a:lnTo>
                    <a:lnTo>
                      <a:pt x="293" y="351"/>
                    </a:lnTo>
                    <a:lnTo>
                      <a:pt x="295" y="335"/>
                    </a:lnTo>
                    <a:lnTo>
                      <a:pt x="296" y="319"/>
                    </a:lnTo>
                    <a:lnTo>
                      <a:pt x="297" y="303"/>
                    </a:lnTo>
                    <a:lnTo>
                      <a:pt x="297" y="303"/>
                    </a:lnTo>
                    <a:lnTo>
                      <a:pt x="295" y="272"/>
                    </a:lnTo>
                    <a:lnTo>
                      <a:pt x="291" y="243"/>
                    </a:lnTo>
                    <a:lnTo>
                      <a:pt x="284" y="214"/>
                    </a:lnTo>
                    <a:lnTo>
                      <a:pt x="273" y="186"/>
                    </a:lnTo>
                    <a:lnTo>
                      <a:pt x="261" y="160"/>
                    </a:lnTo>
                    <a:lnTo>
                      <a:pt x="246" y="135"/>
                    </a:lnTo>
                    <a:lnTo>
                      <a:pt x="229" y="113"/>
                    </a:lnTo>
                    <a:lnTo>
                      <a:pt x="210" y="91"/>
                    </a:lnTo>
                    <a:lnTo>
                      <a:pt x="189" y="71"/>
                    </a:lnTo>
                    <a:lnTo>
                      <a:pt x="166" y="54"/>
                    </a:lnTo>
                    <a:lnTo>
                      <a:pt x="142" y="38"/>
                    </a:lnTo>
                    <a:lnTo>
                      <a:pt x="115" y="26"/>
                    </a:lnTo>
                    <a:lnTo>
                      <a:pt x="88" y="15"/>
                    </a:lnTo>
                    <a:lnTo>
                      <a:pt x="60" y="7"/>
                    </a:lnTo>
                    <a:lnTo>
                      <a:pt x="31" y="2"/>
                    </a:lnTo>
                    <a:lnTo>
                      <a:pt x="0" y="0"/>
                    </a:lnTo>
                    <a:lnTo>
                      <a:pt x="0" y="299"/>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dirty="0"/>
              </a:p>
            </p:txBody>
          </p:sp>
        </p:grpSp>
        <p:cxnSp>
          <p:nvCxnSpPr>
            <p:cNvPr id="386" name="Straight Connector 396"/>
            <p:cNvCxnSpPr/>
            <p:nvPr/>
          </p:nvCxnSpPr>
          <p:spPr>
            <a:xfrm flipV="1">
              <a:off x="4530349" y="1889027"/>
              <a:ext cx="170946" cy="400047"/>
            </a:xfrm>
            <a:prstGeom prst="line">
              <a:avLst/>
            </a:prstGeom>
            <a:ln w="12700">
              <a:solidFill>
                <a:schemeClr val="tx1"/>
              </a:solidFill>
              <a:prstDash val="sysDash"/>
            </a:ln>
          </p:spPr>
          <p:style>
            <a:lnRef idx="2">
              <a:schemeClr val="accent1"/>
            </a:lnRef>
            <a:fillRef idx="0">
              <a:schemeClr val="accent1"/>
            </a:fillRef>
            <a:effectRef idx="1">
              <a:schemeClr val="accent1"/>
            </a:effectRef>
            <a:fontRef idx="minor">
              <a:schemeClr val="tx1"/>
            </a:fontRef>
          </p:style>
        </p:cxnSp>
        <p:grpSp>
          <p:nvGrpSpPr>
            <p:cNvPr id="253" name="Gruppieren 187"/>
            <p:cNvGrpSpPr>
              <a:grpSpLocks noChangeAspect="1"/>
            </p:cNvGrpSpPr>
            <p:nvPr/>
          </p:nvGrpSpPr>
          <p:grpSpPr>
            <a:xfrm>
              <a:off x="4566035" y="1295470"/>
              <a:ext cx="481726" cy="614641"/>
              <a:chOff x="1571625" y="-1611313"/>
              <a:chExt cx="2082800" cy="2657476"/>
            </a:xfrm>
            <a:solidFill>
              <a:srgbClr val="8DC63F"/>
            </a:solidFill>
          </p:grpSpPr>
          <p:sp>
            <p:nvSpPr>
              <p:cNvPr id="254" name="Freeform 18"/>
              <p:cNvSpPr>
                <a:spLocks/>
              </p:cNvSpPr>
              <p:nvPr/>
            </p:nvSpPr>
            <p:spPr bwMode="auto">
              <a:xfrm>
                <a:off x="2438400" y="-1157288"/>
                <a:ext cx="990600" cy="393700"/>
              </a:xfrm>
              <a:custGeom>
                <a:avLst/>
                <a:gdLst>
                  <a:gd name="T0" fmla="*/ 312 w 624"/>
                  <a:gd name="T1" fmla="*/ 248 h 248"/>
                  <a:gd name="T2" fmla="*/ 376 w 624"/>
                  <a:gd name="T3" fmla="*/ 246 h 248"/>
                  <a:gd name="T4" fmla="*/ 434 w 624"/>
                  <a:gd name="T5" fmla="*/ 240 h 248"/>
                  <a:gd name="T6" fmla="*/ 486 w 624"/>
                  <a:gd name="T7" fmla="*/ 228 h 248"/>
                  <a:gd name="T8" fmla="*/ 534 w 624"/>
                  <a:gd name="T9" fmla="*/ 212 h 248"/>
                  <a:gd name="T10" fmla="*/ 572 w 624"/>
                  <a:gd name="T11" fmla="*/ 194 h 248"/>
                  <a:gd name="T12" fmla="*/ 600 w 624"/>
                  <a:gd name="T13" fmla="*/ 172 h 248"/>
                  <a:gd name="T14" fmla="*/ 618 w 624"/>
                  <a:gd name="T15" fmla="*/ 150 h 248"/>
                  <a:gd name="T16" fmla="*/ 624 w 624"/>
                  <a:gd name="T17" fmla="*/ 124 h 248"/>
                  <a:gd name="T18" fmla="*/ 624 w 624"/>
                  <a:gd name="T19" fmla="*/ 0 h 248"/>
                  <a:gd name="T20" fmla="*/ 618 w 624"/>
                  <a:gd name="T21" fmla="*/ 24 h 248"/>
                  <a:gd name="T22" fmla="*/ 600 w 624"/>
                  <a:gd name="T23" fmla="*/ 48 h 248"/>
                  <a:gd name="T24" fmla="*/ 572 w 624"/>
                  <a:gd name="T25" fmla="*/ 70 h 248"/>
                  <a:gd name="T26" fmla="*/ 534 w 624"/>
                  <a:gd name="T27" fmla="*/ 88 h 248"/>
                  <a:gd name="T28" fmla="*/ 486 w 624"/>
                  <a:gd name="T29" fmla="*/ 104 h 248"/>
                  <a:gd name="T30" fmla="*/ 434 w 624"/>
                  <a:gd name="T31" fmla="*/ 114 h 248"/>
                  <a:gd name="T32" fmla="*/ 376 w 624"/>
                  <a:gd name="T33" fmla="*/ 122 h 248"/>
                  <a:gd name="T34" fmla="*/ 312 w 624"/>
                  <a:gd name="T35" fmla="*/ 124 h 248"/>
                  <a:gd name="T36" fmla="*/ 280 w 624"/>
                  <a:gd name="T37" fmla="*/ 124 h 248"/>
                  <a:gd name="T38" fmla="*/ 220 w 624"/>
                  <a:gd name="T39" fmla="*/ 118 h 248"/>
                  <a:gd name="T40" fmla="*/ 164 w 624"/>
                  <a:gd name="T41" fmla="*/ 110 h 248"/>
                  <a:gd name="T42" fmla="*/ 114 w 624"/>
                  <a:gd name="T43" fmla="*/ 96 h 248"/>
                  <a:gd name="T44" fmla="*/ 72 w 624"/>
                  <a:gd name="T45" fmla="*/ 78 h 248"/>
                  <a:gd name="T46" fmla="*/ 38 w 624"/>
                  <a:gd name="T47" fmla="*/ 60 h 248"/>
                  <a:gd name="T48" fmla="*/ 14 w 624"/>
                  <a:gd name="T49" fmla="*/ 36 h 248"/>
                  <a:gd name="T50" fmla="*/ 2 w 624"/>
                  <a:gd name="T51" fmla="*/ 12 h 248"/>
                  <a:gd name="T52" fmla="*/ 0 w 624"/>
                  <a:gd name="T53" fmla="*/ 124 h 248"/>
                  <a:gd name="T54" fmla="*/ 2 w 624"/>
                  <a:gd name="T55" fmla="*/ 138 h 248"/>
                  <a:gd name="T56" fmla="*/ 14 w 624"/>
                  <a:gd name="T57" fmla="*/ 162 h 248"/>
                  <a:gd name="T58" fmla="*/ 38 w 624"/>
                  <a:gd name="T59" fmla="*/ 184 h 248"/>
                  <a:gd name="T60" fmla="*/ 72 w 624"/>
                  <a:gd name="T61" fmla="*/ 204 h 248"/>
                  <a:gd name="T62" fmla="*/ 114 w 624"/>
                  <a:gd name="T63" fmla="*/ 220 h 248"/>
                  <a:gd name="T64" fmla="*/ 164 w 624"/>
                  <a:gd name="T65" fmla="*/ 234 h 248"/>
                  <a:gd name="T66" fmla="*/ 220 w 624"/>
                  <a:gd name="T67" fmla="*/ 244 h 248"/>
                  <a:gd name="T68" fmla="*/ 280 w 624"/>
                  <a:gd name="T69" fmla="*/ 248 h 248"/>
                  <a:gd name="T70" fmla="*/ 312 w 624"/>
                  <a:gd name="T71" fmla="*/ 248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24" h="248">
                    <a:moveTo>
                      <a:pt x="312" y="248"/>
                    </a:moveTo>
                    <a:lnTo>
                      <a:pt x="312" y="248"/>
                    </a:lnTo>
                    <a:lnTo>
                      <a:pt x="344" y="248"/>
                    </a:lnTo>
                    <a:lnTo>
                      <a:pt x="376" y="246"/>
                    </a:lnTo>
                    <a:lnTo>
                      <a:pt x="406" y="244"/>
                    </a:lnTo>
                    <a:lnTo>
                      <a:pt x="434" y="240"/>
                    </a:lnTo>
                    <a:lnTo>
                      <a:pt x="462" y="234"/>
                    </a:lnTo>
                    <a:lnTo>
                      <a:pt x="486" y="228"/>
                    </a:lnTo>
                    <a:lnTo>
                      <a:pt x="510" y="220"/>
                    </a:lnTo>
                    <a:lnTo>
                      <a:pt x="534" y="212"/>
                    </a:lnTo>
                    <a:lnTo>
                      <a:pt x="554" y="204"/>
                    </a:lnTo>
                    <a:lnTo>
                      <a:pt x="572" y="194"/>
                    </a:lnTo>
                    <a:lnTo>
                      <a:pt x="586" y="184"/>
                    </a:lnTo>
                    <a:lnTo>
                      <a:pt x="600" y="172"/>
                    </a:lnTo>
                    <a:lnTo>
                      <a:pt x="610" y="162"/>
                    </a:lnTo>
                    <a:lnTo>
                      <a:pt x="618" y="150"/>
                    </a:lnTo>
                    <a:lnTo>
                      <a:pt x="624" y="138"/>
                    </a:lnTo>
                    <a:lnTo>
                      <a:pt x="624" y="124"/>
                    </a:lnTo>
                    <a:lnTo>
                      <a:pt x="624" y="0"/>
                    </a:lnTo>
                    <a:lnTo>
                      <a:pt x="624" y="0"/>
                    </a:lnTo>
                    <a:lnTo>
                      <a:pt x="624" y="12"/>
                    </a:lnTo>
                    <a:lnTo>
                      <a:pt x="618" y="24"/>
                    </a:lnTo>
                    <a:lnTo>
                      <a:pt x="610" y="36"/>
                    </a:lnTo>
                    <a:lnTo>
                      <a:pt x="600" y="48"/>
                    </a:lnTo>
                    <a:lnTo>
                      <a:pt x="586" y="60"/>
                    </a:lnTo>
                    <a:lnTo>
                      <a:pt x="572" y="70"/>
                    </a:lnTo>
                    <a:lnTo>
                      <a:pt x="554" y="78"/>
                    </a:lnTo>
                    <a:lnTo>
                      <a:pt x="534" y="88"/>
                    </a:lnTo>
                    <a:lnTo>
                      <a:pt x="510" y="96"/>
                    </a:lnTo>
                    <a:lnTo>
                      <a:pt x="486" y="104"/>
                    </a:lnTo>
                    <a:lnTo>
                      <a:pt x="462" y="110"/>
                    </a:lnTo>
                    <a:lnTo>
                      <a:pt x="434" y="114"/>
                    </a:lnTo>
                    <a:lnTo>
                      <a:pt x="406" y="118"/>
                    </a:lnTo>
                    <a:lnTo>
                      <a:pt x="376" y="122"/>
                    </a:lnTo>
                    <a:lnTo>
                      <a:pt x="344" y="124"/>
                    </a:lnTo>
                    <a:lnTo>
                      <a:pt x="312" y="124"/>
                    </a:lnTo>
                    <a:lnTo>
                      <a:pt x="312" y="124"/>
                    </a:lnTo>
                    <a:lnTo>
                      <a:pt x="280" y="124"/>
                    </a:lnTo>
                    <a:lnTo>
                      <a:pt x="250" y="122"/>
                    </a:lnTo>
                    <a:lnTo>
                      <a:pt x="220" y="118"/>
                    </a:lnTo>
                    <a:lnTo>
                      <a:pt x="190" y="114"/>
                    </a:lnTo>
                    <a:lnTo>
                      <a:pt x="164" y="110"/>
                    </a:lnTo>
                    <a:lnTo>
                      <a:pt x="138" y="104"/>
                    </a:lnTo>
                    <a:lnTo>
                      <a:pt x="114" y="96"/>
                    </a:lnTo>
                    <a:lnTo>
                      <a:pt x="92" y="88"/>
                    </a:lnTo>
                    <a:lnTo>
                      <a:pt x="72" y="78"/>
                    </a:lnTo>
                    <a:lnTo>
                      <a:pt x="54" y="70"/>
                    </a:lnTo>
                    <a:lnTo>
                      <a:pt x="38" y="60"/>
                    </a:lnTo>
                    <a:lnTo>
                      <a:pt x="26" y="48"/>
                    </a:lnTo>
                    <a:lnTo>
                      <a:pt x="14" y="36"/>
                    </a:lnTo>
                    <a:lnTo>
                      <a:pt x="6" y="24"/>
                    </a:lnTo>
                    <a:lnTo>
                      <a:pt x="2" y="12"/>
                    </a:lnTo>
                    <a:lnTo>
                      <a:pt x="0" y="0"/>
                    </a:lnTo>
                    <a:lnTo>
                      <a:pt x="0" y="124"/>
                    </a:lnTo>
                    <a:lnTo>
                      <a:pt x="0" y="124"/>
                    </a:lnTo>
                    <a:lnTo>
                      <a:pt x="2" y="138"/>
                    </a:lnTo>
                    <a:lnTo>
                      <a:pt x="6" y="150"/>
                    </a:lnTo>
                    <a:lnTo>
                      <a:pt x="14" y="162"/>
                    </a:lnTo>
                    <a:lnTo>
                      <a:pt x="26" y="172"/>
                    </a:lnTo>
                    <a:lnTo>
                      <a:pt x="38" y="184"/>
                    </a:lnTo>
                    <a:lnTo>
                      <a:pt x="54" y="194"/>
                    </a:lnTo>
                    <a:lnTo>
                      <a:pt x="72" y="204"/>
                    </a:lnTo>
                    <a:lnTo>
                      <a:pt x="92" y="212"/>
                    </a:lnTo>
                    <a:lnTo>
                      <a:pt x="114" y="220"/>
                    </a:lnTo>
                    <a:lnTo>
                      <a:pt x="138" y="228"/>
                    </a:lnTo>
                    <a:lnTo>
                      <a:pt x="164" y="234"/>
                    </a:lnTo>
                    <a:lnTo>
                      <a:pt x="190" y="240"/>
                    </a:lnTo>
                    <a:lnTo>
                      <a:pt x="220" y="244"/>
                    </a:lnTo>
                    <a:lnTo>
                      <a:pt x="250" y="246"/>
                    </a:lnTo>
                    <a:lnTo>
                      <a:pt x="280" y="248"/>
                    </a:lnTo>
                    <a:lnTo>
                      <a:pt x="312" y="248"/>
                    </a:lnTo>
                    <a:lnTo>
                      <a:pt x="312" y="2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55" name="Freeform 19"/>
              <p:cNvSpPr>
                <a:spLocks noEditPoints="1"/>
              </p:cNvSpPr>
              <p:nvPr/>
            </p:nvSpPr>
            <p:spPr bwMode="auto">
              <a:xfrm>
                <a:off x="2438400" y="-1611313"/>
                <a:ext cx="990600" cy="593725"/>
              </a:xfrm>
              <a:custGeom>
                <a:avLst/>
                <a:gdLst>
                  <a:gd name="T0" fmla="*/ 344 w 624"/>
                  <a:gd name="T1" fmla="*/ 374 h 374"/>
                  <a:gd name="T2" fmla="*/ 434 w 624"/>
                  <a:gd name="T3" fmla="*/ 364 h 374"/>
                  <a:gd name="T4" fmla="*/ 510 w 624"/>
                  <a:gd name="T5" fmla="*/ 346 h 374"/>
                  <a:gd name="T6" fmla="*/ 572 w 624"/>
                  <a:gd name="T7" fmla="*/ 318 h 374"/>
                  <a:gd name="T8" fmla="*/ 610 w 624"/>
                  <a:gd name="T9" fmla="*/ 286 h 374"/>
                  <a:gd name="T10" fmla="*/ 624 w 624"/>
                  <a:gd name="T11" fmla="*/ 248 h 374"/>
                  <a:gd name="T12" fmla="*/ 624 w 624"/>
                  <a:gd name="T13" fmla="*/ 112 h 374"/>
                  <a:gd name="T14" fmla="*/ 600 w 624"/>
                  <a:gd name="T15" fmla="*/ 76 h 374"/>
                  <a:gd name="T16" fmla="*/ 554 w 624"/>
                  <a:gd name="T17" fmla="*/ 44 h 374"/>
                  <a:gd name="T18" fmla="*/ 486 w 624"/>
                  <a:gd name="T19" fmla="*/ 20 h 374"/>
                  <a:gd name="T20" fmla="*/ 406 w 624"/>
                  <a:gd name="T21" fmla="*/ 4 h 374"/>
                  <a:gd name="T22" fmla="*/ 312 w 624"/>
                  <a:gd name="T23" fmla="*/ 0 h 374"/>
                  <a:gd name="T24" fmla="*/ 250 w 624"/>
                  <a:gd name="T25" fmla="*/ 2 h 374"/>
                  <a:gd name="T26" fmla="*/ 164 w 624"/>
                  <a:gd name="T27" fmla="*/ 14 h 374"/>
                  <a:gd name="T28" fmla="*/ 92 w 624"/>
                  <a:gd name="T29" fmla="*/ 36 h 374"/>
                  <a:gd name="T30" fmla="*/ 38 w 624"/>
                  <a:gd name="T31" fmla="*/ 64 h 374"/>
                  <a:gd name="T32" fmla="*/ 6 w 624"/>
                  <a:gd name="T33" fmla="*/ 98 h 374"/>
                  <a:gd name="T34" fmla="*/ 0 w 624"/>
                  <a:gd name="T35" fmla="*/ 248 h 374"/>
                  <a:gd name="T36" fmla="*/ 6 w 624"/>
                  <a:gd name="T37" fmla="*/ 274 h 374"/>
                  <a:gd name="T38" fmla="*/ 38 w 624"/>
                  <a:gd name="T39" fmla="*/ 308 h 374"/>
                  <a:gd name="T40" fmla="*/ 92 w 624"/>
                  <a:gd name="T41" fmla="*/ 338 h 374"/>
                  <a:gd name="T42" fmla="*/ 164 w 624"/>
                  <a:gd name="T43" fmla="*/ 358 h 374"/>
                  <a:gd name="T44" fmla="*/ 250 w 624"/>
                  <a:gd name="T45" fmla="*/ 372 h 374"/>
                  <a:gd name="T46" fmla="*/ 312 w 624"/>
                  <a:gd name="T47" fmla="*/ 374 h 374"/>
                  <a:gd name="T48" fmla="*/ 344 w 624"/>
                  <a:gd name="T49" fmla="*/ 32 h 374"/>
                  <a:gd name="T50" fmla="*/ 428 w 624"/>
                  <a:gd name="T51" fmla="*/ 40 h 374"/>
                  <a:gd name="T52" fmla="*/ 550 w 624"/>
                  <a:gd name="T53" fmla="*/ 78 h 374"/>
                  <a:gd name="T54" fmla="*/ 582 w 624"/>
                  <a:gd name="T55" fmla="*/ 102 h 374"/>
                  <a:gd name="T56" fmla="*/ 594 w 624"/>
                  <a:gd name="T57" fmla="*/ 124 h 374"/>
                  <a:gd name="T58" fmla="*/ 588 w 624"/>
                  <a:gd name="T59" fmla="*/ 138 h 374"/>
                  <a:gd name="T60" fmla="*/ 562 w 624"/>
                  <a:gd name="T61" fmla="*/ 162 h 374"/>
                  <a:gd name="T62" fmla="*/ 476 w 624"/>
                  <a:gd name="T63" fmla="*/ 198 h 374"/>
                  <a:gd name="T64" fmla="*/ 374 w 624"/>
                  <a:gd name="T65" fmla="*/ 214 h 374"/>
                  <a:gd name="T66" fmla="*/ 312 w 624"/>
                  <a:gd name="T67" fmla="*/ 218 h 374"/>
                  <a:gd name="T68" fmla="*/ 222 w 624"/>
                  <a:gd name="T69" fmla="*/ 212 h 374"/>
                  <a:gd name="T70" fmla="*/ 108 w 624"/>
                  <a:gd name="T71" fmla="*/ 184 h 374"/>
                  <a:gd name="T72" fmla="*/ 52 w 624"/>
                  <a:gd name="T73" fmla="*/ 154 h 374"/>
                  <a:gd name="T74" fmla="*/ 32 w 624"/>
                  <a:gd name="T75" fmla="*/ 132 h 374"/>
                  <a:gd name="T76" fmla="*/ 32 w 624"/>
                  <a:gd name="T77" fmla="*/ 116 h 374"/>
                  <a:gd name="T78" fmla="*/ 52 w 624"/>
                  <a:gd name="T79" fmla="*/ 94 h 374"/>
                  <a:gd name="T80" fmla="*/ 108 w 624"/>
                  <a:gd name="T81" fmla="*/ 64 h 374"/>
                  <a:gd name="T82" fmla="*/ 222 w 624"/>
                  <a:gd name="T83" fmla="*/ 36 h 374"/>
                  <a:gd name="T84" fmla="*/ 312 w 624"/>
                  <a:gd name="T85" fmla="*/ 30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24" h="374">
                    <a:moveTo>
                      <a:pt x="312" y="374"/>
                    </a:moveTo>
                    <a:lnTo>
                      <a:pt x="312" y="374"/>
                    </a:lnTo>
                    <a:lnTo>
                      <a:pt x="344" y="374"/>
                    </a:lnTo>
                    <a:lnTo>
                      <a:pt x="376" y="372"/>
                    </a:lnTo>
                    <a:lnTo>
                      <a:pt x="406" y="368"/>
                    </a:lnTo>
                    <a:lnTo>
                      <a:pt x="434" y="364"/>
                    </a:lnTo>
                    <a:lnTo>
                      <a:pt x="462" y="358"/>
                    </a:lnTo>
                    <a:lnTo>
                      <a:pt x="486" y="352"/>
                    </a:lnTo>
                    <a:lnTo>
                      <a:pt x="510" y="346"/>
                    </a:lnTo>
                    <a:lnTo>
                      <a:pt x="534" y="338"/>
                    </a:lnTo>
                    <a:lnTo>
                      <a:pt x="554" y="328"/>
                    </a:lnTo>
                    <a:lnTo>
                      <a:pt x="572" y="318"/>
                    </a:lnTo>
                    <a:lnTo>
                      <a:pt x="586" y="308"/>
                    </a:lnTo>
                    <a:lnTo>
                      <a:pt x="600" y="298"/>
                    </a:lnTo>
                    <a:lnTo>
                      <a:pt x="610" y="286"/>
                    </a:lnTo>
                    <a:lnTo>
                      <a:pt x="618" y="274"/>
                    </a:lnTo>
                    <a:lnTo>
                      <a:pt x="624" y="262"/>
                    </a:lnTo>
                    <a:lnTo>
                      <a:pt x="624" y="248"/>
                    </a:lnTo>
                    <a:lnTo>
                      <a:pt x="624" y="124"/>
                    </a:lnTo>
                    <a:lnTo>
                      <a:pt x="624" y="124"/>
                    </a:lnTo>
                    <a:lnTo>
                      <a:pt x="624" y="112"/>
                    </a:lnTo>
                    <a:lnTo>
                      <a:pt x="618" y="98"/>
                    </a:lnTo>
                    <a:lnTo>
                      <a:pt x="610" y="86"/>
                    </a:lnTo>
                    <a:lnTo>
                      <a:pt x="600" y="76"/>
                    </a:lnTo>
                    <a:lnTo>
                      <a:pt x="586" y="64"/>
                    </a:lnTo>
                    <a:lnTo>
                      <a:pt x="572" y="54"/>
                    </a:lnTo>
                    <a:lnTo>
                      <a:pt x="554" y="44"/>
                    </a:lnTo>
                    <a:lnTo>
                      <a:pt x="534" y="36"/>
                    </a:lnTo>
                    <a:lnTo>
                      <a:pt x="510" y="28"/>
                    </a:lnTo>
                    <a:lnTo>
                      <a:pt x="486" y="20"/>
                    </a:lnTo>
                    <a:lnTo>
                      <a:pt x="462" y="14"/>
                    </a:lnTo>
                    <a:lnTo>
                      <a:pt x="434" y="8"/>
                    </a:lnTo>
                    <a:lnTo>
                      <a:pt x="406" y="4"/>
                    </a:lnTo>
                    <a:lnTo>
                      <a:pt x="376" y="2"/>
                    </a:lnTo>
                    <a:lnTo>
                      <a:pt x="344" y="0"/>
                    </a:lnTo>
                    <a:lnTo>
                      <a:pt x="312" y="0"/>
                    </a:lnTo>
                    <a:lnTo>
                      <a:pt x="312" y="0"/>
                    </a:lnTo>
                    <a:lnTo>
                      <a:pt x="280" y="0"/>
                    </a:lnTo>
                    <a:lnTo>
                      <a:pt x="250" y="2"/>
                    </a:lnTo>
                    <a:lnTo>
                      <a:pt x="220" y="4"/>
                    </a:lnTo>
                    <a:lnTo>
                      <a:pt x="190" y="8"/>
                    </a:lnTo>
                    <a:lnTo>
                      <a:pt x="164" y="14"/>
                    </a:lnTo>
                    <a:lnTo>
                      <a:pt x="138" y="20"/>
                    </a:lnTo>
                    <a:lnTo>
                      <a:pt x="114" y="28"/>
                    </a:lnTo>
                    <a:lnTo>
                      <a:pt x="92" y="36"/>
                    </a:lnTo>
                    <a:lnTo>
                      <a:pt x="72" y="44"/>
                    </a:lnTo>
                    <a:lnTo>
                      <a:pt x="54" y="54"/>
                    </a:lnTo>
                    <a:lnTo>
                      <a:pt x="38" y="64"/>
                    </a:lnTo>
                    <a:lnTo>
                      <a:pt x="26" y="76"/>
                    </a:lnTo>
                    <a:lnTo>
                      <a:pt x="14" y="86"/>
                    </a:lnTo>
                    <a:lnTo>
                      <a:pt x="6" y="98"/>
                    </a:lnTo>
                    <a:lnTo>
                      <a:pt x="2" y="112"/>
                    </a:lnTo>
                    <a:lnTo>
                      <a:pt x="0" y="124"/>
                    </a:lnTo>
                    <a:lnTo>
                      <a:pt x="0" y="248"/>
                    </a:lnTo>
                    <a:lnTo>
                      <a:pt x="0" y="248"/>
                    </a:lnTo>
                    <a:lnTo>
                      <a:pt x="2" y="262"/>
                    </a:lnTo>
                    <a:lnTo>
                      <a:pt x="6" y="274"/>
                    </a:lnTo>
                    <a:lnTo>
                      <a:pt x="14" y="286"/>
                    </a:lnTo>
                    <a:lnTo>
                      <a:pt x="26" y="298"/>
                    </a:lnTo>
                    <a:lnTo>
                      <a:pt x="38" y="308"/>
                    </a:lnTo>
                    <a:lnTo>
                      <a:pt x="54" y="318"/>
                    </a:lnTo>
                    <a:lnTo>
                      <a:pt x="72" y="328"/>
                    </a:lnTo>
                    <a:lnTo>
                      <a:pt x="92" y="338"/>
                    </a:lnTo>
                    <a:lnTo>
                      <a:pt x="114" y="346"/>
                    </a:lnTo>
                    <a:lnTo>
                      <a:pt x="138" y="352"/>
                    </a:lnTo>
                    <a:lnTo>
                      <a:pt x="164" y="358"/>
                    </a:lnTo>
                    <a:lnTo>
                      <a:pt x="190" y="364"/>
                    </a:lnTo>
                    <a:lnTo>
                      <a:pt x="220" y="368"/>
                    </a:lnTo>
                    <a:lnTo>
                      <a:pt x="250" y="372"/>
                    </a:lnTo>
                    <a:lnTo>
                      <a:pt x="280" y="374"/>
                    </a:lnTo>
                    <a:lnTo>
                      <a:pt x="312" y="374"/>
                    </a:lnTo>
                    <a:lnTo>
                      <a:pt x="312" y="374"/>
                    </a:lnTo>
                    <a:close/>
                    <a:moveTo>
                      <a:pt x="312" y="30"/>
                    </a:moveTo>
                    <a:lnTo>
                      <a:pt x="312" y="30"/>
                    </a:lnTo>
                    <a:lnTo>
                      <a:pt x="344" y="32"/>
                    </a:lnTo>
                    <a:lnTo>
                      <a:pt x="374" y="34"/>
                    </a:lnTo>
                    <a:lnTo>
                      <a:pt x="402" y="36"/>
                    </a:lnTo>
                    <a:lnTo>
                      <a:pt x="428" y="40"/>
                    </a:lnTo>
                    <a:lnTo>
                      <a:pt x="476" y="50"/>
                    </a:lnTo>
                    <a:lnTo>
                      <a:pt x="518" y="64"/>
                    </a:lnTo>
                    <a:lnTo>
                      <a:pt x="550" y="78"/>
                    </a:lnTo>
                    <a:lnTo>
                      <a:pt x="562" y="86"/>
                    </a:lnTo>
                    <a:lnTo>
                      <a:pt x="574" y="94"/>
                    </a:lnTo>
                    <a:lnTo>
                      <a:pt x="582" y="102"/>
                    </a:lnTo>
                    <a:lnTo>
                      <a:pt x="588" y="110"/>
                    </a:lnTo>
                    <a:lnTo>
                      <a:pt x="592" y="116"/>
                    </a:lnTo>
                    <a:lnTo>
                      <a:pt x="594" y="124"/>
                    </a:lnTo>
                    <a:lnTo>
                      <a:pt x="594" y="124"/>
                    </a:lnTo>
                    <a:lnTo>
                      <a:pt x="592" y="132"/>
                    </a:lnTo>
                    <a:lnTo>
                      <a:pt x="588" y="138"/>
                    </a:lnTo>
                    <a:lnTo>
                      <a:pt x="582" y="146"/>
                    </a:lnTo>
                    <a:lnTo>
                      <a:pt x="574" y="154"/>
                    </a:lnTo>
                    <a:lnTo>
                      <a:pt x="562" y="162"/>
                    </a:lnTo>
                    <a:lnTo>
                      <a:pt x="550" y="170"/>
                    </a:lnTo>
                    <a:lnTo>
                      <a:pt x="518" y="184"/>
                    </a:lnTo>
                    <a:lnTo>
                      <a:pt x="476" y="198"/>
                    </a:lnTo>
                    <a:lnTo>
                      <a:pt x="428" y="208"/>
                    </a:lnTo>
                    <a:lnTo>
                      <a:pt x="402" y="212"/>
                    </a:lnTo>
                    <a:lnTo>
                      <a:pt x="374" y="214"/>
                    </a:lnTo>
                    <a:lnTo>
                      <a:pt x="344" y="216"/>
                    </a:lnTo>
                    <a:lnTo>
                      <a:pt x="312" y="218"/>
                    </a:lnTo>
                    <a:lnTo>
                      <a:pt x="312" y="218"/>
                    </a:lnTo>
                    <a:lnTo>
                      <a:pt x="282" y="216"/>
                    </a:lnTo>
                    <a:lnTo>
                      <a:pt x="252" y="214"/>
                    </a:lnTo>
                    <a:lnTo>
                      <a:pt x="222" y="212"/>
                    </a:lnTo>
                    <a:lnTo>
                      <a:pt x="196" y="208"/>
                    </a:lnTo>
                    <a:lnTo>
                      <a:pt x="148" y="198"/>
                    </a:lnTo>
                    <a:lnTo>
                      <a:pt x="108" y="184"/>
                    </a:lnTo>
                    <a:lnTo>
                      <a:pt x="76" y="170"/>
                    </a:lnTo>
                    <a:lnTo>
                      <a:pt x="62" y="162"/>
                    </a:lnTo>
                    <a:lnTo>
                      <a:pt x="52" y="154"/>
                    </a:lnTo>
                    <a:lnTo>
                      <a:pt x="42" y="146"/>
                    </a:lnTo>
                    <a:lnTo>
                      <a:pt x="36" y="138"/>
                    </a:lnTo>
                    <a:lnTo>
                      <a:pt x="32" y="132"/>
                    </a:lnTo>
                    <a:lnTo>
                      <a:pt x="32" y="124"/>
                    </a:lnTo>
                    <a:lnTo>
                      <a:pt x="32" y="124"/>
                    </a:lnTo>
                    <a:lnTo>
                      <a:pt x="32" y="116"/>
                    </a:lnTo>
                    <a:lnTo>
                      <a:pt x="36" y="110"/>
                    </a:lnTo>
                    <a:lnTo>
                      <a:pt x="42" y="102"/>
                    </a:lnTo>
                    <a:lnTo>
                      <a:pt x="52" y="94"/>
                    </a:lnTo>
                    <a:lnTo>
                      <a:pt x="62" y="86"/>
                    </a:lnTo>
                    <a:lnTo>
                      <a:pt x="76" y="78"/>
                    </a:lnTo>
                    <a:lnTo>
                      <a:pt x="108" y="64"/>
                    </a:lnTo>
                    <a:lnTo>
                      <a:pt x="148" y="50"/>
                    </a:lnTo>
                    <a:lnTo>
                      <a:pt x="196" y="40"/>
                    </a:lnTo>
                    <a:lnTo>
                      <a:pt x="222" y="36"/>
                    </a:lnTo>
                    <a:lnTo>
                      <a:pt x="252" y="34"/>
                    </a:lnTo>
                    <a:lnTo>
                      <a:pt x="282" y="32"/>
                    </a:lnTo>
                    <a:lnTo>
                      <a:pt x="312" y="30"/>
                    </a:lnTo>
                    <a:lnTo>
                      <a:pt x="312"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56" name="Freeform 20"/>
              <p:cNvSpPr>
                <a:spLocks/>
              </p:cNvSpPr>
              <p:nvPr/>
            </p:nvSpPr>
            <p:spPr bwMode="auto">
              <a:xfrm>
                <a:off x="2784475" y="-1535113"/>
                <a:ext cx="301625" cy="234950"/>
              </a:xfrm>
              <a:custGeom>
                <a:avLst/>
                <a:gdLst>
                  <a:gd name="T0" fmla="*/ 84 w 190"/>
                  <a:gd name="T1" fmla="*/ 110 h 148"/>
                  <a:gd name="T2" fmla="*/ 44 w 190"/>
                  <a:gd name="T3" fmla="*/ 106 h 148"/>
                  <a:gd name="T4" fmla="*/ 0 w 190"/>
                  <a:gd name="T5" fmla="*/ 122 h 148"/>
                  <a:gd name="T6" fmla="*/ 32 w 190"/>
                  <a:gd name="T7" fmla="*/ 128 h 148"/>
                  <a:gd name="T8" fmla="*/ 72 w 190"/>
                  <a:gd name="T9" fmla="*/ 148 h 148"/>
                  <a:gd name="T10" fmla="*/ 114 w 190"/>
                  <a:gd name="T11" fmla="*/ 130 h 148"/>
                  <a:gd name="T12" fmla="*/ 146 w 190"/>
                  <a:gd name="T13" fmla="*/ 124 h 148"/>
                  <a:gd name="T14" fmla="*/ 170 w 190"/>
                  <a:gd name="T15" fmla="*/ 116 h 148"/>
                  <a:gd name="T16" fmla="*/ 184 w 190"/>
                  <a:gd name="T17" fmla="*/ 108 h 148"/>
                  <a:gd name="T18" fmla="*/ 190 w 190"/>
                  <a:gd name="T19" fmla="*/ 96 h 148"/>
                  <a:gd name="T20" fmla="*/ 188 w 190"/>
                  <a:gd name="T21" fmla="*/ 90 h 148"/>
                  <a:gd name="T22" fmla="*/ 180 w 190"/>
                  <a:gd name="T23" fmla="*/ 80 h 148"/>
                  <a:gd name="T24" fmla="*/ 150 w 190"/>
                  <a:gd name="T25" fmla="*/ 68 h 148"/>
                  <a:gd name="T26" fmla="*/ 118 w 190"/>
                  <a:gd name="T27" fmla="*/ 62 h 148"/>
                  <a:gd name="T28" fmla="*/ 70 w 190"/>
                  <a:gd name="T29" fmla="*/ 50 h 148"/>
                  <a:gd name="T30" fmla="*/ 68 w 190"/>
                  <a:gd name="T31" fmla="*/ 46 h 148"/>
                  <a:gd name="T32" fmla="*/ 70 w 190"/>
                  <a:gd name="T33" fmla="*/ 42 h 148"/>
                  <a:gd name="T34" fmla="*/ 86 w 190"/>
                  <a:gd name="T35" fmla="*/ 36 h 148"/>
                  <a:gd name="T36" fmla="*/ 104 w 190"/>
                  <a:gd name="T37" fmla="*/ 36 h 148"/>
                  <a:gd name="T38" fmla="*/ 142 w 190"/>
                  <a:gd name="T39" fmla="*/ 38 h 148"/>
                  <a:gd name="T40" fmla="*/ 178 w 190"/>
                  <a:gd name="T41" fmla="*/ 22 h 148"/>
                  <a:gd name="T42" fmla="*/ 152 w 190"/>
                  <a:gd name="T43" fmla="*/ 18 h 148"/>
                  <a:gd name="T44" fmla="*/ 116 w 190"/>
                  <a:gd name="T45" fmla="*/ 0 h 148"/>
                  <a:gd name="T46" fmla="*/ 74 w 190"/>
                  <a:gd name="T47" fmla="*/ 16 h 148"/>
                  <a:gd name="T48" fmla="*/ 44 w 190"/>
                  <a:gd name="T49" fmla="*/ 22 h 148"/>
                  <a:gd name="T50" fmla="*/ 22 w 190"/>
                  <a:gd name="T51" fmla="*/ 28 h 148"/>
                  <a:gd name="T52" fmla="*/ 8 w 190"/>
                  <a:gd name="T53" fmla="*/ 38 h 148"/>
                  <a:gd name="T54" fmla="*/ 2 w 190"/>
                  <a:gd name="T55" fmla="*/ 50 h 148"/>
                  <a:gd name="T56" fmla="*/ 4 w 190"/>
                  <a:gd name="T57" fmla="*/ 56 h 148"/>
                  <a:gd name="T58" fmla="*/ 14 w 190"/>
                  <a:gd name="T59" fmla="*/ 66 h 148"/>
                  <a:gd name="T60" fmla="*/ 48 w 190"/>
                  <a:gd name="T61" fmla="*/ 76 h 148"/>
                  <a:gd name="T62" fmla="*/ 78 w 190"/>
                  <a:gd name="T63" fmla="*/ 82 h 148"/>
                  <a:gd name="T64" fmla="*/ 114 w 190"/>
                  <a:gd name="T65" fmla="*/ 90 h 148"/>
                  <a:gd name="T66" fmla="*/ 124 w 190"/>
                  <a:gd name="T67" fmla="*/ 96 h 148"/>
                  <a:gd name="T68" fmla="*/ 124 w 190"/>
                  <a:gd name="T69" fmla="*/ 98 h 148"/>
                  <a:gd name="T70" fmla="*/ 120 w 190"/>
                  <a:gd name="T71" fmla="*/ 102 h 148"/>
                  <a:gd name="T72" fmla="*/ 100 w 190"/>
                  <a:gd name="T73" fmla="*/ 108 h 148"/>
                  <a:gd name="T74" fmla="*/ 84 w 190"/>
                  <a:gd name="T75" fmla="*/ 110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90" h="148">
                    <a:moveTo>
                      <a:pt x="84" y="110"/>
                    </a:moveTo>
                    <a:lnTo>
                      <a:pt x="84" y="110"/>
                    </a:lnTo>
                    <a:lnTo>
                      <a:pt x="62" y="108"/>
                    </a:lnTo>
                    <a:lnTo>
                      <a:pt x="44" y="106"/>
                    </a:lnTo>
                    <a:lnTo>
                      <a:pt x="12" y="102"/>
                    </a:lnTo>
                    <a:lnTo>
                      <a:pt x="0" y="122"/>
                    </a:lnTo>
                    <a:lnTo>
                      <a:pt x="0" y="122"/>
                    </a:lnTo>
                    <a:lnTo>
                      <a:pt x="32" y="128"/>
                    </a:lnTo>
                    <a:lnTo>
                      <a:pt x="72" y="130"/>
                    </a:lnTo>
                    <a:lnTo>
                      <a:pt x="72" y="148"/>
                    </a:lnTo>
                    <a:lnTo>
                      <a:pt x="114" y="148"/>
                    </a:lnTo>
                    <a:lnTo>
                      <a:pt x="114" y="130"/>
                    </a:lnTo>
                    <a:lnTo>
                      <a:pt x="114" y="130"/>
                    </a:lnTo>
                    <a:lnTo>
                      <a:pt x="146" y="124"/>
                    </a:lnTo>
                    <a:lnTo>
                      <a:pt x="158" y="122"/>
                    </a:lnTo>
                    <a:lnTo>
                      <a:pt x="170" y="116"/>
                    </a:lnTo>
                    <a:lnTo>
                      <a:pt x="178" y="112"/>
                    </a:lnTo>
                    <a:lnTo>
                      <a:pt x="184" y="108"/>
                    </a:lnTo>
                    <a:lnTo>
                      <a:pt x="188" y="102"/>
                    </a:lnTo>
                    <a:lnTo>
                      <a:pt x="190" y="96"/>
                    </a:lnTo>
                    <a:lnTo>
                      <a:pt x="190" y="96"/>
                    </a:lnTo>
                    <a:lnTo>
                      <a:pt x="188" y="90"/>
                    </a:lnTo>
                    <a:lnTo>
                      <a:pt x="186" y="84"/>
                    </a:lnTo>
                    <a:lnTo>
                      <a:pt x="180" y="80"/>
                    </a:lnTo>
                    <a:lnTo>
                      <a:pt x="172" y="76"/>
                    </a:lnTo>
                    <a:lnTo>
                      <a:pt x="150" y="68"/>
                    </a:lnTo>
                    <a:lnTo>
                      <a:pt x="118" y="62"/>
                    </a:lnTo>
                    <a:lnTo>
                      <a:pt x="118" y="62"/>
                    </a:lnTo>
                    <a:lnTo>
                      <a:pt x="80" y="54"/>
                    </a:lnTo>
                    <a:lnTo>
                      <a:pt x="70" y="50"/>
                    </a:lnTo>
                    <a:lnTo>
                      <a:pt x="68" y="48"/>
                    </a:lnTo>
                    <a:lnTo>
                      <a:pt x="68" y="46"/>
                    </a:lnTo>
                    <a:lnTo>
                      <a:pt x="68" y="46"/>
                    </a:lnTo>
                    <a:lnTo>
                      <a:pt x="70" y="42"/>
                    </a:lnTo>
                    <a:lnTo>
                      <a:pt x="76" y="40"/>
                    </a:lnTo>
                    <a:lnTo>
                      <a:pt x="86" y="36"/>
                    </a:lnTo>
                    <a:lnTo>
                      <a:pt x="104" y="36"/>
                    </a:lnTo>
                    <a:lnTo>
                      <a:pt x="104" y="36"/>
                    </a:lnTo>
                    <a:lnTo>
                      <a:pt x="124" y="36"/>
                    </a:lnTo>
                    <a:lnTo>
                      <a:pt x="142" y="38"/>
                    </a:lnTo>
                    <a:lnTo>
                      <a:pt x="164" y="42"/>
                    </a:lnTo>
                    <a:lnTo>
                      <a:pt x="178" y="22"/>
                    </a:lnTo>
                    <a:lnTo>
                      <a:pt x="178" y="22"/>
                    </a:lnTo>
                    <a:lnTo>
                      <a:pt x="152" y="18"/>
                    </a:lnTo>
                    <a:lnTo>
                      <a:pt x="116" y="16"/>
                    </a:lnTo>
                    <a:lnTo>
                      <a:pt x="116" y="0"/>
                    </a:lnTo>
                    <a:lnTo>
                      <a:pt x="74" y="0"/>
                    </a:lnTo>
                    <a:lnTo>
                      <a:pt x="74" y="16"/>
                    </a:lnTo>
                    <a:lnTo>
                      <a:pt x="74" y="16"/>
                    </a:lnTo>
                    <a:lnTo>
                      <a:pt x="44" y="22"/>
                    </a:lnTo>
                    <a:lnTo>
                      <a:pt x="32" y="24"/>
                    </a:lnTo>
                    <a:lnTo>
                      <a:pt x="22" y="28"/>
                    </a:lnTo>
                    <a:lnTo>
                      <a:pt x="14" y="32"/>
                    </a:lnTo>
                    <a:lnTo>
                      <a:pt x="8" y="38"/>
                    </a:lnTo>
                    <a:lnTo>
                      <a:pt x="4" y="44"/>
                    </a:lnTo>
                    <a:lnTo>
                      <a:pt x="2" y="50"/>
                    </a:lnTo>
                    <a:lnTo>
                      <a:pt x="2" y="50"/>
                    </a:lnTo>
                    <a:lnTo>
                      <a:pt x="4" y="56"/>
                    </a:lnTo>
                    <a:lnTo>
                      <a:pt x="8" y="60"/>
                    </a:lnTo>
                    <a:lnTo>
                      <a:pt x="14" y="66"/>
                    </a:lnTo>
                    <a:lnTo>
                      <a:pt x="24" y="70"/>
                    </a:lnTo>
                    <a:lnTo>
                      <a:pt x="48" y="76"/>
                    </a:lnTo>
                    <a:lnTo>
                      <a:pt x="78" y="82"/>
                    </a:lnTo>
                    <a:lnTo>
                      <a:pt x="78" y="82"/>
                    </a:lnTo>
                    <a:lnTo>
                      <a:pt x="100" y="86"/>
                    </a:lnTo>
                    <a:lnTo>
                      <a:pt x="114" y="90"/>
                    </a:lnTo>
                    <a:lnTo>
                      <a:pt x="122" y="94"/>
                    </a:lnTo>
                    <a:lnTo>
                      <a:pt x="124" y="96"/>
                    </a:lnTo>
                    <a:lnTo>
                      <a:pt x="124" y="98"/>
                    </a:lnTo>
                    <a:lnTo>
                      <a:pt x="124" y="98"/>
                    </a:lnTo>
                    <a:lnTo>
                      <a:pt x="124" y="100"/>
                    </a:lnTo>
                    <a:lnTo>
                      <a:pt x="120" y="102"/>
                    </a:lnTo>
                    <a:lnTo>
                      <a:pt x="112" y="106"/>
                    </a:lnTo>
                    <a:lnTo>
                      <a:pt x="100" y="108"/>
                    </a:lnTo>
                    <a:lnTo>
                      <a:pt x="84" y="110"/>
                    </a:lnTo>
                    <a:lnTo>
                      <a:pt x="84" y="1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57" name="Freeform 21"/>
              <p:cNvSpPr>
                <a:spLocks/>
              </p:cNvSpPr>
              <p:nvPr/>
            </p:nvSpPr>
            <p:spPr bwMode="auto">
              <a:xfrm>
                <a:off x="2438400" y="-900113"/>
                <a:ext cx="3175" cy="3175"/>
              </a:xfrm>
              <a:custGeom>
                <a:avLst/>
                <a:gdLst>
                  <a:gd name="T0" fmla="*/ 0 w 2"/>
                  <a:gd name="T1" fmla="*/ 0 h 2"/>
                  <a:gd name="T2" fmla="*/ 0 w 2"/>
                  <a:gd name="T3" fmla="*/ 2 h 2"/>
                  <a:gd name="T4" fmla="*/ 0 w 2"/>
                  <a:gd name="T5" fmla="*/ 2 h 2"/>
                  <a:gd name="T6" fmla="*/ 2 w 2"/>
                  <a:gd name="T7" fmla="*/ 2 h 2"/>
                  <a:gd name="T8" fmla="*/ 2 w 2"/>
                  <a:gd name="T9" fmla="*/ 2 h 2"/>
                  <a:gd name="T10" fmla="*/ 0 w 2"/>
                  <a:gd name="T11" fmla="*/ 0 h 2"/>
                  <a:gd name="T12" fmla="*/ 0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0" y="0"/>
                    </a:moveTo>
                    <a:lnTo>
                      <a:pt x="0" y="2"/>
                    </a:lnTo>
                    <a:lnTo>
                      <a:pt x="0" y="2"/>
                    </a:lnTo>
                    <a:lnTo>
                      <a:pt x="2" y="2"/>
                    </a:lnTo>
                    <a:lnTo>
                      <a:pt x="2" y="2"/>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58" name="Freeform 22"/>
              <p:cNvSpPr>
                <a:spLocks/>
              </p:cNvSpPr>
              <p:nvPr/>
            </p:nvSpPr>
            <p:spPr bwMode="auto">
              <a:xfrm>
                <a:off x="2657475" y="-900113"/>
                <a:ext cx="771525" cy="396875"/>
              </a:xfrm>
              <a:custGeom>
                <a:avLst/>
                <a:gdLst>
                  <a:gd name="T0" fmla="*/ 16 w 486"/>
                  <a:gd name="T1" fmla="*/ 232 h 250"/>
                  <a:gd name="T2" fmla="*/ 16 w 486"/>
                  <a:gd name="T3" fmla="*/ 232 h 250"/>
                  <a:gd name="T4" fmla="*/ 52 w 486"/>
                  <a:gd name="T5" fmla="*/ 238 h 250"/>
                  <a:gd name="T6" fmla="*/ 90 w 486"/>
                  <a:gd name="T7" fmla="*/ 244 h 250"/>
                  <a:gd name="T8" fmla="*/ 132 w 486"/>
                  <a:gd name="T9" fmla="*/ 248 h 250"/>
                  <a:gd name="T10" fmla="*/ 174 w 486"/>
                  <a:gd name="T11" fmla="*/ 250 h 250"/>
                  <a:gd name="T12" fmla="*/ 174 w 486"/>
                  <a:gd name="T13" fmla="*/ 250 h 250"/>
                  <a:gd name="T14" fmla="*/ 206 w 486"/>
                  <a:gd name="T15" fmla="*/ 248 h 250"/>
                  <a:gd name="T16" fmla="*/ 238 w 486"/>
                  <a:gd name="T17" fmla="*/ 246 h 250"/>
                  <a:gd name="T18" fmla="*/ 268 w 486"/>
                  <a:gd name="T19" fmla="*/ 244 h 250"/>
                  <a:gd name="T20" fmla="*/ 296 w 486"/>
                  <a:gd name="T21" fmla="*/ 240 h 250"/>
                  <a:gd name="T22" fmla="*/ 324 w 486"/>
                  <a:gd name="T23" fmla="*/ 234 h 250"/>
                  <a:gd name="T24" fmla="*/ 348 w 486"/>
                  <a:gd name="T25" fmla="*/ 228 h 250"/>
                  <a:gd name="T26" fmla="*/ 372 w 486"/>
                  <a:gd name="T27" fmla="*/ 220 h 250"/>
                  <a:gd name="T28" fmla="*/ 396 w 486"/>
                  <a:gd name="T29" fmla="*/ 212 h 250"/>
                  <a:gd name="T30" fmla="*/ 416 w 486"/>
                  <a:gd name="T31" fmla="*/ 204 h 250"/>
                  <a:gd name="T32" fmla="*/ 434 w 486"/>
                  <a:gd name="T33" fmla="*/ 194 h 250"/>
                  <a:gd name="T34" fmla="*/ 448 w 486"/>
                  <a:gd name="T35" fmla="*/ 184 h 250"/>
                  <a:gd name="T36" fmla="*/ 462 w 486"/>
                  <a:gd name="T37" fmla="*/ 174 h 250"/>
                  <a:gd name="T38" fmla="*/ 472 w 486"/>
                  <a:gd name="T39" fmla="*/ 162 h 250"/>
                  <a:gd name="T40" fmla="*/ 480 w 486"/>
                  <a:gd name="T41" fmla="*/ 150 h 250"/>
                  <a:gd name="T42" fmla="*/ 486 w 486"/>
                  <a:gd name="T43" fmla="*/ 138 h 250"/>
                  <a:gd name="T44" fmla="*/ 486 w 486"/>
                  <a:gd name="T45" fmla="*/ 124 h 250"/>
                  <a:gd name="T46" fmla="*/ 486 w 486"/>
                  <a:gd name="T47" fmla="*/ 0 h 250"/>
                  <a:gd name="T48" fmla="*/ 486 w 486"/>
                  <a:gd name="T49" fmla="*/ 0 h 250"/>
                  <a:gd name="T50" fmla="*/ 486 w 486"/>
                  <a:gd name="T51" fmla="*/ 12 h 250"/>
                  <a:gd name="T52" fmla="*/ 480 w 486"/>
                  <a:gd name="T53" fmla="*/ 26 h 250"/>
                  <a:gd name="T54" fmla="*/ 472 w 486"/>
                  <a:gd name="T55" fmla="*/ 38 h 250"/>
                  <a:gd name="T56" fmla="*/ 462 w 486"/>
                  <a:gd name="T57" fmla="*/ 48 h 250"/>
                  <a:gd name="T58" fmla="*/ 448 w 486"/>
                  <a:gd name="T59" fmla="*/ 60 h 250"/>
                  <a:gd name="T60" fmla="*/ 434 w 486"/>
                  <a:gd name="T61" fmla="*/ 70 h 250"/>
                  <a:gd name="T62" fmla="*/ 416 w 486"/>
                  <a:gd name="T63" fmla="*/ 80 h 250"/>
                  <a:gd name="T64" fmla="*/ 396 w 486"/>
                  <a:gd name="T65" fmla="*/ 88 h 250"/>
                  <a:gd name="T66" fmla="*/ 372 w 486"/>
                  <a:gd name="T67" fmla="*/ 96 h 250"/>
                  <a:gd name="T68" fmla="*/ 348 w 486"/>
                  <a:gd name="T69" fmla="*/ 104 h 250"/>
                  <a:gd name="T70" fmla="*/ 324 w 486"/>
                  <a:gd name="T71" fmla="*/ 110 h 250"/>
                  <a:gd name="T72" fmla="*/ 296 w 486"/>
                  <a:gd name="T73" fmla="*/ 114 h 250"/>
                  <a:gd name="T74" fmla="*/ 268 w 486"/>
                  <a:gd name="T75" fmla="*/ 118 h 250"/>
                  <a:gd name="T76" fmla="*/ 238 w 486"/>
                  <a:gd name="T77" fmla="*/ 122 h 250"/>
                  <a:gd name="T78" fmla="*/ 206 w 486"/>
                  <a:gd name="T79" fmla="*/ 124 h 250"/>
                  <a:gd name="T80" fmla="*/ 174 w 486"/>
                  <a:gd name="T81" fmla="*/ 124 h 250"/>
                  <a:gd name="T82" fmla="*/ 174 w 486"/>
                  <a:gd name="T83" fmla="*/ 124 h 250"/>
                  <a:gd name="T84" fmla="*/ 126 w 486"/>
                  <a:gd name="T85" fmla="*/ 124 h 250"/>
                  <a:gd name="T86" fmla="*/ 82 w 486"/>
                  <a:gd name="T87" fmla="*/ 118 h 250"/>
                  <a:gd name="T88" fmla="*/ 38 w 486"/>
                  <a:gd name="T89" fmla="*/ 112 h 250"/>
                  <a:gd name="T90" fmla="*/ 0 w 486"/>
                  <a:gd name="T91" fmla="*/ 104 h 250"/>
                  <a:gd name="T92" fmla="*/ 0 w 486"/>
                  <a:gd name="T93" fmla="*/ 104 h 250"/>
                  <a:gd name="T94" fmla="*/ 6 w 486"/>
                  <a:gd name="T95" fmla="*/ 118 h 250"/>
                  <a:gd name="T96" fmla="*/ 12 w 486"/>
                  <a:gd name="T97" fmla="*/ 132 h 250"/>
                  <a:gd name="T98" fmla="*/ 14 w 486"/>
                  <a:gd name="T99" fmla="*/ 148 h 250"/>
                  <a:gd name="T100" fmla="*/ 16 w 486"/>
                  <a:gd name="T101" fmla="*/ 166 h 250"/>
                  <a:gd name="T102" fmla="*/ 16 w 486"/>
                  <a:gd name="T103" fmla="*/ 232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86" h="250">
                    <a:moveTo>
                      <a:pt x="16" y="232"/>
                    </a:moveTo>
                    <a:lnTo>
                      <a:pt x="16" y="232"/>
                    </a:lnTo>
                    <a:lnTo>
                      <a:pt x="52" y="238"/>
                    </a:lnTo>
                    <a:lnTo>
                      <a:pt x="90" y="244"/>
                    </a:lnTo>
                    <a:lnTo>
                      <a:pt x="132" y="248"/>
                    </a:lnTo>
                    <a:lnTo>
                      <a:pt x="174" y="250"/>
                    </a:lnTo>
                    <a:lnTo>
                      <a:pt x="174" y="250"/>
                    </a:lnTo>
                    <a:lnTo>
                      <a:pt x="206" y="248"/>
                    </a:lnTo>
                    <a:lnTo>
                      <a:pt x="238" y="246"/>
                    </a:lnTo>
                    <a:lnTo>
                      <a:pt x="268" y="244"/>
                    </a:lnTo>
                    <a:lnTo>
                      <a:pt x="296" y="240"/>
                    </a:lnTo>
                    <a:lnTo>
                      <a:pt x="324" y="234"/>
                    </a:lnTo>
                    <a:lnTo>
                      <a:pt x="348" y="228"/>
                    </a:lnTo>
                    <a:lnTo>
                      <a:pt x="372" y="220"/>
                    </a:lnTo>
                    <a:lnTo>
                      <a:pt x="396" y="212"/>
                    </a:lnTo>
                    <a:lnTo>
                      <a:pt x="416" y="204"/>
                    </a:lnTo>
                    <a:lnTo>
                      <a:pt x="434" y="194"/>
                    </a:lnTo>
                    <a:lnTo>
                      <a:pt x="448" y="184"/>
                    </a:lnTo>
                    <a:lnTo>
                      <a:pt x="462" y="174"/>
                    </a:lnTo>
                    <a:lnTo>
                      <a:pt x="472" y="162"/>
                    </a:lnTo>
                    <a:lnTo>
                      <a:pt x="480" y="150"/>
                    </a:lnTo>
                    <a:lnTo>
                      <a:pt x="486" y="138"/>
                    </a:lnTo>
                    <a:lnTo>
                      <a:pt x="486" y="124"/>
                    </a:lnTo>
                    <a:lnTo>
                      <a:pt x="486" y="0"/>
                    </a:lnTo>
                    <a:lnTo>
                      <a:pt x="486" y="0"/>
                    </a:lnTo>
                    <a:lnTo>
                      <a:pt x="486" y="12"/>
                    </a:lnTo>
                    <a:lnTo>
                      <a:pt x="480" y="26"/>
                    </a:lnTo>
                    <a:lnTo>
                      <a:pt x="472" y="38"/>
                    </a:lnTo>
                    <a:lnTo>
                      <a:pt x="462" y="48"/>
                    </a:lnTo>
                    <a:lnTo>
                      <a:pt x="448" y="60"/>
                    </a:lnTo>
                    <a:lnTo>
                      <a:pt x="434" y="70"/>
                    </a:lnTo>
                    <a:lnTo>
                      <a:pt x="416" y="80"/>
                    </a:lnTo>
                    <a:lnTo>
                      <a:pt x="396" y="88"/>
                    </a:lnTo>
                    <a:lnTo>
                      <a:pt x="372" y="96"/>
                    </a:lnTo>
                    <a:lnTo>
                      <a:pt x="348" y="104"/>
                    </a:lnTo>
                    <a:lnTo>
                      <a:pt x="324" y="110"/>
                    </a:lnTo>
                    <a:lnTo>
                      <a:pt x="296" y="114"/>
                    </a:lnTo>
                    <a:lnTo>
                      <a:pt x="268" y="118"/>
                    </a:lnTo>
                    <a:lnTo>
                      <a:pt x="238" y="122"/>
                    </a:lnTo>
                    <a:lnTo>
                      <a:pt x="206" y="124"/>
                    </a:lnTo>
                    <a:lnTo>
                      <a:pt x="174" y="124"/>
                    </a:lnTo>
                    <a:lnTo>
                      <a:pt x="174" y="124"/>
                    </a:lnTo>
                    <a:lnTo>
                      <a:pt x="126" y="124"/>
                    </a:lnTo>
                    <a:lnTo>
                      <a:pt x="82" y="118"/>
                    </a:lnTo>
                    <a:lnTo>
                      <a:pt x="38" y="112"/>
                    </a:lnTo>
                    <a:lnTo>
                      <a:pt x="0" y="104"/>
                    </a:lnTo>
                    <a:lnTo>
                      <a:pt x="0" y="104"/>
                    </a:lnTo>
                    <a:lnTo>
                      <a:pt x="6" y="118"/>
                    </a:lnTo>
                    <a:lnTo>
                      <a:pt x="12" y="132"/>
                    </a:lnTo>
                    <a:lnTo>
                      <a:pt x="14" y="148"/>
                    </a:lnTo>
                    <a:lnTo>
                      <a:pt x="16" y="166"/>
                    </a:lnTo>
                    <a:lnTo>
                      <a:pt x="16" y="2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59" name="Freeform 23"/>
              <p:cNvSpPr>
                <a:spLocks/>
              </p:cNvSpPr>
              <p:nvPr/>
            </p:nvSpPr>
            <p:spPr bwMode="auto">
              <a:xfrm>
                <a:off x="2682875" y="-642938"/>
                <a:ext cx="746125" cy="311150"/>
              </a:xfrm>
              <a:custGeom>
                <a:avLst/>
                <a:gdLst>
                  <a:gd name="T0" fmla="*/ 158 w 470"/>
                  <a:gd name="T1" fmla="*/ 124 h 196"/>
                  <a:gd name="T2" fmla="*/ 158 w 470"/>
                  <a:gd name="T3" fmla="*/ 124 h 196"/>
                  <a:gd name="T4" fmla="*/ 116 w 470"/>
                  <a:gd name="T5" fmla="*/ 124 h 196"/>
                  <a:gd name="T6" fmla="*/ 74 w 470"/>
                  <a:gd name="T7" fmla="*/ 120 h 196"/>
                  <a:gd name="T8" fmla="*/ 36 w 470"/>
                  <a:gd name="T9" fmla="*/ 114 h 196"/>
                  <a:gd name="T10" fmla="*/ 0 w 470"/>
                  <a:gd name="T11" fmla="*/ 108 h 196"/>
                  <a:gd name="T12" fmla="*/ 0 w 470"/>
                  <a:gd name="T13" fmla="*/ 196 h 196"/>
                  <a:gd name="T14" fmla="*/ 0 w 470"/>
                  <a:gd name="T15" fmla="*/ 196 h 196"/>
                  <a:gd name="T16" fmla="*/ 30 w 470"/>
                  <a:gd name="T17" fmla="*/ 180 h 196"/>
                  <a:gd name="T18" fmla="*/ 64 w 470"/>
                  <a:gd name="T19" fmla="*/ 166 h 196"/>
                  <a:gd name="T20" fmla="*/ 100 w 470"/>
                  <a:gd name="T21" fmla="*/ 154 h 196"/>
                  <a:gd name="T22" fmla="*/ 138 w 470"/>
                  <a:gd name="T23" fmla="*/ 144 h 196"/>
                  <a:gd name="T24" fmla="*/ 176 w 470"/>
                  <a:gd name="T25" fmla="*/ 136 h 196"/>
                  <a:gd name="T26" fmla="*/ 218 w 470"/>
                  <a:gd name="T27" fmla="*/ 132 h 196"/>
                  <a:gd name="T28" fmla="*/ 260 w 470"/>
                  <a:gd name="T29" fmla="*/ 128 h 196"/>
                  <a:gd name="T30" fmla="*/ 300 w 470"/>
                  <a:gd name="T31" fmla="*/ 128 h 196"/>
                  <a:gd name="T32" fmla="*/ 300 w 470"/>
                  <a:gd name="T33" fmla="*/ 128 h 196"/>
                  <a:gd name="T34" fmla="*/ 342 w 470"/>
                  <a:gd name="T35" fmla="*/ 128 h 196"/>
                  <a:gd name="T36" fmla="*/ 384 w 470"/>
                  <a:gd name="T37" fmla="*/ 132 h 196"/>
                  <a:gd name="T38" fmla="*/ 426 w 470"/>
                  <a:gd name="T39" fmla="*/ 136 h 196"/>
                  <a:gd name="T40" fmla="*/ 466 w 470"/>
                  <a:gd name="T41" fmla="*/ 144 h 196"/>
                  <a:gd name="T42" fmla="*/ 466 w 470"/>
                  <a:gd name="T43" fmla="*/ 144 h 196"/>
                  <a:gd name="T44" fmla="*/ 468 w 470"/>
                  <a:gd name="T45" fmla="*/ 134 h 196"/>
                  <a:gd name="T46" fmla="*/ 470 w 470"/>
                  <a:gd name="T47" fmla="*/ 124 h 196"/>
                  <a:gd name="T48" fmla="*/ 470 w 470"/>
                  <a:gd name="T49" fmla="*/ 0 h 196"/>
                  <a:gd name="T50" fmla="*/ 470 w 470"/>
                  <a:gd name="T51" fmla="*/ 0 h 196"/>
                  <a:gd name="T52" fmla="*/ 470 w 470"/>
                  <a:gd name="T53" fmla="*/ 14 h 196"/>
                  <a:gd name="T54" fmla="*/ 464 w 470"/>
                  <a:gd name="T55" fmla="*/ 26 h 196"/>
                  <a:gd name="T56" fmla="*/ 456 w 470"/>
                  <a:gd name="T57" fmla="*/ 38 h 196"/>
                  <a:gd name="T58" fmla="*/ 446 w 470"/>
                  <a:gd name="T59" fmla="*/ 50 h 196"/>
                  <a:gd name="T60" fmla="*/ 432 w 470"/>
                  <a:gd name="T61" fmla="*/ 60 h 196"/>
                  <a:gd name="T62" fmla="*/ 418 w 470"/>
                  <a:gd name="T63" fmla="*/ 70 h 196"/>
                  <a:gd name="T64" fmla="*/ 400 w 470"/>
                  <a:gd name="T65" fmla="*/ 80 h 196"/>
                  <a:gd name="T66" fmla="*/ 380 w 470"/>
                  <a:gd name="T67" fmla="*/ 88 h 196"/>
                  <a:gd name="T68" fmla="*/ 356 w 470"/>
                  <a:gd name="T69" fmla="*/ 96 h 196"/>
                  <a:gd name="T70" fmla="*/ 332 w 470"/>
                  <a:gd name="T71" fmla="*/ 104 h 196"/>
                  <a:gd name="T72" fmla="*/ 308 w 470"/>
                  <a:gd name="T73" fmla="*/ 110 h 196"/>
                  <a:gd name="T74" fmla="*/ 280 w 470"/>
                  <a:gd name="T75" fmla="*/ 116 h 196"/>
                  <a:gd name="T76" fmla="*/ 252 w 470"/>
                  <a:gd name="T77" fmla="*/ 120 h 196"/>
                  <a:gd name="T78" fmla="*/ 222 w 470"/>
                  <a:gd name="T79" fmla="*/ 122 h 196"/>
                  <a:gd name="T80" fmla="*/ 190 w 470"/>
                  <a:gd name="T81" fmla="*/ 124 h 196"/>
                  <a:gd name="T82" fmla="*/ 158 w 470"/>
                  <a:gd name="T83" fmla="*/ 124 h 196"/>
                  <a:gd name="T84" fmla="*/ 158 w 470"/>
                  <a:gd name="T85" fmla="*/ 124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70" h="196">
                    <a:moveTo>
                      <a:pt x="158" y="124"/>
                    </a:moveTo>
                    <a:lnTo>
                      <a:pt x="158" y="124"/>
                    </a:lnTo>
                    <a:lnTo>
                      <a:pt x="116" y="124"/>
                    </a:lnTo>
                    <a:lnTo>
                      <a:pt x="74" y="120"/>
                    </a:lnTo>
                    <a:lnTo>
                      <a:pt x="36" y="114"/>
                    </a:lnTo>
                    <a:lnTo>
                      <a:pt x="0" y="108"/>
                    </a:lnTo>
                    <a:lnTo>
                      <a:pt x="0" y="196"/>
                    </a:lnTo>
                    <a:lnTo>
                      <a:pt x="0" y="196"/>
                    </a:lnTo>
                    <a:lnTo>
                      <a:pt x="30" y="180"/>
                    </a:lnTo>
                    <a:lnTo>
                      <a:pt x="64" y="166"/>
                    </a:lnTo>
                    <a:lnTo>
                      <a:pt x="100" y="154"/>
                    </a:lnTo>
                    <a:lnTo>
                      <a:pt x="138" y="144"/>
                    </a:lnTo>
                    <a:lnTo>
                      <a:pt x="176" y="136"/>
                    </a:lnTo>
                    <a:lnTo>
                      <a:pt x="218" y="132"/>
                    </a:lnTo>
                    <a:lnTo>
                      <a:pt x="260" y="128"/>
                    </a:lnTo>
                    <a:lnTo>
                      <a:pt x="300" y="128"/>
                    </a:lnTo>
                    <a:lnTo>
                      <a:pt x="300" y="128"/>
                    </a:lnTo>
                    <a:lnTo>
                      <a:pt x="342" y="128"/>
                    </a:lnTo>
                    <a:lnTo>
                      <a:pt x="384" y="132"/>
                    </a:lnTo>
                    <a:lnTo>
                      <a:pt x="426" y="136"/>
                    </a:lnTo>
                    <a:lnTo>
                      <a:pt x="466" y="144"/>
                    </a:lnTo>
                    <a:lnTo>
                      <a:pt x="466" y="144"/>
                    </a:lnTo>
                    <a:lnTo>
                      <a:pt x="468" y="134"/>
                    </a:lnTo>
                    <a:lnTo>
                      <a:pt x="470" y="124"/>
                    </a:lnTo>
                    <a:lnTo>
                      <a:pt x="470" y="0"/>
                    </a:lnTo>
                    <a:lnTo>
                      <a:pt x="470" y="0"/>
                    </a:lnTo>
                    <a:lnTo>
                      <a:pt x="470" y="14"/>
                    </a:lnTo>
                    <a:lnTo>
                      <a:pt x="464" y="26"/>
                    </a:lnTo>
                    <a:lnTo>
                      <a:pt x="456" y="38"/>
                    </a:lnTo>
                    <a:lnTo>
                      <a:pt x="446" y="50"/>
                    </a:lnTo>
                    <a:lnTo>
                      <a:pt x="432" y="60"/>
                    </a:lnTo>
                    <a:lnTo>
                      <a:pt x="418" y="70"/>
                    </a:lnTo>
                    <a:lnTo>
                      <a:pt x="400" y="80"/>
                    </a:lnTo>
                    <a:lnTo>
                      <a:pt x="380" y="88"/>
                    </a:lnTo>
                    <a:lnTo>
                      <a:pt x="356" y="96"/>
                    </a:lnTo>
                    <a:lnTo>
                      <a:pt x="332" y="104"/>
                    </a:lnTo>
                    <a:lnTo>
                      <a:pt x="308" y="110"/>
                    </a:lnTo>
                    <a:lnTo>
                      <a:pt x="280" y="116"/>
                    </a:lnTo>
                    <a:lnTo>
                      <a:pt x="252" y="120"/>
                    </a:lnTo>
                    <a:lnTo>
                      <a:pt x="222" y="122"/>
                    </a:lnTo>
                    <a:lnTo>
                      <a:pt x="190" y="124"/>
                    </a:lnTo>
                    <a:lnTo>
                      <a:pt x="158" y="124"/>
                    </a:lnTo>
                    <a:lnTo>
                      <a:pt x="158" y="1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60" name="Freeform 24"/>
              <p:cNvSpPr>
                <a:spLocks/>
              </p:cNvSpPr>
              <p:nvPr/>
            </p:nvSpPr>
            <p:spPr bwMode="auto">
              <a:xfrm>
                <a:off x="1571625" y="-379413"/>
                <a:ext cx="990600" cy="396875"/>
              </a:xfrm>
              <a:custGeom>
                <a:avLst/>
                <a:gdLst>
                  <a:gd name="T0" fmla="*/ 310 w 624"/>
                  <a:gd name="T1" fmla="*/ 124 h 250"/>
                  <a:gd name="T2" fmla="*/ 248 w 624"/>
                  <a:gd name="T3" fmla="*/ 122 h 250"/>
                  <a:gd name="T4" fmla="*/ 190 w 624"/>
                  <a:gd name="T5" fmla="*/ 114 h 250"/>
                  <a:gd name="T6" fmla="*/ 136 w 624"/>
                  <a:gd name="T7" fmla="*/ 102 h 250"/>
                  <a:gd name="T8" fmla="*/ 90 w 624"/>
                  <a:gd name="T9" fmla="*/ 88 h 250"/>
                  <a:gd name="T10" fmla="*/ 52 w 624"/>
                  <a:gd name="T11" fmla="*/ 70 h 250"/>
                  <a:gd name="T12" fmla="*/ 24 w 624"/>
                  <a:gd name="T13" fmla="*/ 48 h 250"/>
                  <a:gd name="T14" fmla="*/ 6 w 624"/>
                  <a:gd name="T15" fmla="*/ 24 h 250"/>
                  <a:gd name="T16" fmla="*/ 0 w 624"/>
                  <a:gd name="T17" fmla="*/ 0 h 250"/>
                  <a:gd name="T18" fmla="*/ 0 w 624"/>
                  <a:gd name="T19" fmla="*/ 124 h 250"/>
                  <a:gd name="T20" fmla="*/ 6 w 624"/>
                  <a:gd name="T21" fmla="*/ 150 h 250"/>
                  <a:gd name="T22" fmla="*/ 24 w 624"/>
                  <a:gd name="T23" fmla="*/ 172 h 250"/>
                  <a:gd name="T24" fmla="*/ 52 w 624"/>
                  <a:gd name="T25" fmla="*/ 194 h 250"/>
                  <a:gd name="T26" fmla="*/ 90 w 624"/>
                  <a:gd name="T27" fmla="*/ 212 h 250"/>
                  <a:gd name="T28" fmla="*/ 136 w 624"/>
                  <a:gd name="T29" fmla="*/ 228 h 250"/>
                  <a:gd name="T30" fmla="*/ 190 w 624"/>
                  <a:gd name="T31" fmla="*/ 240 h 250"/>
                  <a:gd name="T32" fmla="*/ 248 w 624"/>
                  <a:gd name="T33" fmla="*/ 246 h 250"/>
                  <a:gd name="T34" fmla="*/ 310 w 624"/>
                  <a:gd name="T35" fmla="*/ 250 h 250"/>
                  <a:gd name="T36" fmla="*/ 342 w 624"/>
                  <a:gd name="T37" fmla="*/ 248 h 250"/>
                  <a:gd name="T38" fmla="*/ 404 w 624"/>
                  <a:gd name="T39" fmla="*/ 244 h 250"/>
                  <a:gd name="T40" fmla="*/ 460 w 624"/>
                  <a:gd name="T41" fmla="*/ 234 h 250"/>
                  <a:gd name="T42" fmla="*/ 510 w 624"/>
                  <a:gd name="T43" fmla="*/ 220 h 250"/>
                  <a:gd name="T44" fmla="*/ 552 w 624"/>
                  <a:gd name="T45" fmla="*/ 204 h 250"/>
                  <a:gd name="T46" fmla="*/ 586 w 624"/>
                  <a:gd name="T47" fmla="*/ 184 h 250"/>
                  <a:gd name="T48" fmla="*/ 610 w 624"/>
                  <a:gd name="T49" fmla="*/ 162 h 250"/>
                  <a:gd name="T50" fmla="*/ 622 w 624"/>
                  <a:gd name="T51" fmla="*/ 136 h 250"/>
                  <a:gd name="T52" fmla="*/ 624 w 624"/>
                  <a:gd name="T53" fmla="*/ 0 h 250"/>
                  <a:gd name="T54" fmla="*/ 622 w 624"/>
                  <a:gd name="T55" fmla="*/ 12 h 250"/>
                  <a:gd name="T56" fmla="*/ 610 w 624"/>
                  <a:gd name="T57" fmla="*/ 36 h 250"/>
                  <a:gd name="T58" fmla="*/ 586 w 624"/>
                  <a:gd name="T59" fmla="*/ 58 h 250"/>
                  <a:gd name="T60" fmla="*/ 552 w 624"/>
                  <a:gd name="T61" fmla="*/ 78 h 250"/>
                  <a:gd name="T62" fmla="*/ 510 w 624"/>
                  <a:gd name="T63" fmla="*/ 96 h 250"/>
                  <a:gd name="T64" fmla="*/ 460 w 624"/>
                  <a:gd name="T65" fmla="*/ 110 h 250"/>
                  <a:gd name="T66" fmla="*/ 404 w 624"/>
                  <a:gd name="T67" fmla="*/ 118 h 250"/>
                  <a:gd name="T68" fmla="*/ 342 w 624"/>
                  <a:gd name="T69" fmla="*/ 124 h 250"/>
                  <a:gd name="T70" fmla="*/ 310 w 624"/>
                  <a:gd name="T71" fmla="*/ 124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24" h="250">
                    <a:moveTo>
                      <a:pt x="310" y="124"/>
                    </a:moveTo>
                    <a:lnTo>
                      <a:pt x="310" y="124"/>
                    </a:lnTo>
                    <a:lnTo>
                      <a:pt x="280" y="124"/>
                    </a:lnTo>
                    <a:lnTo>
                      <a:pt x="248" y="122"/>
                    </a:lnTo>
                    <a:lnTo>
                      <a:pt x="218" y="118"/>
                    </a:lnTo>
                    <a:lnTo>
                      <a:pt x="190" y="114"/>
                    </a:lnTo>
                    <a:lnTo>
                      <a:pt x="162" y="110"/>
                    </a:lnTo>
                    <a:lnTo>
                      <a:pt x="136" y="102"/>
                    </a:lnTo>
                    <a:lnTo>
                      <a:pt x="112" y="96"/>
                    </a:lnTo>
                    <a:lnTo>
                      <a:pt x="90" y="88"/>
                    </a:lnTo>
                    <a:lnTo>
                      <a:pt x="70" y="78"/>
                    </a:lnTo>
                    <a:lnTo>
                      <a:pt x="52" y="70"/>
                    </a:lnTo>
                    <a:lnTo>
                      <a:pt x="36" y="58"/>
                    </a:lnTo>
                    <a:lnTo>
                      <a:pt x="24" y="48"/>
                    </a:lnTo>
                    <a:lnTo>
                      <a:pt x="14" y="36"/>
                    </a:lnTo>
                    <a:lnTo>
                      <a:pt x="6" y="24"/>
                    </a:lnTo>
                    <a:lnTo>
                      <a:pt x="0" y="12"/>
                    </a:lnTo>
                    <a:lnTo>
                      <a:pt x="0" y="0"/>
                    </a:lnTo>
                    <a:lnTo>
                      <a:pt x="0" y="124"/>
                    </a:lnTo>
                    <a:lnTo>
                      <a:pt x="0" y="124"/>
                    </a:lnTo>
                    <a:lnTo>
                      <a:pt x="0" y="136"/>
                    </a:lnTo>
                    <a:lnTo>
                      <a:pt x="6" y="150"/>
                    </a:lnTo>
                    <a:lnTo>
                      <a:pt x="14" y="162"/>
                    </a:lnTo>
                    <a:lnTo>
                      <a:pt x="24" y="172"/>
                    </a:lnTo>
                    <a:lnTo>
                      <a:pt x="36" y="184"/>
                    </a:lnTo>
                    <a:lnTo>
                      <a:pt x="52" y="194"/>
                    </a:lnTo>
                    <a:lnTo>
                      <a:pt x="70" y="204"/>
                    </a:lnTo>
                    <a:lnTo>
                      <a:pt x="90" y="212"/>
                    </a:lnTo>
                    <a:lnTo>
                      <a:pt x="112" y="220"/>
                    </a:lnTo>
                    <a:lnTo>
                      <a:pt x="136" y="228"/>
                    </a:lnTo>
                    <a:lnTo>
                      <a:pt x="162" y="234"/>
                    </a:lnTo>
                    <a:lnTo>
                      <a:pt x="190" y="240"/>
                    </a:lnTo>
                    <a:lnTo>
                      <a:pt x="218" y="244"/>
                    </a:lnTo>
                    <a:lnTo>
                      <a:pt x="248" y="246"/>
                    </a:lnTo>
                    <a:lnTo>
                      <a:pt x="280" y="248"/>
                    </a:lnTo>
                    <a:lnTo>
                      <a:pt x="310" y="250"/>
                    </a:lnTo>
                    <a:lnTo>
                      <a:pt x="310" y="250"/>
                    </a:lnTo>
                    <a:lnTo>
                      <a:pt x="342" y="248"/>
                    </a:lnTo>
                    <a:lnTo>
                      <a:pt x="374" y="246"/>
                    </a:lnTo>
                    <a:lnTo>
                      <a:pt x="404" y="244"/>
                    </a:lnTo>
                    <a:lnTo>
                      <a:pt x="432" y="240"/>
                    </a:lnTo>
                    <a:lnTo>
                      <a:pt x="460" y="234"/>
                    </a:lnTo>
                    <a:lnTo>
                      <a:pt x="486" y="228"/>
                    </a:lnTo>
                    <a:lnTo>
                      <a:pt x="510" y="220"/>
                    </a:lnTo>
                    <a:lnTo>
                      <a:pt x="532" y="212"/>
                    </a:lnTo>
                    <a:lnTo>
                      <a:pt x="552" y="204"/>
                    </a:lnTo>
                    <a:lnTo>
                      <a:pt x="570" y="194"/>
                    </a:lnTo>
                    <a:lnTo>
                      <a:pt x="586" y="184"/>
                    </a:lnTo>
                    <a:lnTo>
                      <a:pt x="598" y="172"/>
                    </a:lnTo>
                    <a:lnTo>
                      <a:pt x="610" y="162"/>
                    </a:lnTo>
                    <a:lnTo>
                      <a:pt x="616" y="150"/>
                    </a:lnTo>
                    <a:lnTo>
                      <a:pt x="622" y="136"/>
                    </a:lnTo>
                    <a:lnTo>
                      <a:pt x="624" y="124"/>
                    </a:lnTo>
                    <a:lnTo>
                      <a:pt x="624" y="0"/>
                    </a:lnTo>
                    <a:lnTo>
                      <a:pt x="624" y="0"/>
                    </a:lnTo>
                    <a:lnTo>
                      <a:pt x="622" y="12"/>
                    </a:lnTo>
                    <a:lnTo>
                      <a:pt x="616" y="24"/>
                    </a:lnTo>
                    <a:lnTo>
                      <a:pt x="610" y="36"/>
                    </a:lnTo>
                    <a:lnTo>
                      <a:pt x="598" y="48"/>
                    </a:lnTo>
                    <a:lnTo>
                      <a:pt x="586" y="58"/>
                    </a:lnTo>
                    <a:lnTo>
                      <a:pt x="570" y="70"/>
                    </a:lnTo>
                    <a:lnTo>
                      <a:pt x="552" y="78"/>
                    </a:lnTo>
                    <a:lnTo>
                      <a:pt x="532" y="88"/>
                    </a:lnTo>
                    <a:lnTo>
                      <a:pt x="510" y="96"/>
                    </a:lnTo>
                    <a:lnTo>
                      <a:pt x="486" y="102"/>
                    </a:lnTo>
                    <a:lnTo>
                      <a:pt x="460" y="110"/>
                    </a:lnTo>
                    <a:lnTo>
                      <a:pt x="432" y="114"/>
                    </a:lnTo>
                    <a:lnTo>
                      <a:pt x="404" y="118"/>
                    </a:lnTo>
                    <a:lnTo>
                      <a:pt x="374" y="122"/>
                    </a:lnTo>
                    <a:lnTo>
                      <a:pt x="342" y="124"/>
                    </a:lnTo>
                    <a:lnTo>
                      <a:pt x="310" y="124"/>
                    </a:lnTo>
                    <a:lnTo>
                      <a:pt x="310" y="1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61" name="Freeform 25"/>
              <p:cNvSpPr>
                <a:spLocks/>
              </p:cNvSpPr>
              <p:nvPr/>
            </p:nvSpPr>
            <p:spPr bwMode="auto">
              <a:xfrm>
                <a:off x="1571625" y="-122237"/>
                <a:ext cx="990600" cy="396875"/>
              </a:xfrm>
              <a:custGeom>
                <a:avLst/>
                <a:gdLst>
                  <a:gd name="T0" fmla="*/ 310 w 624"/>
                  <a:gd name="T1" fmla="*/ 124 h 250"/>
                  <a:gd name="T2" fmla="*/ 248 w 624"/>
                  <a:gd name="T3" fmla="*/ 122 h 250"/>
                  <a:gd name="T4" fmla="*/ 190 w 624"/>
                  <a:gd name="T5" fmla="*/ 114 h 250"/>
                  <a:gd name="T6" fmla="*/ 136 w 624"/>
                  <a:gd name="T7" fmla="*/ 104 h 250"/>
                  <a:gd name="T8" fmla="*/ 90 w 624"/>
                  <a:gd name="T9" fmla="*/ 88 h 250"/>
                  <a:gd name="T10" fmla="*/ 52 w 624"/>
                  <a:gd name="T11" fmla="*/ 70 h 250"/>
                  <a:gd name="T12" fmla="*/ 24 w 624"/>
                  <a:gd name="T13" fmla="*/ 48 h 250"/>
                  <a:gd name="T14" fmla="*/ 6 w 624"/>
                  <a:gd name="T15" fmla="*/ 24 h 250"/>
                  <a:gd name="T16" fmla="*/ 0 w 624"/>
                  <a:gd name="T17" fmla="*/ 0 h 250"/>
                  <a:gd name="T18" fmla="*/ 0 w 624"/>
                  <a:gd name="T19" fmla="*/ 124 h 250"/>
                  <a:gd name="T20" fmla="*/ 6 w 624"/>
                  <a:gd name="T21" fmla="*/ 150 h 250"/>
                  <a:gd name="T22" fmla="*/ 24 w 624"/>
                  <a:gd name="T23" fmla="*/ 172 h 250"/>
                  <a:gd name="T24" fmla="*/ 52 w 624"/>
                  <a:gd name="T25" fmla="*/ 194 h 250"/>
                  <a:gd name="T26" fmla="*/ 90 w 624"/>
                  <a:gd name="T27" fmla="*/ 212 h 250"/>
                  <a:gd name="T28" fmla="*/ 136 w 624"/>
                  <a:gd name="T29" fmla="*/ 228 h 250"/>
                  <a:gd name="T30" fmla="*/ 190 w 624"/>
                  <a:gd name="T31" fmla="*/ 240 h 250"/>
                  <a:gd name="T32" fmla="*/ 248 w 624"/>
                  <a:gd name="T33" fmla="*/ 246 h 250"/>
                  <a:gd name="T34" fmla="*/ 310 w 624"/>
                  <a:gd name="T35" fmla="*/ 250 h 250"/>
                  <a:gd name="T36" fmla="*/ 342 w 624"/>
                  <a:gd name="T37" fmla="*/ 248 h 250"/>
                  <a:gd name="T38" fmla="*/ 404 w 624"/>
                  <a:gd name="T39" fmla="*/ 244 h 250"/>
                  <a:gd name="T40" fmla="*/ 460 w 624"/>
                  <a:gd name="T41" fmla="*/ 234 h 250"/>
                  <a:gd name="T42" fmla="*/ 510 w 624"/>
                  <a:gd name="T43" fmla="*/ 220 h 250"/>
                  <a:gd name="T44" fmla="*/ 552 w 624"/>
                  <a:gd name="T45" fmla="*/ 204 h 250"/>
                  <a:gd name="T46" fmla="*/ 586 w 624"/>
                  <a:gd name="T47" fmla="*/ 184 h 250"/>
                  <a:gd name="T48" fmla="*/ 610 w 624"/>
                  <a:gd name="T49" fmla="*/ 162 h 250"/>
                  <a:gd name="T50" fmla="*/ 622 w 624"/>
                  <a:gd name="T51" fmla="*/ 138 h 250"/>
                  <a:gd name="T52" fmla="*/ 624 w 624"/>
                  <a:gd name="T53" fmla="*/ 0 h 250"/>
                  <a:gd name="T54" fmla="*/ 622 w 624"/>
                  <a:gd name="T55" fmla="*/ 12 h 250"/>
                  <a:gd name="T56" fmla="*/ 610 w 624"/>
                  <a:gd name="T57" fmla="*/ 36 h 250"/>
                  <a:gd name="T58" fmla="*/ 586 w 624"/>
                  <a:gd name="T59" fmla="*/ 60 h 250"/>
                  <a:gd name="T60" fmla="*/ 552 w 624"/>
                  <a:gd name="T61" fmla="*/ 80 h 250"/>
                  <a:gd name="T62" fmla="*/ 510 w 624"/>
                  <a:gd name="T63" fmla="*/ 96 h 250"/>
                  <a:gd name="T64" fmla="*/ 460 w 624"/>
                  <a:gd name="T65" fmla="*/ 110 h 250"/>
                  <a:gd name="T66" fmla="*/ 404 w 624"/>
                  <a:gd name="T67" fmla="*/ 118 h 250"/>
                  <a:gd name="T68" fmla="*/ 342 w 624"/>
                  <a:gd name="T69" fmla="*/ 124 h 250"/>
                  <a:gd name="T70" fmla="*/ 310 w 624"/>
                  <a:gd name="T71" fmla="*/ 124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24" h="250">
                    <a:moveTo>
                      <a:pt x="310" y="124"/>
                    </a:moveTo>
                    <a:lnTo>
                      <a:pt x="310" y="124"/>
                    </a:lnTo>
                    <a:lnTo>
                      <a:pt x="280" y="124"/>
                    </a:lnTo>
                    <a:lnTo>
                      <a:pt x="248" y="122"/>
                    </a:lnTo>
                    <a:lnTo>
                      <a:pt x="218" y="118"/>
                    </a:lnTo>
                    <a:lnTo>
                      <a:pt x="190" y="114"/>
                    </a:lnTo>
                    <a:lnTo>
                      <a:pt x="162" y="110"/>
                    </a:lnTo>
                    <a:lnTo>
                      <a:pt x="136" y="104"/>
                    </a:lnTo>
                    <a:lnTo>
                      <a:pt x="112" y="96"/>
                    </a:lnTo>
                    <a:lnTo>
                      <a:pt x="90" y="88"/>
                    </a:lnTo>
                    <a:lnTo>
                      <a:pt x="70" y="80"/>
                    </a:lnTo>
                    <a:lnTo>
                      <a:pt x="52" y="70"/>
                    </a:lnTo>
                    <a:lnTo>
                      <a:pt x="36" y="60"/>
                    </a:lnTo>
                    <a:lnTo>
                      <a:pt x="24" y="48"/>
                    </a:lnTo>
                    <a:lnTo>
                      <a:pt x="14" y="36"/>
                    </a:lnTo>
                    <a:lnTo>
                      <a:pt x="6" y="24"/>
                    </a:lnTo>
                    <a:lnTo>
                      <a:pt x="0" y="12"/>
                    </a:lnTo>
                    <a:lnTo>
                      <a:pt x="0" y="0"/>
                    </a:lnTo>
                    <a:lnTo>
                      <a:pt x="0" y="124"/>
                    </a:lnTo>
                    <a:lnTo>
                      <a:pt x="0" y="124"/>
                    </a:lnTo>
                    <a:lnTo>
                      <a:pt x="0" y="138"/>
                    </a:lnTo>
                    <a:lnTo>
                      <a:pt x="6" y="150"/>
                    </a:lnTo>
                    <a:lnTo>
                      <a:pt x="14" y="162"/>
                    </a:lnTo>
                    <a:lnTo>
                      <a:pt x="24" y="172"/>
                    </a:lnTo>
                    <a:lnTo>
                      <a:pt x="36" y="184"/>
                    </a:lnTo>
                    <a:lnTo>
                      <a:pt x="52" y="194"/>
                    </a:lnTo>
                    <a:lnTo>
                      <a:pt x="70" y="204"/>
                    </a:lnTo>
                    <a:lnTo>
                      <a:pt x="90" y="212"/>
                    </a:lnTo>
                    <a:lnTo>
                      <a:pt x="112" y="220"/>
                    </a:lnTo>
                    <a:lnTo>
                      <a:pt x="136" y="228"/>
                    </a:lnTo>
                    <a:lnTo>
                      <a:pt x="162" y="234"/>
                    </a:lnTo>
                    <a:lnTo>
                      <a:pt x="190" y="240"/>
                    </a:lnTo>
                    <a:lnTo>
                      <a:pt x="218" y="244"/>
                    </a:lnTo>
                    <a:lnTo>
                      <a:pt x="248" y="246"/>
                    </a:lnTo>
                    <a:lnTo>
                      <a:pt x="280" y="248"/>
                    </a:lnTo>
                    <a:lnTo>
                      <a:pt x="310" y="250"/>
                    </a:lnTo>
                    <a:lnTo>
                      <a:pt x="310" y="250"/>
                    </a:lnTo>
                    <a:lnTo>
                      <a:pt x="342" y="248"/>
                    </a:lnTo>
                    <a:lnTo>
                      <a:pt x="374" y="246"/>
                    </a:lnTo>
                    <a:lnTo>
                      <a:pt x="404" y="244"/>
                    </a:lnTo>
                    <a:lnTo>
                      <a:pt x="432" y="240"/>
                    </a:lnTo>
                    <a:lnTo>
                      <a:pt x="460" y="234"/>
                    </a:lnTo>
                    <a:lnTo>
                      <a:pt x="486" y="228"/>
                    </a:lnTo>
                    <a:lnTo>
                      <a:pt x="510" y="220"/>
                    </a:lnTo>
                    <a:lnTo>
                      <a:pt x="532" y="212"/>
                    </a:lnTo>
                    <a:lnTo>
                      <a:pt x="552" y="204"/>
                    </a:lnTo>
                    <a:lnTo>
                      <a:pt x="570" y="194"/>
                    </a:lnTo>
                    <a:lnTo>
                      <a:pt x="586" y="184"/>
                    </a:lnTo>
                    <a:lnTo>
                      <a:pt x="598" y="172"/>
                    </a:lnTo>
                    <a:lnTo>
                      <a:pt x="610" y="162"/>
                    </a:lnTo>
                    <a:lnTo>
                      <a:pt x="616" y="150"/>
                    </a:lnTo>
                    <a:lnTo>
                      <a:pt x="622" y="138"/>
                    </a:lnTo>
                    <a:lnTo>
                      <a:pt x="624" y="124"/>
                    </a:lnTo>
                    <a:lnTo>
                      <a:pt x="624" y="0"/>
                    </a:lnTo>
                    <a:lnTo>
                      <a:pt x="624" y="0"/>
                    </a:lnTo>
                    <a:lnTo>
                      <a:pt x="622" y="12"/>
                    </a:lnTo>
                    <a:lnTo>
                      <a:pt x="616" y="24"/>
                    </a:lnTo>
                    <a:lnTo>
                      <a:pt x="610" y="36"/>
                    </a:lnTo>
                    <a:lnTo>
                      <a:pt x="598" y="48"/>
                    </a:lnTo>
                    <a:lnTo>
                      <a:pt x="586" y="60"/>
                    </a:lnTo>
                    <a:lnTo>
                      <a:pt x="570" y="70"/>
                    </a:lnTo>
                    <a:lnTo>
                      <a:pt x="552" y="80"/>
                    </a:lnTo>
                    <a:lnTo>
                      <a:pt x="532" y="88"/>
                    </a:lnTo>
                    <a:lnTo>
                      <a:pt x="510" y="96"/>
                    </a:lnTo>
                    <a:lnTo>
                      <a:pt x="486" y="104"/>
                    </a:lnTo>
                    <a:lnTo>
                      <a:pt x="460" y="110"/>
                    </a:lnTo>
                    <a:lnTo>
                      <a:pt x="432" y="114"/>
                    </a:lnTo>
                    <a:lnTo>
                      <a:pt x="404" y="118"/>
                    </a:lnTo>
                    <a:lnTo>
                      <a:pt x="374" y="122"/>
                    </a:lnTo>
                    <a:lnTo>
                      <a:pt x="342" y="124"/>
                    </a:lnTo>
                    <a:lnTo>
                      <a:pt x="310" y="124"/>
                    </a:lnTo>
                    <a:lnTo>
                      <a:pt x="310" y="1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62" name="Freeform 26"/>
              <p:cNvSpPr>
                <a:spLocks/>
              </p:cNvSpPr>
              <p:nvPr/>
            </p:nvSpPr>
            <p:spPr bwMode="auto">
              <a:xfrm>
                <a:off x="1571625" y="134938"/>
                <a:ext cx="990600" cy="396875"/>
              </a:xfrm>
              <a:custGeom>
                <a:avLst/>
                <a:gdLst>
                  <a:gd name="T0" fmla="*/ 310 w 624"/>
                  <a:gd name="T1" fmla="*/ 126 h 250"/>
                  <a:gd name="T2" fmla="*/ 248 w 624"/>
                  <a:gd name="T3" fmla="*/ 122 h 250"/>
                  <a:gd name="T4" fmla="*/ 190 w 624"/>
                  <a:gd name="T5" fmla="*/ 116 h 250"/>
                  <a:gd name="T6" fmla="*/ 136 w 624"/>
                  <a:gd name="T7" fmla="*/ 104 h 250"/>
                  <a:gd name="T8" fmla="*/ 90 w 624"/>
                  <a:gd name="T9" fmla="*/ 88 h 250"/>
                  <a:gd name="T10" fmla="*/ 52 w 624"/>
                  <a:gd name="T11" fmla="*/ 70 h 250"/>
                  <a:gd name="T12" fmla="*/ 24 w 624"/>
                  <a:gd name="T13" fmla="*/ 48 h 250"/>
                  <a:gd name="T14" fmla="*/ 6 w 624"/>
                  <a:gd name="T15" fmla="*/ 26 h 250"/>
                  <a:gd name="T16" fmla="*/ 0 w 624"/>
                  <a:gd name="T17" fmla="*/ 0 h 250"/>
                  <a:gd name="T18" fmla="*/ 0 w 624"/>
                  <a:gd name="T19" fmla="*/ 126 h 250"/>
                  <a:gd name="T20" fmla="*/ 6 w 624"/>
                  <a:gd name="T21" fmla="*/ 150 h 250"/>
                  <a:gd name="T22" fmla="*/ 24 w 624"/>
                  <a:gd name="T23" fmla="*/ 174 h 250"/>
                  <a:gd name="T24" fmla="*/ 52 w 624"/>
                  <a:gd name="T25" fmla="*/ 194 h 250"/>
                  <a:gd name="T26" fmla="*/ 90 w 624"/>
                  <a:gd name="T27" fmla="*/ 214 h 250"/>
                  <a:gd name="T28" fmla="*/ 136 w 624"/>
                  <a:gd name="T29" fmla="*/ 228 h 250"/>
                  <a:gd name="T30" fmla="*/ 190 w 624"/>
                  <a:gd name="T31" fmla="*/ 240 h 250"/>
                  <a:gd name="T32" fmla="*/ 248 w 624"/>
                  <a:gd name="T33" fmla="*/ 246 h 250"/>
                  <a:gd name="T34" fmla="*/ 310 w 624"/>
                  <a:gd name="T35" fmla="*/ 250 h 250"/>
                  <a:gd name="T36" fmla="*/ 342 w 624"/>
                  <a:gd name="T37" fmla="*/ 248 h 250"/>
                  <a:gd name="T38" fmla="*/ 404 w 624"/>
                  <a:gd name="T39" fmla="*/ 244 h 250"/>
                  <a:gd name="T40" fmla="*/ 460 w 624"/>
                  <a:gd name="T41" fmla="*/ 234 h 250"/>
                  <a:gd name="T42" fmla="*/ 510 w 624"/>
                  <a:gd name="T43" fmla="*/ 222 h 250"/>
                  <a:gd name="T44" fmla="*/ 552 w 624"/>
                  <a:gd name="T45" fmla="*/ 204 h 250"/>
                  <a:gd name="T46" fmla="*/ 586 w 624"/>
                  <a:gd name="T47" fmla="*/ 184 h 250"/>
                  <a:gd name="T48" fmla="*/ 610 w 624"/>
                  <a:gd name="T49" fmla="*/ 162 h 250"/>
                  <a:gd name="T50" fmla="*/ 622 w 624"/>
                  <a:gd name="T51" fmla="*/ 138 h 250"/>
                  <a:gd name="T52" fmla="*/ 624 w 624"/>
                  <a:gd name="T53" fmla="*/ 0 h 250"/>
                  <a:gd name="T54" fmla="*/ 622 w 624"/>
                  <a:gd name="T55" fmla="*/ 12 h 250"/>
                  <a:gd name="T56" fmla="*/ 610 w 624"/>
                  <a:gd name="T57" fmla="*/ 38 h 250"/>
                  <a:gd name="T58" fmla="*/ 586 w 624"/>
                  <a:gd name="T59" fmla="*/ 60 h 250"/>
                  <a:gd name="T60" fmla="*/ 552 w 624"/>
                  <a:gd name="T61" fmla="*/ 80 h 250"/>
                  <a:gd name="T62" fmla="*/ 510 w 624"/>
                  <a:gd name="T63" fmla="*/ 96 h 250"/>
                  <a:gd name="T64" fmla="*/ 460 w 624"/>
                  <a:gd name="T65" fmla="*/ 110 h 250"/>
                  <a:gd name="T66" fmla="*/ 404 w 624"/>
                  <a:gd name="T67" fmla="*/ 120 h 250"/>
                  <a:gd name="T68" fmla="*/ 342 w 624"/>
                  <a:gd name="T69" fmla="*/ 124 h 250"/>
                  <a:gd name="T70" fmla="*/ 310 w 624"/>
                  <a:gd name="T71" fmla="*/ 126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24" h="250">
                    <a:moveTo>
                      <a:pt x="310" y="126"/>
                    </a:moveTo>
                    <a:lnTo>
                      <a:pt x="310" y="126"/>
                    </a:lnTo>
                    <a:lnTo>
                      <a:pt x="280" y="124"/>
                    </a:lnTo>
                    <a:lnTo>
                      <a:pt x="248" y="122"/>
                    </a:lnTo>
                    <a:lnTo>
                      <a:pt x="218" y="120"/>
                    </a:lnTo>
                    <a:lnTo>
                      <a:pt x="190" y="116"/>
                    </a:lnTo>
                    <a:lnTo>
                      <a:pt x="162" y="110"/>
                    </a:lnTo>
                    <a:lnTo>
                      <a:pt x="136" y="104"/>
                    </a:lnTo>
                    <a:lnTo>
                      <a:pt x="112" y="96"/>
                    </a:lnTo>
                    <a:lnTo>
                      <a:pt x="90" y="88"/>
                    </a:lnTo>
                    <a:lnTo>
                      <a:pt x="70" y="80"/>
                    </a:lnTo>
                    <a:lnTo>
                      <a:pt x="52" y="70"/>
                    </a:lnTo>
                    <a:lnTo>
                      <a:pt x="36" y="60"/>
                    </a:lnTo>
                    <a:lnTo>
                      <a:pt x="24" y="48"/>
                    </a:lnTo>
                    <a:lnTo>
                      <a:pt x="14" y="38"/>
                    </a:lnTo>
                    <a:lnTo>
                      <a:pt x="6" y="26"/>
                    </a:lnTo>
                    <a:lnTo>
                      <a:pt x="0" y="12"/>
                    </a:lnTo>
                    <a:lnTo>
                      <a:pt x="0" y="0"/>
                    </a:lnTo>
                    <a:lnTo>
                      <a:pt x="0" y="126"/>
                    </a:lnTo>
                    <a:lnTo>
                      <a:pt x="0" y="126"/>
                    </a:lnTo>
                    <a:lnTo>
                      <a:pt x="0" y="138"/>
                    </a:lnTo>
                    <a:lnTo>
                      <a:pt x="6" y="150"/>
                    </a:lnTo>
                    <a:lnTo>
                      <a:pt x="14" y="162"/>
                    </a:lnTo>
                    <a:lnTo>
                      <a:pt x="24" y="174"/>
                    </a:lnTo>
                    <a:lnTo>
                      <a:pt x="36" y="184"/>
                    </a:lnTo>
                    <a:lnTo>
                      <a:pt x="52" y="194"/>
                    </a:lnTo>
                    <a:lnTo>
                      <a:pt x="70" y="204"/>
                    </a:lnTo>
                    <a:lnTo>
                      <a:pt x="90" y="214"/>
                    </a:lnTo>
                    <a:lnTo>
                      <a:pt x="112" y="222"/>
                    </a:lnTo>
                    <a:lnTo>
                      <a:pt x="136" y="228"/>
                    </a:lnTo>
                    <a:lnTo>
                      <a:pt x="162" y="234"/>
                    </a:lnTo>
                    <a:lnTo>
                      <a:pt x="190" y="240"/>
                    </a:lnTo>
                    <a:lnTo>
                      <a:pt x="218" y="244"/>
                    </a:lnTo>
                    <a:lnTo>
                      <a:pt x="248" y="246"/>
                    </a:lnTo>
                    <a:lnTo>
                      <a:pt x="280" y="248"/>
                    </a:lnTo>
                    <a:lnTo>
                      <a:pt x="310" y="250"/>
                    </a:lnTo>
                    <a:lnTo>
                      <a:pt x="310" y="250"/>
                    </a:lnTo>
                    <a:lnTo>
                      <a:pt x="342" y="248"/>
                    </a:lnTo>
                    <a:lnTo>
                      <a:pt x="374" y="246"/>
                    </a:lnTo>
                    <a:lnTo>
                      <a:pt x="404" y="244"/>
                    </a:lnTo>
                    <a:lnTo>
                      <a:pt x="432" y="240"/>
                    </a:lnTo>
                    <a:lnTo>
                      <a:pt x="460" y="234"/>
                    </a:lnTo>
                    <a:lnTo>
                      <a:pt x="486" y="228"/>
                    </a:lnTo>
                    <a:lnTo>
                      <a:pt x="510" y="222"/>
                    </a:lnTo>
                    <a:lnTo>
                      <a:pt x="532" y="214"/>
                    </a:lnTo>
                    <a:lnTo>
                      <a:pt x="552" y="204"/>
                    </a:lnTo>
                    <a:lnTo>
                      <a:pt x="570" y="194"/>
                    </a:lnTo>
                    <a:lnTo>
                      <a:pt x="586" y="184"/>
                    </a:lnTo>
                    <a:lnTo>
                      <a:pt x="598" y="174"/>
                    </a:lnTo>
                    <a:lnTo>
                      <a:pt x="610" y="162"/>
                    </a:lnTo>
                    <a:lnTo>
                      <a:pt x="616" y="150"/>
                    </a:lnTo>
                    <a:lnTo>
                      <a:pt x="622" y="138"/>
                    </a:lnTo>
                    <a:lnTo>
                      <a:pt x="624" y="126"/>
                    </a:lnTo>
                    <a:lnTo>
                      <a:pt x="624" y="0"/>
                    </a:lnTo>
                    <a:lnTo>
                      <a:pt x="624" y="0"/>
                    </a:lnTo>
                    <a:lnTo>
                      <a:pt x="622" y="12"/>
                    </a:lnTo>
                    <a:lnTo>
                      <a:pt x="616" y="26"/>
                    </a:lnTo>
                    <a:lnTo>
                      <a:pt x="610" y="38"/>
                    </a:lnTo>
                    <a:lnTo>
                      <a:pt x="598" y="48"/>
                    </a:lnTo>
                    <a:lnTo>
                      <a:pt x="586" y="60"/>
                    </a:lnTo>
                    <a:lnTo>
                      <a:pt x="570" y="70"/>
                    </a:lnTo>
                    <a:lnTo>
                      <a:pt x="552" y="80"/>
                    </a:lnTo>
                    <a:lnTo>
                      <a:pt x="532" y="88"/>
                    </a:lnTo>
                    <a:lnTo>
                      <a:pt x="510" y="96"/>
                    </a:lnTo>
                    <a:lnTo>
                      <a:pt x="486" y="104"/>
                    </a:lnTo>
                    <a:lnTo>
                      <a:pt x="460" y="110"/>
                    </a:lnTo>
                    <a:lnTo>
                      <a:pt x="432" y="116"/>
                    </a:lnTo>
                    <a:lnTo>
                      <a:pt x="404" y="120"/>
                    </a:lnTo>
                    <a:lnTo>
                      <a:pt x="374" y="122"/>
                    </a:lnTo>
                    <a:lnTo>
                      <a:pt x="342" y="124"/>
                    </a:lnTo>
                    <a:lnTo>
                      <a:pt x="310" y="126"/>
                    </a:lnTo>
                    <a:lnTo>
                      <a:pt x="310" y="1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63" name="Freeform 27"/>
              <p:cNvSpPr>
                <a:spLocks/>
              </p:cNvSpPr>
              <p:nvPr/>
            </p:nvSpPr>
            <p:spPr bwMode="auto">
              <a:xfrm>
                <a:off x="1571625" y="392113"/>
                <a:ext cx="990600" cy="396875"/>
              </a:xfrm>
              <a:custGeom>
                <a:avLst/>
                <a:gdLst>
                  <a:gd name="T0" fmla="*/ 310 w 624"/>
                  <a:gd name="T1" fmla="*/ 126 h 250"/>
                  <a:gd name="T2" fmla="*/ 248 w 624"/>
                  <a:gd name="T3" fmla="*/ 122 h 250"/>
                  <a:gd name="T4" fmla="*/ 190 w 624"/>
                  <a:gd name="T5" fmla="*/ 116 h 250"/>
                  <a:gd name="T6" fmla="*/ 136 w 624"/>
                  <a:gd name="T7" fmla="*/ 104 h 250"/>
                  <a:gd name="T8" fmla="*/ 90 w 624"/>
                  <a:gd name="T9" fmla="*/ 88 h 250"/>
                  <a:gd name="T10" fmla="*/ 52 w 624"/>
                  <a:gd name="T11" fmla="*/ 70 h 250"/>
                  <a:gd name="T12" fmla="*/ 24 w 624"/>
                  <a:gd name="T13" fmla="*/ 48 h 250"/>
                  <a:gd name="T14" fmla="*/ 6 w 624"/>
                  <a:gd name="T15" fmla="*/ 26 h 250"/>
                  <a:gd name="T16" fmla="*/ 0 w 624"/>
                  <a:gd name="T17" fmla="*/ 0 h 250"/>
                  <a:gd name="T18" fmla="*/ 0 w 624"/>
                  <a:gd name="T19" fmla="*/ 126 h 250"/>
                  <a:gd name="T20" fmla="*/ 6 w 624"/>
                  <a:gd name="T21" fmla="*/ 150 h 250"/>
                  <a:gd name="T22" fmla="*/ 24 w 624"/>
                  <a:gd name="T23" fmla="*/ 174 h 250"/>
                  <a:gd name="T24" fmla="*/ 52 w 624"/>
                  <a:gd name="T25" fmla="*/ 194 h 250"/>
                  <a:gd name="T26" fmla="*/ 90 w 624"/>
                  <a:gd name="T27" fmla="*/ 214 h 250"/>
                  <a:gd name="T28" fmla="*/ 136 w 624"/>
                  <a:gd name="T29" fmla="*/ 228 h 250"/>
                  <a:gd name="T30" fmla="*/ 190 w 624"/>
                  <a:gd name="T31" fmla="*/ 240 h 250"/>
                  <a:gd name="T32" fmla="*/ 248 w 624"/>
                  <a:gd name="T33" fmla="*/ 248 h 250"/>
                  <a:gd name="T34" fmla="*/ 310 w 624"/>
                  <a:gd name="T35" fmla="*/ 250 h 250"/>
                  <a:gd name="T36" fmla="*/ 342 w 624"/>
                  <a:gd name="T37" fmla="*/ 250 h 250"/>
                  <a:gd name="T38" fmla="*/ 404 w 624"/>
                  <a:gd name="T39" fmla="*/ 244 h 250"/>
                  <a:gd name="T40" fmla="*/ 460 w 624"/>
                  <a:gd name="T41" fmla="*/ 234 h 250"/>
                  <a:gd name="T42" fmla="*/ 510 w 624"/>
                  <a:gd name="T43" fmla="*/ 222 h 250"/>
                  <a:gd name="T44" fmla="*/ 552 w 624"/>
                  <a:gd name="T45" fmla="*/ 204 h 250"/>
                  <a:gd name="T46" fmla="*/ 586 w 624"/>
                  <a:gd name="T47" fmla="*/ 184 h 250"/>
                  <a:gd name="T48" fmla="*/ 610 w 624"/>
                  <a:gd name="T49" fmla="*/ 162 h 250"/>
                  <a:gd name="T50" fmla="*/ 622 w 624"/>
                  <a:gd name="T51" fmla="*/ 138 h 250"/>
                  <a:gd name="T52" fmla="*/ 624 w 624"/>
                  <a:gd name="T53" fmla="*/ 0 h 250"/>
                  <a:gd name="T54" fmla="*/ 622 w 624"/>
                  <a:gd name="T55" fmla="*/ 14 h 250"/>
                  <a:gd name="T56" fmla="*/ 610 w 624"/>
                  <a:gd name="T57" fmla="*/ 38 h 250"/>
                  <a:gd name="T58" fmla="*/ 586 w 624"/>
                  <a:gd name="T59" fmla="*/ 60 h 250"/>
                  <a:gd name="T60" fmla="*/ 552 w 624"/>
                  <a:gd name="T61" fmla="*/ 80 h 250"/>
                  <a:gd name="T62" fmla="*/ 510 w 624"/>
                  <a:gd name="T63" fmla="*/ 96 h 250"/>
                  <a:gd name="T64" fmla="*/ 460 w 624"/>
                  <a:gd name="T65" fmla="*/ 110 h 250"/>
                  <a:gd name="T66" fmla="*/ 404 w 624"/>
                  <a:gd name="T67" fmla="*/ 120 h 250"/>
                  <a:gd name="T68" fmla="*/ 342 w 624"/>
                  <a:gd name="T69" fmla="*/ 124 h 250"/>
                  <a:gd name="T70" fmla="*/ 310 w 624"/>
                  <a:gd name="T71" fmla="*/ 126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24" h="250">
                    <a:moveTo>
                      <a:pt x="310" y="126"/>
                    </a:moveTo>
                    <a:lnTo>
                      <a:pt x="310" y="126"/>
                    </a:lnTo>
                    <a:lnTo>
                      <a:pt x="280" y="124"/>
                    </a:lnTo>
                    <a:lnTo>
                      <a:pt x="248" y="122"/>
                    </a:lnTo>
                    <a:lnTo>
                      <a:pt x="218" y="120"/>
                    </a:lnTo>
                    <a:lnTo>
                      <a:pt x="190" y="116"/>
                    </a:lnTo>
                    <a:lnTo>
                      <a:pt x="162" y="110"/>
                    </a:lnTo>
                    <a:lnTo>
                      <a:pt x="136" y="104"/>
                    </a:lnTo>
                    <a:lnTo>
                      <a:pt x="112" y="96"/>
                    </a:lnTo>
                    <a:lnTo>
                      <a:pt x="90" y="88"/>
                    </a:lnTo>
                    <a:lnTo>
                      <a:pt x="70" y="80"/>
                    </a:lnTo>
                    <a:lnTo>
                      <a:pt x="52" y="70"/>
                    </a:lnTo>
                    <a:lnTo>
                      <a:pt x="36" y="60"/>
                    </a:lnTo>
                    <a:lnTo>
                      <a:pt x="24" y="48"/>
                    </a:lnTo>
                    <a:lnTo>
                      <a:pt x="14" y="38"/>
                    </a:lnTo>
                    <a:lnTo>
                      <a:pt x="6" y="26"/>
                    </a:lnTo>
                    <a:lnTo>
                      <a:pt x="0" y="14"/>
                    </a:lnTo>
                    <a:lnTo>
                      <a:pt x="0" y="0"/>
                    </a:lnTo>
                    <a:lnTo>
                      <a:pt x="0" y="126"/>
                    </a:lnTo>
                    <a:lnTo>
                      <a:pt x="0" y="126"/>
                    </a:lnTo>
                    <a:lnTo>
                      <a:pt x="0" y="138"/>
                    </a:lnTo>
                    <a:lnTo>
                      <a:pt x="6" y="150"/>
                    </a:lnTo>
                    <a:lnTo>
                      <a:pt x="14" y="162"/>
                    </a:lnTo>
                    <a:lnTo>
                      <a:pt x="24" y="174"/>
                    </a:lnTo>
                    <a:lnTo>
                      <a:pt x="36" y="184"/>
                    </a:lnTo>
                    <a:lnTo>
                      <a:pt x="52" y="194"/>
                    </a:lnTo>
                    <a:lnTo>
                      <a:pt x="70" y="204"/>
                    </a:lnTo>
                    <a:lnTo>
                      <a:pt x="90" y="214"/>
                    </a:lnTo>
                    <a:lnTo>
                      <a:pt x="112" y="222"/>
                    </a:lnTo>
                    <a:lnTo>
                      <a:pt x="136" y="228"/>
                    </a:lnTo>
                    <a:lnTo>
                      <a:pt x="162" y="234"/>
                    </a:lnTo>
                    <a:lnTo>
                      <a:pt x="190" y="240"/>
                    </a:lnTo>
                    <a:lnTo>
                      <a:pt x="218" y="244"/>
                    </a:lnTo>
                    <a:lnTo>
                      <a:pt x="248" y="248"/>
                    </a:lnTo>
                    <a:lnTo>
                      <a:pt x="280" y="250"/>
                    </a:lnTo>
                    <a:lnTo>
                      <a:pt x="310" y="250"/>
                    </a:lnTo>
                    <a:lnTo>
                      <a:pt x="310" y="250"/>
                    </a:lnTo>
                    <a:lnTo>
                      <a:pt x="342" y="250"/>
                    </a:lnTo>
                    <a:lnTo>
                      <a:pt x="374" y="248"/>
                    </a:lnTo>
                    <a:lnTo>
                      <a:pt x="404" y="244"/>
                    </a:lnTo>
                    <a:lnTo>
                      <a:pt x="432" y="240"/>
                    </a:lnTo>
                    <a:lnTo>
                      <a:pt x="460" y="234"/>
                    </a:lnTo>
                    <a:lnTo>
                      <a:pt x="486" y="228"/>
                    </a:lnTo>
                    <a:lnTo>
                      <a:pt x="510" y="222"/>
                    </a:lnTo>
                    <a:lnTo>
                      <a:pt x="532" y="214"/>
                    </a:lnTo>
                    <a:lnTo>
                      <a:pt x="552" y="204"/>
                    </a:lnTo>
                    <a:lnTo>
                      <a:pt x="570" y="194"/>
                    </a:lnTo>
                    <a:lnTo>
                      <a:pt x="586" y="184"/>
                    </a:lnTo>
                    <a:lnTo>
                      <a:pt x="598" y="174"/>
                    </a:lnTo>
                    <a:lnTo>
                      <a:pt x="610" y="162"/>
                    </a:lnTo>
                    <a:lnTo>
                      <a:pt x="616" y="150"/>
                    </a:lnTo>
                    <a:lnTo>
                      <a:pt x="622" y="138"/>
                    </a:lnTo>
                    <a:lnTo>
                      <a:pt x="624" y="126"/>
                    </a:lnTo>
                    <a:lnTo>
                      <a:pt x="624" y="0"/>
                    </a:lnTo>
                    <a:lnTo>
                      <a:pt x="624" y="0"/>
                    </a:lnTo>
                    <a:lnTo>
                      <a:pt x="622" y="14"/>
                    </a:lnTo>
                    <a:lnTo>
                      <a:pt x="616" y="26"/>
                    </a:lnTo>
                    <a:lnTo>
                      <a:pt x="610" y="38"/>
                    </a:lnTo>
                    <a:lnTo>
                      <a:pt x="598" y="48"/>
                    </a:lnTo>
                    <a:lnTo>
                      <a:pt x="586" y="60"/>
                    </a:lnTo>
                    <a:lnTo>
                      <a:pt x="570" y="70"/>
                    </a:lnTo>
                    <a:lnTo>
                      <a:pt x="552" y="80"/>
                    </a:lnTo>
                    <a:lnTo>
                      <a:pt x="532" y="88"/>
                    </a:lnTo>
                    <a:lnTo>
                      <a:pt x="510" y="96"/>
                    </a:lnTo>
                    <a:lnTo>
                      <a:pt x="486" y="104"/>
                    </a:lnTo>
                    <a:lnTo>
                      <a:pt x="460" y="110"/>
                    </a:lnTo>
                    <a:lnTo>
                      <a:pt x="432" y="116"/>
                    </a:lnTo>
                    <a:lnTo>
                      <a:pt x="404" y="120"/>
                    </a:lnTo>
                    <a:lnTo>
                      <a:pt x="374" y="122"/>
                    </a:lnTo>
                    <a:lnTo>
                      <a:pt x="342" y="124"/>
                    </a:lnTo>
                    <a:lnTo>
                      <a:pt x="310" y="126"/>
                    </a:lnTo>
                    <a:lnTo>
                      <a:pt x="310" y="1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64" name="Freeform 28"/>
              <p:cNvSpPr>
                <a:spLocks/>
              </p:cNvSpPr>
              <p:nvPr/>
            </p:nvSpPr>
            <p:spPr bwMode="auto">
              <a:xfrm>
                <a:off x="1571625" y="649288"/>
                <a:ext cx="990600" cy="396875"/>
              </a:xfrm>
              <a:custGeom>
                <a:avLst/>
                <a:gdLst>
                  <a:gd name="T0" fmla="*/ 310 w 624"/>
                  <a:gd name="T1" fmla="*/ 126 h 250"/>
                  <a:gd name="T2" fmla="*/ 248 w 624"/>
                  <a:gd name="T3" fmla="*/ 122 h 250"/>
                  <a:gd name="T4" fmla="*/ 190 w 624"/>
                  <a:gd name="T5" fmla="*/ 116 h 250"/>
                  <a:gd name="T6" fmla="*/ 136 w 624"/>
                  <a:gd name="T7" fmla="*/ 104 h 250"/>
                  <a:gd name="T8" fmla="*/ 90 w 624"/>
                  <a:gd name="T9" fmla="*/ 88 h 250"/>
                  <a:gd name="T10" fmla="*/ 52 w 624"/>
                  <a:gd name="T11" fmla="*/ 70 h 250"/>
                  <a:gd name="T12" fmla="*/ 24 w 624"/>
                  <a:gd name="T13" fmla="*/ 50 h 250"/>
                  <a:gd name="T14" fmla="*/ 6 w 624"/>
                  <a:gd name="T15" fmla="*/ 26 h 250"/>
                  <a:gd name="T16" fmla="*/ 0 w 624"/>
                  <a:gd name="T17" fmla="*/ 0 h 250"/>
                  <a:gd name="T18" fmla="*/ 0 w 624"/>
                  <a:gd name="T19" fmla="*/ 126 h 250"/>
                  <a:gd name="T20" fmla="*/ 6 w 624"/>
                  <a:gd name="T21" fmla="*/ 150 h 250"/>
                  <a:gd name="T22" fmla="*/ 24 w 624"/>
                  <a:gd name="T23" fmla="*/ 174 h 250"/>
                  <a:gd name="T24" fmla="*/ 52 w 624"/>
                  <a:gd name="T25" fmla="*/ 196 h 250"/>
                  <a:gd name="T26" fmla="*/ 90 w 624"/>
                  <a:gd name="T27" fmla="*/ 214 h 250"/>
                  <a:gd name="T28" fmla="*/ 136 w 624"/>
                  <a:gd name="T29" fmla="*/ 230 h 250"/>
                  <a:gd name="T30" fmla="*/ 190 w 624"/>
                  <a:gd name="T31" fmla="*/ 240 h 250"/>
                  <a:gd name="T32" fmla="*/ 248 w 624"/>
                  <a:gd name="T33" fmla="*/ 248 h 250"/>
                  <a:gd name="T34" fmla="*/ 310 w 624"/>
                  <a:gd name="T35" fmla="*/ 250 h 250"/>
                  <a:gd name="T36" fmla="*/ 342 w 624"/>
                  <a:gd name="T37" fmla="*/ 250 h 250"/>
                  <a:gd name="T38" fmla="*/ 404 w 624"/>
                  <a:gd name="T39" fmla="*/ 244 h 250"/>
                  <a:gd name="T40" fmla="*/ 460 w 624"/>
                  <a:gd name="T41" fmla="*/ 236 h 250"/>
                  <a:gd name="T42" fmla="*/ 510 w 624"/>
                  <a:gd name="T43" fmla="*/ 222 h 250"/>
                  <a:gd name="T44" fmla="*/ 552 w 624"/>
                  <a:gd name="T45" fmla="*/ 204 h 250"/>
                  <a:gd name="T46" fmla="*/ 586 w 624"/>
                  <a:gd name="T47" fmla="*/ 186 h 250"/>
                  <a:gd name="T48" fmla="*/ 610 w 624"/>
                  <a:gd name="T49" fmla="*/ 162 h 250"/>
                  <a:gd name="T50" fmla="*/ 622 w 624"/>
                  <a:gd name="T51" fmla="*/ 138 h 250"/>
                  <a:gd name="T52" fmla="*/ 624 w 624"/>
                  <a:gd name="T53" fmla="*/ 0 h 250"/>
                  <a:gd name="T54" fmla="*/ 622 w 624"/>
                  <a:gd name="T55" fmla="*/ 14 h 250"/>
                  <a:gd name="T56" fmla="*/ 610 w 624"/>
                  <a:gd name="T57" fmla="*/ 38 h 250"/>
                  <a:gd name="T58" fmla="*/ 586 w 624"/>
                  <a:gd name="T59" fmla="*/ 60 h 250"/>
                  <a:gd name="T60" fmla="*/ 552 w 624"/>
                  <a:gd name="T61" fmla="*/ 80 h 250"/>
                  <a:gd name="T62" fmla="*/ 510 w 624"/>
                  <a:gd name="T63" fmla="*/ 96 h 250"/>
                  <a:gd name="T64" fmla="*/ 460 w 624"/>
                  <a:gd name="T65" fmla="*/ 110 h 250"/>
                  <a:gd name="T66" fmla="*/ 404 w 624"/>
                  <a:gd name="T67" fmla="*/ 120 h 250"/>
                  <a:gd name="T68" fmla="*/ 342 w 624"/>
                  <a:gd name="T69" fmla="*/ 124 h 250"/>
                  <a:gd name="T70" fmla="*/ 310 w 624"/>
                  <a:gd name="T71" fmla="*/ 126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24" h="250">
                    <a:moveTo>
                      <a:pt x="310" y="126"/>
                    </a:moveTo>
                    <a:lnTo>
                      <a:pt x="310" y="126"/>
                    </a:lnTo>
                    <a:lnTo>
                      <a:pt x="280" y="124"/>
                    </a:lnTo>
                    <a:lnTo>
                      <a:pt x="248" y="122"/>
                    </a:lnTo>
                    <a:lnTo>
                      <a:pt x="218" y="120"/>
                    </a:lnTo>
                    <a:lnTo>
                      <a:pt x="190" y="116"/>
                    </a:lnTo>
                    <a:lnTo>
                      <a:pt x="162" y="110"/>
                    </a:lnTo>
                    <a:lnTo>
                      <a:pt x="136" y="104"/>
                    </a:lnTo>
                    <a:lnTo>
                      <a:pt x="112" y="96"/>
                    </a:lnTo>
                    <a:lnTo>
                      <a:pt x="90" y="88"/>
                    </a:lnTo>
                    <a:lnTo>
                      <a:pt x="70" y="80"/>
                    </a:lnTo>
                    <a:lnTo>
                      <a:pt x="52" y="70"/>
                    </a:lnTo>
                    <a:lnTo>
                      <a:pt x="36" y="60"/>
                    </a:lnTo>
                    <a:lnTo>
                      <a:pt x="24" y="50"/>
                    </a:lnTo>
                    <a:lnTo>
                      <a:pt x="14" y="38"/>
                    </a:lnTo>
                    <a:lnTo>
                      <a:pt x="6" y="26"/>
                    </a:lnTo>
                    <a:lnTo>
                      <a:pt x="0" y="14"/>
                    </a:lnTo>
                    <a:lnTo>
                      <a:pt x="0" y="0"/>
                    </a:lnTo>
                    <a:lnTo>
                      <a:pt x="0" y="126"/>
                    </a:lnTo>
                    <a:lnTo>
                      <a:pt x="0" y="126"/>
                    </a:lnTo>
                    <a:lnTo>
                      <a:pt x="0" y="138"/>
                    </a:lnTo>
                    <a:lnTo>
                      <a:pt x="6" y="150"/>
                    </a:lnTo>
                    <a:lnTo>
                      <a:pt x="14" y="162"/>
                    </a:lnTo>
                    <a:lnTo>
                      <a:pt x="24" y="174"/>
                    </a:lnTo>
                    <a:lnTo>
                      <a:pt x="36" y="186"/>
                    </a:lnTo>
                    <a:lnTo>
                      <a:pt x="52" y="196"/>
                    </a:lnTo>
                    <a:lnTo>
                      <a:pt x="70" y="204"/>
                    </a:lnTo>
                    <a:lnTo>
                      <a:pt x="90" y="214"/>
                    </a:lnTo>
                    <a:lnTo>
                      <a:pt x="112" y="222"/>
                    </a:lnTo>
                    <a:lnTo>
                      <a:pt x="136" y="230"/>
                    </a:lnTo>
                    <a:lnTo>
                      <a:pt x="162" y="236"/>
                    </a:lnTo>
                    <a:lnTo>
                      <a:pt x="190" y="240"/>
                    </a:lnTo>
                    <a:lnTo>
                      <a:pt x="218" y="244"/>
                    </a:lnTo>
                    <a:lnTo>
                      <a:pt x="248" y="248"/>
                    </a:lnTo>
                    <a:lnTo>
                      <a:pt x="280" y="250"/>
                    </a:lnTo>
                    <a:lnTo>
                      <a:pt x="310" y="250"/>
                    </a:lnTo>
                    <a:lnTo>
                      <a:pt x="310" y="250"/>
                    </a:lnTo>
                    <a:lnTo>
                      <a:pt x="342" y="250"/>
                    </a:lnTo>
                    <a:lnTo>
                      <a:pt x="374" y="248"/>
                    </a:lnTo>
                    <a:lnTo>
                      <a:pt x="404" y="244"/>
                    </a:lnTo>
                    <a:lnTo>
                      <a:pt x="432" y="240"/>
                    </a:lnTo>
                    <a:lnTo>
                      <a:pt x="460" y="236"/>
                    </a:lnTo>
                    <a:lnTo>
                      <a:pt x="486" y="230"/>
                    </a:lnTo>
                    <a:lnTo>
                      <a:pt x="510" y="222"/>
                    </a:lnTo>
                    <a:lnTo>
                      <a:pt x="532" y="214"/>
                    </a:lnTo>
                    <a:lnTo>
                      <a:pt x="552" y="204"/>
                    </a:lnTo>
                    <a:lnTo>
                      <a:pt x="570" y="196"/>
                    </a:lnTo>
                    <a:lnTo>
                      <a:pt x="586" y="186"/>
                    </a:lnTo>
                    <a:lnTo>
                      <a:pt x="598" y="174"/>
                    </a:lnTo>
                    <a:lnTo>
                      <a:pt x="610" y="162"/>
                    </a:lnTo>
                    <a:lnTo>
                      <a:pt x="616" y="150"/>
                    </a:lnTo>
                    <a:lnTo>
                      <a:pt x="622" y="138"/>
                    </a:lnTo>
                    <a:lnTo>
                      <a:pt x="624" y="126"/>
                    </a:lnTo>
                    <a:lnTo>
                      <a:pt x="624" y="0"/>
                    </a:lnTo>
                    <a:lnTo>
                      <a:pt x="624" y="0"/>
                    </a:lnTo>
                    <a:lnTo>
                      <a:pt x="622" y="14"/>
                    </a:lnTo>
                    <a:lnTo>
                      <a:pt x="616" y="26"/>
                    </a:lnTo>
                    <a:lnTo>
                      <a:pt x="610" y="38"/>
                    </a:lnTo>
                    <a:lnTo>
                      <a:pt x="598" y="50"/>
                    </a:lnTo>
                    <a:lnTo>
                      <a:pt x="586" y="60"/>
                    </a:lnTo>
                    <a:lnTo>
                      <a:pt x="570" y="70"/>
                    </a:lnTo>
                    <a:lnTo>
                      <a:pt x="552" y="80"/>
                    </a:lnTo>
                    <a:lnTo>
                      <a:pt x="532" y="88"/>
                    </a:lnTo>
                    <a:lnTo>
                      <a:pt x="510" y="96"/>
                    </a:lnTo>
                    <a:lnTo>
                      <a:pt x="486" y="104"/>
                    </a:lnTo>
                    <a:lnTo>
                      <a:pt x="460" y="110"/>
                    </a:lnTo>
                    <a:lnTo>
                      <a:pt x="432" y="116"/>
                    </a:lnTo>
                    <a:lnTo>
                      <a:pt x="404" y="120"/>
                    </a:lnTo>
                    <a:lnTo>
                      <a:pt x="374" y="122"/>
                    </a:lnTo>
                    <a:lnTo>
                      <a:pt x="342" y="124"/>
                    </a:lnTo>
                    <a:lnTo>
                      <a:pt x="310" y="126"/>
                    </a:lnTo>
                    <a:lnTo>
                      <a:pt x="310" y="1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65" name="Freeform 29"/>
              <p:cNvSpPr>
                <a:spLocks noEditPoints="1"/>
              </p:cNvSpPr>
              <p:nvPr/>
            </p:nvSpPr>
            <p:spPr bwMode="auto">
              <a:xfrm>
                <a:off x="1571625" y="-833438"/>
                <a:ext cx="990600" cy="593725"/>
              </a:xfrm>
              <a:custGeom>
                <a:avLst/>
                <a:gdLst>
                  <a:gd name="T0" fmla="*/ 280 w 624"/>
                  <a:gd name="T1" fmla="*/ 0 h 374"/>
                  <a:gd name="T2" fmla="*/ 190 w 624"/>
                  <a:gd name="T3" fmla="*/ 10 h 374"/>
                  <a:gd name="T4" fmla="*/ 112 w 624"/>
                  <a:gd name="T5" fmla="*/ 28 h 374"/>
                  <a:gd name="T6" fmla="*/ 52 w 624"/>
                  <a:gd name="T7" fmla="*/ 54 h 374"/>
                  <a:gd name="T8" fmla="*/ 14 w 624"/>
                  <a:gd name="T9" fmla="*/ 86 h 374"/>
                  <a:gd name="T10" fmla="*/ 0 w 624"/>
                  <a:gd name="T11" fmla="*/ 124 h 374"/>
                  <a:gd name="T12" fmla="*/ 0 w 624"/>
                  <a:gd name="T13" fmla="*/ 262 h 374"/>
                  <a:gd name="T14" fmla="*/ 24 w 624"/>
                  <a:gd name="T15" fmla="*/ 298 h 374"/>
                  <a:gd name="T16" fmla="*/ 70 w 624"/>
                  <a:gd name="T17" fmla="*/ 328 h 374"/>
                  <a:gd name="T18" fmla="*/ 136 w 624"/>
                  <a:gd name="T19" fmla="*/ 352 h 374"/>
                  <a:gd name="T20" fmla="*/ 218 w 624"/>
                  <a:gd name="T21" fmla="*/ 368 h 374"/>
                  <a:gd name="T22" fmla="*/ 310 w 624"/>
                  <a:gd name="T23" fmla="*/ 374 h 374"/>
                  <a:gd name="T24" fmla="*/ 374 w 624"/>
                  <a:gd name="T25" fmla="*/ 370 h 374"/>
                  <a:gd name="T26" fmla="*/ 460 w 624"/>
                  <a:gd name="T27" fmla="*/ 358 h 374"/>
                  <a:gd name="T28" fmla="*/ 532 w 624"/>
                  <a:gd name="T29" fmla="*/ 336 h 374"/>
                  <a:gd name="T30" fmla="*/ 586 w 624"/>
                  <a:gd name="T31" fmla="*/ 308 h 374"/>
                  <a:gd name="T32" fmla="*/ 616 w 624"/>
                  <a:gd name="T33" fmla="*/ 274 h 374"/>
                  <a:gd name="T34" fmla="*/ 624 w 624"/>
                  <a:gd name="T35" fmla="*/ 124 h 374"/>
                  <a:gd name="T36" fmla="*/ 616 w 624"/>
                  <a:gd name="T37" fmla="*/ 98 h 374"/>
                  <a:gd name="T38" fmla="*/ 586 w 624"/>
                  <a:gd name="T39" fmla="*/ 64 h 374"/>
                  <a:gd name="T40" fmla="*/ 532 w 624"/>
                  <a:gd name="T41" fmla="*/ 36 h 374"/>
                  <a:gd name="T42" fmla="*/ 460 w 624"/>
                  <a:gd name="T43" fmla="*/ 14 h 374"/>
                  <a:gd name="T44" fmla="*/ 374 w 624"/>
                  <a:gd name="T45" fmla="*/ 2 h 374"/>
                  <a:gd name="T46" fmla="*/ 310 w 624"/>
                  <a:gd name="T47" fmla="*/ 0 h 374"/>
                  <a:gd name="T48" fmla="*/ 280 w 624"/>
                  <a:gd name="T49" fmla="*/ 216 h 374"/>
                  <a:gd name="T50" fmla="*/ 194 w 624"/>
                  <a:gd name="T51" fmla="*/ 208 h 374"/>
                  <a:gd name="T52" fmla="*/ 74 w 624"/>
                  <a:gd name="T53" fmla="*/ 170 h 374"/>
                  <a:gd name="T54" fmla="*/ 42 w 624"/>
                  <a:gd name="T55" fmla="*/ 146 h 374"/>
                  <a:gd name="T56" fmla="*/ 30 w 624"/>
                  <a:gd name="T57" fmla="*/ 124 h 374"/>
                  <a:gd name="T58" fmla="*/ 36 w 624"/>
                  <a:gd name="T59" fmla="*/ 108 h 374"/>
                  <a:gd name="T60" fmla="*/ 60 w 624"/>
                  <a:gd name="T61" fmla="*/ 86 h 374"/>
                  <a:gd name="T62" fmla="*/ 146 w 624"/>
                  <a:gd name="T63" fmla="*/ 50 h 374"/>
                  <a:gd name="T64" fmla="*/ 250 w 624"/>
                  <a:gd name="T65" fmla="*/ 32 h 374"/>
                  <a:gd name="T66" fmla="*/ 310 w 624"/>
                  <a:gd name="T67" fmla="*/ 30 h 374"/>
                  <a:gd name="T68" fmla="*/ 400 w 624"/>
                  <a:gd name="T69" fmla="*/ 36 h 374"/>
                  <a:gd name="T70" fmla="*/ 516 w 624"/>
                  <a:gd name="T71" fmla="*/ 62 h 374"/>
                  <a:gd name="T72" fmla="*/ 572 w 624"/>
                  <a:gd name="T73" fmla="*/ 94 h 374"/>
                  <a:gd name="T74" fmla="*/ 590 w 624"/>
                  <a:gd name="T75" fmla="*/ 116 h 374"/>
                  <a:gd name="T76" fmla="*/ 590 w 624"/>
                  <a:gd name="T77" fmla="*/ 132 h 374"/>
                  <a:gd name="T78" fmla="*/ 572 w 624"/>
                  <a:gd name="T79" fmla="*/ 154 h 374"/>
                  <a:gd name="T80" fmla="*/ 516 w 624"/>
                  <a:gd name="T81" fmla="*/ 186 h 374"/>
                  <a:gd name="T82" fmla="*/ 400 w 624"/>
                  <a:gd name="T83" fmla="*/ 212 h 374"/>
                  <a:gd name="T84" fmla="*/ 310 w 624"/>
                  <a:gd name="T85" fmla="*/ 218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24" h="374">
                    <a:moveTo>
                      <a:pt x="310" y="0"/>
                    </a:moveTo>
                    <a:lnTo>
                      <a:pt x="310" y="0"/>
                    </a:lnTo>
                    <a:lnTo>
                      <a:pt x="280" y="0"/>
                    </a:lnTo>
                    <a:lnTo>
                      <a:pt x="248" y="2"/>
                    </a:lnTo>
                    <a:lnTo>
                      <a:pt x="218" y="4"/>
                    </a:lnTo>
                    <a:lnTo>
                      <a:pt x="190" y="10"/>
                    </a:lnTo>
                    <a:lnTo>
                      <a:pt x="162" y="14"/>
                    </a:lnTo>
                    <a:lnTo>
                      <a:pt x="136" y="20"/>
                    </a:lnTo>
                    <a:lnTo>
                      <a:pt x="112" y="28"/>
                    </a:lnTo>
                    <a:lnTo>
                      <a:pt x="90" y="36"/>
                    </a:lnTo>
                    <a:lnTo>
                      <a:pt x="70" y="44"/>
                    </a:lnTo>
                    <a:lnTo>
                      <a:pt x="52" y="54"/>
                    </a:lnTo>
                    <a:lnTo>
                      <a:pt x="36" y="64"/>
                    </a:lnTo>
                    <a:lnTo>
                      <a:pt x="24" y="76"/>
                    </a:lnTo>
                    <a:lnTo>
                      <a:pt x="14" y="86"/>
                    </a:lnTo>
                    <a:lnTo>
                      <a:pt x="6" y="98"/>
                    </a:lnTo>
                    <a:lnTo>
                      <a:pt x="0" y="112"/>
                    </a:lnTo>
                    <a:lnTo>
                      <a:pt x="0" y="124"/>
                    </a:lnTo>
                    <a:lnTo>
                      <a:pt x="0" y="248"/>
                    </a:lnTo>
                    <a:lnTo>
                      <a:pt x="0" y="248"/>
                    </a:lnTo>
                    <a:lnTo>
                      <a:pt x="0" y="262"/>
                    </a:lnTo>
                    <a:lnTo>
                      <a:pt x="6" y="274"/>
                    </a:lnTo>
                    <a:lnTo>
                      <a:pt x="14" y="286"/>
                    </a:lnTo>
                    <a:lnTo>
                      <a:pt x="24" y="298"/>
                    </a:lnTo>
                    <a:lnTo>
                      <a:pt x="36" y="308"/>
                    </a:lnTo>
                    <a:lnTo>
                      <a:pt x="52" y="318"/>
                    </a:lnTo>
                    <a:lnTo>
                      <a:pt x="70" y="328"/>
                    </a:lnTo>
                    <a:lnTo>
                      <a:pt x="90" y="336"/>
                    </a:lnTo>
                    <a:lnTo>
                      <a:pt x="112" y="346"/>
                    </a:lnTo>
                    <a:lnTo>
                      <a:pt x="136" y="352"/>
                    </a:lnTo>
                    <a:lnTo>
                      <a:pt x="162" y="358"/>
                    </a:lnTo>
                    <a:lnTo>
                      <a:pt x="190" y="364"/>
                    </a:lnTo>
                    <a:lnTo>
                      <a:pt x="218" y="368"/>
                    </a:lnTo>
                    <a:lnTo>
                      <a:pt x="248" y="370"/>
                    </a:lnTo>
                    <a:lnTo>
                      <a:pt x="280" y="372"/>
                    </a:lnTo>
                    <a:lnTo>
                      <a:pt x="310" y="374"/>
                    </a:lnTo>
                    <a:lnTo>
                      <a:pt x="310" y="374"/>
                    </a:lnTo>
                    <a:lnTo>
                      <a:pt x="342" y="372"/>
                    </a:lnTo>
                    <a:lnTo>
                      <a:pt x="374" y="370"/>
                    </a:lnTo>
                    <a:lnTo>
                      <a:pt x="404" y="368"/>
                    </a:lnTo>
                    <a:lnTo>
                      <a:pt x="432" y="364"/>
                    </a:lnTo>
                    <a:lnTo>
                      <a:pt x="460" y="358"/>
                    </a:lnTo>
                    <a:lnTo>
                      <a:pt x="486" y="352"/>
                    </a:lnTo>
                    <a:lnTo>
                      <a:pt x="510" y="346"/>
                    </a:lnTo>
                    <a:lnTo>
                      <a:pt x="532" y="336"/>
                    </a:lnTo>
                    <a:lnTo>
                      <a:pt x="552" y="328"/>
                    </a:lnTo>
                    <a:lnTo>
                      <a:pt x="570" y="318"/>
                    </a:lnTo>
                    <a:lnTo>
                      <a:pt x="586" y="308"/>
                    </a:lnTo>
                    <a:lnTo>
                      <a:pt x="598" y="298"/>
                    </a:lnTo>
                    <a:lnTo>
                      <a:pt x="610" y="286"/>
                    </a:lnTo>
                    <a:lnTo>
                      <a:pt x="616" y="274"/>
                    </a:lnTo>
                    <a:lnTo>
                      <a:pt x="622" y="262"/>
                    </a:lnTo>
                    <a:lnTo>
                      <a:pt x="624" y="248"/>
                    </a:lnTo>
                    <a:lnTo>
                      <a:pt x="624" y="124"/>
                    </a:lnTo>
                    <a:lnTo>
                      <a:pt x="624" y="124"/>
                    </a:lnTo>
                    <a:lnTo>
                      <a:pt x="622" y="112"/>
                    </a:lnTo>
                    <a:lnTo>
                      <a:pt x="616" y="98"/>
                    </a:lnTo>
                    <a:lnTo>
                      <a:pt x="610" y="86"/>
                    </a:lnTo>
                    <a:lnTo>
                      <a:pt x="598" y="76"/>
                    </a:lnTo>
                    <a:lnTo>
                      <a:pt x="586" y="64"/>
                    </a:lnTo>
                    <a:lnTo>
                      <a:pt x="570" y="54"/>
                    </a:lnTo>
                    <a:lnTo>
                      <a:pt x="552" y="44"/>
                    </a:lnTo>
                    <a:lnTo>
                      <a:pt x="532" y="36"/>
                    </a:lnTo>
                    <a:lnTo>
                      <a:pt x="510" y="28"/>
                    </a:lnTo>
                    <a:lnTo>
                      <a:pt x="486" y="20"/>
                    </a:lnTo>
                    <a:lnTo>
                      <a:pt x="460" y="14"/>
                    </a:lnTo>
                    <a:lnTo>
                      <a:pt x="432" y="10"/>
                    </a:lnTo>
                    <a:lnTo>
                      <a:pt x="404" y="4"/>
                    </a:lnTo>
                    <a:lnTo>
                      <a:pt x="374" y="2"/>
                    </a:lnTo>
                    <a:lnTo>
                      <a:pt x="342" y="0"/>
                    </a:lnTo>
                    <a:lnTo>
                      <a:pt x="310" y="0"/>
                    </a:lnTo>
                    <a:lnTo>
                      <a:pt x="310" y="0"/>
                    </a:lnTo>
                    <a:close/>
                    <a:moveTo>
                      <a:pt x="310" y="218"/>
                    </a:moveTo>
                    <a:lnTo>
                      <a:pt x="310" y="218"/>
                    </a:lnTo>
                    <a:lnTo>
                      <a:pt x="280" y="216"/>
                    </a:lnTo>
                    <a:lnTo>
                      <a:pt x="250" y="216"/>
                    </a:lnTo>
                    <a:lnTo>
                      <a:pt x="222" y="212"/>
                    </a:lnTo>
                    <a:lnTo>
                      <a:pt x="194" y="208"/>
                    </a:lnTo>
                    <a:lnTo>
                      <a:pt x="146" y="198"/>
                    </a:lnTo>
                    <a:lnTo>
                      <a:pt x="106" y="186"/>
                    </a:lnTo>
                    <a:lnTo>
                      <a:pt x="74" y="170"/>
                    </a:lnTo>
                    <a:lnTo>
                      <a:pt x="60" y="162"/>
                    </a:lnTo>
                    <a:lnTo>
                      <a:pt x="50" y="154"/>
                    </a:lnTo>
                    <a:lnTo>
                      <a:pt x="42" y="146"/>
                    </a:lnTo>
                    <a:lnTo>
                      <a:pt x="36" y="138"/>
                    </a:lnTo>
                    <a:lnTo>
                      <a:pt x="32" y="132"/>
                    </a:lnTo>
                    <a:lnTo>
                      <a:pt x="30" y="124"/>
                    </a:lnTo>
                    <a:lnTo>
                      <a:pt x="30" y="124"/>
                    </a:lnTo>
                    <a:lnTo>
                      <a:pt x="32" y="116"/>
                    </a:lnTo>
                    <a:lnTo>
                      <a:pt x="36" y="108"/>
                    </a:lnTo>
                    <a:lnTo>
                      <a:pt x="42" y="100"/>
                    </a:lnTo>
                    <a:lnTo>
                      <a:pt x="50" y="94"/>
                    </a:lnTo>
                    <a:lnTo>
                      <a:pt x="60" y="86"/>
                    </a:lnTo>
                    <a:lnTo>
                      <a:pt x="74" y="78"/>
                    </a:lnTo>
                    <a:lnTo>
                      <a:pt x="106" y="62"/>
                    </a:lnTo>
                    <a:lnTo>
                      <a:pt x="146" y="50"/>
                    </a:lnTo>
                    <a:lnTo>
                      <a:pt x="194" y="40"/>
                    </a:lnTo>
                    <a:lnTo>
                      <a:pt x="222" y="36"/>
                    </a:lnTo>
                    <a:lnTo>
                      <a:pt x="250" y="32"/>
                    </a:lnTo>
                    <a:lnTo>
                      <a:pt x="280" y="30"/>
                    </a:lnTo>
                    <a:lnTo>
                      <a:pt x="310" y="30"/>
                    </a:lnTo>
                    <a:lnTo>
                      <a:pt x="310" y="30"/>
                    </a:lnTo>
                    <a:lnTo>
                      <a:pt x="342" y="30"/>
                    </a:lnTo>
                    <a:lnTo>
                      <a:pt x="372" y="32"/>
                    </a:lnTo>
                    <a:lnTo>
                      <a:pt x="400" y="36"/>
                    </a:lnTo>
                    <a:lnTo>
                      <a:pt x="428" y="40"/>
                    </a:lnTo>
                    <a:lnTo>
                      <a:pt x="476" y="50"/>
                    </a:lnTo>
                    <a:lnTo>
                      <a:pt x="516" y="62"/>
                    </a:lnTo>
                    <a:lnTo>
                      <a:pt x="548" y="78"/>
                    </a:lnTo>
                    <a:lnTo>
                      <a:pt x="562" y="86"/>
                    </a:lnTo>
                    <a:lnTo>
                      <a:pt x="572" y="94"/>
                    </a:lnTo>
                    <a:lnTo>
                      <a:pt x="580" y="100"/>
                    </a:lnTo>
                    <a:lnTo>
                      <a:pt x="586" y="108"/>
                    </a:lnTo>
                    <a:lnTo>
                      <a:pt x="590" y="116"/>
                    </a:lnTo>
                    <a:lnTo>
                      <a:pt x="592" y="124"/>
                    </a:lnTo>
                    <a:lnTo>
                      <a:pt x="592" y="124"/>
                    </a:lnTo>
                    <a:lnTo>
                      <a:pt x="590" y="132"/>
                    </a:lnTo>
                    <a:lnTo>
                      <a:pt x="586" y="138"/>
                    </a:lnTo>
                    <a:lnTo>
                      <a:pt x="580" y="146"/>
                    </a:lnTo>
                    <a:lnTo>
                      <a:pt x="572" y="154"/>
                    </a:lnTo>
                    <a:lnTo>
                      <a:pt x="562" y="162"/>
                    </a:lnTo>
                    <a:lnTo>
                      <a:pt x="548" y="170"/>
                    </a:lnTo>
                    <a:lnTo>
                      <a:pt x="516" y="186"/>
                    </a:lnTo>
                    <a:lnTo>
                      <a:pt x="476" y="198"/>
                    </a:lnTo>
                    <a:lnTo>
                      <a:pt x="428" y="208"/>
                    </a:lnTo>
                    <a:lnTo>
                      <a:pt x="400" y="212"/>
                    </a:lnTo>
                    <a:lnTo>
                      <a:pt x="372" y="216"/>
                    </a:lnTo>
                    <a:lnTo>
                      <a:pt x="342" y="216"/>
                    </a:lnTo>
                    <a:lnTo>
                      <a:pt x="310" y="218"/>
                    </a:lnTo>
                    <a:lnTo>
                      <a:pt x="310" y="2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66" name="Freeform 30"/>
              <p:cNvSpPr>
                <a:spLocks/>
              </p:cNvSpPr>
              <p:nvPr/>
            </p:nvSpPr>
            <p:spPr bwMode="auto">
              <a:xfrm>
                <a:off x="1914525" y="-757238"/>
                <a:ext cx="301625" cy="234950"/>
              </a:xfrm>
              <a:custGeom>
                <a:avLst/>
                <a:gdLst>
                  <a:gd name="T0" fmla="*/ 118 w 190"/>
                  <a:gd name="T1" fmla="*/ 62 h 148"/>
                  <a:gd name="T2" fmla="*/ 80 w 190"/>
                  <a:gd name="T3" fmla="*/ 54 h 148"/>
                  <a:gd name="T4" fmla="*/ 68 w 190"/>
                  <a:gd name="T5" fmla="*/ 48 h 148"/>
                  <a:gd name="T6" fmla="*/ 68 w 190"/>
                  <a:gd name="T7" fmla="*/ 46 h 148"/>
                  <a:gd name="T8" fmla="*/ 76 w 190"/>
                  <a:gd name="T9" fmla="*/ 40 h 148"/>
                  <a:gd name="T10" fmla="*/ 104 w 190"/>
                  <a:gd name="T11" fmla="*/ 36 h 148"/>
                  <a:gd name="T12" fmla="*/ 126 w 190"/>
                  <a:gd name="T13" fmla="*/ 36 h 148"/>
                  <a:gd name="T14" fmla="*/ 166 w 190"/>
                  <a:gd name="T15" fmla="*/ 42 h 148"/>
                  <a:gd name="T16" fmla="*/ 178 w 190"/>
                  <a:gd name="T17" fmla="*/ 22 h 148"/>
                  <a:gd name="T18" fmla="*/ 116 w 190"/>
                  <a:gd name="T19" fmla="*/ 16 h 148"/>
                  <a:gd name="T20" fmla="*/ 74 w 190"/>
                  <a:gd name="T21" fmla="*/ 0 h 148"/>
                  <a:gd name="T22" fmla="*/ 74 w 190"/>
                  <a:gd name="T23" fmla="*/ 18 h 148"/>
                  <a:gd name="T24" fmla="*/ 32 w 190"/>
                  <a:gd name="T25" fmla="*/ 24 h 148"/>
                  <a:gd name="T26" fmla="*/ 14 w 190"/>
                  <a:gd name="T27" fmla="*/ 32 h 148"/>
                  <a:gd name="T28" fmla="*/ 4 w 190"/>
                  <a:gd name="T29" fmla="*/ 44 h 148"/>
                  <a:gd name="T30" fmla="*/ 4 w 190"/>
                  <a:gd name="T31" fmla="*/ 48 h 148"/>
                  <a:gd name="T32" fmla="*/ 8 w 190"/>
                  <a:gd name="T33" fmla="*/ 60 h 148"/>
                  <a:gd name="T34" fmla="*/ 24 w 190"/>
                  <a:gd name="T35" fmla="*/ 70 h 148"/>
                  <a:gd name="T36" fmla="*/ 80 w 190"/>
                  <a:gd name="T37" fmla="*/ 82 h 148"/>
                  <a:gd name="T38" fmla="*/ 100 w 190"/>
                  <a:gd name="T39" fmla="*/ 86 h 148"/>
                  <a:gd name="T40" fmla="*/ 122 w 190"/>
                  <a:gd name="T41" fmla="*/ 94 h 148"/>
                  <a:gd name="T42" fmla="*/ 124 w 190"/>
                  <a:gd name="T43" fmla="*/ 98 h 148"/>
                  <a:gd name="T44" fmla="*/ 124 w 190"/>
                  <a:gd name="T45" fmla="*/ 100 h 148"/>
                  <a:gd name="T46" fmla="*/ 114 w 190"/>
                  <a:gd name="T47" fmla="*/ 106 h 148"/>
                  <a:gd name="T48" fmla="*/ 84 w 190"/>
                  <a:gd name="T49" fmla="*/ 110 h 148"/>
                  <a:gd name="T50" fmla="*/ 64 w 190"/>
                  <a:gd name="T51" fmla="*/ 108 h 148"/>
                  <a:gd name="T52" fmla="*/ 14 w 190"/>
                  <a:gd name="T53" fmla="*/ 102 h 148"/>
                  <a:gd name="T54" fmla="*/ 0 w 190"/>
                  <a:gd name="T55" fmla="*/ 122 h 148"/>
                  <a:gd name="T56" fmla="*/ 72 w 190"/>
                  <a:gd name="T57" fmla="*/ 130 h 148"/>
                  <a:gd name="T58" fmla="*/ 114 w 190"/>
                  <a:gd name="T59" fmla="*/ 148 h 148"/>
                  <a:gd name="T60" fmla="*/ 114 w 190"/>
                  <a:gd name="T61" fmla="*/ 128 h 148"/>
                  <a:gd name="T62" fmla="*/ 160 w 190"/>
                  <a:gd name="T63" fmla="*/ 122 h 148"/>
                  <a:gd name="T64" fmla="*/ 178 w 190"/>
                  <a:gd name="T65" fmla="*/ 112 h 148"/>
                  <a:gd name="T66" fmla="*/ 188 w 190"/>
                  <a:gd name="T67" fmla="*/ 102 h 148"/>
                  <a:gd name="T68" fmla="*/ 190 w 190"/>
                  <a:gd name="T69" fmla="*/ 96 h 148"/>
                  <a:gd name="T70" fmla="*/ 186 w 190"/>
                  <a:gd name="T71" fmla="*/ 84 h 148"/>
                  <a:gd name="T72" fmla="*/ 174 w 190"/>
                  <a:gd name="T73" fmla="*/ 76 h 148"/>
                  <a:gd name="T74" fmla="*/ 118 w 190"/>
                  <a:gd name="T75" fmla="*/ 62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90" h="148">
                    <a:moveTo>
                      <a:pt x="118" y="62"/>
                    </a:moveTo>
                    <a:lnTo>
                      <a:pt x="118" y="62"/>
                    </a:lnTo>
                    <a:lnTo>
                      <a:pt x="96" y="58"/>
                    </a:lnTo>
                    <a:lnTo>
                      <a:pt x="80" y="54"/>
                    </a:lnTo>
                    <a:lnTo>
                      <a:pt x="72" y="50"/>
                    </a:lnTo>
                    <a:lnTo>
                      <a:pt x="68" y="48"/>
                    </a:lnTo>
                    <a:lnTo>
                      <a:pt x="68" y="46"/>
                    </a:lnTo>
                    <a:lnTo>
                      <a:pt x="68" y="46"/>
                    </a:lnTo>
                    <a:lnTo>
                      <a:pt x="70" y="42"/>
                    </a:lnTo>
                    <a:lnTo>
                      <a:pt x="76" y="40"/>
                    </a:lnTo>
                    <a:lnTo>
                      <a:pt x="88" y="36"/>
                    </a:lnTo>
                    <a:lnTo>
                      <a:pt x="104" y="36"/>
                    </a:lnTo>
                    <a:lnTo>
                      <a:pt x="104" y="36"/>
                    </a:lnTo>
                    <a:lnTo>
                      <a:pt x="126" y="36"/>
                    </a:lnTo>
                    <a:lnTo>
                      <a:pt x="142" y="38"/>
                    </a:lnTo>
                    <a:lnTo>
                      <a:pt x="166" y="42"/>
                    </a:lnTo>
                    <a:lnTo>
                      <a:pt x="178" y="22"/>
                    </a:lnTo>
                    <a:lnTo>
                      <a:pt x="178" y="22"/>
                    </a:lnTo>
                    <a:lnTo>
                      <a:pt x="152" y="18"/>
                    </a:lnTo>
                    <a:lnTo>
                      <a:pt x="116" y="16"/>
                    </a:lnTo>
                    <a:lnTo>
                      <a:pt x="116" y="0"/>
                    </a:lnTo>
                    <a:lnTo>
                      <a:pt x="74" y="0"/>
                    </a:lnTo>
                    <a:lnTo>
                      <a:pt x="74" y="18"/>
                    </a:lnTo>
                    <a:lnTo>
                      <a:pt x="74" y="18"/>
                    </a:lnTo>
                    <a:lnTo>
                      <a:pt x="44" y="22"/>
                    </a:lnTo>
                    <a:lnTo>
                      <a:pt x="32" y="24"/>
                    </a:lnTo>
                    <a:lnTo>
                      <a:pt x="22" y="28"/>
                    </a:lnTo>
                    <a:lnTo>
                      <a:pt x="14" y="32"/>
                    </a:lnTo>
                    <a:lnTo>
                      <a:pt x="8" y="38"/>
                    </a:lnTo>
                    <a:lnTo>
                      <a:pt x="4" y="44"/>
                    </a:lnTo>
                    <a:lnTo>
                      <a:pt x="4" y="48"/>
                    </a:lnTo>
                    <a:lnTo>
                      <a:pt x="4" y="48"/>
                    </a:lnTo>
                    <a:lnTo>
                      <a:pt x="4" y="56"/>
                    </a:lnTo>
                    <a:lnTo>
                      <a:pt x="8" y="60"/>
                    </a:lnTo>
                    <a:lnTo>
                      <a:pt x="16" y="66"/>
                    </a:lnTo>
                    <a:lnTo>
                      <a:pt x="24" y="70"/>
                    </a:lnTo>
                    <a:lnTo>
                      <a:pt x="48" y="76"/>
                    </a:lnTo>
                    <a:lnTo>
                      <a:pt x="80" y="82"/>
                    </a:lnTo>
                    <a:lnTo>
                      <a:pt x="80" y="82"/>
                    </a:lnTo>
                    <a:lnTo>
                      <a:pt x="100" y="86"/>
                    </a:lnTo>
                    <a:lnTo>
                      <a:pt x="114" y="90"/>
                    </a:lnTo>
                    <a:lnTo>
                      <a:pt x="122" y="94"/>
                    </a:lnTo>
                    <a:lnTo>
                      <a:pt x="124" y="96"/>
                    </a:lnTo>
                    <a:lnTo>
                      <a:pt x="124" y="98"/>
                    </a:lnTo>
                    <a:lnTo>
                      <a:pt x="124" y="98"/>
                    </a:lnTo>
                    <a:lnTo>
                      <a:pt x="124" y="100"/>
                    </a:lnTo>
                    <a:lnTo>
                      <a:pt x="122" y="102"/>
                    </a:lnTo>
                    <a:lnTo>
                      <a:pt x="114" y="106"/>
                    </a:lnTo>
                    <a:lnTo>
                      <a:pt x="100" y="108"/>
                    </a:lnTo>
                    <a:lnTo>
                      <a:pt x="84" y="110"/>
                    </a:lnTo>
                    <a:lnTo>
                      <a:pt x="84" y="110"/>
                    </a:lnTo>
                    <a:lnTo>
                      <a:pt x="64" y="108"/>
                    </a:lnTo>
                    <a:lnTo>
                      <a:pt x="44" y="106"/>
                    </a:lnTo>
                    <a:lnTo>
                      <a:pt x="14" y="102"/>
                    </a:lnTo>
                    <a:lnTo>
                      <a:pt x="0" y="122"/>
                    </a:lnTo>
                    <a:lnTo>
                      <a:pt x="0" y="122"/>
                    </a:lnTo>
                    <a:lnTo>
                      <a:pt x="32" y="128"/>
                    </a:lnTo>
                    <a:lnTo>
                      <a:pt x="72" y="130"/>
                    </a:lnTo>
                    <a:lnTo>
                      <a:pt x="72" y="148"/>
                    </a:lnTo>
                    <a:lnTo>
                      <a:pt x="114" y="148"/>
                    </a:lnTo>
                    <a:lnTo>
                      <a:pt x="114" y="128"/>
                    </a:lnTo>
                    <a:lnTo>
                      <a:pt x="114" y="128"/>
                    </a:lnTo>
                    <a:lnTo>
                      <a:pt x="146" y="124"/>
                    </a:lnTo>
                    <a:lnTo>
                      <a:pt x="160" y="122"/>
                    </a:lnTo>
                    <a:lnTo>
                      <a:pt x="170" y="118"/>
                    </a:lnTo>
                    <a:lnTo>
                      <a:pt x="178" y="112"/>
                    </a:lnTo>
                    <a:lnTo>
                      <a:pt x="184" y="108"/>
                    </a:lnTo>
                    <a:lnTo>
                      <a:pt x="188" y="102"/>
                    </a:lnTo>
                    <a:lnTo>
                      <a:pt x="190" y="96"/>
                    </a:lnTo>
                    <a:lnTo>
                      <a:pt x="190" y="96"/>
                    </a:lnTo>
                    <a:lnTo>
                      <a:pt x="188" y="90"/>
                    </a:lnTo>
                    <a:lnTo>
                      <a:pt x="186" y="84"/>
                    </a:lnTo>
                    <a:lnTo>
                      <a:pt x="180" y="80"/>
                    </a:lnTo>
                    <a:lnTo>
                      <a:pt x="174" y="76"/>
                    </a:lnTo>
                    <a:lnTo>
                      <a:pt x="152" y="68"/>
                    </a:lnTo>
                    <a:lnTo>
                      <a:pt x="118" y="62"/>
                    </a:lnTo>
                    <a:lnTo>
                      <a:pt x="118"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67" name="Freeform 31"/>
              <p:cNvSpPr>
                <a:spLocks/>
              </p:cNvSpPr>
              <p:nvPr/>
            </p:nvSpPr>
            <p:spPr bwMode="auto">
              <a:xfrm>
                <a:off x="2663825" y="134938"/>
                <a:ext cx="990600" cy="396875"/>
              </a:xfrm>
              <a:custGeom>
                <a:avLst/>
                <a:gdLst>
                  <a:gd name="T0" fmla="*/ 312 w 624"/>
                  <a:gd name="T1" fmla="*/ 126 h 250"/>
                  <a:gd name="T2" fmla="*/ 250 w 624"/>
                  <a:gd name="T3" fmla="*/ 122 h 250"/>
                  <a:gd name="T4" fmla="*/ 192 w 624"/>
                  <a:gd name="T5" fmla="*/ 116 h 250"/>
                  <a:gd name="T6" fmla="*/ 138 w 624"/>
                  <a:gd name="T7" fmla="*/ 104 h 250"/>
                  <a:gd name="T8" fmla="*/ 92 w 624"/>
                  <a:gd name="T9" fmla="*/ 88 h 250"/>
                  <a:gd name="T10" fmla="*/ 54 w 624"/>
                  <a:gd name="T11" fmla="*/ 70 h 250"/>
                  <a:gd name="T12" fmla="*/ 26 w 624"/>
                  <a:gd name="T13" fmla="*/ 48 h 250"/>
                  <a:gd name="T14" fmla="*/ 8 w 624"/>
                  <a:gd name="T15" fmla="*/ 26 h 250"/>
                  <a:gd name="T16" fmla="*/ 0 w 624"/>
                  <a:gd name="T17" fmla="*/ 0 h 250"/>
                  <a:gd name="T18" fmla="*/ 0 w 624"/>
                  <a:gd name="T19" fmla="*/ 126 h 250"/>
                  <a:gd name="T20" fmla="*/ 8 w 624"/>
                  <a:gd name="T21" fmla="*/ 150 h 250"/>
                  <a:gd name="T22" fmla="*/ 26 w 624"/>
                  <a:gd name="T23" fmla="*/ 174 h 250"/>
                  <a:gd name="T24" fmla="*/ 54 w 624"/>
                  <a:gd name="T25" fmla="*/ 194 h 250"/>
                  <a:gd name="T26" fmla="*/ 92 w 624"/>
                  <a:gd name="T27" fmla="*/ 214 h 250"/>
                  <a:gd name="T28" fmla="*/ 138 w 624"/>
                  <a:gd name="T29" fmla="*/ 228 h 250"/>
                  <a:gd name="T30" fmla="*/ 192 w 624"/>
                  <a:gd name="T31" fmla="*/ 240 h 250"/>
                  <a:gd name="T32" fmla="*/ 250 w 624"/>
                  <a:gd name="T33" fmla="*/ 246 h 250"/>
                  <a:gd name="T34" fmla="*/ 312 w 624"/>
                  <a:gd name="T35" fmla="*/ 250 h 250"/>
                  <a:gd name="T36" fmla="*/ 344 w 624"/>
                  <a:gd name="T37" fmla="*/ 248 h 250"/>
                  <a:gd name="T38" fmla="*/ 406 w 624"/>
                  <a:gd name="T39" fmla="*/ 244 h 250"/>
                  <a:gd name="T40" fmla="*/ 462 w 624"/>
                  <a:gd name="T41" fmla="*/ 234 h 250"/>
                  <a:gd name="T42" fmla="*/ 512 w 624"/>
                  <a:gd name="T43" fmla="*/ 222 h 250"/>
                  <a:gd name="T44" fmla="*/ 554 w 624"/>
                  <a:gd name="T45" fmla="*/ 204 h 250"/>
                  <a:gd name="T46" fmla="*/ 586 w 624"/>
                  <a:gd name="T47" fmla="*/ 184 h 250"/>
                  <a:gd name="T48" fmla="*/ 610 w 624"/>
                  <a:gd name="T49" fmla="*/ 162 h 250"/>
                  <a:gd name="T50" fmla="*/ 622 w 624"/>
                  <a:gd name="T51" fmla="*/ 138 h 250"/>
                  <a:gd name="T52" fmla="*/ 624 w 624"/>
                  <a:gd name="T53" fmla="*/ 0 h 250"/>
                  <a:gd name="T54" fmla="*/ 622 w 624"/>
                  <a:gd name="T55" fmla="*/ 12 h 250"/>
                  <a:gd name="T56" fmla="*/ 610 w 624"/>
                  <a:gd name="T57" fmla="*/ 38 h 250"/>
                  <a:gd name="T58" fmla="*/ 586 w 624"/>
                  <a:gd name="T59" fmla="*/ 60 h 250"/>
                  <a:gd name="T60" fmla="*/ 554 w 624"/>
                  <a:gd name="T61" fmla="*/ 80 h 250"/>
                  <a:gd name="T62" fmla="*/ 512 w 624"/>
                  <a:gd name="T63" fmla="*/ 96 h 250"/>
                  <a:gd name="T64" fmla="*/ 462 w 624"/>
                  <a:gd name="T65" fmla="*/ 110 h 250"/>
                  <a:gd name="T66" fmla="*/ 406 w 624"/>
                  <a:gd name="T67" fmla="*/ 120 h 250"/>
                  <a:gd name="T68" fmla="*/ 344 w 624"/>
                  <a:gd name="T69" fmla="*/ 124 h 250"/>
                  <a:gd name="T70" fmla="*/ 312 w 624"/>
                  <a:gd name="T71" fmla="*/ 126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24" h="250">
                    <a:moveTo>
                      <a:pt x="312" y="126"/>
                    </a:moveTo>
                    <a:lnTo>
                      <a:pt x="312" y="126"/>
                    </a:lnTo>
                    <a:lnTo>
                      <a:pt x="280" y="124"/>
                    </a:lnTo>
                    <a:lnTo>
                      <a:pt x="250" y="122"/>
                    </a:lnTo>
                    <a:lnTo>
                      <a:pt x="220" y="120"/>
                    </a:lnTo>
                    <a:lnTo>
                      <a:pt x="192" y="116"/>
                    </a:lnTo>
                    <a:lnTo>
                      <a:pt x="164" y="110"/>
                    </a:lnTo>
                    <a:lnTo>
                      <a:pt x="138" y="104"/>
                    </a:lnTo>
                    <a:lnTo>
                      <a:pt x="114" y="96"/>
                    </a:lnTo>
                    <a:lnTo>
                      <a:pt x="92" y="88"/>
                    </a:lnTo>
                    <a:lnTo>
                      <a:pt x="72" y="80"/>
                    </a:lnTo>
                    <a:lnTo>
                      <a:pt x="54" y="70"/>
                    </a:lnTo>
                    <a:lnTo>
                      <a:pt x="38" y="60"/>
                    </a:lnTo>
                    <a:lnTo>
                      <a:pt x="26" y="48"/>
                    </a:lnTo>
                    <a:lnTo>
                      <a:pt x="14" y="38"/>
                    </a:lnTo>
                    <a:lnTo>
                      <a:pt x="8" y="26"/>
                    </a:lnTo>
                    <a:lnTo>
                      <a:pt x="2" y="12"/>
                    </a:lnTo>
                    <a:lnTo>
                      <a:pt x="0" y="0"/>
                    </a:lnTo>
                    <a:lnTo>
                      <a:pt x="0" y="126"/>
                    </a:lnTo>
                    <a:lnTo>
                      <a:pt x="0" y="126"/>
                    </a:lnTo>
                    <a:lnTo>
                      <a:pt x="2" y="138"/>
                    </a:lnTo>
                    <a:lnTo>
                      <a:pt x="8" y="150"/>
                    </a:lnTo>
                    <a:lnTo>
                      <a:pt x="14" y="162"/>
                    </a:lnTo>
                    <a:lnTo>
                      <a:pt x="26" y="174"/>
                    </a:lnTo>
                    <a:lnTo>
                      <a:pt x="38" y="184"/>
                    </a:lnTo>
                    <a:lnTo>
                      <a:pt x="54" y="194"/>
                    </a:lnTo>
                    <a:lnTo>
                      <a:pt x="72" y="204"/>
                    </a:lnTo>
                    <a:lnTo>
                      <a:pt x="92" y="214"/>
                    </a:lnTo>
                    <a:lnTo>
                      <a:pt x="114" y="222"/>
                    </a:lnTo>
                    <a:lnTo>
                      <a:pt x="138" y="228"/>
                    </a:lnTo>
                    <a:lnTo>
                      <a:pt x="164" y="234"/>
                    </a:lnTo>
                    <a:lnTo>
                      <a:pt x="192" y="240"/>
                    </a:lnTo>
                    <a:lnTo>
                      <a:pt x="220" y="244"/>
                    </a:lnTo>
                    <a:lnTo>
                      <a:pt x="250" y="246"/>
                    </a:lnTo>
                    <a:lnTo>
                      <a:pt x="280" y="248"/>
                    </a:lnTo>
                    <a:lnTo>
                      <a:pt x="312" y="250"/>
                    </a:lnTo>
                    <a:lnTo>
                      <a:pt x="312" y="250"/>
                    </a:lnTo>
                    <a:lnTo>
                      <a:pt x="344" y="248"/>
                    </a:lnTo>
                    <a:lnTo>
                      <a:pt x="376" y="246"/>
                    </a:lnTo>
                    <a:lnTo>
                      <a:pt x="406" y="244"/>
                    </a:lnTo>
                    <a:lnTo>
                      <a:pt x="434" y="240"/>
                    </a:lnTo>
                    <a:lnTo>
                      <a:pt x="462" y="234"/>
                    </a:lnTo>
                    <a:lnTo>
                      <a:pt x="488" y="228"/>
                    </a:lnTo>
                    <a:lnTo>
                      <a:pt x="512" y="222"/>
                    </a:lnTo>
                    <a:lnTo>
                      <a:pt x="534" y="214"/>
                    </a:lnTo>
                    <a:lnTo>
                      <a:pt x="554" y="204"/>
                    </a:lnTo>
                    <a:lnTo>
                      <a:pt x="572" y="194"/>
                    </a:lnTo>
                    <a:lnTo>
                      <a:pt x="586" y="184"/>
                    </a:lnTo>
                    <a:lnTo>
                      <a:pt x="600" y="174"/>
                    </a:lnTo>
                    <a:lnTo>
                      <a:pt x="610" y="162"/>
                    </a:lnTo>
                    <a:lnTo>
                      <a:pt x="618" y="150"/>
                    </a:lnTo>
                    <a:lnTo>
                      <a:pt x="622" y="138"/>
                    </a:lnTo>
                    <a:lnTo>
                      <a:pt x="624" y="126"/>
                    </a:lnTo>
                    <a:lnTo>
                      <a:pt x="624" y="0"/>
                    </a:lnTo>
                    <a:lnTo>
                      <a:pt x="624" y="0"/>
                    </a:lnTo>
                    <a:lnTo>
                      <a:pt x="622" y="12"/>
                    </a:lnTo>
                    <a:lnTo>
                      <a:pt x="618" y="26"/>
                    </a:lnTo>
                    <a:lnTo>
                      <a:pt x="610" y="38"/>
                    </a:lnTo>
                    <a:lnTo>
                      <a:pt x="600" y="48"/>
                    </a:lnTo>
                    <a:lnTo>
                      <a:pt x="586" y="60"/>
                    </a:lnTo>
                    <a:lnTo>
                      <a:pt x="572" y="70"/>
                    </a:lnTo>
                    <a:lnTo>
                      <a:pt x="554" y="80"/>
                    </a:lnTo>
                    <a:lnTo>
                      <a:pt x="534" y="88"/>
                    </a:lnTo>
                    <a:lnTo>
                      <a:pt x="512" y="96"/>
                    </a:lnTo>
                    <a:lnTo>
                      <a:pt x="488" y="104"/>
                    </a:lnTo>
                    <a:lnTo>
                      <a:pt x="462" y="110"/>
                    </a:lnTo>
                    <a:lnTo>
                      <a:pt x="434" y="116"/>
                    </a:lnTo>
                    <a:lnTo>
                      <a:pt x="406" y="120"/>
                    </a:lnTo>
                    <a:lnTo>
                      <a:pt x="376" y="122"/>
                    </a:lnTo>
                    <a:lnTo>
                      <a:pt x="344" y="124"/>
                    </a:lnTo>
                    <a:lnTo>
                      <a:pt x="312" y="126"/>
                    </a:lnTo>
                    <a:lnTo>
                      <a:pt x="312" y="1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68" name="Freeform 32"/>
              <p:cNvSpPr>
                <a:spLocks/>
              </p:cNvSpPr>
              <p:nvPr/>
            </p:nvSpPr>
            <p:spPr bwMode="auto">
              <a:xfrm>
                <a:off x="2663825" y="392113"/>
                <a:ext cx="990600" cy="396875"/>
              </a:xfrm>
              <a:custGeom>
                <a:avLst/>
                <a:gdLst>
                  <a:gd name="T0" fmla="*/ 312 w 624"/>
                  <a:gd name="T1" fmla="*/ 126 h 250"/>
                  <a:gd name="T2" fmla="*/ 250 w 624"/>
                  <a:gd name="T3" fmla="*/ 122 h 250"/>
                  <a:gd name="T4" fmla="*/ 192 w 624"/>
                  <a:gd name="T5" fmla="*/ 116 h 250"/>
                  <a:gd name="T6" fmla="*/ 138 w 624"/>
                  <a:gd name="T7" fmla="*/ 104 h 250"/>
                  <a:gd name="T8" fmla="*/ 92 w 624"/>
                  <a:gd name="T9" fmla="*/ 88 h 250"/>
                  <a:gd name="T10" fmla="*/ 54 w 624"/>
                  <a:gd name="T11" fmla="*/ 70 h 250"/>
                  <a:gd name="T12" fmla="*/ 26 w 624"/>
                  <a:gd name="T13" fmla="*/ 48 h 250"/>
                  <a:gd name="T14" fmla="*/ 8 w 624"/>
                  <a:gd name="T15" fmla="*/ 26 h 250"/>
                  <a:gd name="T16" fmla="*/ 0 w 624"/>
                  <a:gd name="T17" fmla="*/ 0 h 250"/>
                  <a:gd name="T18" fmla="*/ 0 w 624"/>
                  <a:gd name="T19" fmla="*/ 126 h 250"/>
                  <a:gd name="T20" fmla="*/ 8 w 624"/>
                  <a:gd name="T21" fmla="*/ 150 h 250"/>
                  <a:gd name="T22" fmla="*/ 26 w 624"/>
                  <a:gd name="T23" fmla="*/ 174 h 250"/>
                  <a:gd name="T24" fmla="*/ 54 w 624"/>
                  <a:gd name="T25" fmla="*/ 194 h 250"/>
                  <a:gd name="T26" fmla="*/ 92 w 624"/>
                  <a:gd name="T27" fmla="*/ 214 h 250"/>
                  <a:gd name="T28" fmla="*/ 138 w 624"/>
                  <a:gd name="T29" fmla="*/ 228 h 250"/>
                  <a:gd name="T30" fmla="*/ 192 w 624"/>
                  <a:gd name="T31" fmla="*/ 240 h 250"/>
                  <a:gd name="T32" fmla="*/ 250 w 624"/>
                  <a:gd name="T33" fmla="*/ 248 h 250"/>
                  <a:gd name="T34" fmla="*/ 312 w 624"/>
                  <a:gd name="T35" fmla="*/ 250 h 250"/>
                  <a:gd name="T36" fmla="*/ 344 w 624"/>
                  <a:gd name="T37" fmla="*/ 250 h 250"/>
                  <a:gd name="T38" fmla="*/ 406 w 624"/>
                  <a:gd name="T39" fmla="*/ 244 h 250"/>
                  <a:gd name="T40" fmla="*/ 462 w 624"/>
                  <a:gd name="T41" fmla="*/ 234 h 250"/>
                  <a:gd name="T42" fmla="*/ 512 w 624"/>
                  <a:gd name="T43" fmla="*/ 222 h 250"/>
                  <a:gd name="T44" fmla="*/ 554 w 624"/>
                  <a:gd name="T45" fmla="*/ 204 h 250"/>
                  <a:gd name="T46" fmla="*/ 586 w 624"/>
                  <a:gd name="T47" fmla="*/ 184 h 250"/>
                  <a:gd name="T48" fmla="*/ 610 w 624"/>
                  <a:gd name="T49" fmla="*/ 162 h 250"/>
                  <a:gd name="T50" fmla="*/ 622 w 624"/>
                  <a:gd name="T51" fmla="*/ 138 h 250"/>
                  <a:gd name="T52" fmla="*/ 624 w 624"/>
                  <a:gd name="T53" fmla="*/ 0 h 250"/>
                  <a:gd name="T54" fmla="*/ 622 w 624"/>
                  <a:gd name="T55" fmla="*/ 14 h 250"/>
                  <a:gd name="T56" fmla="*/ 610 w 624"/>
                  <a:gd name="T57" fmla="*/ 38 h 250"/>
                  <a:gd name="T58" fmla="*/ 586 w 624"/>
                  <a:gd name="T59" fmla="*/ 60 h 250"/>
                  <a:gd name="T60" fmla="*/ 554 w 624"/>
                  <a:gd name="T61" fmla="*/ 80 h 250"/>
                  <a:gd name="T62" fmla="*/ 512 w 624"/>
                  <a:gd name="T63" fmla="*/ 96 h 250"/>
                  <a:gd name="T64" fmla="*/ 462 w 624"/>
                  <a:gd name="T65" fmla="*/ 110 h 250"/>
                  <a:gd name="T66" fmla="*/ 406 w 624"/>
                  <a:gd name="T67" fmla="*/ 120 h 250"/>
                  <a:gd name="T68" fmla="*/ 344 w 624"/>
                  <a:gd name="T69" fmla="*/ 124 h 250"/>
                  <a:gd name="T70" fmla="*/ 312 w 624"/>
                  <a:gd name="T71" fmla="*/ 126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24" h="250">
                    <a:moveTo>
                      <a:pt x="312" y="126"/>
                    </a:moveTo>
                    <a:lnTo>
                      <a:pt x="312" y="126"/>
                    </a:lnTo>
                    <a:lnTo>
                      <a:pt x="280" y="124"/>
                    </a:lnTo>
                    <a:lnTo>
                      <a:pt x="250" y="122"/>
                    </a:lnTo>
                    <a:lnTo>
                      <a:pt x="220" y="120"/>
                    </a:lnTo>
                    <a:lnTo>
                      <a:pt x="192" y="116"/>
                    </a:lnTo>
                    <a:lnTo>
                      <a:pt x="164" y="110"/>
                    </a:lnTo>
                    <a:lnTo>
                      <a:pt x="138" y="104"/>
                    </a:lnTo>
                    <a:lnTo>
                      <a:pt x="114" y="96"/>
                    </a:lnTo>
                    <a:lnTo>
                      <a:pt x="92" y="88"/>
                    </a:lnTo>
                    <a:lnTo>
                      <a:pt x="72" y="80"/>
                    </a:lnTo>
                    <a:lnTo>
                      <a:pt x="54" y="70"/>
                    </a:lnTo>
                    <a:lnTo>
                      <a:pt x="38" y="60"/>
                    </a:lnTo>
                    <a:lnTo>
                      <a:pt x="26" y="48"/>
                    </a:lnTo>
                    <a:lnTo>
                      <a:pt x="14" y="38"/>
                    </a:lnTo>
                    <a:lnTo>
                      <a:pt x="8" y="26"/>
                    </a:lnTo>
                    <a:lnTo>
                      <a:pt x="2" y="14"/>
                    </a:lnTo>
                    <a:lnTo>
                      <a:pt x="0" y="0"/>
                    </a:lnTo>
                    <a:lnTo>
                      <a:pt x="0" y="126"/>
                    </a:lnTo>
                    <a:lnTo>
                      <a:pt x="0" y="126"/>
                    </a:lnTo>
                    <a:lnTo>
                      <a:pt x="2" y="138"/>
                    </a:lnTo>
                    <a:lnTo>
                      <a:pt x="8" y="150"/>
                    </a:lnTo>
                    <a:lnTo>
                      <a:pt x="14" y="162"/>
                    </a:lnTo>
                    <a:lnTo>
                      <a:pt x="26" y="174"/>
                    </a:lnTo>
                    <a:lnTo>
                      <a:pt x="38" y="184"/>
                    </a:lnTo>
                    <a:lnTo>
                      <a:pt x="54" y="194"/>
                    </a:lnTo>
                    <a:lnTo>
                      <a:pt x="72" y="204"/>
                    </a:lnTo>
                    <a:lnTo>
                      <a:pt x="92" y="214"/>
                    </a:lnTo>
                    <a:lnTo>
                      <a:pt x="114" y="222"/>
                    </a:lnTo>
                    <a:lnTo>
                      <a:pt x="138" y="228"/>
                    </a:lnTo>
                    <a:lnTo>
                      <a:pt x="164" y="234"/>
                    </a:lnTo>
                    <a:lnTo>
                      <a:pt x="192" y="240"/>
                    </a:lnTo>
                    <a:lnTo>
                      <a:pt x="220" y="244"/>
                    </a:lnTo>
                    <a:lnTo>
                      <a:pt x="250" y="248"/>
                    </a:lnTo>
                    <a:lnTo>
                      <a:pt x="280" y="250"/>
                    </a:lnTo>
                    <a:lnTo>
                      <a:pt x="312" y="250"/>
                    </a:lnTo>
                    <a:lnTo>
                      <a:pt x="312" y="250"/>
                    </a:lnTo>
                    <a:lnTo>
                      <a:pt x="344" y="250"/>
                    </a:lnTo>
                    <a:lnTo>
                      <a:pt x="376" y="248"/>
                    </a:lnTo>
                    <a:lnTo>
                      <a:pt x="406" y="244"/>
                    </a:lnTo>
                    <a:lnTo>
                      <a:pt x="434" y="240"/>
                    </a:lnTo>
                    <a:lnTo>
                      <a:pt x="462" y="234"/>
                    </a:lnTo>
                    <a:lnTo>
                      <a:pt x="488" y="228"/>
                    </a:lnTo>
                    <a:lnTo>
                      <a:pt x="512" y="222"/>
                    </a:lnTo>
                    <a:lnTo>
                      <a:pt x="534" y="214"/>
                    </a:lnTo>
                    <a:lnTo>
                      <a:pt x="554" y="204"/>
                    </a:lnTo>
                    <a:lnTo>
                      <a:pt x="572" y="194"/>
                    </a:lnTo>
                    <a:lnTo>
                      <a:pt x="586" y="184"/>
                    </a:lnTo>
                    <a:lnTo>
                      <a:pt x="600" y="174"/>
                    </a:lnTo>
                    <a:lnTo>
                      <a:pt x="610" y="162"/>
                    </a:lnTo>
                    <a:lnTo>
                      <a:pt x="618" y="150"/>
                    </a:lnTo>
                    <a:lnTo>
                      <a:pt x="622" y="138"/>
                    </a:lnTo>
                    <a:lnTo>
                      <a:pt x="624" y="126"/>
                    </a:lnTo>
                    <a:lnTo>
                      <a:pt x="624" y="0"/>
                    </a:lnTo>
                    <a:lnTo>
                      <a:pt x="624" y="0"/>
                    </a:lnTo>
                    <a:lnTo>
                      <a:pt x="622" y="14"/>
                    </a:lnTo>
                    <a:lnTo>
                      <a:pt x="618" y="26"/>
                    </a:lnTo>
                    <a:lnTo>
                      <a:pt x="610" y="38"/>
                    </a:lnTo>
                    <a:lnTo>
                      <a:pt x="600" y="48"/>
                    </a:lnTo>
                    <a:lnTo>
                      <a:pt x="586" y="60"/>
                    </a:lnTo>
                    <a:lnTo>
                      <a:pt x="572" y="70"/>
                    </a:lnTo>
                    <a:lnTo>
                      <a:pt x="554" y="80"/>
                    </a:lnTo>
                    <a:lnTo>
                      <a:pt x="534" y="88"/>
                    </a:lnTo>
                    <a:lnTo>
                      <a:pt x="512" y="96"/>
                    </a:lnTo>
                    <a:lnTo>
                      <a:pt x="488" y="104"/>
                    </a:lnTo>
                    <a:lnTo>
                      <a:pt x="462" y="110"/>
                    </a:lnTo>
                    <a:lnTo>
                      <a:pt x="434" y="116"/>
                    </a:lnTo>
                    <a:lnTo>
                      <a:pt x="406" y="120"/>
                    </a:lnTo>
                    <a:lnTo>
                      <a:pt x="376" y="122"/>
                    </a:lnTo>
                    <a:lnTo>
                      <a:pt x="344" y="124"/>
                    </a:lnTo>
                    <a:lnTo>
                      <a:pt x="312" y="126"/>
                    </a:lnTo>
                    <a:lnTo>
                      <a:pt x="312" y="1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69" name="Freeform 33"/>
              <p:cNvSpPr>
                <a:spLocks/>
              </p:cNvSpPr>
              <p:nvPr/>
            </p:nvSpPr>
            <p:spPr bwMode="auto">
              <a:xfrm>
                <a:off x="2663825" y="649288"/>
                <a:ext cx="990600" cy="396875"/>
              </a:xfrm>
              <a:custGeom>
                <a:avLst/>
                <a:gdLst>
                  <a:gd name="T0" fmla="*/ 312 w 624"/>
                  <a:gd name="T1" fmla="*/ 126 h 250"/>
                  <a:gd name="T2" fmla="*/ 250 w 624"/>
                  <a:gd name="T3" fmla="*/ 122 h 250"/>
                  <a:gd name="T4" fmla="*/ 192 w 624"/>
                  <a:gd name="T5" fmla="*/ 116 h 250"/>
                  <a:gd name="T6" fmla="*/ 138 w 624"/>
                  <a:gd name="T7" fmla="*/ 104 h 250"/>
                  <a:gd name="T8" fmla="*/ 92 w 624"/>
                  <a:gd name="T9" fmla="*/ 88 h 250"/>
                  <a:gd name="T10" fmla="*/ 54 w 624"/>
                  <a:gd name="T11" fmla="*/ 70 h 250"/>
                  <a:gd name="T12" fmla="*/ 26 w 624"/>
                  <a:gd name="T13" fmla="*/ 50 h 250"/>
                  <a:gd name="T14" fmla="*/ 8 w 624"/>
                  <a:gd name="T15" fmla="*/ 26 h 250"/>
                  <a:gd name="T16" fmla="*/ 0 w 624"/>
                  <a:gd name="T17" fmla="*/ 0 h 250"/>
                  <a:gd name="T18" fmla="*/ 0 w 624"/>
                  <a:gd name="T19" fmla="*/ 126 h 250"/>
                  <a:gd name="T20" fmla="*/ 8 w 624"/>
                  <a:gd name="T21" fmla="*/ 150 h 250"/>
                  <a:gd name="T22" fmla="*/ 26 w 624"/>
                  <a:gd name="T23" fmla="*/ 174 h 250"/>
                  <a:gd name="T24" fmla="*/ 54 w 624"/>
                  <a:gd name="T25" fmla="*/ 196 h 250"/>
                  <a:gd name="T26" fmla="*/ 92 w 624"/>
                  <a:gd name="T27" fmla="*/ 214 h 250"/>
                  <a:gd name="T28" fmla="*/ 138 w 624"/>
                  <a:gd name="T29" fmla="*/ 230 h 250"/>
                  <a:gd name="T30" fmla="*/ 192 w 624"/>
                  <a:gd name="T31" fmla="*/ 240 h 250"/>
                  <a:gd name="T32" fmla="*/ 250 w 624"/>
                  <a:gd name="T33" fmla="*/ 248 h 250"/>
                  <a:gd name="T34" fmla="*/ 312 w 624"/>
                  <a:gd name="T35" fmla="*/ 250 h 250"/>
                  <a:gd name="T36" fmla="*/ 344 w 624"/>
                  <a:gd name="T37" fmla="*/ 250 h 250"/>
                  <a:gd name="T38" fmla="*/ 406 w 624"/>
                  <a:gd name="T39" fmla="*/ 244 h 250"/>
                  <a:gd name="T40" fmla="*/ 462 w 624"/>
                  <a:gd name="T41" fmla="*/ 236 h 250"/>
                  <a:gd name="T42" fmla="*/ 512 w 624"/>
                  <a:gd name="T43" fmla="*/ 222 h 250"/>
                  <a:gd name="T44" fmla="*/ 554 w 624"/>
                  <a:gd name="T45" fmla="*/ 204 h 250"/>
                  <a:gd name="T46" fmla="*/ 586 w 624"/>
                  <a:gd name="T47" fmla="*/ 186 h 250"/>
                  <a:gd name="T48" fmla="*/ 610 w 624"/>
                  <a:gd name="T49" fmla="*/ 162 h 250"/>
                  <a:gd name="T50" fmla="*/ 622 w 624"/>
                  <a:gd name="T51" fmla="*/ 138 h 250"/>
                  <a:gd name="T52" fmla="*/ 624 w 624"/>
                  <a:gd name="T53" fmla="*/ 0 h 250"/>
                  <a:gd name="T54" fmla="*/ 622 w 624"/>
                  <a:gd name="T55" fmla="*/ 14 h 250"/>
                  <a:gd name="T56" fmla="*/ 610 w 624"/>
                  <a:gd name="T57" fmla="*/ 38 h 250"/>
                  <a:gd name="T58" fmla="*/ 586 w 624"/>
                  <a:gd name="T59" fmla="*/ 60 h 250"/>
                  <a:gd name="T60" fmla="*/ 554 w 624"/>
                  <a:gd name="T61" fmla="*/ 80 h 250"/>
                  <a:gd name="T62" fmla="*/ 512 w 624"/>
                  <a:gd name="T63" fmla="*/ 96 h 250"/>
                  <a:gd name="T64" fmla="*/ 462 w 624"/>
                  <a:gd name="T65" fmla="*/ 110 h 250"/>
                  <a:gd name="T66" fmla="*/ 406 w 624"/>
                  <a:gd name="T67" fmla="*/ 120 h 250"/>
                  <a:gd name="T68" fmla="*/ 344 w 624"/>
                  <a:gd name="T69" fmla="*/ 124 h 250"/>
                  <a:gd name="T70" fmla="*/ 312 w 624"/>
                  <a:gd name="T71" fmla="*/ 126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24" h="250">
                    <a:moveTo>
                      <a:pt x="312" y="126"/>
                    </a:moveTo>
                    <a:lnTo>
                      <a:pt x="312" y="126"/>
                    </a:lnTo>
                    <a:lnTo>
                      <a:pt x="280" y="124"/>
                    </a:lnTo>
                    <a:lnTo>
                      <a:pt x="250" y="122"/>
                    </a:lnTo>
                    <a:lnTo>
                      <a:pt x="220" y="120"/>
                    </a:lnTo>
                    <a:lnTo>
                      <a:pt x="192" y="116"/>
                    </a:lnTo>
                    <a:lnTo>
                      <a:pt x="164" y="110"/>
                    </a:lnTo>
                    <a:lnTo>
                      <a:pt x="138" y="104"/>
                    </a:lnTo>
                    <a:lnTo>
                      <a:pt x="114" y="96"/>
                    </a:lnTo>
                    <a:lnTo>
                      <a:pt x="92" y="88"/>
                    </a:lnTo>
                    <a:lnTo>
                      <a:pt x="72" y="80"/>
                    </a:lnTo>
                    <a:lnTo>
                      <a:pt x="54" y="70"/>
                    </a:lnTo>
                    <a:lnTo>
                      <a:pt x="38" y="60"/>
                    </a:lnTo>
                    <a:lnTo>
                      <a:pt x="26" y="50"/>
                    </a:lnTo>
                    <a:lnTo>
                      <a:pt x="14" y="38"/>
                    </a:lnTo>
                    <a:lnTo>
                      <a:pt x="8" y="26"/>
                    </a:lnTo>
                    <a:lnTo>
                      <a:pt x="2" y="14"/>
                    </a:lnTo>
                    <a:lnTo>
                      <a:pt x="0" y="0"/>
                    </a:lnTo>
                    <a:lnTo>
                      <a:pt x="0" y="126"/>
                    </a:lnTo>
                    <a:lnTo>
                      <a:pt x="0" y="126"/>
                    </a:lnTo>
                    <a:lnTo>
                      <a:pt x="2" y="138"/>
                    </a:lnTo>
                    <a:lnTo>
                      <a:pt x="8" y="150"/>
                    </a:lnTo>
                    <a:lnTo>
                      <a:pt x="14" y="162"/>
                    </a:lnTo>
                    <a:lnTo>
                      <a:pt x="26" y="174"/>
                    </a:lnTo>
                    <a:lnTo>
                      <a:pt x="38" y="186"/>
                    </a:lnTo>
                    <a:lnTo>
                      <a:pt x="54" y="196"/>
                    </a:lnTo>
                    <a:lnTo>
                      <a:pt x="72" y="204"/>
                    </a:lnTo>
                    <a:lnTo>
                      <a:pt x="92" y="214"/>
                    </a:lnTo>
                    <a:lnTo>
                      <a:pt x="114" y="222"/>
                    </a:lnTo>
                    <a:lnTo>
                      <a:pt x="138" y="230"/>
                    </a:lnTo>
                    <a:lnTo>
                      <a:pt x="164" y="236"/>
                    </a:lnTo>
                    <a:lnTo>
                      <a:pt x="192" y="240"/>
                    </a:lnTo>
                    <a:lnTo>
                      <a:pt x="220" y="244"/>
                    </a:lnTo>
                    <a:lnTo>
                      <a:pt x="250" y="248"/>
                    </a:lnTo>
                    <a:lnTo>
                      <a:pt x="280" y="250"/>
                    </a:lnTo>
                    <a:lnTo>
                      <a:pt x="312" y="250"/>
                    </a:lnTo>
                    <a:lnTo>
                      <a:pt x="312" y="250"/>
                    </a:lnTo>
                    <a:lnTo>
                      <a:pt x="344" y="250"/>
                    </a:lnTo>
                    <a:lnTo>
                      <a:pt x="376" y="248"/>
                    </a:lnTo>
                    <a:lnTo>
                      <a:pt x="406" y="244"/>
                    </a:lnTo>
                    <a:lnTo>
                      <a:pt x="434" y="240"/>
                    </a:lnTo>
                    <a:lnTo>
                      <a:pt x="462" y="236"/>
                    </a:lnTo>
                    <a:lnTo>
                      <a:pt x="488" y="230"/>
                    </a:lnTo>
                    <a:lnTo>
                      <a:pt x="512" y="222"/>
                    </a:lnTo>
                    <a:lnTo>
                      <a:pt x="534" y="214"/>
                    </a:lnTo>
                    <a:lnTo>
                      <a:pt x="554" y="204"/>
                    </a:lnTo>
                    <a:lnTo>
                      <a:pt x="572" y="196"/>
                    </a:lnTo>
                    <a:lnTo>
                      <a:pt x="586" y="186"/>
                    </a:lnTo>
                    <a:lnTo>
                      <a:pt x="600" y="174"/>
                    </a:lnTo>
                    <a:lnTo>
                      <a:pt x="610" y="162"/>
                    </a:lnTo>
                    <a:lnTo>
                      <a:pt x="618" y="150"/>
                    </a:lnTo>
                    <a:lnTo>
                      <a:pt x="622" y="138"/>
                    </a:lnTo>
                    <a:lnTo>
                      <a:pt x="624" y="126"/>
                    </a:lnTo>
                    <a:lnTo>
                      <a:pt x="624" y="0"/>
                    </a:lnTo>
                    <a:lnTo>
                      <a:pt x="624" y="0"/>
                    </a:lnTo>
                    <a:lnTo>
                      <a:pt x="622" y="14"/>
                    </a:lnTo>
                    <a:lnTo>
                      <a:pt x="618" y="26"/>
                    </a:lnTo>
                    <a:lnTo>
                      <a:pt x="610" y="38"/>
                    </a:lnTo>
                    <a:lnTo>
                      <a:pt x="600" y="50"/>
                    </a:lnTo>
                    <a:lnTo>
                      <a:pt x="586" y="60"/>
                    </a:lnTo>
                    <a:lnTo>
                      <a:pt x="572" y="70"/>
                    </a:lnTo>
                    <a:lnTo>
                      <a:pt x="554" y="80"/>
                    </a:lnTo>
                    <a:lnTo>
                      <a:pt x="534" y="88"/>
                    </a:lnTo>
                    <a:lnTo>
                      <a:pt x="512" y="96"/>
                    </a:lnTo>
                    <a:lnTo>
                      <a:pt x="488" y="104"/>
                    </a:lnTo>
                    <a:lnTo>
                      <a:pt x="462" y="110"/>
                    </a:lnTo>
                    <a:lnTo>
                      <a:pt x="434" y="116"/>
                    </a:lnTo>
                    <a:lnTo>
                      <a:pt x="406" y="120"/>
                    </a:lnTo>
                    <a:lnTo>
                      <a:pt x="376" y="122"/>
                    </a:lnTo>
                    <a:lnTo>
                      <a:pt x="344" y="124"/>
                    </a:lnTo>
                    <a:lnTo>
                      <a:pt x="312" y="126"/>
                    </a:lnTo>
                    <a:lnTo>
                      <a:pt x="312" y="1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70" name="Freeform 34"/>
              <p:cNvSpPr>
                <a:spLocks noEditPoints="1"/>
              </p:cNvSpPr>
              <p:nvPr/>
            </p:nvSpPr>
            <p:spPr bwMode="auto">
              <a:xfrm>
                <a:off x="2663825" y="-319088"/>
                <a:ext cx="990600" cy="593725"/>
              </a:xfrm>
              <a:custGeom>
                <a:avLst/>
                <a:gdLst>
                  <a:gd name="T0" fmla="*/ 280 w 624"/>
                  <a:gd name="T1" fmla="*/ 0 h 374"/>
                  <a:gd name="T2" fmla="*/ 192 w 624"/>
                  <a:gd name="T3" fmla="*/ 10 h 374"/>
                  <a:gd name="T4" fmla="*/ 114 w 624"/>
                  <a:gd name="T5" fmla="*/ 28 h 374"/>
                  <a:gd name="T6" fmla="*/ 54 w 624"/>
                  <a:gd name="T7" fmla="*/ 54 h 374"/>
                  <a:gd name="T8" fmla="*/ 14 w 624"/>
                  <a:gd name="T9" fmla="*/ 88 h 374"/>
                  <a:gd name="T10" fmla="*/ 0 w 624"/>
                  <a:gd name="T11" fmla="*/ 124 h 374"/>
                  <a:gd name="T12" fmla="*/ 2 w 624"/>
                  <a:gd name="T13" fmla="*/ 262 h 374"/>
                  <a:gd name="T14" fmla="*/ 26 w 624"/>
                  <a:gd name="T15" fmla="*/ 298 h 374"/>
                  <a:gd name="T16" fmla="*/ 72 w 624"/>
                  <a:gd name="T17" fmla="*/ 328 h 374"/>
                  <a:gd name="T18" fmla="*/ 138 w 624"/>
                  <a:gd name="T19" fmla="*/ 352 h 374"/>
                  <a:gd name="T20" fmla="*/ 220 w 624"/>
                  <a:gd name="T21" fmla="*/ 368 h 374"/>
                  <a:gd name="T22" fmla="*/ 312 w 624"/>
                  <a:gd name="T23" fmla="*/ 374 h 374"/>
                  <a:gd name="T24" fmla="*/ 376 w 624"/>
                  <a:gd name="T25" fmla="*/ 372 h 374"/>
                  <a:gd name="T26" fmla="*/ 462 w 624"/>
                  <a:gd name="T27" fmla="*/ 358 h 374"/>
                  <a:gd name="T28" fmla="*/ 534 w 624"/>
                  <a:gd name="T29" fmla="*/ 338 h 374"/>
                  <a:gd name="T30" fmla="*/ 586 w 624"/>
                  <a:gd name="T31" fmla="*/ 308 h 374"/>
                  <a:gd name="T32" fmla="*/ 618 w 624"/>
                  <a:gd name="T33" fmla="*/ 274 h 374"/>
                  <a:gd name="T34" fmla="*/ 624 w 624"/>
                  <a:gd name="T35" fmla="*/ 124 h 374"/>
                  <a:gd name="T36" fmla="*/ 618 w 624"/>
                  <a:gd name="T37" fmla="*/ 100 h 374"/>
                  <a:gd name="T38" fmla="*/ 586 w 624"/>
                  <a:gd name="T39" fmla="*/ 66 h 374"/>
                  <a:gd name="T40" fmla="*/ 534 w 624"/>
                  <a:gd name="T41" fmla="*/ 36 h 374"/>
                  <a:gd name="T42" fmla="*/ 462 w 624"/>
                  <a:gd name="T43" fmla="*/ 14 h 374"/>
                  <a:gd name="T44" fmla="*/ 376 w 624"/>
                  <a:gd name="T45" fmla="*/ 2 h 374"/>
                  <a:gd name="T46" fmla="*/ 312 w 624"/>
                  <a:gd name="T47" fmla="*/ 0 h 374"/>
                  <a:gd name="T48" fmla="*/ 282 w 624"/>
                  <a:gd name="T49" fmla="*/ 218 h 374"/>
                  <a:gd name="T50" fmla="*/ 196 w 624"/>
                  <a:gd name="T51" fmla="*/ 210 h 374"/>
                  <a:gd name="T52" fmla="*/ 76 w 624"/>
                  <a:gd name="T53" fmla="*/ 172 h 374"/>
                  <a:gd name="T54" fmla="*/ 44 w 624"/>
                  <a:gd name="T55" fmla="*/ 148 h 374"/>
                  <a:gd name="T56" fmla="*/ 32 w 624"/>
                  <a:gd name="T57" fmla="*/ 124 h 374"/>
                  <a:gd name="T58" fmla="*/ 36 w 624"/>
                  <a:gd name="T59" fmla="*/ 110 h 374"/>
                  <a:gd name="T60" fmla="*/ 62 w 624"/>
                  <a:gd name="T61" fmla="*/ 86 h 374"/>
                  <a:gd name="T62" fmla="*/ 148 w 624"/>
                  <a:gd name="T63" fmla="*/ 50 h 374"/>
                  <a:gd name="T64" fmla="*/ 252 w 624"/>
                  <a:gd name="T65" fmla="*/ 34 h 374"/>
                  <a:gd name="T66" fmla="*/ 312 w 624"/>
                  <a:gd name="T67" fmla="*/ 32 h 374"/>
                  <a:gd name="T68" fmla="*/ 402 w 624"/>
                  <a:gd name="T69" fmla="*/ 36 h 374"/>
                  <a:gd name="T70" fmla="*/ 518 w 624"/>
                  <a:gd name="T71" fmla="*/ 64 h 374"/>
                  <a:gd name="T72" fmla="*/ 574 w 624"/>
                  <a:gd name="T73" fmla="*/ 94 h 374"/>
                  <a:gd name="T74" fmla="*/ 592 w 624"/>
                  <a:gd name="T75" fmla="*/ 118 h 374"/>
                  <a:gd name="T76" fmla="*/ 592 w 624"/>
                  <a:gd name="T77" fmla="*/ 132 h 374"/>
                  <a:gd name="T78" fmla="*/ 574 w 624"/>
                  <a:gd name="T79" fmla="*/ 156 h 374"/>
                  <a:gd name="T80" fmla="*/ 518 w 624"/>
                  <a:gd name="T81" fmla="*/ 186 h 374"/>
                  <a:gd name="T82" fmla="*/ 402 w 624"/>
                  <a:gd name="T83" fmla="*/ 214 h 374"/>
                  <a:gd name="T84" fmla="*/ 312 w 624"/>
                  <a:gd name="T85" fmla="*/ 218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24" h="374">
                    <a:moveTo>
                      <a:pt x="312" y="0"/>
                    </a:moveTo>
                    <a:lnTo>
                      <a:pt x="312" y="0"/>
                    </a:lnTo>
                    <a:lnTo>
                      <a:pt x="280" y="0"/>
                    </a:lnTo>
                    <a:lnTo>
                      <a:pt x="250" y="2"/>
                    </a:lnTo>
                    <a:lnTo>
                      <a:pt x="220" y="6"/>
                    </a:lnTo>
                    <a:lnTo>
                      <a:pt x="192" y="10"/>
                    </a:lnTo>
                    <a:lnTo>
                      <a:pt x="164" y="14"/>
                    </a:lnTo>
                    <a:lnTo>
                      <a:pt x="138" y="22"/>
                    </a:lnTo>
                    <a:lnTo>
                      <a:pt x="114" y="28"/>
                    </a:lnTo>
                    <a:lnTo>
                      <a:pt x="92" y="36"/>
                    </a:lnTo>
                    <a:lnTo>
                      <a:pt x="72" y="46"/>
                    </a:lnTo>
                    <a:lnTo>
                      <a:pt x="54" y="54"/>
                    </a:lnTo>
                    <a:lnTo>
                      <a:pt x="38" y="66"/>
                    </a:lnTo>
                    <a:lnTo>
                      <a:pt x="26" y="76"/>
                    </a:lnTo>
                    <a:lnTo>
                      <a:pt x="14" y="88"/>
                    </a:lnTo>
                    <a:lnTo>
                      <a:pt x="8" y="100"/>
                    </a:lnTo>
                    <a:lnTo>
                      <a:pt x="2" y="112"/>
                    </a:lnTo>
                    <a:lnTo>
                      <a:pt x="0" y="124"/>
                    </a:lnTo>
                    <a:lnTo>
                      <a:pt x="0" y="250"/>
                    </a:lnTo>
                    <a:lnTo>
                      <a:pt x="0" y="250"/>
                    </a:lnTo>
                    <a:lnTo>
                      <a:pt x="2" y="262"/>
                    </a:lnTo>
                    <a:lnTo>
                      <a:pt x="8" y="274"/>
                    </a:lnTo>
                    <a:lnTo>
                      <a:pt x="14" y="286"/>
                    </a:lnTo>
                    <a:lnTo>
                      <a:pt x="26" y="298"/>
                    </a:lnTo>
                    <a:lnTo>
                      <a:pt x="38" y="308"/>
                    </a:lnTo>
                    <a:lnTo>
                      <a:pt x="54" y="320"/>
                    </a:lnTo>
                    <a:lnTo>
                      <a:pt x="72" y="328"/>
                    </a:lnTo>
                    <a:lnTo>
                      <a:pt x="92" y="338"/>
                    </a:lnTo>
                    <a:lnTo>
                      <a:pt x="114" y="346"/>
                    </a:lnTo>
                    <a:lnTo>
                      <a:pt x="138" y="352"/>
                    </a:lnTo>
                    <a:lnTo>
                      <a:pt x="164" y="358"/>
                    </a:lnTo>
                    <a:lnTo>
                      <a:pt x="192" y="364"/>
                    </a:lnTo>
                    <a:lnTo>
                      <a:pt x="220" y="368"/>
                    </a:lnTo>
                    <a:lnTo>
                      <a:pt x="250" y="372"/>
                    </a:lnTo>
                    <a:lnTo>
                      <a:pt x="280" y="374"/>
                    </a:lnTo>
                    <a:lnTo>
                      <a:pt x="312" y="374"/>
                    </a:lnTo>
                    <a:lnTo>
                      <a:pt x="312" y="374"/>
                    </a:lnTo>
                    <a:lnTo>
                      <a:pt x="344" y="374"/>
                    </a:lnTo>
                    <a:lnTo>
                      <a:pt x="376" y="372"/>
                    </a:lnTo>
                    <a:lnTo>
                      <a:pt x="406" y="368"/>
                    </a:lnTo>
                    <a:lnTo>
                      <a:pt x="434" y="364"/>
                    </a:lnTo>
                    <a:lnTo>
                      <a:pt x="462" y="358"/>
                    </a:lnTo>
                    <a:lnTo>
                      <a:pt x="488" y="352"/>
                    </a:lnTo>
                    <a:lnTo>
                      <a:pt x="512" y="346"/>
                    </a:lnTo>
                    <a:lnTo>
                      <a:pt x="534" y="338"/>
                    </a:lnTo>
                    <a:lnTo>
                      <a:pt x="554" y="328"/>
                    </a:lnTo>
                    <a:lnTo>
                      <a:pt x="572" y="320"/>
                    </a:lnTo>
                    <a:lnTo>
                      <a:pt x="586" y="308"/>
                    </a:lnTo>
                    <a:lnTo>
                      <a:pt x="600" y="298"/>
                    </a:lnTo>
                    <a:lnTo>
                      <a:pt x="610" y="286"/>
                    </a:lnTo>
                    <a:lnTo>
                      <a:pt x="618" y="274"/>
                    </a:lnTo>
                    <a:lnTo>
                      <a:pt x="622" y="262"/>
                    </a:lnTo>
                    <a:lnTo>
                      <a:pt x="624" y="250"/>
                    </a:lnTo>
                    <a:lnTo>
                      <a:pt x="624" y="124"/>
                    </a:lnTo>
                    <a:lnTo>
                      <a:pt x="624" y="124"/>
                    </a:lnTo>
                    <a:lnTo>
                      <a:pt x="622" y="112"/>
                    </a:lnTo>
                    <a:lnTo>
                      <a:pt x="618" y="100"/>
                    </a:lnTo>
                    <a:lnTo>
                      <a:pt x="610" y="88"/>
                    </a:lnTo>
                    <a:lnTo>
                      <a:pt x="600" y="76"/>
                    </a:lnTo>
                    <a:lnTo>
                      <a:pt x="586" y="66"/>
                    </a:lnTo>
                    <a:lnTo>
                      <a:pt x="572" y="54"/>
                    </a:lnTo>
                    <a:lnTo>
                      <a:pt x="554" y="46"/>
                    </a:lnTo>
                    <a:lnTo>
                      <a:pt x="534" y="36"/>
                    </a:lnTo>
                    <a:lnTo>
                      <a:pt x="512" y="28"/>
                    </a:lnTo>
                    <a:lnTo>
                      <a:pt x="488" y="22"/>
                    </a:lnTo>
                    <a:lnTo>
                      <a:pt x="462" y="14"/>
                    </a:lnTo>
                    <a:lnTo>
                      <a:pt x="434" y="10"/>
                    </a:lnTo>
                    <a:lnTo>
                      <a:pt x="406" y="6"/>
                    </a:lnTo>
                    <a:lnTo>
                      <a:pt x="376" y="2"/>
                    </a:lnTo>
                    <a:lnTo>
                      <a:pt x="344" y="0"/>
                    </a:lnTo>
                    <a:lnTo>
                      <a:pt x="312" y="0"/>
                    </a:lnTo>
                    <a:lnTo>
                      <a:pt x="312" y="0"/>
                    </a:lnTo>
                    <a:close/>
                    <a:moveTo>
                      <a:pt x="312" y="218"/>
                    </a:moveTo>
                    <a:lnTo>
                      <a:pt x="312" y="218"/>
                    </a:lnTo>
                    <a:lnTo>
                      <a:pt x="282" y="218"/>
                    </a:lnTo>
                    <a:lnTo>
                      <a:pt x="252" y="216"/>
                    </a:lnTo>
                    <a:lnTo>
                      <a:pt x="224" y="214"/>
                    </a:lnTo>
                    <a:lnTo>
                      <a:pt x="196" y="210"/>
                    </a:lnTo>
                    <a:lnTo>
                      <a:pt x="148" y="198"/>
                    </a:lnTo>
                    <a:lnTo>
                      <a:pt x="108" y="186"/>
                    </a:lnTo>
                    <a:lnTo>
                      <a:pt x="76" y="172"/>
                    </a:lnTo>
                    <a:lnTo>
                      <a:pt x="62" y="164"/>
                    </a:lnTo>
                    <a:lnTo>
                      <a:pt x="52" y="156"/>
                    </a:lnTo>
                    <a:lnTo>
                      <a:pt x="44" y="148"/>
                    </a:lnTo>
                    <a:lnTo>
                      <a:pt x="36" y="140"/>
                    </a:lnTo>
                    <a:lnTo>
                      <a:pt x="34" y="132"/>
                    </a:lnTo>
                    <a:lnTo>
                      <a:pt x="32" y="124"/>
                    </a:lnTo>
                    <a:lnTo>
                      <a:pt x="32" y="124"/>
                    </a:lnTo>
                    <a:lnTo>
                      <a:pt x="34" y="118"/>
                    </a:lnTo>
                    <a:lnTo>
                      <a:pt x="36" y="110"/>
                    </a:lnTo>
                    <a:lnTo>
                      <a:pt x="44" y="102"/>
                    </a:lnTo>
                    <a:lnTo>
                      <a:pt x="52" y="94"/>
                    </a:lnTo>
                    <a:lnTo>
                      <a:pt x="62" y="86"/>
                    </a:lnTo>
                    <a:lnTo>
                      <a:pt x="76" y="78"/>
                    </a:lnTo>
                    <a:lnTo>
                      <a:pt x="108" y="64"/>
                    </a:lnTo>
                    <a:lnTo>
                      <a:pt x="148" y="50"/>
                    </a:lnTo>
                    <a:lnTo>
                      <a:pt x="196" y="40"/>
                    </a:lnTo>
                    <a:lnTo>
                      <a:pt x="224" y="36"/>
                    </a:lnTo>
                    <a:lnTo>
                      <a:pt x="252" y="34"/>
                    </a:lnTo>
                    <a:lnTo>
                      <a:pt x="282" y="32"/>
                    </a:lnTo>
                    <a:lnTo>
                      <a:pt x="312" y="32"/>
                    </a:lnTo>
                    <a:lnTo>
                      <a:pt x="312" y="32"/>
                    </a:lnTo>
                    <a:lnTo>
                      <a:pt x="344" y="32"/>
                    </a:lnTo>
                    <a:lnTo>
                      <a:pt x="374" y="34"/>
                    </a:lnTo>
                    <a:lnTo>
                      <a:pt x="402" y="36"/>
                    </a:lnTo>
                    <a:lnTo>
                      <a:pt x="428" y="40"/>
                    </a:lnTo>
                    <a:lnTo>
                      <a:pt x="476" y="50"/>
                    </a:lnTo>
                    <a:lnTo>
                      <a:pt x="518" y="64"/>
                    </a:lnTo>
                    <a:lnTo>
                      <a:pt x="550" y="78"/>
                    </a:lnTo>
                    <a:lnTo>
                      <a:pt x="562" y="86"/>
                    </a:lnTo>
                    <a:lnTo>
                      <a:pt x="574" y="94"/>
                    </a:lnTo>
                    <a:lnTo>
                      <a:pt x="582" y="102"/>
                    </a:lnTo>
                    <a:lnTo>
                      <a:pt x="588" y="110"/>
                    </a:lnTo>
                    <a:lnTo>
                      <a:pt x="592" y="118"/>
                    </a:lnTo>
                    <a:lnTo>
                      <a:pt x="592" y="124"/>
                    </a:lnTo>
                    <a:lnTo>
                      <a:pt x="592" y="124"/>
                    </a:lnTo>
                    <a:lnTo>
                      <a:pt x="592" y="132"/>
                    </a:lnTo>
                    <a:lnTo>
                      <a:pt x="588" y="140"/>
                    </a:lnTo>
                    <a:lnTo>
                      <a:pt x="582" y="148"/>
                    </a:lnTo>
                    <a:lnTo>
                      <a:pt x="574" y="156"/>
                    </a:lnTo>
                    <a:lnTo>
                      <a:pt x="562" y="164"/>
                    </a:lnTo>
                    <a:lnTo>
                      <a:pt x="550" y="172"/>
                    </a:lnTo>
                    <a:lnTo>
                      <a:pt x="518" y="186"/>
                    </a:lnTo>
                    <a:lnTo>
                      <a:pt x="476" y="198"/>
                    </a:lnTo>
                    <a:lnTo>
                      <a:pt x="428" y="210"/>
                    </a:lnTo>
                    <a:lnTo>
                      <a:pt x="402" y="214"/>
                    </a:lnTo>
                    <a:lnTo>
                      <a:pt x="374" y="216"/>
                    </a:lnTo>
                    <a:lnTo>
                      <a:pt x="344" y="218"/>
                    </a:lnTo>
                    <a:lnTo>
                      <a:pt x="312" y="218"/>
                    </a:lnTo>
                    <a:lnTo>
                      <a:pt x="312" y="2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71" name="Freeform 35"/>
              <p:cNvSpPr>
                <a:spLocks/>
              </p:cNvSpPr>
              <p:nvPr/>
            </p:nvSpPr>
            <p:spPr bwMode="auto">
              <a:xfrm>
                <a:off x="3009900" y="-242887"/>
                <a:ext cx="301625" cy="234950"/>
              </a:xfrm>
              <a:custGeom>
                <a:avLst/>
                <a:gdLst>
                  <a:gd name="T0" fmla="*/ 118 w 190"/>
                  <a:gd name="T1" fmla="*/ 62 h 148"/>
                  <a:gd name="T2" fmla="*/ 70 w 190"/>
                  <a:gd name="T3" fmla="*/ 50 h 148"/>
                  <a:gd name="T4" fmla="*/ 68 w 190"/>
                  <a:gd name="T5" fmla="*/ 46 h 148"/>
                  <a:gd name="T6" fmla="*/ 70 w 190"/>
                  <a:gd name="T7" fmla="*/ 42 h 148"/>
                  <a:gd name="T8" fmla="*/ 86 w 190"/>
                  <a:gd name="T9" fmla="*/ 38 h 148"/>
                  <a:gd name="T10" fmla="*/ 104 w 190"/>
                  <a:gd name="T11" fmla="*/ 36 h 148"/>
                  <a:gd name="T12" fmla="*/ 142 w 190"/>
                  <a:gd name="T13" fmla="*/ 40 h 148"/>
                  <a:gd name="T14" fmla="*/ 178 w 190"/>
                  <a:gd name="T15" fmla="*/ 22 h 148"/>
                  <a:gd name="T16" fmla="*/ 152 w 190"/>
                  <a:gd name="T17" fmla="*/ 18 h 148"/>
                  <a:gd name="T18" fmla="*/ 116 w 190"/>
                  <a:gd name="T19" fmla="*/ 0 h 148"/>
                  <a:gd name="T20" fmla="*/ 74 w 190"/>
                  <a:gd name="T21" fmla="*/ 18 h 148"/>
                  <a:gd name="T22" fmla="*/ 44 w 190"/>
                  <a:gd name="T23" fmla="*/ 22 h 148"/>
                  <a:gd name="T24" fmla="*/ 22 w 190"/>
                  <a:gd name="T25" fmla="*/ 30 h 148"/>
                  <a:gd name="T26" fmla="*/ 8 w 190"/>
                  <a:gd name="T27" fmla="*/ 38 h 148"/>
                  <a:gd name="T28" fmla="*/ 2 w 190"/>
                  <a:gd name="T29" fmla="*/ 50 h 148"/>
                  <a:gd name="T30" fmla="*/ 4 w 190"/>
                  <a:gd name="T31" fmla="*/ 56 h 148"/>
                  <a:gd name="T32" fmla="*/ 14 w 190"/>
                  <a:gd name="T33" fmla="*/ 66 h 148"/>
                  <a:gd name="T34" fmla="*/ 48 w 190"/>
                  <a:gd name="T35" fmla="*/ 78 h 148"/>
                  <a:gd name="T36" fmla="*/ 78 w 190"/>
                  <a:gd name="T37" fmla="*/ 82 h 148"/>
                  <a:gd name="T38" fmla="*/ 114 w 190"/>
                  <a:gd name="T39" fmla="*/ 90 h 148"/>
                  <a:gd name="T40" fmla="*/ 124 w 190"/>
                  <a:gd name="T41" fmla="*/ 96 h 148"/>
                  <a:gd name="T42" fmla="*/ 124 w 190"/>
                  <a:gd name="T43" fmla="*/ 98 h 148"/>
                  <a:gd name="T44" fmla="*/ 120 w 190"/>
                  <a:gd name="T45" fmla="*/ 104 h 148"/>
                  <a:gd name="T46" fmla="*/ 100 w 190"/>
                  <a:gd name="T47" fmla="*/ 110 h 148"/>
                  <a:gd name="T48" fmla="*/ 82 w 190"/>
                  <a:gd name="T49" fmla="*/ 110 h 148"/>
                  <a:gd name="T50" fmla="*/ 44 w 190"/>
                  <a:gd name="T51" fmla="*/ 108 h 148"/>
                  <a:gd name="T52" fmla="*/ 0 w 190"/>
                  <a:gd name="T53" fmla="*/ 124 h 148"/>
                  <a:gd name="T54" fmla="*/ 32 w 190"/>
                  <a:gd name="T55" fmla="*/ 128 h 148"/>
                  <a:gd name="T56" fmla="*/ 72 w 190"/>
                  <a:gd name="T57" fmla="*/ 148 h 148"/>
                  <a:gd name="T58" fmla="*/ 114 w 190"/>
                  <a:gd name="T59" fmla="*/ 130 h 148"/>
                  <a:gd name="T60" fmla="*/ 146 w 190"/>
                  <a:gd name="T61" fmla="*/ 126 h 148"/>
                  <a:gd name="T62" fmla="*/ 170 w 190"/>
                  <a:gd name="T63" fmla="*/ 118 h 148"/>
                  <a:gd name="T64" fmla="*/ 184 w 190"/>
                  <a:gd name="T65" fmla="*/ 108 h 148"/>
                  <a:gd name="T66" fmla="*/ 190 w 190"/>
                  <a:gd name="T67" fmla="*/ 96 h 148"/>
                  <a:gd name="T68" fmla="*/ 188 w 190"/>
                  <a:gd name="T69" fmla="*/ 90 h 148"/>
                  <a:gd name="T70" fmla="*/ 180 w 190"/>
                  <a:gd name="T71" fmla="*/ 80 h 148"/>
                  <a:gd name="T72" fmla="*/ 150 w 190"/>
                  <a:gd name="T73" fmla="*/ 68 h 148"/>
                  <a:gd name="T74" fmla="*/ 118 w 190"/>
                  <a:gd name="T75" fmla="*/ 62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90" h="148">
                    <a:moveTo>
                      <a:pt x="118" y="62"/>
                    </a:moveTo>
                    <a:lnTo>
                      <a:pt x="118" y="62"/>
                    </a:lnTo>
                    <a:lnTo>
                      <a:pt x="80" y="54"/>
                    </a:lnTo>
                    <a:lnTo>
                      <a:pt x="70" y="50"/>
                    </a:lnTo>
                    <a:lnTo>
                      <a:pt x="68" y="48"/>
                    </a:lnTo>
                    <a:lnTo>
                      <a:pt x="68" y="46"/>
                    </a:lnTo>
                    <a:lnTo>
                      <a:pt x="68" y="46"/>
                    </a:lnTo>
                    <a:lnTo>
                      <a:pt x="70" y="42"/>
                    </a:lnTo>
                    <a:lnTo>
                      <a:pt x="76" y="40"/>
                    </a:lnTo>
                    <a:lnTo>
                      <a:pt x="86" y="38"/>
                    </a:lnTo>
                    <a:lnTo>
                      <a:pt x="104" y="36"/>
                    </a:lnTo>
                    <a:lnTo>
                      <a:pt x="104" y="36"/>
                    </a:lnTo>
                    <a:lnTo>
                      <a:pt x="124" y="38"/>
                    </a:lnTo>
                    <a:lnTo>
                      <a:pt x="142" y="40"/>
                    </a:lnTo>
                    <a:lnTo>
                      <a:pt x="166" y="42"/>
                    </a:lnTo>
                    <a:lnTo>
                      <a:pt x="178" y="22"/>
                    </a:lnTo>
                    <a:lnTo>
                      <a:pt x="178" y="22"/>
                    </a:lnTo>
                    <a:lnTo>
                      <a:pt x="152" y="18"/>
                    </a:lnTo>
                    <a:lnTo>
                      <a:pt x="116" y="16"/>
                    </a:lnTo>
                    <a:lnTo>
                      <a:pt x="116" y="0"/>
                    </a:lnTo>
                    <a:lnTo>
                      <a:pt x="74" y="0"/>
                    </a:lnTo>
                    <a:lnTo>
                      <a:pt x="74" y="18"/>
                    </a:lnTo>
                    <a:lnTo>
                      <a:pt x="74" y="18"/>
                    </a:lnTo>
                    <a:lnTo>
                      <a:pt x="44" y="22"/>
                    </a:lnTo>
                    <a:lnTo>
                      <a:pt x="32" y="26"/>
                    </a:lnTo>
                    <a:lnTo>
                      <a:pt x="22" y="30"/>
                    </a:lnTo>
                    <a:lnTo>
                      <a:pt x="14" y="34"/>
                    </a:lnTo>
                    <a:lnTo>
                      <a:pt x="8" y="38"/>
                    </a:lnTo>
                    <a:lnTo>
                      <a:pt x="4" y="44"/>
                    </a:lnTo>
                    <a:lnTo>
                      <a:pt x="2" y="50"/>
                    </a:lnTo>
                    <a:lnTo>
                      <a:pt x="2" y="50"/>
                    </a:lnTo>
                    <a:lnTo>
                      <a:pt x="4" y="56"/>
                    </a:lnTo>
                    <a:lnTo>
                      <a:pt x="8" y="62"/>
                    </a:lnTo>
                    <a:lnTo>
                      <a:pt x="14" y="66"/>
                    </a:lnTo>
                    <a:lnTo>
                      <a:pt x="24" y="70"/>
                    </a:lnTo>
                    <a:lnTo>
                      <a:pt x="48" y="78"/>
                    </a:lnTo>
                    <a:lnTo>
                      <a:pt x="78" y="82"/>
                    </a:lnTo>
                    <a:lnTo>
                      <a:pt x="78" y="82"/>
                    </a:lnTo>
                    <a:lnTo>
                      <a:pt x="100" y="86"/>
                    </a:lnTo>
                    <a:lnTo>
                      <a:pt x="114" y="90"/>
                    </a:lnTo>
                    <a:lnTo>
                      <a:pt x="122" y="94"/>
                    </a:lnTo>
                    <a:lnTo>
                      <a:pt x="124" y="96"/>
                    </a:lnTo>
                    <a:lnTo>
                      <a:pt x="124" y="98"/>
                    </a:lnTo>
                    <a:lnTo>
                      <a:pt x="124" y="98"/>
                    </a:lnTo>
                    <a:lnTo>
                      <a:pt x="124" y="102"/>
                    </a:lnTo>
                    <a:lnTo>
                      <a:pt x="120" y="104"/>
                    </a:lnTo>
                    <a:lnTo>
                      <a:pt x="112" y="106"/>
                    </a:lnTo>
                    <a:lnTo>
                      <a:pt x="100" y="110"/>
                    </a:lnTo>
                    <a:lnTo>
                      <a:pt x="82" y="110"/>
                    </a:lnTo>
                    <a:lnTo>
                      <a:pt x="82" y="110"/>
                    </a:lnTo>
                    <a:lnTo>
                      <a:pt x="62" y="110"/>
                    </a:lnTo>
                    <a:lnTo>
                      <a:pt x="44" y="108"/>
                    </a:lnTo>
                    <a:lnTo>
                      <a:pt x="12" y="102"/>
                    </a:lnTo>
                    <a:lnTo>
                      <a:pt x="0" y="124"/>
                    </a:lnTo>
                    <a:lnTo>
                      <a:pt x="0" y="124"/>
                    </a:lnTo>
                    <a:lnTo>
                      <a:pt x="32" y="128"/>
                    </a:lnTo>
                    <a:lnTo>
                      <a:pt x="72" y="132"/>
                    </a:lnTo>
                    <a:lnTo>
                      <a:pt x="72" y="148"/>
                    </a:lnTo>
                    <a:lnTo>
                      <a:pt x="114" y="148"/>
                    </a:lnTo>
                    <a:lnTo>
                      <a:pt x="114" y="130"/>
                    </a:lnTo>
                    <a:lnTo>
                      <a:pt x="114" y="130"/>
                    </a:lnTo>
                    <a:lnTo>
                      <a:pt x="146" y="126"/>
                    </a:lnTo>
                    <a:lnTo>
                      <a:pt x="158" y="122"/>
                    </a:lnTo>
                    <a:lnTo>
                      <a:pt x="170" y="118"/>
                    </a:lnTo>
                    <a:lnTo>
                      <a:pt x="178" y="112"/>
                    </a:lnTo>
                    <a:lnTo>
                      <a:pt x="184" y="108"/>
                    </a:lnTo>
                    <a:lnTo>
                      <a:pt x="188" y="102"/>
                    </a:lnTo>
                    <a:lnTo>
                      <a:pt x="190" y="96"/>
                    </a:lnTo>
                    <a:lnTo>
                      <a:pt x="190" y="96"/>
                    </a:lnTo>
                    <a:lnTo>
                      <a:pt x="188" y="90"/>
                    </a:lnTo>
                    <a:lnTo>
                      <a:pt x="186" y="86"/>
                    </a:lnTo>
                    <a:lnTo>
                      <a:pt x="180" y="80"/>
                    </a:lnTo>
                    <a:lnTo>
                      <a:pt x="172" y="76"/>
                    </a:lnTo>
                    <a:lnTo>
                      <a:pt x="150" y="68"/>
                    </a:lnTo>
                    <a:lnTo>
                      <a:pt x="118" y="62"/>
                    </a:lnTo>
                    <a:lnTo>
                      <a:pt x="118"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cxnSp>
          <p:nvCxnSpPr>
            <p:cNvPr id="387" name="Straight Connector 396"/>
            <p:cNvCxnSpPr/>
            <p:nvPr/>
          </p:nvCxnSpPr>
          <p:spPr>
            <a:xfrm flipV="1">
              <a:off x="3655010" y="3188449"/>
              <a:ext cx="466940" cy="553915"/>
            </a:xfrm>
            <a:prstGeom prst="line">
              <a:avLst/>
            </a:prstGeom>
            <a:ln w="12700">
              <a:solidFill>
                <a:schemeClr val="tx1"/>
              </a:solidFill>
              <a:prstDash val="sysDash"/>
            </a:ln>
          </p:spPr>
          <p:style>
            <a:lnRef idx="2">
              <a:schemeClr val="accent1"/>
            </a:lnRef>
            <a:fillRef idx="0">
              <a:schemeClr val="accent1"/>
            </a:fillRef>
            <a:effectRef idx="1">
              <a:schemeClr val="accent1"/>
            </a:effectRef>
            <a:fontRef idx="minor">
              <a:schemeClr val="tx1"/>
            </a:fontRef>
          </p:style>
        </p:cxnSp>
        <p:sp>
          <p:nvSpPr>
            <p:cNvPr id="272" name="Freeform 8"/>
            <p:cNvSpPr>
              <a:spLocks noChangeAspect="1" noEditPoints="1"/>
            </p:cNvSpPr>
            <p:nvPr/>
          </p:nvSpPr>
          <p:spPr bwMode="auto">
            <a:xfrm>
              <a:off x="3210217" y="3188449"/>
              <a:ext cx="502836" cy="587179"/>
            </a:xfrm>
            <a:custGeom>
              <a:avLst/>
              <a:gdLst>
                <a:gd name="T0" fmla="*/ 1220 w 1562"/>
                <a:gd name="T1" fmla="*/ 120 h 1824"/>
                <a:gd name="T2" fmla="*/ 1220 w 1562"/>
                <a:gd name="T3" fmla="*/ 262 h 1824"/>
                <a:gd name="T4" fmla="*/ 1220 w 1562"/>
                <a:gd name="T5" fmla="*/ 402 h 1824"/>
                <a:gd name="T6" fmla="*/ 1220 w 1562"/>
                <a:gd name="T7" fmla="*/ 544 h 1824"/>
                <a:gd name="T8" fmla="*/ 1220 w 1562"/>
                <a:gd name="T9" fmla="*/ 690 h 1824"/>
                <a:gd name="T10" fmla="*/ 1220 w 1562"/>
                <a:gd name="T11" fmla="*/ 820 h 1824"/>
                <a:gd name="T12" fmla="*/ 1220 w 1562"/>
                <a:gd name="T13" fmla="*/ 966 h 1824"/>
                <a:gd name="T14" fmla="*/ 1220 w 1562"/>
                <a:gd name="T15" fmla="*/ 1100 h 1824"/>
                <a:gd name="T16" fmla="*/ 1220 w 1562"/>
                <a:gd name="T17" fmla="*/ 1244 h 1824"/>
                <a:gd name="T18" fmla="*/ 1220 w 1562"/>
                <a:gd name="T19" fmla="*/ 1380 h 1824"/>
                <a:gd name="T20" fmla="*/ 1218 w 1562"/>
                <a:gd name="T21" fmla="*/ 1524 h 1824"/>
                <a:gd name="T22" fmla="*/ 1216 w 1562"/>
                <a:gd name="T23" fmla="*/ 1670 h 1824"/>
                <a:gd name="T24" fmla="*/ 806 w 1562"/>
                <a:gd name="T25" fmla="*/ 1678 h 1824"/>
                <a:gd name="T26" fmla="*/ 514 w 1562"/>
                <a:gd name="T27" fmla="*/ 536 h 1824"/>
                <a:gd name="T28" fmla="*/ 510 w 1562"/>
                <a:gd name="T29" fmla="*/ 674 h 1824"/>
                <a:gd name="T30" fmla="*/ 512 w 1562"/>
                <a:gd name="T31" fmla="*/ 818 h 1824"/>
                <a:gd name="T32" fmla="*/ 506 w 1562"/>
                <a:gd name="T33" fmla="*/ 964 h 1824"/>
                <a:gd name="T34" fmla="*/ 508 w 1562"/>
                <a:gd name="T35" fmla="*/ 1100 h 1824"/>
                <a:gd name="T36" fmla="*/ 512 w 1562"/>
                <a:gd name="T37" fmla="*/ 1240 h 1824"/>
                <a:gd name="T38" fmla="*/ 508 w 1562"/>
                <a:gd name="T39" fmla="*/ 1378 h 1824"/>
                <a:gd name="T40" fmla="*/ 508 w 1562"/>
                <a:gd name="T41" fmla="*/ 1524 h 1824"/>
                <a:gd name="T42" fmla="*/ 510 w 1562"/>
                <a:gd name="T43" fmla="*/ 1674 h 1824"/>
                <a:gd name="T44" fmla="*/ 106 w 1562"/>
                <a:gd name="T45" fmla="*/ 1678 h 1824"/>
                <a:gd name="T46" fmla="*/ 1562 w 1562"/>
                <a:gd name="T47" fmla="*/ 1684 h 1824"/>
                <a:gd name="T48" fmla="*/ 170 w 1562"/>
                <a:gd name="T49" fmla="*/ 1526 h 1824"/>
                <a:gd name="T50" fmla="*/ 170 w 1562"/>
                <a:gd name="T51" fmla="*/ 1466 h 1824"/>
                <a:gd name="T52" fmla="*/ 378 w 1562"/>
                <a:gd name="T53" fmla="*/ 1312 h 1824"/>
                <a:gd name="T54" fmla="*/ 378 w 1562"/>
                <a:gd name="T55" fmla="*/ 1312 h 1824"/>
                <a:gd name="T56" fmla="*/ 378 w 1562"/>
                <a:gd name="T57" fmla="*/ 1102 h 1824"/>
                <a:gd name="T58" fmla="*/ 170 w 1562"/>
                <a:gd name="T59" fmla="*/ 1008 h 1824"/>
                <a:gd name="T60" fmla="*/ 170 w 1562"/>
                <a:gd name="T61" fmla="*/ 948 h 1824"/>
                <a:gd name="T62" fmla="*/ 378 w 1562"/>
                <a:gd name="T63" fmla="*/ 742 h 1824"/>
                <a:gd name="T64" fmla="*/ 378 w 1562"/>
                <a:gd name="T65" fmla="*/ 742 h 1824"/>
                <a:gd name="T66" fmla="*/ 378 w 1562"/>
                <a:gd name="T67" fmla="*/ 542 h 1824"/>
                <a:gd name="T68" fmla="*/ 884 w 1562"/>
                <a:gd name="T69" fmla="*/ 1532 h 1824"/>
                <a:gd name="T70" fmla="*/ 884 w 1562"/>
                <a:gd name="T71" fmla="*/ 1472 h 1824"/>
                <a:gd name="T72" fmla="*/ 1092 w 1562"/>
                <a:gd name="T73" fmla="*/ 1316 h 1824"/>
                <a:gd name="T74" fmla="*/ 1092 w 1562"/>
                <a:gd name="T75" fmla="*/ 1316 h 1824"/>
                <a:gd name="T76" fmla="*/ 1092 w 1562"/>
                <a:gd name="T77" fmla="*/ 1100 h 1824"/>
                <a:gd name="T78" fmla="*/ 884 w 1562"/>
                <a:gd name="T79" fmla="*/ 1020 h 1824"/>
                <a:gd name="T80" fmla="*/ 884 w 1562"/>
                <a:gd name="T81" fmla="*/ 958 h 1824"/>
                <a:gd name="T82" fmla="*/ 1092 w 1562"/>
                <a:gd name="T83" fmla="*/ 752 h 1824"/>
                <a:gd name="T84" fmla="*/ 1092 w 1562"/>
                <a:gd name="T85" fmla="*/ 752 h 1824"/>
                <a:gd name="T86" fmla="*/ 1092 w 1562"/>
                <a:gd name="T87" fmla="*/ 540 h 1824"/>
                <a:gd name="T88" fmla="*/ 884 w 1562"/>
                <a:gd name="T89" fmla="*/ 500 h 1824"/>
                <a:gd name="T90" fmla="*/ 884 w 1562"/>
                <a:gd name="T91" fmla="*/ 440 h 1824"/>
                <a:gd name="T92" fmla="*/ 1092 w 1562"/>
                <a:gd name="T93" fmla="*/ 198 h 1824"/>
                <a:gd name="T94" fmla="*/ 1092 w 1562"/>
                <a:gd name="T95" fmla="*/ 198 h 18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562" h="1824">
                  <a:moveTo>
                    <a:pt x="1454" y="1684"/>
                  </a:moveTo>
                  <a:lnTo>
                    <a:pt x="1454" y="164"/>
                  </a:lnTo>
                  <a:lnTo>
                    <a:pt x="1220" y="0"/>
                  </a:lnTo>
                  <a:lnTo>
                    <a:pt x="1220" y="120"/>
                  </a:lnTo>
                  <a:lnTo>
                    <a:pt x="1412" y="232"/>
                  </a:lnTo>
                  <a:lnTo>
                    <a:pt x="1412" y="298"/>
                  </a:lnTo>
                  <a:lnTo>
                    <a:pt x="1220" y="198"/>
                  </a:lnTo>
                  <a:lnTo>
                    <a:pt x="1220" y="262"/>
                  </a:lnTo>
                  <a:lnTo>
                    <a:pt x="1412" y="354"/>
                  </a:lnTo>
                  <a:lnTo>
                    <a:pt x="1412" y="430"/>
                  </a:lnTo>
                  <a:lnTo>
                    <a:pt x="1220" y="332"/>
                  </a:lnTo>
                  <a:lnTo>
                    <a:pt x="1220" y="402"/>
                  </a:lnTo>
                  <a:lnTo>
                    <a:pt x="1410" y="496"/>
                  </a:lnTo>
                  <a:lnTo>
                    <a:pt x="1410" y="562"/>
                  </a:lnTo>
                  <a:lnTo>
                    <a:pt x="1220" y="476"/>
                  </a:lnTo>
                  <a:lnTo>
                    <a:pt x="1220" y="544"/>
                  </a:lnTo>
                  <a:lnTo>
                    <a:pt x="1410" y="630"/>
                  </a:lnTo>
                  <a:lnTo>
                    <a:pt x="1410" y="688"/>
                  </a:lnTo>
                  <a:lnTo>
                    <a:pt x="1220" y="616"/>
                  </a:lnTo>
                  <a:lnTo>
                    <a:pt x="1220" y="690"/>
                  </a:lnTo>
                  <a:lnTo>
                    <a:pt x="1410" y="758"/>
                  </a:lnTo>
                  <a:lnTo>
                    <a:pt x="1410" y="814"/>
                  </a:lnTo>
                  <a:lnTo>
                    <a:pt x="1220" y="750"/>
                  </a:lnTo>
                  <a:lnTo>
                    <a:pt x="1220" y="820"/>
                  </a:lnTo>
                  <a:lnTo>
                    <a:pt x="1410" y="880"/>
                  </a:lnTo>
                  <a:lnTo>
                    <a:pt x="1410" y="942"/>
                  </a:lnTo>
                  <a:lnTo>
                    <a:pt x="1220" y="892"/>
                  </a:lnTo>
                  <a:lnTo>
                    <a:pt x="1220" y="966"/>
                  </a:lnTo>
                  <a:lnTo>
                    <a:pt x="1410" y="1010"/>
                  </a:lnTo>
                  <a:lnTo>
                    <a:pt x="1410" y="1068"/>
                  </a:lnTo>
                  <a:lnTo>
                    <a:pt x="1220" y="1034"/>
                  </a:lnTo>
                  <a:lnTo>
                    <a:pt x="1220" y="1100"/>
                  </a:lnTo>
                  <a:lnTo>
                    <a:pt x="1412" y="1136"/>
                  </a:lnTo>
                  <a:lnTo>
                    <a:pt x="1412" y="1200"/>
                  </a:lnTo>
                  <a:lnTo>
                    <a:pt x="1220" y="1174"/>
                  </a:lnTo>
                  <a:lnTo>
                    <a:pt x="1220" y="1244"/>
                  </a:lnTo>
                  <a:lnTo>
                    <a:pt x="1410" y="1264"/>
                  </a:lnTo>
                  <a:lnTo>
                    <a:pt x="1410" y="1326"/>
                  </a:lnTo>
                  <a:lnTo>
                    <a:pt x="1220" y="1312"/>
                  </a:lnTo>
                  <a:lnTo>
                    <a:pt x="1220" y="1380"/>
                  </a:lnTo>
                  <a:lnTo>
                    <a:pt x="1410" y="1394"/>
                  </a:lnTo>
                  <a:lnTo>
                    <a:pt x="1410" y="1462"/>
                  </a:lnTo>
                  <a:lnTo>
                    <a:pt x="1220" y="1454"/>
                  </a:lnTo>
                  <a:lnTo>
                    <a:pt x="1218" y="1524"/>
                  </a:lnTo>
                  <a:lnTo>
                    <a:pt x="1412" y="1526"/>
                  </a:lnTo>
                  <a:lnTo>
                    <a:pt x="1410" y="1588"/>
                  </a:lnTo>
                  <a:lnTo>
                    <a:pt x="1216" y="1592"/>
                  </a:lnTo>
                  <a:lnTo>
                    <a:pt x="1216" y="1670"/>
                  </a:lnTo>
                  <a:lnTo>
                    <a:pt x="1170" y="1670"/>
                  </a:lnTo>
                  <a:lnTo>
                    <a:pt x="1170" y="4"/>
                  </a:lnTo>
                  <a:lnTo>
                    <a:pt x="806" y="214"/>
                  </a:lnTo>
                  <a:lnTo>
                    <a:pt x="806" y="1678"/>
                  </a:lnTo>
                  <a:lnTo>
                    <a:pt x="738" y="1678"/>
                  </a:lnTo>
                  <a:lnTo>
                    <a:pt x="738" y="504"/>
                  </a:lnTo>
                  <a:lnTo>
                    <a:pt x="514" y="416"/>
                  </a:lnTo>
                  <a:lnTo>
                    <a:pt x="514" y="536"/>
                  </a:lnTo>
                  <a:lnTo>
                    <a:pt x="710" y="594"/>
                  </a:lnTo>
                  <a:lnTo>
                    <a:pt x="708" y="666"/>
                  </a:lnTo>
                  <a:lnTo>
                    <a:pt x="510" y="612"/>
                  </a:lnTo>
                  <a:lnTo>
                    <a:pt x="510" y="674"/>
                  </a:lnTo>
                  <a:lnTo>
                    <a:pt x="708" y="726"/>
                  </a:lnTo>
                  <a:lnTo>
                    <a:pt x="708" y="802"/>
                  </a:lnTo>
                  <a:lnTo>
                    <a:pt x="512" y="750"/>
                  </a:lnTo>
                  <a:lnTo>
                    <a:pt x="512" y="818"/>
                  </a:lnTo>
                  <a:lnTo>
                    <a:pt x="706" y="870"/>
                  </a:lnTo>
                  <a:lnTo>
                    <a:pt x="706" y="940"/>
                  </a:lnTo>
                  <a:lnTo>
                    <a:pt x="506" y="894"/>
                  </a:lnTo>
                  <a:lnTo>
                    <a:pt x="506" y="964"/>
                  </a:lnTo>
                  <a:lnTo>
                    <a:pt x="708" y="1002"/>
                  </a:lnTo>
                  <a:lnTo>
                    <a:pt x="708" y="1072"/>
                  </a:lnTo>
                  <a:lnTo>
                    <a:pt x="508" y="1036"/>
                  </a:lnTo>
                  <a:lnTo>
                    <a:pt x="508" y="1100"/>
                  </a:lnTo>
                  <a:lnTo>
                    <a:pt x="702" y="1134"/>
                  </a:lnTo>
                  <a:lnTo>
                    <a:pt x="702" y="1198"/>
                  </a:lnTo>
                  <a:lnTo>
                    <a:pt x="512" y="1174"/>
                  </a:lnTo>
                  <a:lnTo>
                    <a:pt x="512" y="1240"/>
                  </a:lnTo>
                  <a:lnTo>
                    <a:pt x="700" y="1262"/>
                  </a:lnTo>
                  <a:lnTo>
                    <a:pt x="700" y="1330"/>
                  </a:lnTo>
                  <a:lnTo>
                    <a:pt x="508" y="1316"/>
                  </a:lnTo>
                  <a:lnTo>
                    <a:pt x="508" y="1378"/>
                  </a:lnTo>
                  <a:lnTo>
                    <a:pt x="704" y="1390"/>
                  </a:lnTo>
                  <a:lnTo>
                    <a:pt x="704" y="1456"/>
                  </a:lnTo>
                  <a:lnTo>
                    <a:pt x="508" y="1456"/>
                  </a:lnTo>
                  <a:lnTo>
                    <a:pt x="508" y="1524"/>
                  </a:lnTo>
                  <a:lnTo>
                    <a:pt x="702" y="1526"/>
                  </a:lnTo>
                  <a:lnTo>
                    <a:pt x="702" y="1592"/>
                  </a:lnTo>
                  <a:lnTo>
                    <a:pt x="510" y="1590"/>
                  </a:lnTo>
                  <a:lnTo>
                    <a:pt x="510" y="1674"/>
                  </a:lnTo>
                  <a:lnTo>
                    <a:pt x="470" y="1674"/>
                  </a:lnTo>
                  <a:lnTo>
                    <a:pt x="470" y="424"/>
                  </a:lnTo>
                  <a:lnTo>
                    <a:pt x="106" y="576"/>
                  </a:lnTo>
                  <a:lnTo>
                    <a:pt x="106" y="1678"/>
                  </a:lnTo>
                  <a:lnTo>
                    <a:pt x="0" y="1678"/>
                  </a:lnTo>
                  <a:lnTo>
                    <a:pt x="0" y="1824"/>
                  </a:lnTo>
                  <a:lnTo>
                    <a:pt x="1562" y="1824"/>
                  </a:lnTo>
                  <a:lnTo>
                    <a:pt x="1562" y="1684"/>
                  </a:lnTo>
                  <a:lnTo>
                    <a:pt x="1454" y="1684"/>
                  </a:lnTo>
                  <a:close/>
                  <a:moveTo>
                    <a:pt x="378" y="1588"/>
                  </a:moveTo>
                  <a:lnTo>
                    <a:pt x="170" y="1594"/>
                  </a:lnTo>
                  <a:lnTo>
                    <a:pt x="170" y="1526"/>
                  </a:lnTo>
                  <a:lnTo>
                    <a:pt x="378" y="1514"/>
                  </a:lnTo>
                  <a:lnTo>
                    <a:pt x="378" y="1588"/>
                  </a:lnTo>
                  <a:close/>
                  <a:moveTo>
                    <a:pt x="378" y="1456"/>
                  </a:moveTo>
                  <a:lnTo>
                    <a:pt x="170" y="1466"/>
                  </a:lnTo>
                  <a:lnTo>
                    <a:pt x="170" y="1398"/>
                  </a:lnTo>
                  <a:lnTo>
                    <a:pt x="378" y="1382"/>
                  </a:lnTo>
                  <a:lnTo>
                    <a:pt x="378" y="1456"/>
                  </a:lnTo>
                  <a:close/>
                  <a:moveTo>
                    <a:pt x="378" y="1312"/>
                  </a:moveTo>
                  <a:lnTo>
                    <a:pt x="170" y="1336"/>
                  </a:lnTo>
                  <a:lnTo>
                    <a:pt x="170" y="1268"/>
                  </a:lnTo>
                  <a:lnTo>
                    <a:pt x="378" y="1236"/>
                  </a:lnTo>
                  <a:lnTo>
                    <a:pt x="378" y="1312"/>
                  </a:lnTo>
                  <a:close/>
                  <a:moveTo>
                    <a:pt x="378" y="1176"/>
                  </a:moveTo>
                  <a:lnTo>
                    <a:pt x="170" y="1210"/>
                  </a:lnTo>
                  <a:lnTo>
                    <a:pt x="170" y="1142"/>
                  </a:lnTo>
                  <a:lnTo>
                    <a:pt x="378" y="1102"/>
                  </a:lnTo>
                  <a:lnTo>
                    <a:pt x="378" y="1176"/>
                  </a:lnTo>
                  <a:close/>
                  <a:moveTo>
                    <a:pt x="378" y="1030"/>
                  </a:moveTo>
                  <a:lnTo>
                    <a:pt x="170" y="1076"/>
                  </a:lnTo>
                  <a:lnTo>
                    <a:pt x="170" y="1008"/>
                  </a:lnTo>
                  <a:lnTo>
                    <a:pt x="378" y="956"/>
                  </a:lnTo>
                  <a:lnTo>
                    <a:pt x="378" y="1030"/>
                  </a:lnTo>
                  <a:close/>
                  <a:moveTo>
                    <a:pt x="378" y="892"/>
                  </a:moveTo>
                  <a:lnTo>
                    <a:pt x="170" y="948"/>
                  </a:lnTo>
                  <a:lnTo>
                    <a:pt x="170" y="878"/>
                  </a:lnTo>
                  <a:lnTo>
                    <a:pt x="378" y="816"/>
                  </a:lnTo>
                  <a:lnTo>
                    <a:pt x="378" y="892"/>
                  </a:lnTo>
                  <a:close/>
                  <a:moveTo>
                    <a:pt x="378" y="742"/>
                  </a:moveTo>
                  <a:lnTo>
                    <a:pt x="170" y="816"/>
                  </a:lnTo>
                  <a:lnTo>
                    <a:pt x="170" y="748"/>
                  </a:lnTo>
                  <a:lnTo>
                    <a:pt x="378" y="668"/>
                  </a:lnTo>
                  <a:lnTo>
                    <a:pt x="378" y="742"/>
                  </a:lnTo>
                  <a:close/>
                  <a:moveTo>
                    <a:pt x="378" y="616"/>
                  </a:moveTo>
                  <a:lnTo>
                    <a:pt x="170" y="690"/>
                  </a:lnTo>
                  <a:lnTo>
                    <a:pt x="170" y="622"/>
                  </a:lnTo>
                  <a:lnTo>
                    <a:pt x="378" y="542"/>
                  </a:lnTo>
                  <a:lnTo>
                    <a:pt x="378" y="616"/>
                  </a:lnTo>
                  <a:close/>
                  <a:moveTo>
                    <a:pt x="1092" y="1600"/>
                  </a:moveTo>
                  <a:lnTo>
                    <a:pt x="884" y="1600"/>
                  </a:lnTo>
                  <a:lnTo>
                    <a:pt x="884" y="1532"/>
                  </a:lnTo>
                  <a:lnTo>
                    <a:pt x="1092" y="1526"/>
                  </a:lnTo>
                  <a:lnTo>
                    <a:pt x="1092" y="1600"/>
                  </a:lnTo>
                  <a:close/>
                  <a:moveTo>
                    <a:pt x="1092" y="1462"/>
                  </a:moveTo>
                  <a:lnTo>
                    <a:pt x="884" y="1472"/>
                  </a:lnTo>
                  <a:lnTo>
                    <a:pt x="884" y="1404"/>
                  </a:lnTo>
                  <a:lnTo>
                    <a:pt x="1092" y="1388"/>
                  </a:lnTo>
                  <a:lnTo>
                    <a:pt x="1092" y="1462"/>
                  </a:lnTo>
                  <a:close/>
                  <a:moveTo>
                    <a:pt x="1092" y="1316"/>
                  </a:moveTo>
                  <a:lnTo>
                    <a:pt x="884" y="1344"/>
                  </a:lnTo>
                  <a:lnTo>
                    <a:pt x="884" y="1276"/>
                  </a:lnTo>
                  <a:lnTo>
                    <a:pt x="1092" y="1240"/>
                  </a:lnTo>
                  <a:lnTo>
                    <a:pt x="1092" y="1316"/>
                  </a:lnTo>
                  <a:close/>
                  <a:moveTo>
                    <a:pt x="1092" y="1174"/>
                  </a:moveTo>
                  <a:lnTo>
                    <a:pt x="884" y="1220"/>
                  </a:lnTo>
                  <a:lnTo>
                    <a:pt x="884" y="1152"/>
                  </a:lnTo>
                  <a:lnTo>
                    <a:pt x="1092" y="1100"/>
                  </a:lnTo>
                  <a:lnTo>
                    <a:pt x="1092" y="1174"/>
                  </a:lnTo>
                  <a:close/>
                  <a:moveTo>
                    <a:pt x="1092" y="1042"/>
                  </a:moveTo>
                  <a:lnTo>
                    <a:pt x="884" y="1088"/>
                  </a:lnTo>
                  <a:lnTo>
                    <a:pt x="884" y="1020"/>
                  </a:lnTo>
                  <a:lnTo>
                    <a:pt x="1092" y="968"/>
                  </a:lnTo>
                  <a:lnTo>
                    <a:pt x="1092" y="1042"/>
                  </a:lnTo>
                  <a:close/>
                  <a:moveTo>
                    <a:pt x="1092" y="900"/>
                  </a:moveTo>
                  <a:lnTo>
                    <a:pt x="884" y="958"/>
                  </a:lnTo>
                  <a:lnTo>
                    <a:pt x="884" y="890"/>
                  </a:lnTo>
                  <a:lnTo>
                    <a:pt x="1092" y="824"/>
                  </a:lnTo>
                  <a:lnTo>
                    <a:pt x="1092" y="900"/>
                  </a:lnTo>
                  <a:close/>
                  <a:moveTo>
                    <a:pt x="1092" y="752"/>
                  </a:moveTo>
                  <a:lnTo>
                    <a:pt x="884" y="828"/>
                  </a:lnTo>
                  <a:lnTo>
                    <a:pt x="884" y="758"/>
                  </a:lnTo>
                  <a:lnTo>
                    <a:pt x="1092" y="678"/>
                  </a:lnTo>
                  <a:lnTo>
                    <a:pt x="1092" y="752"/>
                  </a:lnTo>
                  <a:close/>
                  <a:moveTo>
                    <a:pt x="1092" y="614"/>
                  </a:moveTo>
                  <a:lnTo>
                    <a:pt x="884" y="698"/>
                  </a:lnTo>
                  <a:lnTo>
                    <a:pt x="884" y="630"/>
                  </a:lnTo>
                  <a:lnTo>
                    <a:pt x="1092" y="540"/>
                  </a:lnTo>
                  <a:lnTo>
                    <a:pt x="1092" y="614"/>
                  </a:lnTo>
                  <a:close/>
                  <a:moveTo>
                    <a:pt x="1092" y="464"/>
                  </a:moveTo>
                  <a:lnTo>
                    <a:pt x="884" y="568"/>
                  </a:lnTo>
                  <a:lnTo>
                    <a:pt x="884" y="500"/>
                  </a:lnTo>
                  <a:lnTo>
                    <a:pt x="1092" y="388"/>
                  </a:lnTo>
                  <a:lnTo>
                    <a:pt x="1092" y="464"/>
                  </a:lnTo>
                  <a:close/>
                  <a:moveTo>
                    <a:pt x="1092" y="334"/>
                  </a:moveTo>
                  <a:lnTo>
                    <a:pt x="884" y="440"/>
                  </a:lnTo>
                  <a:lnTo>
                    <a:pt x="884" y="372"/>
                  </a:lnTo>
                  <a:lnTo>
                    <a:pt x="1092" y="260"/>
                  </a:lnTo>
                  <a:lnTo>
                    <a:pt x="1092" y="334"/>
                  </a:lnTo>
                  <a:close/>
                  <a:moveTo>
                    <a:pt x="1092" y="198"/>
                  </a:moveTo>
                  <a:lnTo>
                    <a:pt x="884" y="304"/>
                  </a:lnTo>
                  <a:lnTo>
                    <a:pt x="884" y="236"/>
                  </a:lnTo>
                  <a:lnTo>
                    <a:pt x="1092" y="124"/>
                  </a:lnTo>
                  <a:lnTo>
                    <a:pt x="1092" y="198"/>
                  </a:lnTo>
                  <a:close/>
                </a:path>
              </a:pathLst>
            </a:custGeom>
            <a:solidFill>
              <a:srgbClr val="8DC63F"/>
            </a:solidFill>
            <a:ln>
              <a:noFill/>
            </a:ln>
          </p:spPr>
          <p:txBody>
            <a:bodyPr vert="horz" wrap="square" lIns="91440" tIns="45720" rIns="91440" bIns="45720" numCol="1" anchor="t" anchorCtr="0" compatLnSpc="1">
              <a:prstTxWarp prst="textNoShape">
                <a:avLst/>
              </a:prstTxWarp>
            </a:bodyPr>
            <a:lstStyle/>
            <a:p>
              <a:endParaRPr lang="en-GB" dirty="0"/>
            </a:p>
          </p:txBody>
        </p:sp>
        <p:cxnSp>
          <p:nvCxnSpPr>
            <p:cNvPr id="388" name="Straight Connector 396"/>
            <p:cNvCxnSpPr>
              <a:endCxn id="181" idx="2"/>
            </p:cNvCxnSpPr>
            <p:nvPr/>
          </p:nvCxnSpPr>
          <p:spPr>
            <a:xfrm flipV="1">
              <a:off x="5047761" y="1875775"/>
              <a:ext cx="1532665" cy="651982"/>
            </a:xfrm>
            <a:prstGeom prst="line">
              <a:avLst/>
            </a:prstGeom>
            <a:ln w="12700">
              <a:solidFill>
                <a:schemeClr val="tx1"/>
              </a:solidFill>
              <a:prstDash val="sysDash"/>
            </a:ln>
          </p:spPr>
          <p:style>
            <a:lnRef idx="2">
              <a:schemeClr val="accent1"/>
            </a:lnRef>
            <a:fillRef idx="0">
              <a:schemeClr val="accent1"/>
            </a:fillRef>
            <a:effectRef idx="1">
              <a:schemeClr val="accent1"/>
            </a:effectRef>
            <a:fontRef idx="minor">
              <a:schemeClr val="tx1"/>
            </a:fontRef>
          </p:style>
        </p:cxnSp>
        <p:grpSp>
          <p:nvGrpSpPr>
            <p:cNvPr id="283" name="Gruppieren 337"/>
            <p:cNvGrpSpPr>
              <a:grpSpLocks noChangeAspect="1"/>
            </p:cNvGrpSpPr>
            <p:nvPr/>
          </p:nvGrpSpPr>
          <p:grpSpPr>
            <a:xfrm>
              <a:off x="5227313" y="1876033"/>
              <a:ext cx="403656" cy="571393"/>
              <a:chOff x="6958617" y="5518355"/>
              <a:chExt cx="568707" cy="805033"/>
            </a:xfrm>
            <a:solidFill>
              <a:srgbClr val="8DC63F"/>
            </a:solidFill>
          </p:grpSpPr>
          <p:sp>
            <p:nvSpPr>
              <p:cNvPr id="284" name="Freeform 49"/>
              <p:cNvSpPr>
                <a:spLocks noEditPoints="1"/>
              </p:cNvSpPr>
              <p:nvPr/>
            </p:nvSpPr>
            <p:spPr bwMode="auto">
              <a:xfrm>
                <a:off x="6958617" y="5518355"/>
                <a:ext cx="568707" cy="805033"/>
              </a:xfrm>
              <a:custGeom>
                <a:avLst/>
                <a:gdLst>
                  <a:gd name="T0" fmla="*/ 1072 w 1492"/>
                  <a:gd name="T1" fmla="*/ 1152 h 2112"/>
                  <a:gd name="T2" fmla="*/ 1154 w 1492"/>
                  <a:gd name="T3" fmla="*/ 1070 h 2112"/>
                  <a:gd name="T4" fmla="*/ 1218 w 1492"/>
                  <a:gd name="T5" fmla="*/ 976 h 2112"/>
                  <a:gd name="T6" fmla="*/ 1266 w 1492"/>
                  <a:gd name="T7" fmla="*/ 874 h 2112"/>
                  <a:gd name="T8" fmla="*/ 1294 w 1492"/>
                  <a:gd name="T9" fmla="*/ 764 h 2112"/>
                  <a:gd name="T10" fmla="*/ 1304 w 1492"/>
                  <a:gd name="T11" fmla="*/ 652 h 2112"/>
                  <a:gd name="T12" fmla="*/ 1294 w 1492"/>
                  <a:gd name="T13" fmla="*/ 538 h 2112"/>
                  <a:gd name="T14" fmla="*/ 1264 w 1492"/>
                  <a:gd name="T15" fmla="*/ 426 h 2112"/>
                  <a:gd name="T16" fmla="*/ 1226 w 1492"/>
                  <a:gd name="T17" fmla="*/ 344 h 2112"/>
                  <a:gd name="T18" fmla="*/ 1152 w 1492"/>
                  <a:gd name="T19" fmla="*/ 234 h 2112"/>
                  <a:gd name="T20" fmla="*/ 1060 w 1492"/>
                  <a:gd name="T21" fmla="*/ 144 h 2112"/>
                  <a:gd name="T22" fmla="*/ 956 w 1492"/>
                  <a:gd name="T23" fmla="*/ 76 h 2112"/>
                  <a:gd name="T24" fmla="*/ 840 w 1492"/>
                  <a:gd name="T25" fmla="*/ 28 h 2112"/>
                  <a:gd name="T26" fmla="*/ 716 w 1492"/>
                  <a:gd name="T27" fmla="*/ 4 h 2112"/>
                  <a:gd name="T28" fmla="*/ 590 w 1492"/>
                  <a:gd name="T29" fmla="*/ 4 h 2112"/>
                  <a:gd name="T30" fmla="*/ 464 w 1492"/>
                  <a:gd name="T31" fmla="*/ 28 h 2112"/>
                  <a:gd name="T32" fmla="*/ 342 w 1492"/>
                  <a:gd name="T33" fmla="*/ 78 h 2112"/>
                  <a:gd name="T34" fmla="*/ 258 w 1492"/>
                  <a:gd name="T35" fmla="*/ 132 h 2112"/>
                  <a:gd name="T36" fmla="*/ 164 w 1492"/>
                  <a:gd name="T37" fmla="*/ 220 h 2112"/>
                  <a:gd name="T38" fmla="*/ 90 w 1492"/>
                  <a:gd name="T39" fmla="*/ 322 h 2112"/>
                  <a:gd name="T40" fmla="*/ 36 w 1492"/>
                  <a:gd name="T41" fmla="*/ 436 h 2112"/>
                  <a:gd name="T42" fmla="*/ 6 w 1492"/>
                  <a:gd name="T43" fmla="*/ 558 h 2112"/>
                  <a:gd name="T44" fmla="*/ 0 w 1492"/>
                  <a:gd name="T45" fmla="*/ 682 h 2112"/>
                  <a:gd name="T46" fmla="*/ 18 w 1492"/>
                  <a:gd name="T47" fmla="*/ 808 h 2112"/>
                  <a:gd name="T48" fmla="*/ 62 w 1492"/>
                  <a:gd name="T49" fmla="*/ 932 h 2112"/>
                  <a:gd name="T50" fmla="*/ 108 w 1492"/>
                  <a:gd name="T51" fmla="*/ 1014 h 2112"/>
                  <a:gd name="T52" fmla="*/ 182 w 1492"/>
                  <a:gd name="T53" fmla="*/ 1106 h 2112"/>
                  <a:gd name="T54" fmla="*/ 268 w 1492"/>
                  <a:gd name="T55" fmla="*/ 1180 h 2112"/>
                  <a:gd name="T56" fmla="*/ 366 w 1492"/>
                  <a:gd name="T57" fmla="*/ 1240 h 2112"/>
                  <a:gd name="T58" fmla="*/ 472 w 1492"/>
                  <a:gd name="T59" fmla="*/ 1280 h 2112"/>
                  <a:gd name="T60" fmla="*/ 582 w 1492"/>
                  <a:gd name="T61" fmla="*/ 1302 h 2112"/>
                  <a:gd name="T62" fmla="*/ 696 w 1492"/>
                  <a:gd name="T63" fmla="*/ 1304 h 2112"/>
                  <a:gd name="T64" fmla="*/ 810 w 1492"/>
                  <a:gd name="T65" fmla="*/ 1286 h 2112"/>
                  <a:gd name="T66" fmla="*/ 1300 w 1492"/>
                  <a:gd name="T67" fmla="*/ 2076 h 2112"/>
                  <a:gd name="T68" fmla="*/ 1342 w 1492"/>
                  <a:gd name="T69" fmla="*/ 2108 h 2112"/>
                  <a:gd name="T70" fmla="*/ 1394 w 1492"/>
                  <a:gd name="T71" fmla="*/ 2104 h 2112"/>
                  <a:gd name="T72" fmla="*/ 1476 w 1492"/>
                  <a:gd name="T73" fmla="*/ 2052 h 2112"/>
                  <a:gd name="T74" fmla="*/ 1492 w 1492"/>
                  <a:gd name="T75" fmla="*/ 2002 h 2112"/>
                  <a:gd name="T76" fmla="*/ 882 w 1492"/>
                  <a:gd name="T77" fmla="*/ 1080 h 2112"/>
                  <a:gd name="T78" fmla="*/ 814 w 1492"/>
                  <a:gd name="T79" fmla="*/ 1112 h 2112"/>
                  <a:gd name="T80" fmla="*/ 698 w 1492"/>
                  <a:gd name="T81" fmla="*/ 1136 h 2112"/>
                  <a:gd name="T82" fmla="*/ 512 w 1492"/>
                  <a:gd name="T83" fmla="*/ 1118 h 2112"/>
                  <a:gd name="T84" fmla="*/ 348 w 1492"/>
                  <a:gd name="T85" fmla="*/ 1032 h 2112"/>
                  <a:gd name="T86" fmla="*/ 264 w 1492"/>
                  <a:gd name="T87" fmla="*/ 946 h 2112"/>
                  <a:gd name="T88" fmla="*/ 224 w 1492"/>
                  <a:gd name="T89" fmla="*/ 884 h 2112"/>
                  <a:gd name="T90" fmla="*/ 186 w 1492"/>
                  <a:gd name="T91" fmla="*/ 792 h 2112"/>
                  <a:gd name="T92" fmla="*/ 166 w 1492"/>
                  <a:gd name="T93" fmla="*/ 652 h 2112"/>
                  <a:gd name="T94" fmla="*/ 202 w 1492"/>
                  <a:gd name="T95" fmla="*/ 470 h 2112"/>
                  <a:gd name="T96" fmla="*/ 304 w 1492"/>
                  <a:gd name="T97" fmla="*/ 312 h 2112"/>
                  <a:gd name="T98" fmla="*/ 378 w 1492"/>
                  <a:gd name="T99" fmla="*/ 250 h 2112"/>
                  <a:gd name="T100" fmla="*/ 444 w 1492"/>
                  <a:gd name="T101" fmla="*/ 214 h 2112"/>
                  <a:gd name="T102" fmla="*/ 536 w 1492"/>
                  <a:gd name="T103" fmla="*/ 180 h 2112"/>
                  <a:gd name="T104" fmla="*/ 700 w 1492"/>
                  <a:gd name="T105" fmla="*/ 168 h 2112"/>
                  <a:gd name="T106" fmla="*/ 878 w 1492"/>
                  <a:gd name="T107" fmla="*/ 222 h 2112"/>
                  <a:gd name="T108" fmla="*/ 1010 w 1492"/>
                  <a:gd name="T109" fmla="*/ 322 h 2112"/>
                  <a:gd name="T110" fmla="*/ 1068 w 1492"/>
                  <a:gd name="T111" fmla="*/ 400 h 2112"/>
                  <a:gd name="T112" fmla="*/ 1102 w 1492"/>
                  <a:gd name="T113" fmla="*/ 468 h 2112"/>
                  <a:gd name="T114" fmla="*/ 1130 w 1492"/>
                  <a:gd name="T115" fmla="*/ 560 h 2112"/>
                  <a:gd name="T116" fmla="*/ 1130 w 1492"/>
                  <a:gd name="T117" fmla="*/ 748 h 2112"/>
                  <a:gd name="T118" fmla="*/ 1060 w 1492"/>
                  <a:gd name="T119" fmla="*/ 920 h 2112"/>
                  <a:gd name="T120" fmla="*/ 964 w 1492"/>
                  <a:gd name="T121" fmla="*/ 1026 h 2112"/>
                  <a:gd name="T122" fmla="*/ 882 w 1492"/>
                  <a:gd name="T123" fmla="*/ 1080 h 2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492" h="2112">
                    <a:moveTo>
                      <a:pt x="1484" y="1976"/>
                    </a:moveTo>
                    <a:lnTo>
                      <a:pt x="1050" y="1170"/>
                    </a:lnTo>
                    <a:lnTo>
                      <a:pt x="1050" y="1170"/>
                    </a:lnTo>
                    <a:lnTo>
                      <a:pt x="1072" y="1152"/>
                    </a:lnTo>
                    <a:lnTo>
                      <a:pt x="1094" y="1132"/>
                    </a:lnTo>
                    <a:lnTo>
                      <a:pt x="1116" y="1112"/>
                    </a:lnTo>
                    <a:lnTo>
                      <a:pt x="1136" y="1092"/>
                    </a:lnTo>
                    <a:lnTo>
                      <a:pt x="1154" y="1070"/>
                    </a:lnTo>
                    <a:lnTo>
                      <a:pt x="1172" y="1048"/>
                    </a:lnTo>
                    <a:lnTo>
                      <a:pt x="1188" y="1024"/>
                    </a:lnTo>
                    <a:lnTo>
                      <a:pt x="1204" y="1000"/>
                    </a:lnTo>
                    <a:lnTo>
                      <a:pt x="1218" y="976"/>
                    </a:lnTo>
                    <a:lnTo>
                      <a:pt x="1232" y="952"/>
                    </a:lnTo>
                    <a:lnTo>
                      <a:pt x="1244" y="926"/>
                    </a:lnTo>
                    <a:lnTo>
                      <a:pt x="1256" y="900"/>
                    </a:lnTo>
                    <a:lnTo>
                      <a:pt x="1266" y="874"/>
                    </a:lnTo>
                    <a:lnTo>
                      <a:pt x="1274" y="846"/>
                    </a:lnTo>
                    <a:lnTo>
                      <a:pt x="1282" y="820"/>
                    </a:lnTo>
                    <a:lnTo>
                      <a:pt x="1290" y="792"/>
                    </a:lnTo>
                    <a:lnTo>
                      <a:pt x="1294" y="764"/>
                    </a:lnTo>
                    <a:lnTo>
                      <a:pt x="1300" y="736"/>
                    </a:lnTo>
                    <a:lnTo>
                      <a:pt x="1302" y="708"/>
                    </a:lnTo>
                    <a:lnTo>
                      <a:pt x="1304" y="680"/>
                    </a:lnTo>
                    <a:lnTo>
                      <a:pt x="1304" y="652"/>
                    </a:lnTo>
                    <a:lnTo>
                      <a:pt x="1304" y="624"/>
                    </a:lnTo>
                    <a:lnTo>
                      <a:pt x="1302" y="594"/>
                    </a:lnTo>
                    <a:lnTo>
                      <a:pt x="1298" y="566"/>
                    </a:lnTo>
                    <a:lnTo>
                      <a:pt x="1294" y="538"/>
                    </a:lnTo>
                    <a:lnTo>
                      <a:pt x="1288" y="510"/>
                    </a:lnTo>
                    <a:lnTo>
                      <a:pt x="1282" y="482"/>
                    </a:lnTo>
                    <a:lnTo>
                      <a:pt x="1274" y="454"/>
                    </a:lnTo>
                    <a:lnTo>
                      <a:pt x="1264" y="426"/>
                    </a:lnTo>
                    <a:lnTo>
                      <a:pt x="1252" y="398"/>
                    </a:lnTo>
                    <a:lnTo>
                      <a:pt x="1240" y="370"/>
                    </a:lnTo>
                    <a:lnTo>
                      <a:pt x="1226" y="344"/>
                    </a:lnTo>
                    <a:lnTo>
                      <a:pt x="1226" y="344"/>
                    </a:lnTo>
                    <a:lnTo>
                      <a:pt x="1210" y="314"/>
                    </a:lnTo>
                    <a:lnTo>
                      <a:pt x="1192" y="286"/>
                    </a:lnTo>
                    <a:lnTo>
                      <a:pt x="1172" y="260"/>
                    </a:lnTo>
                    <a:lnTo>
                      <a:pt x="1152" y="234"/>
                    </a:lnTo>
                    <a:lnTo>
                      <a:pt x="1132" y="210"/>
                    </a:lnTo>
                    <a:lnTo>
                      <a:pt x="1108" y="186"/>
                    </a:lnTo>
                    <a:lnTo>
                      <a:pt x="1086" y="164"/>
                    </a:lnTo>
                    <a:lnTo>
                      <a:pt x="1060" y="144"/>
                    </a:lnTo>
                    <a:lnTo>
                      <a:pt x="1036" y="124"/>
                    </a:lnTo>
                    <a:lnTo>
                      <a:pt x="1010" y="106"/>
                    </a:lnTo>
                    <a:lnTo>
                      <a:pt x="982" y="90"/>
                    </a:lnTo>
                    <a:lnTo>
                      <a:pt x="956" y="76"/>
                    </a:lnTo>
                    <a:lnTo>
                      <a:pt x="928" y="62"/>
                    </a:lnTo>
                    <a:lnTo>
                      <a:pt x="898" y="48"/>
                    </a:lnTo>
                    <a:lnTo>
                      <a:pt x="870" y="38"/>
                    </a:lnTo>
                    <a:lnTo>
                      <a:pt x="840" y="28"/>
                    </a:lnTo>
                    <a:lnTo>
                      <a:pt x="810" y="20"/>
                    </a:lnTo>
                    <a:lnTo>
                      <a:pt x="778" y="12"/>
                    </a:lnTo>
                    <a:lnTo>
                      <a:pt x="748" y="8"/>
                    </a:lnTo>
                    <a:lnTo>
                      <a:pt x="716" y="4"/>
                    </a:lnTo>
                    <a:lnTo>
                      <a:pt x="686" y="2"/>
                    </a:lnTo>
                    <a:lnTo>
                      <a:pt x="654" y="0"/>
                    </a:lnTo>
                    <a:lnTo>
                      <a:pt x="622" y="0"/>
                    </a:lnTo>
                    <a:lnTo>
                      <a:pt x="590" y="4"/>
                    </a:lnTo>
                    <a:lnTo>
                      <a:pt x="558" y="6"/>
                    </a:lnTo>
                    <a:lnTo>
                      <a:pt x="528" y="12"/>
                    </a:lnTo>
                    <a:lnTo>
                      <a:pt x="496" y="20"/>
                    </a:lnTo>
                    <a:lnTo>
                      <a:pt x="464" y="28"/>
                    </a:lnTo>
                    <a:lnTo>
                      <a:pt x="434" y="38"/>
                    </a:lnTo>
                    <a:lnTo>
                      <a:pt x="404" y="50"/>
                    </a:lnTo>
                    <a:lnTo>
                      <a:pt x="372" y="64"/>
                    </a:lnTo>
                    <a:lnTo>
                      <a:pt x="342" y="78"/>
                    </a:lnTo>
                    <a:lnTo>
                      <a:pt x="342" y="78"/>
                    </a:lnTo>
                    <a:lnTo>
                      <a:pt x="314" y="96"/>
                    </a:lnTo>
                    <a:lnTo>
                      <a:pt x="286" y="112"/>
                    </a:lnTo>
                    <a:lnTo>
                      <a:pt x="258" y="132"/>
                    </a:lnTo>
                    <a:lnTo>
                      <a:pt x="234" y="152"/>
                    </a:lnTo>
                    <a:lnTo>
                      <a:pt x="208" y="174"/>
                    </a:lnTo>
                    <a:lnTo>
                      <a:pt x="186" y="196"/>
                    </a:lnTo>
                    <a:lnTo>
                      <a:pt x="164" y="220"/>
                    </a:lnTo>
                    <a:lnTo>
                      <a:pt x="144" y="244"/>
                    </a:lnTo>
                    <a:lnTo>
                      <a:pt x="124" y="270"/>
                    </a:lnTo>
                    <a:lnTo>
                      <a:pt x="106" y="296"/>
                    </a:lnTo>
                    <a:lnTo>
                      <a:pt x="90" y="322"/>
                    </a:lnTo>
                    <a:lnTo>
                      <a:pt x="74" y="350"/>
                    </a:lnTo>
                    <a:lnTo>
                      <a:pt x="60" y="378"/>
                    </a:lnTo>
                    <a:lnTo>
                      <a:pt x="48" y="406"/>
                    </a:lnTo>
                    <a:lnTo>
                      <a:pt x="36" y="436"/>
                    </a:lnTo>
                    <a:lnTo>
                      <a:pt x="28" y="466"/>
                    </a:lnTo>
                    <a:lnTo>
                      <a:pt x="18" y="496"/>
                    </a:lnTo>
                    <a:lnTo>
                      <a:pt x="12" y="526"/>
                    </a:lnTo>
                    <a:lnTo>
                      <a:pt x="6" y="558"/>
                    </a:lnTo>
                    <a:lnTo>
                      <a:pt x="2" y="588"/>
                    </a:lnTo>
                    <a:lnTo>
                      <a:pt x="0" y="620"/>
                    </a:lnTo>
                    <a:lnTo>
                      <a:pt x="0" y="652"/>
                    </a:lnTo>
                    <a:lnTo>
                      <a:pt x="0" y="682"/>
                    </a:lnTo>
                    <a:lnTo>
                      <a:pt x="2" y="714"/>
                    </a:lnTo>
                    <a:lnTo>
                      <a:pt x="6" y="746"/>
                    </a:lnTo>
                    <a:lnTo>
                      <a:pt x="12" y="778"/>
                    </a:lnTo>
                    <a:lnTo>
                      <a:pt x="18" y="808"/>
                    </a:lnTo>
                    <a:lnTo>
                      <a:pt x="28" y="840"/>
                    </a:lnTo>
                    <a:lnTo>
                      <a:pt x="38" y="872"/>
                    </a:lnTo>
                    <a:lnTo>
                      <a:pt x="50" y="902"/>
                    </a:lnTo>
                    <a:lnTo>
                      <a:pt x="62" y="932"/>
                    </a:lnTo>
                    <a:lnTo>
                      <a:pt x="78" y="962"/>
                    </a:lnTo>
                    <a:lnTo>
                      <a:pt x="78" y="962"/>
                    </a:lnTo>
                    <a:lnTo>
                      <a:pt x="92" y="988"/>
                    </a:lnTo>
                    <a:lnTo>
                      <a:pt x="108" y="1014"/>
                    </a:lnTo>
                    <a:lnTo>
                      <a:pt x="126" y="1038"/>
                    </a:lnTo>
                    <a:lnTo>
                      <a:pt x="144" y="1062"/>
                    </a:lnTo>
                    <a:lnTo>
                      <a:pt x="162" y="1084"/>
                    </a:lnTo>
                    <a:lnTo>
                      <a:pt x="182" y="1106"/>
                    </a:lnTo>
                    <a:lnTo>
                      <a:pt x="202" y="1126"/>
                    </a:lnTo>
                    <a:lnTo>
                      <a:pt x="224" y="1146"/>
                    </a:lnTo>
                    <a:lnTo>
                      <a:pt x="246" y="1164"/>
                    </a:lnTo>
                    <a:lnTo>
                      <a:pt x="268" y="1180"/>
                    </a:lnTo>
                    <a:lnTo>
                      <a:pt x="292" y="1198"/>
                    </a:lnTo>
                    <a:lnTo>
                      <a:pt x="316" y="1212"/>
                    </a:lnTo>
                    <a:lnTo>
                      <a:pt x="342" y="1226"/>
                    </a:lnTo>
                    <a:lnTo>
                      <a:pt x="366" y="1240"/>
                    </a:lnTo>
                    <a:lnTo>
                      <a:pt x="392" y="1250"/>
                    </a:lnTo>
                    <a:lnTo>
                      <a:pt x="418" y="1262"/>
                    </a:lnTo>
                    <a:lnTo>
                      <a:pt x="444" y="1272"/>
                    </a:lnTo>
                    <a:lnTo>
                      <a:pt x="472" y="1280"/>
                    </a:lnTo>
                    <a:lnTo>
                      <a:pt x="498" y="1286"/>
                    </a:lnTo>
                    <a:lnTo>
                      <a:pt x="526" y="1292"/>
                    </a:lnTo>
                    <a:lnTo>
                      <a:pt x="554" y="1298"/>
                    </a:lnTo>
                    <a:lnTo>
                      <a:pt x="582" y="1302"/>
                    </a:lnTo>
                    <a:lnTo>
                      <a:pt x="610" y="1304"/>
                    </a:lnTo>
                    <a:lnTo>
                      <a:pt x="638" y="1304"/>
                    </a:lnTo>
                    <a:lnTo>
                      <a:pt x="668" y="1304"/>
                    </a:lnTo>
                    <a:lnTo>
                      <a:pt x="696" y="1304"/>
                    </a:lnTo>
                    <a:lnTo>
                      <a:pt x="724" y="1302"/>
                    </a:lnTo>
                    <a:lnTo>
                      <a:pt x="752" y="1298"/>
                    </a:lnTo>
                    <a:lnTo>
                      <a:pt x="782" y="1292"/>
                    </a:lnTo>
                    <a:lnTo>
                      <a:pt x="810" y="1286"/>
                    </a:lnTo>
                    <a:lnTo>
                      <a:pt x="838" y="1278"/>
                    </a:lnTo>
                    <a:lnTo>
                      <a:pt x="866" y="1270"/>
                    </a:lnTo>
                    <a:lnTo>
                      <a:pt x="1300" y="2076"/>
                    </a:lnTo>
                    <a:lnTo>
                      <a:pt x="1300" y="2076"/>
                    </a:lnTo>
                    <a:lnTo>
                      <a:pt x="1308" y="2086"/>
                    </a:lnTo>
                    <a:lnTo>
                      <a:pt x="1318" y="2096"/>
                    </a:lnTo>
                    <a:lnTo>
                      <a:pt x="1328" y="2104"/>
                    </a:lnTo>
                    <a:lnTo>
                      <a:pt x="1342" y="2108"/>
                    </a:lnTo>
                    <a:lnTo>
                      <a:pt x="1354" y="2112"/>
                    </a:lnTo>
                    <a:lnTo>
                      <a:pt x="1368" y="2112"/>
                    </a:lnTo>
                    <a:lnTo>
                      <a:pt x="1382" y="2108"/>
                    </a:lnTo>
                    <a:lnTo>
                      <a:pt x="1394" y="2104"/>
                    </a:lnTo>
                    <a:lnTo>
                      <a:pt x="1456" y="2070"/>
                    </a:lnTo>
                    <a:lnTo>
                      <a:pt x="1456" y="2070"/>
                    </a:lnTo>
                    <a:lnTo>
                      <a:pt x="1466" y="2062"/>
                    </a:lnTo>
                    <a:lnTo>
                      <a:pt x="1476" y="2052"/>
                    </a:lnTo>
                    <a:lnTo>
                      <a:pt x="1484" y="2042"/>
                    </a:lnTo>
                    <a:lnTo>
                      <a:pt x="1488" y="2030"/>
                    </a:lnTo>
                    <a:lnTo>
                      <a:pt x="1492" y="2016"/>
                    </a:lnTo>
                    <a:lnTo>
                      <a:pt x="1492" y="2002"/>
                    </a:lnTo>
                    <a:lnTo>
                      <a:pt x="1488" y="1990"/>
                    </a:lnTo>
                    <a:lnTo>
                      <a:pt x="1484" y="1976"/>
                    </a:lnTo>
                    <a:lnTo>
                      <a:pt x="1484" y="1976"/>
                    </a:lnTo>
                    <a:close/>
                    <a:moveTo>
                      <a:pt x="882" y="1080"/>
                    </a:moveTo>
                    <a:lnTo>
                      <a:pt x="882" y="1080"/>
                    </a:lnTo>
                    <a:lnTo>
                      <a:pt x="860" y="1092"/>
                    </a:lnTo>
                    <a:lnTo>
                      <a:pt x="838" y="1102"/>
                    </a:lnTo>
                    <a:lnTo>
                      <a:pt x="814" y="1112"/>
                    </a:lnTo>
                    <a:lnTo>
                      <a:pt x="792" y="1118"/>
                    </a:lnTo>
                    <a:lnTo>
                      <a:pt x="768" y="1126"/>
                    </a:lnTo>
                    <a:lnTo>
                      <a:pt x="746" y="1130"/>
                    </a:lnTo>
                    <a:lnTo>
                      <a:pt x="698" y="1136"/>
                    </a:lnTo>
                    <a:lnTo>
                      <a:pt x="650" y="1140"/>
                    </a:lnTo>
                    <a:lnTo>
                      <a:pt x="604" y="1136"/>
                    </a:lnTo>
                    <a:lnTo>
                      <a:pt x="558" y="1130"/>
                    </a:lnTo>
                    <a:lnTo>
                      <a:pt x="512" y="1118"/>
                    </a:lnTo>
                    <a:lnTo>
                      <a:pt x="468" y="1104"/>
                    </a:lnTo>
                    <a:lnTo>
                      <a:pt x="426" y="1084"/>
                    </a:lnTo>
                    <a:lnTo>
                      <a:pt x="386" y="1060"/>
                    </a:lnTo>
                    <a:lnTo>
                      <a:pt x="348" y="1032"/>
                    </a:lnTo>
                    <a:lnTo>
                      <a:pt x="312" y="1000"/>
                    </a:lnTo>
                    <a:lnTo>
                      <a:pt x="296" y="984"/>
                    </a:lnTo>
                    <a:lnTo>
                      <a:pt x="280" y="964"/>
                    </a:lnTo>
                    <a:lnTo>
                      <a:pt x="264" y="946"/>
                    </a:lnTo>
                    <a:lnTo>
                      <a:pt x="250" y="926"/>
                    </a:lnTo>
                    <a:lnTo>
                      <a:pt x="236" y="906"/>
                    </a:lnTo>
                    <a:lnTo>
                      <a:pt x="224" y="884"/>
                    </a:lnTo>
                    <a:lnTo>
                      <a:pt x="224" y="884"/>
                    </a:lnTo>
                    <a:lnTo>
                      <a:pt x="212" y="862"/>
                    </a:lnTo>
                    <a:lnTo>
                      <a:pt x="202" y="838"/>
                    </a:lnTo>
                    <a:lnTo>
                      <a:pt x="194" y="816"/>
                    </a:lnTo>
                    <a:lnTo>
                      <a:pt x="186" y="792"/>
                    </a:lnTo>
                    <a:lnTo>
                      <a:pt x="180" y="770"/>
                    </a:lnTo>
                    <a:lnTo>
                      <a:pt x="174" y="746"/>
                    </a:lnTo>
                    <a:lnTo>
                      <a:pt x="168" y="698"/>
                    </a:lnTo>
                    <a:lnTo>
                      <a:pt x="166" y="652"/>
                    </a:lnTo>
                    <a:lnTo>
                      <a:pt x="168" y="604"/>
                    </a:lnTo>
                    <a:lnTo>
                      <a:pt x="176" y="558"/>
                    </a:lnTo>
                    <a:lnTo>
                      <a:pt x="186" y="514"/>
                    </a:lnTo>
                    <a:lnTo>
                      <a:pt x="202" y="470"/>
                    </a:lnTo>
                    <a:lnTo>
                      <a:pt x="222" y="426"/>
                    </a:lnTo>
                    <a:lnTo>
                      <a:pt x="246" y="386"/>
                    </a:lnTo>
                    <a:lnTo>
                      <a:pt x="272" y="348"/>
                    </a:lnTo>
                    <a:lnTo>
                      <a:pt x="304" y="312"/>
                    </a:lnTo>
                    <a:lnTo>
                      <a:pt x="322" y="296"/>
                    </a:lnTo>
                    <a:lnTo>
                      <a:pt x="340" y="280"/>
                    </a:lnTo>
                    <a:lnTo>
                      <a:pt x="358" y="264"/>
                    </a:lnTo>
                    <a:lnTo>
                      <a:pt x="378" y="250"/>
                    </a:lnTo>
                    <a:lnTo>
                      <a:pt x="400" y="236"/>
                    </a:lnTo>
                    <a:lnTo>
                      <a:pt x="422" y="224"/>
                    </a:lnTo>
                    <a:lnTo>
                      <a:pt x="422" y="224"/>
                    </a:lnTo>
                    <a:lnTo>
                      <a:pt x="444" y="214"/>
                    </a:lnTo>
                    <a:lnTo>
                      <a:pt x="466" y="204"/>
                    </a:lnTo>
                    <a:lnTo>
                      <a:pt x="490" y="194"/>
                    </a:lnTo>
                    <a:lnTo>
                      <a:pt x="512" y="186"/>
                    </a:lnTo>
                    <a:lnTo>
                      <a:pt x="536" y="180"/>
                    </a:lnTo>
                    <a:lnTo>
                      <a:pt x="560" y="176"/>
                    </a:lnTo>
                    <a:lnTo>
                      <a:pt x="606" y="168"/>
                    </a:lnTo>
                    <a:lnTo>
                      <a:pt x="654" y="166"/>
                    </a:lnTo>
                    <a:lnTo>
                      <a:pt x="700" y="168"/>
                    </a:lnTo>
                    <a:lnTo>
                      <a:pt x="746" y="176"/>
                    </a:lnTo>
                    <a:lnTo>
                      <a:pt x="792" y="186"/>
                    </a:lnTo>
                    <a:lnTo>
                      <a:pt x="836" y="202"/>
                    </a:lnTo>
                    <a:lnTo>
                      <a:pt x="878" y="222"/>
                    </a:lnTo>
                    <a:lnTo>
                      <a:pt x="918" y="246"/>
                    </a:lnTo>
                    <a:lnTo>
                      <a:pt x="956" y="274"/>
                    </a:lnTo>
                    <a:lnTo>
                      <a:pt x="992" y="306"/>
                    </a:lnTo>
                    <a:lnTo>
                      <a:pt x="1010" y="322"/>
                    </a:lnTo>
                    <a:lnTo>
                      <a:pt x="1026" y="340"/>
                    </a:lnTo>
                    <a:lnTo>
                      <a:pt x="1040" y="360"/>
                    </a:lnTo>
                    <a:lnTo>
                      <a:pt x="1054" y="380"/>
                    </a:lnTo>
                    <a:lnTo>
                      <a:pt x="1068" y="400"/>
                    </a:lnTo>
                    <a:lnTo>
                      <a:pt x="1080" y="422"/>
                    </a:lnTo>
                    <a:lnTo>
                      <a:pt x="1080" y="422"/>
                    </a:lnTo>
                    <a:lnTo>
                      <a:pt x="1092" y="444"/>
                    </a:lnTo>
                    <a:lnTo>
                      <a:pt x="1102" y="468"/>
                    </a:lnTo>
                    <a:lnTo>
                      <a:pt x="1110" y="490"/>
                    </a:lnTo>
                    <a:lnTo>
                      <a:pt x="1118" y="514"/>
                    </a:lnTo>
                    <a:lnTo>
                      <a:pt x="1124" y="536"/>
                    </a:lnTo>
                    <a:lnTo>
                      <a:pt x="1130" y="560"/>
                    </a:lnTo>
                    <a:lnTo>
                      <a:pt x="1136" y="606"/>
                    </a:lnTo>
                    <a:lnTo>
                      <a:pt x="1138" y="654"/>
                    </a:lnTo>
                    <a:lnTo>
                      <a:pt x="1136" y="700"/>
                    </a:lnTo>
                    <a:lnTo>
                      <a:pt x="1130" y="748"/>
                    </a:lnTo>
                    <a:lnTo>
                      <a:pt x="1118" y="792"/>
                    </a:lnTo>
                    <a:lnTo>
                      <a:pt x="1102" y="836"/>
                    </a:lnTo>
                    <a:lnTo>
                      <a:pt x="1082" y="878"/>
                    </a:lnTo>
                    <a:lnTo>
                      <a:pt x="1060" y="920"/>
                    </a:lnTo>
                    <a:lnTo>
                      <a:pt x="1032" y="958"/>
                    </a:lnTo>
                    <a:lnTo>
                      <a:pt x="1000" y="994"/>
                    </a:lnTo>
                    <a:lnTo>
                      <a:pt x="982" y="1010"/>
                    </a:lnTo>
                    <a:lnTo>
                      <a:pt x="964" y="1026"/>
                    </a:lnTo>
                    <a:lnTo>
                      <a:pt x="946" y="1040"/>
                    </a:lnTo>
                    <a:lnTo>
                      <a:pt x="926" y="1056"/>
                    </a:lnTo>
                    <a:lnTo>
                      <a:pt x="904" y="1068"/>
                    </a:lnTo>
                    <a:lnTo>
                      <a:pt x="882" y="1080"/>
                    </a:lnTo>
                    <a:lnTo>
                      <a:pt x="882" y="10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GB" dirty="0"/>
              </a:p>
            </p:txBody>
          </p:sp>
          <p:sp>
            <p:nvSpPr>
              <p:cNvPr id="285" name="Freeform 50"/>
              <p:cNvSpPr>
                <a:spLocks/>
              </p:cNvSpPr>
              <p:nvPr/>
            </p:nvSpPr>
            <p:spPr bwMode="auto">
              <a:xfrm>
                <a:off x="7062295" y="5606787"/>
                <a:ext cx="295026" cy="105203"/>
              </a:xfrm>
              <a:custGeom>
                <a:avLst/>
                <a:gdLst>
                  <a:gd name="T0" fmla="*/ 388 w 774"/>
                  <a:gd name="T1" fmla="*/ 0 h 276"/>
                  <a:gd name="T2" fmla="*/ 322 w 774"/>
                  <a:gd name="T3" fmla="*/ 4 h 276"/>
                  <a:gd name="T4" fmla="*/ 260 w 774"/>
                  <a:gd name="T5" fmla="*/ 20 h 276"/>
                  <a:gd name="T6" fmla="*/ 200 w 774"/>
                  <a:gd name="T7" fmla="*/ 44 h 276"/>
                  <a:gd name="T8" fmla="*/ 148 w 774"/>
                  <a:gd name="T9" fmla="*/ 78 h 276"/>
                  <a:gd name="T10" fmla="*/ 100 w 774"/>
                  <a:gd name="T11" fmla="*/ 118 h 276"/>
                  <a:gd name="T12" fmla="*/ 60 w 774"/>
                  <a:gd name="T13" fmla="*/ 164 h 276"/>
                  <a:gd name="T14" fmla="*/ 26 w 774"/>
                  <a:gd name="T15" fmla="*/ 218 h 276"/>
                  <a:gd name="T16" fmla="*/ 0 w 774"/>
                  <a:gd name="T17" fmla="*/ 276 h 276"/>
                  <a:gd name="T18" fmla="*/ 18 w 774"/>
                  <a:gd name="T19" fmla="*/ 256 h 276"/>
                  <a:gd name="T20" fmla="*/ 58 w 774"/>
                  <a:gd name="T21" fmla="*/ 218 h 276"/>
                  <a:gd name="T22" fmla="*/ 100 w 774"/>
                  <a:gd name="T23" fmla="*/ 184 h 276"/>
                  <a:gd name="T24" fmla="*/ 146 w 774"/>
                  <a:gd name="T25" fmla="*/ 156 h 276"/>
                  <a:gd name="T26" fmla="*/ 196 w 774"/>
                  <a:gd name="T27" fmla="*/ 132 h 276"/>
                  <a:gd name="T28" fmla="*/ 248 w 774"/>
                  <a:gd name="T29" fmla="*/ 114 h 276"/>
                  <a:gd name="T30" fmla="*/ 302 w 774"/>
                  <a:gd name="T31" fmla="*/ 102 h 276"/>
                  <a:gd name="T32" fmla="*/ 358 w 774"/>
                  <a:gd name="T33" fmla="*/ 96 h 276"/>
                  <a:gd name="T34" fmla="*/ 388 w 774"/>
                  <a:gd name="T35" fmla="*/ 94 h 276"/>
                  <a:gd name="T36" fmla="*/ 446 w 774"/>
                  <a:gd name="T37" fmla="*/ 98 h 276"/>
                  <a:gd name="T38" fmla="*/ 500 w 774"/>
                  <a:gd name="T39" fmla="*/ 108 h 276"/>
                  <a:gd name="T40" fmla="*/ 554 w 774"/>
                  <a:gd name="T41" fmla="*/ 122 h 276"/>
                  <a:gd name="T42" fmla="*/ 604 w 774"/>
                  <a:gd name="T43" fmla="*/ 144 h 276"/>
                  <a:gd name="T44" fmla="*/ 652 w 774"/>
                  <a:gd name="T45" fmla="*/ 170 h 276"/>
                  <a:gd name="T46" fmla="*/ 696 w 774"/>
                  <a:gd name="T47" fmla="*/ 200 h 276"/>
                  <a:gd name="T48" fmla="*/ 738 w 774"/>
                  <a:gd name="T49" fmla="*/ 236 h 276"/>
                  <a:gd name="T50" fmla="*/ 774 w 774"/>
                  <a:gd name="T51" fmla="*/ 276 h 276"/>
                  <a:gd name="T52" fmla="*/ 762 w 774"/>
                  <a:gd name="T53" fmla="*/ 246 h 276"/>
                  <a:gd name="T54" fmla="*/ 734 w 774"/>
                  <a:gd name="T55" fmla="*/ 190 h 276"/>
                  <a:gd name="T56" fmla="*/ 696 w 774"/>
                  <a:gd name="T57" fmla="*/ 140 h 276"/>
                  <a:gd name="T58" fmla="*/ 652 w 774"/>
                  <a:gd name="T59" fmla="*/ 96 h 276"/>
                  <a:gd name="T60" fmla="*/ 602 w 774"/>
                  <a:gd name="T61" fmla="*/ 60 h 276"/>
                  <a:gd name="T62" fmla="*/ 546 w 774"/>
                  <a:gd name="T63" fmla="*/ 32 h 276"/>
                  <a:gd name="T64" fmla="*/ 486 w 774"/>
                  <a:gd name="T65" fmla="*/ 12 h 276"/>
                  <a:gd name="T66" fmla="*/ 420 w 774"/>
                  <a:gd name="T67" fmla="*/ 0 h 276"/>
                  <a:gd name="T68" fmla="*/ 388 w 774"/>
                  <a:gd name="T69" fmla="*/ 0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74" h="276">
                    <a:moveTo>
                      <a:pt x="388" y="0"/>
                    </a:moveTo>
                    <a:lnTo>
                      <a:pt x="388" y="0"/>
                    </a:lnTo>
                    <a:lnTo>
                      <a:pt x="354" y="0"/>
                    </a:lnTo>
                    <a:lnTo>
                      <a:pt x="322" y="4"/>
                    </a:lnTo>
                    <a:lnTo>
                      <a:pt x="290" y="12"/>
                    </a:lnTo>
                    <a:lnTo>
                      <a:pt x="260" y="20"/>
                    </a:lnTo>
                    <a:lnTo>
                      <a:pt x="230" y="32"/>
                    </a:lnTo>
                    <a:lnTo>
                      <a:pt x="200" y="44"/>
                    </a:lnTo>
                    <a:lnTo>
                      <a:pt x="174" y="60"/>
                    </a:lnTo>
                    <a:lnTo>
                      <a:pt x="148" y="78"/>
                    </a:lnTo>
                    <a:lnTo>
                      <a:pt x="124" y="96"/>
                    </a:lnTo>
                    <a:lnTo>
                      <a:pt x="100" y="118"/>
                    </a:lnTo>
                    <a:lnTo>
                      <a:pt x="78" y="140"/>
                    </a:lnTo>
                    <a:lnTo>
                      <a:pt x="60" y="164"/>
                    </a:lnTo>
                    <a:lnTo>
                      <a:pt x="42" y="190"/>
                    </a:lnTo>
                    <a:lnTo>
                      <a:pt x="26" y="218"/>
                    </a:lnTo>
                    <a:lnTo>
                      <a:pt x="12" y="246"/>
                    </a:lnTo>
                    <a:lnTo>
                      <a:pt x="0" y="276"/>
                    </a:lnTo>
                    <a:lnTo>
                      <a:pt x="0" y="276"/>
                    </a:lnTo>
                    <a:lnTo>
                      <a:pt x="18" y="256"/>
                    </a:lnTo>
                    <a:lnTo>
                      <a:pt x="38" y="236"/>
                    </a:lnTo>
                    <a:lnTo>
                      <a:pt x="58" y="218"/>
                    </a:lnTo>
                    <a:lnTo>
                      <a:pt x="78" y="200"/>
                    </a:lnTo>
                    <a:lnTo>
                      <a:pt x="100" y="184"/>
                    </a:lnTo>
                    <a:lnTo>
                      <a:pt x="122" y="170"/>
                    </a:lnTo>
                    <a:lnTo>
                      <a:pt x="146" y="156"/>
                    </a:lnTo>
                    <a:lnTo>
                      <a:pt x="170" y="144"/>
                    </a:lnTo>
                    <a:lnTo>
                      <a:pt x="196" y="132"/>
                    </a:lnTo>
                    <a:lnTo>
                      <a:pt x="222" y="122"/>
                    </a:lnTo>
                    <a:lnTo>
                      <a:pt x="248" y="114"/>
                    </a:lnTo>
                    <a:lnTo>
                      <a:pt x="274" y="108"/>
                    </a:lnTo>
                    <a:lnTo>
                      <a:pt x="302" y="102"/>
                    </a:lnTo>
                    <a:lnTo>
                      <a:pt x="330" y="98"/>
                    </a:lnTo>
                    <a:lnTo>
                      <a:pt x="358" y="96"/>
                    </a:lnTo>
                    <a:lnTo>
                      <a:pt x="388" y="94"/>
                    </a:lnTo>
                    <a:lnTo>
                      <a:pt x="388" y="94"/>
                    </a:lnTo>
                    <a:lnTo>
                      <a:pt x="416" y="96"/>
                    </a:lnTo>
                    <a:lnTo>
                      <a:pt x="446" y="98"/>
                    </a:lnTo>
                    <a:lnTo>
                      <a:pt x="474" y="102"/>
                    </a:lnTo>
                    <a:lnTo>
                      <a:pt x="500" y="108"/>
                    </a:lnTo>
                    <a:lnTo>
                      <a:pt x="528" y="114"/>
                    </a:lnTo>
                    <a:lnTo>
                      <a:pt x="554" y="122"/>
                    </a:lnTo>
                    <a:lnTo>
                      <a:pt x="580" y="132"/>
                    </a:lnTo>
                    <a:lnTo>
                      <a:pt x="604" y="144"/>
                    </a:lnTo>
                    <a:lnTo>
                      <a:pt x="628" y="156"/>
                    </a:lnTo>
                    <a:lnTo>
                      <a:pt x="652" y="170"/>
                    </a:lnTo>
                    <a:lnTo>
                      <a:pt x="676" y="184"/>
                    </a:lnTo>
                    <a:lnTo>
                      <a:pt x="696" y="200"/>
                    </a:lnTo>
                    <a:lnTo>
                      <a:pt x="718" y="218"/>
                    </a:lnTo>
                    <a:lnTo>
                      <a:pt x="738" y="236"/>
                    </a:lnTo>
                    <a:lnTo>
                      <a:pt x="756" y="256"/>
                    </a:lnTo>
                    <a:lnTo>
                      <a:pt x="774" y="276"/>
                    </a:lnTo>
                    <a:lnTo>
                      <a:pt x="774" y="276"/>
                    </a:lnTo>
                    <a:lnTo>
                      <a:pt x="762" y="246"/>
                    </a:lnTo>
                    <a:lnTo>
                      <a:pt x="750" y="218"/>
                    </a:lnTo>
                    <a:lnTo>
                      <a:pt x="734" y="190"/>
                    </a:lnTo>
                    <a:lnTo>
                      <a:pt x="716" y="164"/>
                    </a:lnTo>
                    <a:lnTo>
                      <a:pt x="696" y="140"/>
                    </a:lnTo>
                    <a:lnTo>
                      <a:pt x="676" y="118"/>
                    </a:lnTo>
                    <a:lnTo>
                      <a:pt x="652" y="96"/>
                    </a:lnTo>
                    <a:lnTo>
                      <a:pt x="628" y="78"/>
                    </a:lnTo>
                    <a:lnTo>
                      <a:pt x="602" y="60"/>
                    </a:lnTo>
                    <a:lnTo>
                      <a:pt x="574" y="44"/>
                    </a:lnTo>
                    <a:lnTo>
                      <a:pt x="546" y="32"/>
                    </a:lnTo>
                    <a:lnTo>
                      <a:pt x="516" y="20"/>
                    </a:lnTo>
                    <a:lnTo>
                      <a:pt x="486" y="12"/>
                    </a:lnTo>
                    <a:lnTo>
                      <a:pt x="454" y="4"/>
                    </a:lnTo>
                    <a:lnTo>
                      <a:pt x="420" y="0"/>
                    </a:lnTo>
                    <a:lnTo>
                      <a:pt x="388" y="0"/>
                    </a:lnTo>
                    <a:lnTo>
                      <a:pt x="38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GB" dirty="0"/>
              </a:p>
            </p:txBody>
          </p:sp>
        </p:grpSp>
        <p:cxnSp>
          <p:nvCxnSpPr>
            <p:cNvPr id="389" name="Straight Connector 396"/>
            <p:cNvCxnSpPr>
              <a:endCxn id="179" idx="1"/>
            </p:cNvCxnSpPr>
            <p:nvPr/>
          </p:nvCxnSpPr>
          <p:spPr>
            <a:xfrm>
              <a:off x="4846687" y="3099408"/>
              <a:ext cx="1178784" cy="650440"/>
            </a:xfrm>
            <a:prstGeom prst="line">
              <a:avLst/>
            </a:prstGeom>
            <a:ln w="12700">
              <a:solidFill>
                <a:schemeClr val="tx1"/>
              </a:solidFill>
              <a:prstDash val="sysDash"/>
            </a:ln>
          </p:spPr>
          <p:style>
            <a:lnRef idx="2">
              <a:schemeClr val="accent1"/>
            </a:lnRef>
            <a:fillRef idx="0">
              <a:schemeClr val="accent1"/>
            </a:fillRef>
            <a:effectRef idx="1">
              <a:schemeClr val="accent1"/>
            </a:effectRef>
            <a:fontRef idx="minor">
              <a:schemeClr val="tx1"/>
            </a:fontRef>
          </p:style>
        </p:cxnSp>
        <p:sp>
          <p:nvSpPr>
            <p:cNvPr id="367" name="Freeform 22"/>
            <p:cNvSpPr>
              <a:spLocks noChangeAspect="1"/>
            </p:cNvSpPr>
            <p:nvPr/>
          </p:nvSpPr>
          <p:spPr bwMode="auto">
            <a:xfrm>
              <a:off x="5630969" y="2954995"/>
              <a:ext cx="368812" cy="448025"/>
            </a:xfrm>
            <a:custGeom>
              <a:avLst/>
              <a:gdLst>
                <a:gd name="T0" fmla="*/ 294 w 428"/>
                <a:gd name="T1" fmla="*/ 0 h 521"/>
                <a:gd name="T2" fmla="*/ 163 w 428"/>
                <a:gd name="T3" fmla="*/ 131 h 521"/>
                <a:gd name="T4" fmla="*/ 163 w 428"/>
                <a:gd name="T5" fmla="*/ 144 h 521"/>
                <a:gd name="T6" fmla="*/ 191 w 428"/>
                <a:gd name="T7" fmla="*/ 172 h 521"/>
                <a:gd name="T8" fmla="*/ 204 w 428"/>
                <a:gd name="T9" fmla="*/ 172 h 521"/>
                <a:gd name="T10" fmla="*/ 257 w 428"/>
                <a:gd name="T11" fmla="*/ 118 h 521"/>
                <a:gd name="T12" fmla="*/ 264 w 428"/>
                <a:gd name="T13" fmla="*/ 114 h 521"/>
                <a:gd name="T14" fmla="*/ 264 w 428"/>
                <a:gd name="T15" fmla="*/ 115 h 521"/>
                <a:gd name="T16" fmla="*/ 229 w 428"/>
                <a:gd name="T17" fmla="*/ 347 h 521"/>
                <a:gd name="T18" fmla="*/ 28 w 428"/>
                <a:gd name="T19" fmla="*/ 462 h 521"/>
                <a:gd name="T20" fmla="*/ 3 w 428"/>
                <a:gd name="T21" fmla="*/ 497 h 521"/>
                <a:gd name="T22" fmla="*/ 33 w 428"/>
                <a:gd name="T23" fmla="*/ 521 h 521"/>
                <a:gd name="T24" fmla="*/ 38 w 428"/>
                <a:gd name="T25" fmla="*/ 521 h 521"/>
                <a:gd name="T26" fmla="*/ 279 w 428"/>
                <a:gd name="T27" fmla="*/ 380 h 521"/>
                <a:gd name="T28" fmla="*/ 324 w 428"/>
                <a:gd name="T29" fmla="*/ 120 h 521"/>
                <a:gd name="T30" fmla="*/ 329 w 428"/>
                <a:gd name="T31" fmla="*/ 118 h 521"/>
                <a:gd name="T32" fmla="*/ 383 w 428"/>
                <a:gd name="T33" fmla="*/ 172 h 521"/>
                <a:gd name="T34" fmla="*/ 396 w 428"/>
                <a:gd name="T35" fmla="*/ 172 h 521"/>
                <a:gd name="T36" fmla="*/ 424 w 428"/>
                <a:gd name="T37" fmla="*/ 143 h 521"/>
                <a:gd name="T38" fmla="*/ 424 w 428"/>
                <a:gd name="T39" fmla="*/ 130 h 521"/>
                <a:gd name="T40" fmla="*/ 300 w 428"/>
                <a:gd name="T41" fmla="*/ 6 h 521"/>
                <a:gd name="T42" fmla="*/ 294 w 428"/>
                <a:gd name="T43" fmla="*/ 0 h 521"/>
                <a:gd name="T44" fmla="*/ 294 w 428"/>
                <a:gd name="T45" fmla="*/ 0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28" h="521">
                  <a:moveTo>
                    <a:pt x="294" y="0"/>
                  </a:moveTo>
                  <a:cubicBezTo>
                    <a:pt x="163" y="131"/>
                    <a:pt x="163" y="131"/>
                    <a:pt x="163" y="131"/>
                  </a:cubicBezTo>
                  <a:cubicBezTo>
                    <a:pt x="159" y="134"/>
                    <a:pt x="159" y="140"/>
                    <a:pt x="163" y="144"/>
                  </a:cubicBezTo>
                  <a:cubicBezTo>
                    <a:pt x="191" y="172"/>
                    <a:pt x="191" y="172"/>
                    <a:pt x="191" y="172"/>
                  </a:cubicBezTo>
                  <a:cubicBezTo>
                    <a:pt x="195" y="176"/>
                    <a:pt x="200" y="176"/>
                    <a:pt x="204" y="172"/>
                  </a:cubicBezTo>
                  <a:cubicBezTo>
                    <a:pt x="257" y="118"/>
                    <a:pt x="257" y="118"/>
                    <a:pt x="257" y="118"/>
                  </a:cubicBezTo>
                  <a:cubicBezTo>
                    <a:pt x="261" y="115"/>
                    <a:pt x="264" y="113"/>
                    <a:pt x="264" y="114"/>
                  </a:cubicBezTo>
                  <a:cubicBezTo>
                    <a:pt x="264" y="114"/>
                    <a:pt x="264" y="114"/>
                    <a:pt x="264" y="115"/>
                  </a:cubicBezTo>
                  <a:cubicBezTo>
                    <a:pt x="265" y="116"/>
                    <a:pt x="297" y="245"/>
                    <a:pt x="229" y="347"/>
                  </a:cubicBezTo>
                  <a:cubicBezTo>
                    <a:pt x="189" y="407"/>
                    <a:pt x="117" y="445"/>
                    <a:pt x="28" y="462"/>
                  </a:cubicBezTo>
                  <a:cubicBezTo>
                    <a:pt x="11" y="465"/>
                    <a:pt x="0" y="480"/>
                    <a:pt x="3" y="497"/>
                  </a:cubicBezTo>
                  <a:cubicBezTo>
                    <a:pt x="6" y="511"/>
                    <a:pt x="19" y="521"/>
                    <a:pt x="33" y="521"/>
                  </a:cubicBezTo>
                  <a:cubicBezTo>
                    <a:pt x="35" y="521"/>
                    <a:pt x="37" y="521"/>
                    <a:pt x="38" y="521"/>
                  </a:cubicBezTo>
                  <a:cubicBezTo>
                    <a:pt x="145" y="501"/>
                    <a:pt x="230" y="454"/>
                    <a:pt x="279" y="380"/>
                  </a:cubicBezTo>
                  <a:cubicBezTo>
                    <a:pt x="349" y="276"/>
                    <a:pt x="324" y="120"/>
                    <a:pt x="324" y="120"/>
                  </a:cubicBezTo>
                  <a:cubicBezTo>
                    <a:pt x="324" y="116"/>
                    <a:pt x="326" y="114"/>
                    <a:pt x="329" y="118"/>
                  </a:cubicBezTo>
                  <a:cubicBezTo>
                    <a:pt x="383" y="172"/>
                    <a:pt x="383" y="172"/>
                    <a:pt x="383" y="172"/>
                  </a:cubicBezTo>
                  <a:cubicBezTo>
                    <a:pt x="386" y="175"/>
                    <a:pt x="392" y="175"/>
                    <a:pt x="396" y="172"/>
                  </a:cubicBezTo>
                  <a:cubicBezTo>
                    <a:pt x="424" y="143"/>
                    <a:pt x="424" y="143"/>
                    <a:pt x="424" y="143"/>
                  </a:cubicBezTo>
                  <a:cubicBezTo>
                    <a:pt x="428" y="140"/>
                    <a:pt x="428" y="134"/>
                    <a:pt x="424" y="130"/>
                  </a:cubicBezTo>
                  <a:cubicBezTo>
                    <a:pt x="300" y="6"/>
                    <a:pt x="300" y="6"/>
                    <a:pt x="300" y="6"/>
                  </a:cubicBezTo>
                  <a:cubicBezTo>
                    <a:pt x="297" y="3"/>
                    <a:pt x="294" y="0"/>
                    <a:pt x="294" y="0"/>
                  </a:cubicBezTo>
                  <a:cubicBezTo>
                    <a:pt x="294" y="0"/>
                    <a:pt x="294" y="0"/>
                    <a:pt x="294" y="0"/>
                  </a:cubicBezTo>
                </a:path>
              </a:pathLst>
            </a:custGeom>
            <a:solidFill>
              <a:srgbClr val="8DC63F"/>
            </a:solidFill>
            <a:ln>
              <a:noFill/>
            </a:ln>
          </p:spPr>
          <p:txBody>
            <a:bodyPr vert="horz" wrap="square" lIns="91440" tIns="45720" rIns="91440" bIns="45720" numCol="1" anchor="t" anchorCtr="0" compatLnSpc="1">
              <a:prstTxWarp prst="textNoShape">
                <a:avLst/>
              </a:prstTxWarp>
            </a:bodyPr>
            <a:lstStyle/>
            <a:p>
              <a:endParaRPr lang="de-DE"/>
            </a:p>
          </p:txBody>
        </p:sp>
        <p:grpSp>
          <p:nvGrpSpPr>
            <p:cNvPr id="184" name="Gruppieren 183"/>
            <p:cNvGrpSpPr/>
            <p:nvPr/>
          </p:nvGrpSpPr>
          <p:grpSpPr>
            <a:xfrm>
              <a:off x="3822462" y="2117696"/>
              <a:ext cx="1224624" cy="1224620"/>
              <a:chOff x="3822462" y="2117696"/>
              <a:chExt cx="1224624" cy="1224620"/>
            </a:xfrm>
          </p:grpSpPr>
          <p:sp>
            <p:nvSpPr>
              <p:cNvPr id="166" name="Ellipse 165"/>
              <p:cNvSpPr/>
              <p:nvPr/>
            </p:nvSpPr>
            <p:spPr>
              <a:xfrm>
                <a:off x="3822462" y="2117696"/>
                <a:ext cx="1224624" cy="1224620"/>
              </a:xfrm>
              <a:prstGeom prst="ellipse">
                <a:avLst/>
              </a:prstGeom>
              <a:solidFill>
                <a:schemeClr val="tx1"/>
              </a:solidFill>
              <a:ln w="38100">
                <a:solidFill>
                  <a:srgbClr val="FFFFFF"/>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sp>
            <p:nvSpPr>
              <p:cNvPr id="167" name="Rectangle 52"/>
              <p:cNvSpPr/>
              <p:nvPr/>
            </p:nvSpPr>
            <p:spPr>
              <a:xfrm>
                <a:off x="3927083" y="2441426"/>
                <a:ext cx="1027315" cy="586202"/>
              </a:xfrm>
              <a:prstGeom prst="rect">
                <a:avLst/>
              </a:prstGeom>
              <a:no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2400" b="1" dirty="0" smtClean="0">
                    <a:solidFill>
                      <a:srgbClr val="FFFFFF"/>
                    </a:solidFill>
                  </a:rPr>
                  <a:t>BIG DATA</a:t>
                </a:r>
                <a:endParaRPr lang="en-GB" sz="2400" dirty="0">
                  <a:solidFill>
                    <a:srgbClr val="FFFFFF"/>
                  </a:solidFill>
                </a:endParaRPr>
              </a:p>
            </p:txBody>
          </p:sp>
        </p:grpSp>
        <p:cxnSp>
          <p:nvCxnSpPr>
            <p:cNvPr id="402" name="Straight Connector 343"/>
            <p:cNvCxnSpPr>
              <a:stCxn id="166" idx="1"/>
            </p:cNvCxnSpPr>
            <p:nvPr/>
          </p:nvCxnSpPr>
          <p:spPr>
            <a:xfrm flipH="1" flipV="1">
              <a:off x="2549625" y="1633130"/>
              <a:ext cx="1452179" cy="663907"/>
            </a:xfrm>
            <a:prstGeom prst="line">
              <a:avLst/>
            </a:prstGeom>
            <a:ln w="12700">
              <a:solidFill>
                <a:schemeClr val="tx1"/>
              </a:solidFill>
              <a:prstDash val="sysDash"/>
            </a:ln>
          </p:spPr>
          <p:style>
            <a:lnRef idx="2">
              <a:schemeClr val="accent1"/>
            </a:lnRef>
            <a:fillRef idx="0">
              <a:schemeClr val="accent1"/>
            </a:fillRef>
            <a:effectRef idx="1">
              <a:schemeClr val="accent1"/>
            </a:effectRef>
            <a:fontRef idx="minor">
              <a:schemeClr val="tx1"/>
            </a:fontRef>
          </p:style>
        </p:cxnSp>
        <p:grpSp>
          <p:nvGrpSpPr>
            <p:cNvPr id="405" name="Gruppieren 404"/>
            <p:cNvGrpSpPr/>
            <p:nvPr/>
          </p:nvGrpSpPr>
          <p:grpSpPr>
            <a:xfrm>
              <a:off x="1959071" y="1135614"/>
              <a:ext cx="722719" cy="701655"/>
              <a:chOff x="1959071" y="1135614"/>
              <a:chExt cx="722719" cy="701655"/>
            </a:xfrm>
          </p:grpSpPr>
          <p:sp>
            <p:nvSpPr>
              <p:cNvPr id="2" name="Ellipse 1"/>
              <p:cNvSpPr/>
              <p:nvPr/>
            </p:nvSpPr>
            <p:spPr>
              <a:xfrm>
                <a:off x="1969603" y="1135614"/>
                <a:ext cx="701655" cy="701655"/>
              </a:xfrm>
              <a:prstGeom prst="ellipse">
                <a:avLst/>
              </a:prstGeom>
              <a:solidFill>
                <a:srgbClr val="8DC63F"/>
              </a:solidFill>
              <a:ln w="38100">
                <a:solidFill>
                  <a:srgbClr val="FFFFFF"/>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sp>
            <p:nvSpPr>
              <p:cNvPr id="309" name="Rectangle 52"/>
              <p:cNvSpPr/>
              <p:nvPr/>
            </p:nvSpPr>
            <p:spPr>
              <a:xfrm>
                <a:off x="1959071" y="1352576"/>
                <a:ext cx="722719" cy="267730"/>
              </a:xfrm>
              <a:prstGeom prst="rect">
                <a:avLst/>
              </a:prstGeom>
              <a:no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1400" b="1" dirty="0" smtClean="0">
                    <a:solidFill>
                      <a:srgbClr val="FFFFFF"/>
                    </a:solidFill>
                  </a:rPr>
                  <a:t>SOCIAL</a:t>
                </a:r>
                <a:endParaRPr lang="en-GB" sz="1400" dirty="0">
                  <a:solidFill>
                    <a:srgbClr val="FFFFFF"/>
                  </a:solidFill>
                </a:endParaRPr>
              </a:p>
            </p:txBody>
          </p:sp>
        </p:grpSp>
        <p:cxnSp>
          <p:nvCxnSpPr>
            <p:cNvPr id="406" name="Straight Connector 399"/>
            <p:cNvCxnSpPr>
              <a:stCxn id="252" idx="10"/>
              <a:endCxn id="316" idx="4"/>
            </p:cNvCxnSpPr>
            <p:nvPr/>
          </p:nvCxnSpPr>
          <p:spPr>
            <a:xfrm>
              <a:off x="6277337" y="2687971"/>
              <a:ext cx="232500" cy="262624"/>
            </a:xfrm>
            <a:prstGeom prst="line">
              <a:avLst/>
            </a:prstGeom>
            <a:ln w="12700">
              <a:solidFill>
                <a:schemeClr val="tx1"/>
              </a:solidFill>
              <a:prstDash val="sysDash"/>
            </a:ln>
          </p:spPr>
          <p:style>
            <a:lnRef idx="2">
              <a:schemeClr val="accent1"/>
            </a:lnRef>
            <a:fillRef idx="0">
              <a:schemeClr val="accent1"/>
            </a:fillRef>
            <a:effectRef idx="1">
              <a:schemeClr val="accent1"/>
            </a:effectRef>
            <a:fontRef idx="minor">
              <a:schemeClr val="tx1"/>
            </a:fontRef>
          </p:style>
        </p:cxnSp>
        <p:sp>
          <p:nvSpPr>
            <p:cNvPr id="252" name="Freeform 192"/>
            <p:cNvSpPr>
              <a:spLocks noChangeAspect="1" noEditPoints="1"/>
            </p:cNvSpPr>
            <p:nvPr/>
          </p:nvSpPr>
          <p:spPr bwMode="auto">
            <a:xfrm>
              <a:off x="5841017" y="2328302"/>
              <a:ext cx="480542" cy="386202"/>
            </a:xfrm>
            <a:custGeom>
              <a:avLst/>
              <a:gdLst>
                <a:gd name="T0" fmla="*/ 0 w 326"/>
                <a:gd name="T1" fmla="*/ 78 h 262"/>
                <a:gd name="T2" fmla="*/ 30 w 326"/>
                <a:gd name="T3" fmla="*/ 90 h 262"/>
                <a:gd name="T4" fmla="*/ 30 w 326"/>
                <a:gd name="T5" fmla="*/ 112 h 262"/>
                <a:gd name="T6" fmla="*/ 0 w 326"/>
                <a:gd name="T7" fmla="*/ 124 h 262"/>
                <a:gd name="T8" fmla="*/ 30 w 326"/>
                <a:gd name="T9" fmla="*/ 112 h 262"/>
                <a:gd name="T10" fmla="*/ 0 w 326"/>
                <a:gd name="T11" fmla="*/ 44 h 262"/>
                <a:gd name="T12" fmla="*/ 30 w 326"/>
                <a:gd name="T13" fmla="*/ 54 h 262"/>
                <a:gd name="T14" fmla="*/ 30 w 326"/>
                <a:gd name="T15" fmla="*/ 180 h 262"/>
                <a:gd name="T16" fmla="*/ 0 w 326"/>
                <a:gd name="T17" fmla="*/ 192 h 262"/>
                <a:gd name="T18" fmla="*/ 30 w 326"/>
                <a:gd name="T19" fmla="*/ 180 h 262"/>
                <a:gd name="T20" fmla="*/ 296 w 326"/>
                <a:gd name="T21" fmla="*/ 244 h 262"/>
                <a:gd name="T22" fmla="*/ 298 w 326"/>
                <a:gd name="T23" fmla="*/ 44 h 262"/>
                <a:gd name="T24" fmla="*/ 296 w 326"/>
                <a:gd name="T25" fmla="*/ 40 h 262"/>
                <a:gd name="T26" fmla="*/ 290 w 326"/>
                <a:gd name="T27" fmla="*/ 32 h 262"/>
                <a:gd name="T28" fmla="*/ 262 w 326"/>
                <a:gd name="T29" fmla="*/ 32 h 262"/>
                <a:gd name="T30" fmla="*/ 256 w 326"/>
                <a:gd name="T31" fmla="*/ 32 h 262"/>
                <a:gd name="T32" fmla="*/ 250 w 326"/>
                <a:gd name="T33" fmla="*/ 40 h 262"/>
                <a:gd name="T34" fmla="*/ 248 w 326"/>
                <a:gd name="T35" fmla="*/ 242 h 262"/>
                <a:gd name="T36" fmla="*/ 248 w 326"/>
                <a:gd name="T37" fmla="*/ 244 h 262"/>
                <a:gd name="T38" fmla="*/ 230 w 326"/>
                <a:gd name="T39" fmla="*/ 244 h 262"/>
                <a:gd name="T40" fmla="*/ 230 w 326"/>
                <a:gd name="T41" fmla="*/ 26 h 262"/>
                <a:gd name="T42" fmla="*/ 230 w 326"/>
                <a:gd name="T43" fmla="*/ 22 h 262"/>
                <a:gd name="T44" fmla="*/ 224 w 326"/>
                <a:gd name="T45" fmla="*/ 14 h 262"/>
                <a:gd name="T46" fmla="*/ 194 w 326"/>
                <a:gd name="T47" fmla="*/ 14 h 262"/>
                <a:gd name="T48" fmla="*/ 190 w 326"/>
                <a:gd name="T49" fmla="*/ 14 h 262"/>
                <a:gd name="T50" fmla="*/ 184 w 326"/>
                <a:gd name="T51" fmla="*/ 22 h 262"/>
                <a:gd name="T52" fmla="*/ 182 w 326"/>
                <a:gd name="T53" fmla="*/ 242 h 262"/>
                <a:gd name="T54" fmla="*/ 182 w 326"/>
                <a:gd name="T55" fmla="*/ 244 h 262"/>
                <a:gd name="T56" fmla="*/ 164 w 326"/>
                <a:gd name="T57" fmla="*/ 244 h 262"/>
                <a:gd name="T58" fmla="*/ 164 w 326"/>
                <a:gd name="T59" fmla="*/ 70 h 262"/>
                <a:gd name="T60" fmla="*/ 164 w 326"/>
                <a:gd name="T61" fmla="*/ 64 h 262"/>
                <a:gd name="T62" fmla="*/ 156 w 326"/>
                <a:gd name="T63" fmla="*/ 58 h 262"/>
                <a:gd name="T64" fmla="*/ 128 w 326"/>
                <a:gd name="T65" fmla="*/ 56 h 262"/>
                <a:gd name="T66" fmla="*/ 124 w 326"/>
                <a:gd name="T67" fmla="*/ 58 h 262"/>
                <a:gd name="T68" fmla="*/ 116 w 326"/>
                <a:gd name="T69" fmla="*/ 64 h 262"/>
                <a:gd name="T70" fmla="*/ 116 w 326"/>
                <a:gd name="T71" fmla="*/ 242 h 262"/>
                <a:gd name="T72" fmla="*/ 116 w 326"/>
                <a:gd name="T73" fmla="*/ 244 h 262"/>
                <a:gd name="T74" fmla="*/ 98 w 326"/>
                <a:gd name="T75" fmla="*/ 244 h 262"/>
                <a:gd name="T76" fmla="*/ 98 w 326"/>
                <a:gd name="T77" fmla="*/ 12 h 262"/>
                <a:gd name="T78" fmla="*/ 98 w 326"/>
                <a:gd name="T79" fmla="*/ 8 h 262"/>
                <a:gd name="T80" fmla="*/ 90 w 326"/>
                <a:gd name="T81" fmla="*/ 0 h 262"/>
                <a:gd name="T82" fmla="*/ 62 w 326"/>
                <a:gd name="T83" fmla="*/ 0 h 262"/>
                <a:gd name="T84" fmla="*/ 58 w 326"/>
                <a:gd name="T85" fmla="*/ 0 h 262"/>
                <a:gd name="T86" fmla="*/ 50 w 326"/>
                <a:gd name="T87" fmla="*/ 8 h 262"/>
                <a:gd name="T88" fmla="*/ 50 w 326"/>
                <a:gd name="T89" fmla="*/ 242 h 262"/>
                <a:gd name="T90" fmla="*/ 50 w 326"/>
                <a:gd name="T91" fmla="*/ 244 h 262"/>
                <a:gd name="T92" fmla="*/ 0 w 326"/>
                <a:gd name="T93" fmla="*/ 262 h 262"/>
                <a:gd name="T94" fmla="*/ 326 w 326"/>
                <a:gd name="T95" fmla="*/ 244 h 262"/>
                <a:gd name="T96" fmla="*/ 30 w 326"/>
                <a:gd name="T97" fmla="*/ 214 h 262"/>
                <a:gd name="T98" fmla="*/ 0 w 326"/>
                <a:gd name="T99" fmla="*/ 226 h 262"/>
                <a:gd name="T100" fmla="*/ 30 w 326"/>
                <a:gd name="T101" fmla="*/ 214 h 262"/>
                <a:gd name="T102" fmla="*/ 0 w 326"/>
                <a:gd name="T103" fmla="*/ 146 h 262"/>
                <a:gd name="T104" fmla="*/ 30 w 326"/>
                <a:gd name="T105" fmla="*/ 158 h 262"/>
                <a:gd name="T106" fmla="*/ 30 w 326"/>
                <a:gd name="T107" fmla="*/ 8 h 262"/>
                <a:gd name="T108" fmla="*/ 0 w 326"/>
                <a:gd name="T109" fmla="*/ 20 h 262"/>
                <a:gd name="T110" fmla="*/ 30 w 326"/>
                <a:gd name="T111" fmla="*/ 8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26" h="262">
                  <a:moveTo>
                    <a:pt x="30" y="78"/>
                  </a:moveTo>
                  <a:lnTo>
                    <a:pt x="0" y="78"/>
                  </a:lnTo>
                  <a:lnTo>
                    <a:pt x="0" y="90"/>
                  </a:lnTo>
                  <a:lnTo>
                    <a:pt x="30" y="90"/>
                  </a:lnTo>
                  <a:lnTo>
                    <a:pt x="30" y="78"/>
                  </a:lnTo>
                  <a:close/>
                  <a:moveTo>
                    <a:pt x="30" y="112"/>
                  </a:moveTo>
                  <a:lnTo>
                    <a:pt x="0" y="112"/>
                  </a:lnTo>
                  <a:lnTo>
                    <a:pt x="0" y="124"/>
                  </a:lnTo>
                  <a:lnTo>
                    <a:pt x="30" y="124"/>
                  </a:lnTo>
                  <a:lnTo>
                    <a:pt x="30" y="112"/>
                  </a:lnTo>
                  <a:close/>
                  <a:moveTo>
                    <a:pt x="30" y="44"/>
                  </a:moveTo>
                  <a:lnTo>
                    <a:pt x="0" y="44"/>
                  </a:lnTo>
                  <a:lnTo>
                    <a:pt x="0" y="54"/>
                  </a:lnTo>
                  <a:lnTo>
                    <a:pt x="30" y="54"/>
                  </a:lnTo>
                  <a:lnTo>
                    <a:pt x="30" y="44"/>
                  </a:lnTo>
                  <a:close/>
                  <a:moveTo>
                    <a:pt x="30" y="180"/>
                  </a:moveTo>
                  <a:lnTo>
                    <a:pt x="0" y="180"/>
                  </a:lnTo>
                  <a:lnTo>
                    <a:pt x="0" y="192"/>
                  </a:lnTo>
                  <a:lnTo>
                    <a:pt x="30" y="192"/>
                  </a:lnTo>
                  <a:lnTo>
                    <a:pt x="30" y="180"/>
                  </a:lnTo>
                  <a:close/>
                  <a:moveTo>
                    <a:pt x="296" y="244"/>
                  </a:moveTo>
                  <a:lnTo>
                    <a:pt x="296" y="244"/>
                  </a:lnTo>
                  <a:lnTo>
                    <a:pt x="298" y="242"/>
                  </a:lnTo>
                  <a:lnTo>
                    <a:pt x="298" y="44"/>
                  </a:lnTo>
                  <a:lnTo>
                    <a:pt x="298" y="44"/>
                  </a:lnTo>
                  <a:lnTo>
                    <a:pt x="296" y="40"/>
                  </a:lnTo>
                  <a:lnTo>
                    <a:pt x="294" y="36"/>
                  </a:lnTo>
                  <a:lnTo>
                    <a:pt x="290" y="32"/>
                  </a:lnTo>
                  <a:lnTo>
                    <a:pt x="284" y="32"/>
                  </a:lnTo>
                  <a:lnTo>
                    <a:pt x="262" y="32"/>
                  </a:lnTo>
                  <a:lnTo>
                    <a:pt x="262" y="32"/>
                  </a:lnTo>
                  <a:lnTo>
                    <a:pt x="256" y="32"/>
                  </a:lnTo>
                  <a:lnTo>
                    <a:pt x="252" y="36"/>
                  </a:lnTo>
                  <a:lnTo>
                    <a:pt x="250" y="40"/>
                  </a:lnTo>
                  <a:lnTo>
                    <a:pt x="248" y="44"/>
                  </a:lnTo>
                  <a:lnTo>
                    <a:pt x="248" y="242"/>
                  </a:lnTo>
                  <a:lnTo>
                    <a:pt x="248" y="242"/>
                  </a:lnTo>
                  <a:lnTo>
                    <a:pt x="248" y="244"/>
                  </a:lnTo>
                  <a:lnTo>
                    <a:pt x="230" y="244"/>
                  </a:lnTo>
                  <a:lnTo>
                    <a:pt x="230" y="244"/>
                  </a:lnTo>
                  <a:lnTo>
                    <a:pt x="230" y="242"/>
                  </a:lnTo>
                  <a:lnTo>
                    <a:pt x="230" y="26"/>
                  </a:lnTo>
                  <a:lnTo>
                    <a:pt x="230" y="26"/>
                  </a:lnTo>
                  <a:lnTo>
                    <a:pt x="230" y="22"/>
                  </a:lnTo>
                  <a:lnTo>
                    <a:pt x="228" y="18"/>
                  </a:lnTo>
                  <a:lnTo>
                    <a:pt x="224" y="14"/>
                  </a:lnTo>
                  <a:lnTo>
                    <a:pt x="218" y="14"/>
                  </a:lnTo>
                  <a:lnTo>
                    <a:pt x="194" y="14"/>
                  </a:lnTo>
                  <a:lnTo>
                    <a:pt x="194" y="14"/>
                  </a:lnTo>
                  <a:lnTo>
                    <a:pt x="190" y="14"/>
                  </a:lnTo>
                  <a:lnTo>
                    <a:pt x="186" y="18"/>
                  </a:lnTo>
                  <a:lnTo>
                    <a:pt x="184" y="22"/>
                  </a:lnTo>
                  <a:lnTo>
                    <a:pt x="182" y="26"/>
                  </a:lnTo>
                  <a:lnTo>
                    <a:pt x="182" y="242"/>
                  </a:lnTo>
                  <a:lnTo>
                    <a:pt x="182" y="242"/>
                  </a:lnTo>
                  <a:lnTo>
                    <a:pt x="182" y="244"/>
                  </a:lnTo>
                  <a:lnTo>
                    <a:pt x="164" y="244"/>
                  </a:lnTo>
                  <a:lnTo>
                    <a:pt x="164" y="244"/>
                  </a:lnTo>
                  <a:lnTo>
                    <a:pt x="164" y="242"/>
                  </a:lnTo>
                  <a:lnTo>
                    <a:pt x="164" y="70"/>
                  </a:lnTo>
                  <a:lnTo>
                    <a:pt x="164" y="70"/>
                  </a:lnTo>
                  <a:lnTo>
                    <a:pt x="164" y="64"/>
                  </a:lnTo>
                  <a:lnTo>
                    <a:pt x="162" y="60"/>
                  </a:lnTo>
                  <a:lnTo>
                    <a:pt x="156" y="58"/>
                  </a:lnTo>
                  <a:lnTo>
                    <a:pt x="152" y="56"/>
                  </a:lnTo>
                  <a:lnTo>
                    <a:pt x="128" y="56"/>
                  </a:lnTo>
                  <a:lnTo>
                    <a:pt x="128" y="56"/>
                  </a:lnTo>
                  <a:lnTo>
                    <a:pt x="124" y="58"/>
                  </a:lnTo>
                  <a:lnTo>
                    <a:pt x="120" y="60"/>
                  </a:lnTo>
                  <a:lnTo>
                    <a:pt x="116" y="64"/>
                  </a:lnTo>
                  <a:lnTo>
                    <a:pt x="116" y="70"/>
                  </a:lnTo>
                  <a:lnTo>
                    <a:pt x="116" y="242"/>
                  </a:lnTo>
                  <a:lnTo>
                    <a:pt x="116" y="242"/>
                  </a:lnTo>
                  <a:lnTo>
                    <a:pt x="116" y="244"/>
                  </a:lnTo>
                  <a:lnTo>
                    <a:pt x="98" y="244"/>
                  </a:lnTo>
                  <a:lnTo>
                    <a:pt x="98" y="244"/>
                  </a:lnTo>
                  <a:lnTo>
                    <a:pt x="98" y="242"/>
                  </a:lnTo>
                  <a:lnTo>
                    <a:pt x="98" y="12"/>
                  </a:lnTo>
                  <a:lnTo>
                    <a:pt x="98" y="12"/>
                  </a:lnTo>
                  <a:lnTo>
                    <a:pt x="98" y="8"/>
                  </a:lnTo>
                  <a:lnTo>
                    <a:pt x="94" y="4"/>
                  </a:lnTo>
                  <a:lnTo>
                    <a:pt x="90" y="0"/>
                  </a:lnTo>
                  <a:lnTo>
                    <a:pt x="86" y="0"/>
                  </a:lnTo>
                  <a:lnTo>
                    <a:pt x="62" y="0"/>
                  </a:lnTo>
                  <a:lnTo>
                    <a:pt x="62" y="0"/>
                  </a:lnTo>
                  <a:lnTo>
                    <a:pt x="58" y="0"/>
                  </a:lnTo>
                  <a:lnTo>
                    <a:pt x="54" y="4"/>
                  </a:lnTo>
                  <a:lnTo>
                    <a:pt x="50" y="8"/>
                  </a:lnTo>
                  <a:lnTo>
                    <a:pt x="50" y="12"/>
                  </a:lnTo>
                  <a:lnTo>
                    <a:pt x="50" y="242"/>
                  </a:lnTo>
                  <a:lnTo>
                    <a:pt x="50" y="242"/>
                  </a:lnTo>
                  <a:lnTo>
                    <a:pt x="50" y="244"/>
                  </a:lnTo>
                  <a:lnTo>
                    <a:pt x="0" y="244"/>
                  </a:lnTo>
                  <a:lnTo>
                    <a:pt x="0" y="262"/>
                  </a:lnTo>
                  <a:lnTo>
                    <a:pt x="326" y="262"/>
                  </a:lnTo>
                  <a:lnTo>
                    <a:pt x="326" y="244"/>
                  </a:lnTo>
                  <a:lnTo>
                    <a:pt x="296" y="244"/>
                  </a:lnTo>
                  <a:close/>
                  <a:moveTo>
                    <a:pt x="30" y="214"/>
                  </a:moveTo>
                  <a:lnTo>
                    <a:pt x="0" y="214"/>
                  </a:lnTo>
                  <a:lnTo>
                    <a:pt x="0" y="226"/>
                  </a:lnTo>
                  <a:lnTo>
                    <a:pt x="30" y="226"/>
                  </a:lnTo>
                  <a:lnTo>
                    <a:pt x="30" y="214"/>
                  </a:lnTo>
                  <a:close/>
                  <a:moveTo>
                    <a:pt x="30" y="146"/>
                  </a:moveTo>
                  <a:lnTo>
                    <a:pt x="0" y="146"/>
                  </a:lnTo>
                  <a:lnTo>
                    <a:pt x="0" y="158"/>
                  </a:lnTo>
                  <a:lnTo>
                    <a:pt x="30" y="158"/>
                  </a:lnTo>
                  <a:lnTo>
                    <a:pt x="30" y="146"/>
                  </a:lnTo>
                  <a:close/>
                  <a:moveTo>
                    <a:pt x="30" y="8"/>
                  </a:moveTo>
                  <a:lnTo>
                    <a:pt x="0" y="8"/>
                  </a:lnTo>
                  <a:lnTo>
                    <a:pt x="0" y="20"/>
                  </a:lnTo>
                  <a:lnTo>
                    <a:pt x="30" y="20"/>
                  </a:lnTo>
                  <a:lnTo>
                    <a:pt x="30" y="8"/>
                  </a:lnTo>
                  <a:close/>
                </a:path>
              </a:pathLst>
            </a:custGeom>
            <a:solidFill>
              <a:srgbClr val="8DC63F"/>
            </a:solidFill>
            <a:ln>
              <a:noFill/>
            </a:ln>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903222544"/>
      </p:ext>
    </p:extLst>
  </p:cSld>
  <p:clrMapOvr>
    <a:masterClrMapping/>
  </p:clrMapOvr>
  <p:transition>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76" name="Straight Connector 41"/>
          <p:cNvCxnSpPr/>
          <p:nvPr/>
        </p:nvCxnSpPr>
        <p:spPr>
          <a:xfrm>
            <a:off x="1898863" y="1761633"/>
            <a:ext cx="675075" cy="0"/>
          </a:xfrm>
          <a:prstGeom prst="line">
            <a:avLst/>
          </a:prstGeom>
          <a:ln w="12700" cmpd="sng">
            <a:solidFill>
              <a:srgbClr val="8DC63F"/>
            </a:solidFill>
            <a:prstDash val="sysDash"/>
            <a:headEnd type="oval"/>
            <a:tailEnd type="oval"/>
          </a:ln>
        </p:spPr>
        <p:style>
          <a:lnRef idx="2">
            <a:schemeClr val="accent1"/>
          </a:lnRef>
          <a:fillRef idx="0">
            <a:schemeClr val="accent1"/>
          </a:fillRef>
          <a:effectRef idx="1">
            <a:schemeClr val="accent1"/>
          </a:effectRef>
          <a:fontRef idx="minor">
            <a:schemeClr val="tx1"/>
          </a:fontRef>
        </p:style>
      </p:cxnSp>
      <p:cxnSp>
        <p:nvCxnSpPr>
          <p:cNvPr id="78" name="Straight Connector 41"/>
          <p:cNvCxnSpPr/>
          <p:nvPr/>
        </p:nvCxnSpPr>
        <p:spPr>
          <a:xfrm>
            <a:off x="1898863" y="4045206"/>
            <a:ext cx="675075" cy="0"/>
          </a:xfrm>
          <a:prstGeom prst="line">
            <a:avLst/>
          </a:prstGeom>
          <a:ln w="12700" cmpd="sng">
            <a:solidFill>
              <a:srgbClr val="8DC63F"/>
            </a:solidFill>
            <a:prstDash val="sysDash"/>
            <a:headEnd type="oval"/>
            <a:tailEnd type="oval"/>
          </a:ln>
        </p:spPr>
        <p:style>
          <a:lnRef idx="2">
            <a:schemeClr val="accent1"/>
          </a:lnRef>
          <a:fillRef idx="0">
            <a:schemeClr val="accent1"/>
          </a:fillRef>
          <a:effectRef idx="1">
            <a:schemeClr val="accent1"/>
          </a:effectRef>
          <a:fontRef idx="minor">
            <a:schemeClr val="tx1"/>
          </a:fontRef>
        </p:style>
      </p:cxnSp>
      <p:cxnSp>
        <p:nvCxnSpPr>
          <p:cNvPr id="77" name="Straight Connector 41"/>
          <p:cNvCxnSpPr/>
          <p:nvPr/>
        </p:nvCxnSpPr>
        <p:spPr>
          <a:xfrm>
            <a:off x="1898863" y="2964894"/>
            <a:ext cx="675075" cy="0"/>
          </a:xfrm>
          <a:prstGeom prst="line">
            <a:avLst/>
          </a:prstGeom>
          <a:ln w="12700" cmpd="sng">
            <a:solidFill>
              <a:srgbClr val="8DC63F"/>
            </a:solidFill>
            <a:prstDash val="sysDash"/>
            <a:headEnd type="oval"/>
            <a:tailEnd type="oval"/>
          </a:ln>
        </p:spPr>
        <p:style>
          <a:lnRef idx="2">
            <a:schemeClr val="accent1"/>
          </a:lnRef>
          <a:fillRef idx="0">
            <a:schemeClr val="accent1"/>
          </a:fillRef>
          <a:effectRef idx="1">
            <a:schemeClr val="accent1"/>
          </a:effectRef>
          <a:fontRef idx="minor">
            <a:schemeClr val="tx1"/>
          </a:fontRef>
        </p:style>
      </p:cxnSp>
      <p:sp>
        <p:nvSpPr>
          <p:cNvPr id="3" name="Title 2"/>
          <p:cNvSpPr>
            <a:spLocks noGrp="1"/>
          </p:cNvSpPr>
          <p:nvPr>
            <p:ph type="title"/>
          </p:nvPr>
        </p:nvSpPr>
        <p:spPr>
          <a:xfrm>
            <a:off x="522287" y="483069"/>
            <a:ext cx="8278269" cy="332399"/>
          </a:xfrm>
        </p:spPr>
        <p:txBody>
          <a:bodyPr/>
          <a:lstStyle/>
          <a:p>
            <a:r>
              <a:rPr lang="en-US" b="1" dirty="0" err="1" smtClean="0"/>
              <a:t>crm</a:t>
            </a:r>
            <a:r>
              <a:rPr lang="en-US" b="1" dirty="0" smtClean="0"/>
              <a:t> – </a:t>
            </a:r>
            <a:r>
              <a:rPr lang="ru-RU" b="1" dirty="0" smtClean="0"/>
              <a:t>ВАЖНЫЙ ИНСТРУМЕНТ </a:t>
            </a:r>
            <a:r>
              <a:rPr lang="ru-RU" dirty="0" smtClean="0"/>
              <a:t>ДЛЯ ПРАВООБЛАДАТЕЛЕЙ</a:t>
            </a:r>
            <a:endParaRPr lang="en-US" dirty="0"/>
          </a:p>
        </p:txBody>
      </p:sp>
      <p:grpSp>
        <p:nvGrpSpPr>
          <p:cNvPr id="36" name="Gruppieren 35"/>
          <p:cNvGrpSpPr>
            <a:grpSpLocks noChangeAspect="1"/>
          </p:cNvGrpSpPr>
          <p:nvPr/>
        </p:nvGrpSpPr>
        <p:grpSpPr>
          <a:xfrm>
            <a:off x="539748" y="4876006"/>
            <a:ext cx="719884" cy="215444"/>
            <a:chOff x="539748" y="4876006"/>
            <a:chExt cx="719884" cy="215444"/>
          </a:xfrm>
        </p:grpSpPr>
        <p:sp>
          <p:nvSpPr>
            <p:cNvPr id="37" name="Textfeld 36"/>
            <p:cNvSpPr txBox="1"/>
            <p:nvPr userDrawn="1"/>
          </p:nvSpPr>
          <p:spPr>
            <a:xfrm>
              <a:off x="539750" y="4876006"/>
              <a:ext cx="719882" cy="215444"/>
            </a:xfrm>
            <a:prstGeom prst="rect">
              <a:avLst/>
            </a:prstGeom>
            <a:noFill/>
          </p:spPr>
          <p:txBody>
            <a:bodyPr wrap="square" rtlCol="0">
              <a:spAutoFit/>
            </a:bodyPr>
            <a:lstStyle/>
            <a:p>
              <a:pPr algn="ctr"/>
              <a:r>
                <a:rPr lang="ru-RU" sz="800" kern="1300" spc="80" dirty="0" smtClean="0"/>
                <a:t>ТРЕНД</a:t>
              </a:r>
              <a:r>
                <a:rPr lang="de-DE" sz="800" kern="1300" spc="80" baseline="0" dirty="0" smtClean="0"/>
                <a:t> </a:t>
              </a:r>
              <a:r>
                <a:rPr lang="de-DE" sz="800" b="1" kern="1300" spc="80" baseline="0" dirty="0" smtClean="0"/>
                <a:t>0</a:t>
              </a:r>
              <a:r>
                <a:rPr lang="ru-RU" sz="800" b="1" kern="1300" spc="80" baseline="0" dirty="0" smtClean="0"/>
                <a:t>4</a:t>
              </a:r>
              <a:endParaRPr lang="de-DE" sz="800" b="1" kern="1300" spc="80" baseline="0" dirty="0" smtClean="0"/>
            </a:p>
          </p:txBody>
        </p:sp>
        <p:sp>
          <p:nvSpPr>
            <p:cNvPr id="38" name="Gleichschenkliges Dreieck 37"/>
            <p:cNvSpPr/>
            <p:nvPr userDrawn="1"/>
          </p:nvSpPr>
          <p:spPr>
            <a:xfrm rot="16200000" flipH="1" flipV="1">
              <a:off x="534004" y="4938683"/>
              <a:ext cx="83300" cy="71811"/>
            </a:xfrm>
            <a:prstGeom prst="triangl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sp>
          <p:nvSpPr>
            <p:cNvPr id="39" name="Gleichschenkliges Dreieck 38"/>
            <p:cNvSpPr/>
            <p:nvPr userDrawn="1"/>
          </p:nvSpPr>
          <p:spPr>
            <a:xfrm rot="5400000" flipV="1">
              <a:off x="1182077" y="4938684"/>
              <a:ext cx="83300" cy="71811"/>
            </a:xfrm>
            <a:prstGeom prst="triangl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grpSp>
      <p:sp>
        <p:nvSpPr>
          <p:cNvPr id="41" name="Rechteck 40"/>
          <p:cNvSpPr/>
          <p:nvPr/>
        </p:nvSpPr>
        <p:spPr>
          <a:xfrm>
            <a:off x="2373247" y="2598779"/>
            <a:ext cx="6069183" cy="725315"/>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0" tIns="45720" rIns="91440" bIns="45720" numCol="1" spcCol="0" rtlCol="0" fromWordArt="0" anchor="ctr" anchorCtr="0" forceAA="0" compatLnSpc="1">
            <a:prstTxWarp prst="textNoShape">
              <a:avLst/>
            </a:prstTxWarp>
            <a:noAutofit/>
          </a:bodyPr>
          <a:lstStyle/>
          <a:p>
            <a:r>
              <a:rPr lang="ru-RU" b="1" dirty="0" smtClean="0">
                <a:solidFill>
                  <a:srgbClr val="92D050"/>
                </a:solidFill>
              </a:rPr>
              <a:t>РАЗВИТИЕ РЕСУРСОВ ДОХОДА</a:t>
            </a:r>
            <a:endParaRPr lang="en-US" b="1" dirty="0" smtClean="0">
              <a:solidFill>
                <a:srgbClr val="92D050"/>
              </a:solidFill>
            </a:endParaRPr>
          </a:p>
          <a:p>
            <a:r>
              <a:rPr lang="ru-RU" sz="1600" dirty="0" smtClean="0">
                <a:solidFill>
                  <a:schemeClr val="tx1"/>
                </a:solidFill>
              </a:rPr>
              <a:t>Увеличение обычных и кросс-продаж</a:t>
            </a:r>
            <a:r>
              <a:rPr lang="en-US" sz="1600" dirty="0" smtClean="0">
                <a:solidFill>
                  <a:schemeClr val="tx1"/>
                </a:solidFill>
              </a:rPr>
              <a:t>; </a:t>
            </a:r>
            <a:r>
              <a:rPr lang="ru-RU" sz="1600" dirty="0" smtClean="0">
                <a:solidFill>
                  <a:schemeClr val="tx1"/>
                </a:solidFill>
              </a:rPr>
              <a:t>выявление новых целевых групп</a:t>
            </a:r>
            <a:endParaRPr lang="ru-RU" sz="1600" dirty="0">
              <a:solidFill>
                <a:schemeClr val="tx1"/>
              </a:solidFill>
            </a:endParaRPr>
          </a:p>
          <a:p>
            <a:endParaRPr lang="ru-RU" sz="1600" dirty="0" smtClean="0">
              <a:solidFill>
                <a:schemeClr val="tx1"/>
              </a:solidFill>
            </a:endParaRPr>
          </a:p>
        </p:txBody>
      </p:sp>
      <p:sp>
        <p:nvSpPr>
          <p:cNvPr id="42" name="Rechteck 41"/>
          <p:cNvSpPr/>
          <p:nvPr/>
        </p:nvSpPr>
        <p:spPr>
          <a:xfrm>
            <a:off x="2373247" y="3697373"/>
            <a:ext cx="5844158" cy="725315"/>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0" tIns="45720" rIns="91440" bIns="45720" numCol="1" spcCol="0" rtlCol="0" fromWordArt="0" anchor="ctr" anchorCtr="0" forceAA="0" compatLnSpc="1">
            <a:prstTxWarp prst="textNoShape">
              <a:avLst/>
            </a:prstTxWarp>
            <a:noAutofit/>
          </a:bodyPr>
          <a:lstStyle/>
          <a:p>
            <a:r>
              <a:rPr lang="ru-RU" b="1" dirty="0" smtClean="0">
                <a:solidFill>
                  <a:srgbClr val="92D050"/>
                </a:solidFill>
              </a:rPr>
              <a:t>ПОВЫШЕНИЕ ПРОИЗВОДИТЕЛЬНОСТИ</a:t>
            </a:r>
            <a:endParaRPr lang="en-US" b="1" dirty="0" smtClean="0">
              <a:solidFill>
                <a:srgbClr val="92D050"/>
              </a:solidFill>
            </a:endParaRPr>
          </a:p>
          <a:p>
            <a:r>
              <a:rPr lang="ru-RU" sz="1600" dirty="0" smtClean="0">
                <a:solidFill>
                  <a:schemeClr val="tx1"/>
                </a:solidFill>
              </a:rPr>
              <a:t>Совершенствование существующих бизнес процессов</a:t>
            </a:r>
            <a:r>
              <a:rPr lang="en-US" sz="1600" dirty="0" smtClean="0">
                <a:solidFill>
                  <a:schemeClr val="tx1"/>
                </a:solidFill>
              </a:rPr>
              <a:t>; </a:t>
            </a:r>
            <a:r>
              <a:rPr lang="ru-RU" sz="1600" dirty="0" smtClean="0">
                <a:solidFill>
                  <a:schemeClr val="tx1"/>
                </a:solidFill>
              </a:rPr>
              <a:t>повышение эффективности</a:t>
            </a:r>
          </a:p>
          <a:p>
            <a:endParaRPr lang="en-US" sz="1600" dirty="0">
              <a:solidFill>
                <a:schemeClr val="tx1"/>
              </a:solidFill>
            </a:endParaRPr>
          </a:p>
        </p:txBody>
      </p:sp>
      <p:grpSp>
        <p:nvGrpSpPr>
          <p:cNvPr id="5" name="Gruppieren 4"/>
          <p:cNvGrpSpPr/>
          <p:nvPr/>
        </p:nvGrpSpPr>
        <p:grpSpPr>
          <a:xfrm>
            <a:off x="1476367" y="3677664"/>
            <a:ext cx="764736" cy="764734"/>
            <a:chOff x="1555313" y="3677664"/>
            <a:chExt cx="764736" cy="764734"/>
          </a:xfrm>
        </p:grpSpPr>
        <p:sp>
          <p:nvSpPr>
            <p:cNvPr id="75" name="Oval 53"/>
            <p:cNvSpPr>
              <a:spLocks noChangeAspect="1"/>
            </p:cNvSpPr>
            <p:nvPr/>
          </p:nvSpPr>
          <p:spPr>
            <a:xfrm>
              <a:off x="1555313" y="3677664"/>
              <a:ext cx="764736" cy="764734"/>
            </a:xfrm>
            <a:prstGeom prst="ellipse">
              <a:avLst/>
            </a:prstGeom>
            <a:solidFill>
              <a:srgbClr val="FFFFFF"/>
            </a:solidFill>
            <a:ln w="19050">
              <a:solidFill>
                <a:srgbClr val="8DC63F"/>
              </a:solidFill>
              <a:prstDash val="sys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nvGrpSpPr>
            <p:cNvPr id="45" name="Group 94"/>
            <p:cNvGrpSpPr/>
            <p:nvPr/>
          </p:nvGrpSpPr>
          <p:grpSpPr>
            <a:xfrm>
              <a:off x="1662628" y="3822687"/>
              <a:ext cx="550106" cy="474686"/>
              <a:chOff x="-1757363" y="4273550"/>
              <a:chExt cx="1968500" cy="1698626"/>
            </a:xfrm>
            <a:solidFill>
              <a:srgbClr val="92D050"/>
            </a:solidFill>
          </p:grpSpPr>
          <p:sp>
            <p:nvSpPr>
              <p:cNvPr id="46" name="Freeform 59"/>
              <p:cNvSpPr>
                <a:spLocks/>
              </p:cNvSpPr>
              <p:nvPr/>
            </p:nvSpPr>
            <p:spPr bwMode="auto">
              <a:xfrm>
                <a:off x="-1184275" y="5176838"/>
                <a:ext cx="739775" cy="795338"/>
              </a:xfrm>
              <a:custGeom>
                <a:avLst/>
                <a:gdLst>
                  <a:gd name="T0" fmla="*/ 50 w 196"/>
                  <a:gd name="T1" fmla="*/ 211 h 211"/>
                  <a:gd name="T2" fmla="*/ 42 w 196"/>
                  <a:gd name="T3" fmla="*/ 196 h 211"/>
                  <a:gd name="T4" fmla="*/ 20 w 196"/>
                  <a:gd name="T5" fmla="*/ 83 h 211"/>
                  <a:gd name="T6" fmla="*/ 3 w 196"/>
                  <a:gd name="T7" fmla="*/ 26 h 211"/>
                  <a:gd name="T8" fmla="*/ 11 w 196"/>
                  <a:gd name="T9" fmla="*/ 4 h 211"/>
                  <a:gd name="T10" fmla="*/ 34 w 196"/>
                  <a:gd name="T11" fmla="*/ 16 h 211"/>
                  <a:gd name="T12" fmla="*/ 51 w 196"/>
                  <a:gd name="T13" fmla="*/ 63 h 211"/>
                  <a:gd name="T14" fmla="*/ 63 w 196"/>
                  <a:gd name="T15" fmla="*/ 82 h 211"/>
                  <a:gd name="T16" fmla="*/ 118 w 196"/>
                  <a:gd name="T17" fmla="*/ 85 h 211"/>
                  <a:gd name="T18" fmla="*/ 147 w 196"/>
                  <a:gd name="T19" fmla="*/ 43 h 211"/>
                  <a:gd name="T20" fmla="*/ 162 w 196"/>
                  <a:gd name="T21" fmla="*/ 12 h 211"/>
                  <a:gd name="T22" fmla="*/ 181 w 196"/>
                  <a:gd name="T23" fmla="*/ 2 h 211"/>
                  <a:gd name="T24" fmla="*/ 195 w 196"/>
                  <a:gd name="T25" fmla="*/ 14 h 211"/>
                  <a:gd name="T26" fmla="*/ 194 w 196"/>
                  <a:gd name="T27" fmla="*/ 31 h 211"/>
                  <a:gd name="T28" fmla="*/ 161 w 196"/>
                  <a:gd name="T29" fmla="*/ 97 h 211"/>
                  <a:gd name="T30" fmla="*/ 143 w 196"/>
                  <a:gd name="T31" fmla="*/ 144 h 211"/>
                  <a:gd name="T32" fmla="*/ 141 w 196"/>
                  <a:gd name="T33" fmla="*/ 160 h 211"/>
                  <a:gd name="T34" fmla="*/ 140 w 196"/>
                  <a:gd name="T35" fmla="*/ 197 h 211"/>
                  <a:gd name="T36" fmla="*/ 132 w 196"/>
                  <a:gd name="T37" fmla="*/ 211 h 211"/>
                  <a:gd name="T38" fmla="*/ 50 w 196"/>
                  <a:gd name="T39" fmla="*/ 211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96" h="211">
                    <a:moveTo>
                      <a:pt x="50" y="211"/>
                    </a:moveTo>
                    <a:cubicBezTo>
                      <a:pt x="43" y="208"/>
                      <a:pt x="41" y="203"/>
                      <a:pt x="42" y="196"/>
                    </a:cubicBezTo>
                    <a:cubicBezTo>
                      <a:pt x="45" y="156"/>
                      <a:pt x="32" y="120"/>
                      <a:pt x="20" y="83"/>
                    </a:cubicBezTo>
                    <a:cubicBezTo>
                      <a:pt x="14" y="64"/>
                      <a:pt x="8" y="45"/>
                      <a:pt x="3" y="26"/>
                    </a:cubicBezTo>
                    <a:cubicBezTo>
                      <a:pt x="0" y="15"/>
                      <a:pt x="3" y="7"/>
                      <a:pt x="11" y="4"/>
                    </a:cubicBezTo>
                    <a:cubicBezTo>
                      <a:pt x="21" y="0"/>
                      <a:pt x="29" y="5"/>
                      <a:pt x="34" y="16"/>
                    </a:cubicBezTo>
                    <a:cubicBezTo>
                      <a:pt x="40" y="32"/>
                      <a:pt x="45" y="48"/>
                      <a:pt x="51" y="63"/>
                    </a:cubicBezTo>
                    <a:cubicBezTo>
                      <a:pt x="54" y="70"/>
                      <a:pt x="58" y="77"/>
                      <a:pt x="63" y="82"/>
                    </a:cubicBezTo>
                    <a:cubicBezTo>
                      <a:pt x="79" y="100"/>
                      <a:pt x="101" y="101"/>
                      <a:pt x="118" y="85"/>
                    </a:cubicBezTo>
                    <a:cubicBezTo>
                      <a:pt x="131" y="73"/>
                      <a:pt x="140" y="58"/>
                      <a:pt x="147" y="43"/>
                    </a:cubicBezTo>
                    <a:cubicBezTo>
                      <a:pt x="152" y="32"/>
                      <a:pt x="157" y="22"/>
                      <a:pt x="162" y="12"/>
                    </a:cubicBezTo>
                    <a:cubicBezTo>
                      <a:pt x="166" y="4"/>
                      <a:pt x="172" y="1"/>
                      <a:pt x="181" y="2"/>
                    </a:cubicBezTo>
                    <a:cubicBezTo>
                      <a:pt x="188" y="3"/>
                      <a:pt x="194" y="7"/>
                      <a:pt x="195" y="14"/>
                    </a:cubicBezTo>
                    <a:cubicBezTo>
                      <a:pt x="196" y="19"/>
                      <a:pt x="196" y="26"/>
                      <a:pt x="194" y="31"/>
                    </a:cubicBezTo>
                    <a:cubicBezTo>
                      <a:pt x="183" y="53"/>
                      <a:pt x="172" y="75"/>
                      <a:pt x="161" y="97"/>
                    </a:cubicBezTo>
                    <a:cubicBezTo>
                      <a:pt x="153" y="112"/>
                      <a:pt x="146" y="127"/>
                      <a:pt x="143" y="144"/>
                    </a:cubicBezTo>
                    <a:cubicBezTo>
                      <a:pt x="142" y="149"/>
                      <a:pt x="142" y="155"/>
                      <a:pt x="141" y="160"/>
                    </a:cubicBezTo>
                    <a:cubicBezTo>
                      <a:pt x="141" y="173"/>
                      <a:pt x="140" y="185"/>
                      <a:pt x="140" y="197"/>
                    </a:cubicBezTo>
                    <a:cubicBezTo>
                      <a:pt x="140" y="204"/>
                      <a:pt x="139" y="208"/>
                      <a:pt x="132" y="211"/>
                    </a:cubicBezTo>
                    <a:cubicBezTo>
                      <a:pt x="105" y="211"/>
                      <a:pt x="78" y="211"/>
                      <a:pt x="50" y="21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47" name="Freeform 60"/>
              <p:cNvSpPr>
                <a:spLocks/>
              </p:cNvSpPr>
              <p:nvPr/>
            </p:nvSpPr>
            <p:spPr bwMode="auto">
              <a:xfrm>
                <a:off x="-115888" y="4473575"/>
                <a:ext cx="327025" cy="558800"/>
              </a:xfrm>
              <a:custGeom>
                <a:avLst/>
                <a:gdLst>
                  <a:gd name="T0" fmla="*/ 67 w 87"/>
                  <a:gd name="T1" fmla="*/ 0 h 148"/>
                  <a:gd name="T2" fmla="*/ 71 w 87"/>
                  <a:gd name="T3" fmla="*/ 18 h 148"/>
                  <a:gd name="T4" fmla="*/ 55 w 87"/>
                  <a:gd name="T5" fmla="*/ 49 h 148"/>
                  <a:gd name="T6" fmla="*/ 57 w 87"/>
                  <a:gd name="T7" fmla="*/ 57 h 148"/>
                  <a:gd name="T8" fmla="*/ 66 w 87"/>
                  <a:gd name="T9" fmla="*/ 64 h 148"/>
                  <a:gd name="T10" fmla="*/ 78 w 87"/>
                  <a:gd name="T11" fmla="*/ 108 h 148"/>
                  <a:gd name="T12" fmla="*/ 42 w 87"/>
                  <a:gd name="T13" fmla="*/ 147 h 148"/>
                  <a:gd name="T14" fmla="*/ 37 w 87"/>
                  <a:gd name="T15" fmla="*/ 147 h 148"/>
                  <a:gd name="T16" fmla="*/ 3 w 87"/>
                  <a:gd name="T17" fmla="*/ 129 h 148"/>
                  <a:gd name="T18" fmla="*/ 0 w 87"/>
                  <a:gd name="T19" fmla="*/ 125 h 148"/>
                  <a:gd name="T20" fmla="*/ 8 w 87"/>
                  <a:gd name="T21" fmla="*/ 75 h 148"/>
                  <a:gd name="T22" fmla="*/ 22 w 87"/>
                  <a:gd name="T23" fmla="*/ 60 h 148"/>
                  <a:gd name="T24" fmla="*/ 33 w 87"/>
                  <a:gd name="T25" fmla="*/ 52 h 148"/>
                  <a:gd name="T26" fmla="*/ 52 w 87"/>
                  <a:gd name="T27" fmla="*/ 15 h 148"/>
                  <a:gd name="T28" fmla="*/ 63 w 87"/>
                  <a:gd name="T29" fmla="*/ 0 h 148"/>
                  <a:gd name="T30" fmla="*/ 67 w 87"/>
                  <a:gd name="T31" fmla="*/ 0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7" h="148">
                    <a:moveTo>
                      <a:pt x="67" y="0"/>
                    </a:moveTo>
                    <a:cubicBezTo>
                      <a:pt x="75" y="7"/>
                      <a:pt x="75" y="9"/>
                      <a:pt x="71" y="18"/>
                    </a:cubicBezTo>
                    <a:cubicBezTo>
                      <a:pt x="66" y="29"/>
                      <a:pt x="61" y="39"/>
                      <a:pt x="55" y="49"/>
                    </a:cubicBezTo>
                    <a:cubicBezTo>
                      <a:pt x="53" y="52"/>
                      <a:pt x="54" y="55"/>
                      <a:pt x="57" y="57"/>
                    </a:cubicBezTo>
                    <a:cubicBezTo>
                      <a:pt x="60" y="59"/>
                      <a:pt x="63" y="62"/>
                      <a:pt x="66" y="64"/>
                    </a:cubicBezTo>
                    <a:cubicBezTo>
                      <a:pt x="81" y="71"/>
                      <a:pt x="87" y="91"/>
                      <a:pt x="78" y="108"/>
                    </a:cubicBezTo>
                    <a:cubicBezTo>
                      <a:pt x="70" y="124"/>
                      <a:pt x="56" y="135"/>
                      <a:pt x="42" y="147"/>
                    </a:cubicBezTo>
                    <a:cubicBezTo>
                      <a:pt x="41" y="148"/>
                      <a:pt x="38" y="148"/>
                      <a:pt x="37" y="147"/>
                    </a:cubicBezTo>
                    <a:cubicBezTo>
                      <a:pt x="25" y="141"/>
                      <a:pt x="14" y="135"/>
                      <a:pt x="3" y="129"/>
                    </a:cubicBezTo>
                    <a:cubicBezTo>
                      <a:pt x="1" y="128"/>
                      <a:pt x="0" y="126"/>
                      <a:pt x="0" y="125"/>
                    </a:cubicBezTo>
                    <a:cubicBezTo>
                      <a:pt x="2" y="108"/>
                      <a:pt x="5" y="91"/>
                      <a:pt x="8" y="75"/>
                    </a:cubicBezTo>
                    <a:cubicBezTo>
                      <a:pt x="10" y="67"/>
                      <a:pt x="15" y="62"/>
                      <a:pt x="22" y="60"/>
                    </a:cubicBezTo>
                    <a:cubicBezTo>
                      <a:pt x="27" y="59"/>
                      <a:pt x="30" y="56"/>
                      <a:pt x="33" y="52"/>
                    </a:cubicBezTo>
                    <a:cubicBezTo>
                      <a:pt x="39" y="39"/>
                      <a:pt x="45" y="27"/>
                      <a:pt x="52" y="15"/>
                    </a:cubicBezTo>
                    <a:cubicBezTo>
                      <a:pt x="55" y="9"/>
                      <a:pt x="60" y="5"/>
                      <a:pt x="63" y="0"/>
                    </a:cubicBezTo>
                    <a:cubicBezTo>
                      <a:pt x="65" y="0"/>
                      <a:pt x="66" y="0"/>
                      <a:pt x="67"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48" name="Freeform 61"/>
              <p:cNvSpPr>
                <a:spLocks/>
              </p:cNvSpPr>
              <p:nvPr/>
            </p:nvSpPr>
            <p:spPr bwMode="auto">
              <a:xfrm>
                <a:off x="-614363" y="4987925"/>
                <a:ext cx="622300" cy="742950"/>
              </a:xfrm>
              <a:custGeom>
                <a:avLst/>
                <a:gdLst>
                  <a:gd name="T0" fmla="*/ 131 w 165"/>
                  <a:gd name="T1" fmla="*/ 0 h 197"/>
                  <a:gd name="T2" fmla="*/ 165 w 165"/>
                  <a:gd name="T3" fmla="*/ 18 h 197"/>
                  <a:gd name="T4" fmla="*/ 162 w 165"/>
                  <a:gd name="T5" fmla="*/ 25 h 197"/>
                  <a:gd name="T6" fmla="*/ 128 w 165"/>
                  <a:gd name="T7" fmla="*/ 88 h 197"/>
                  <a:gd name="T8" fmla="*/ 108 w 165"/>
                  <a:gd name="T9" fmla="*/ 180 h 197"/>
                  <a:gd name="T10" fmla="*/ 91 w 165"/>
                  <a:gd name="T11" fmla="*/ 197 h 197"/>
                  <a:gd name="T12" fmla="*/ 23 w 165"/>
                  <a:gd name="T13" fmla="*/ 197 h 197"/>
                  <a:gd name="T14" fmla="*/ 17 w 165"/>
                  <a:gd name="T15" fmla="*/ 197 h 197"/>
                  <a:gd name="T16" fmla="*/ 6 w 165"/>
                  <a:gd name="T17" fmla="*/ 177 h 197"/>
                  <a:gd name="T18" fmla="*/ 54 w 165"/>
                  <a:gd name="T19" fmla="*/ 84 h 197"/>
                  <a:gd name="T20" fmla="*/ 67 w 165"/>
                  <a:gd name="T21" fmla="*/ 77 h 197"/>
                  <a:gd name="T22" fmla="*/ 100 w 165"/>
                  <a:gd name="T23" fmla="*/ 57 h 197"/>
                  <a:gd name="T24" fmla="*/ 131 w 165"/>
                  <a:gd name="T25" fmla="*/ 0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5" h="197">
                    <a:moveTo>
                      <a:pt x="131" y="0"/>
                    </a:moveTo>
                    <a:cubicBezTo>
                      <a:pt x="143" y="7"/>
                      <a:pt x="154" y="12"/>
                      <a:pt x="165" y="18"/>
                    </a:cubicBezTo>
                    <a:cubicBezTo>
                      <a:pt x="164" y="21"/>
                      <a:pt x="163" y="23"/>
                      <a:pt x="162" y="25"/>
                    </a:cubicBezTo>
                    <a:cubicBezTo>
                      <a:pt x="151" y="46"/>
                      <a:pt x="140" y="67"/>
                      <a:pt x="128" y="88"/>
                    </a:cubicBezTo>
                    <a:cubicBezTo>
                      <a:pt x="113" y="117"/>
                      <a:pt x="107" y="147"/>
                      <a:pt x="108" y="180"/>
                    </a:cubicBezTo>
                    <a:cubicBezTo>
                      <a:pt x="108" y="197"/>
                      <a:pt x="108" y="197"/>
                      <a:pt x="91" y="197"/>
                    </a:cubicBezTo>
                    <a:cubicBezTo>
                      <a:pt x="68" y="197"/>
                      <a:pt x="45" y="197"/>
                      <a:pt x="23" y="197"/>
                    </a:cubicBezTo>
                    <a:cubicBezTo>
                      <a:pt x="21" y="197"/>
                      <a:pt x="19" y="197"/>
                      <a:pt x="17" y="197"/>
                    </a:cubicBezTo>
                    <a:cubicBezTo>
                      <a:pt x="5" y="195"/>
                      <a:pt x="0" y="188"/>
                      <a:pt x="6" y="177"/>
                    </a:cubicBezTo>
                    <a:cubicBezTo>
                      <a:pt x="22" y="146"/>
                      <a:pt x="38" y="115"/>
                      <a:pt x="54" y="84"/>
                    </a:cubicBezTo>
                    <a:cubicBezTo>
                      <a:pt x="57" y="79"/>
                      <a:pt x="61" y="77"/>
                      <a:pt x="67" y="77"/>
                    </a:cubicBezTo>
                    <a:cubicBezTo>
                      <a:pt x="83" y="79"/>
                      <a:pt x="93" y="71"/>
                      <a:pt x="100" y="57"/>
                    </a:cubicBezTo>
                    <a:cubicBezTo>
                      <a:pt x="110" y="38"/>
                      <a:pt x="120" y="20"/>
                      <a:pt x="131"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49" name="Freeform 62"/>
              <p:cNvSpPr>
                <a:spLocks/>
              </p:cNvSpPr>
              <p:nvPr/>
            </p:nvSpPr>
            <p:spPr bwMode="auto">
              <a:xfrm>
                <a:off x="-1293813" y="4579938"/>
                <a:ext cx="619125" cy="742950"/>
              </a:xfrm>
              <a:custGeom>
                <a:avLst/>
                <a:gdLst>
                  <a:gd name="T0" fmla="*/ 155 w 164"/>
                  <a:gd name="T1" fmla="*/ 197 h 197"/>
                  <a:gd name="T2" fmla="*/ 150 w 164"/>
                  <a:gd name="T3" fmla="*/ 190 h 197"/>
                  <a:gd name="T4" fmla="*/ 102 w 164"/>
                  <a:gd name="T5" fmla="*/ 180 h 197"/>
                  <a:gd name="T6" fmla="*/ 89 w 164"/>
                  <a:gd name="T7" fmla="*/ 187 h 197"/>
                  <a:gd name="T8" fmla="*/ 76 w 164"/>
                  <a:gd name="T9" fmla="*/ 182 h 197"/>
                  <a:gd name="T10" fmla="*/ 74 w 164"/>
                  <a:gd name="T11" fmla="*/ 173 h 197"/>
                  <a:gd name="T12" fmla="*/ 57 w 164"/>
                  <a:gd name="T13" fmla="*/ 154 h 197"/>
                  <a:gd name="T14" fmla="*/ 49 w 164"/>
                  <a:gd name="T15" fmla="*/ 144 h 197"/>
                  <a:gd name="T16" fmla="*/ 4 w 164"/>
                  <a:gd name="T17" fmla="*/ 29 h 197"/>
                  <a:gd name="T18" fmla="*/ 0 w 164"/>
                  <a:gd name="T19" fmla="*/ 14 h 197"/>
                  <a:gd name="T20" fmla="*/ 11 w 164"/>
                  <a:gd name="T21" fmla="*/ 2 h 197"/>
                  <a:gd name="T22" fmla="*/ 28 w 164"/>
                  <a:gd name="T23" fmla="*/ 7 h 197"/>
                  <a:gd name="T24" fmla="*/ 31 w 164"/>
                  <a:gd name="T25" fmla="*/ 11 h 197"/>
                  <a:gd name="T26" fmla="*/ 63 w 164"/>
                  <a:gd name="T27" fmla="*/ 76 h 197"/>
                  <a:gd name="T28" fmla="*/ 127 w 164"/>
                  <a:gd name="T29" fmla="*/ 89 h 197"/>
                  <a:gd name="T30" fmla="*/ 139 w 164"/>
                  <a:gd name="T31" fmla="*/ 92 h 197"/>
                  <a:gd name="T32" fmla="*/ 162 w 164"/>
                  <a:gd name="T33" fmla="*/ 181 h 197"/>
                  <a:gd name="T34" fmla="*/ 155 w 164"/>
                  <a:gd name="T35" fmla="*/ 197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64" h="197">
                    <a:moveTo>
                      <a:pt x="155" y="197"/>
                    </a:moveTo>
                    <a:cubicBezTo>
                      <a:pt x="153" y="195"/>
                      <a:pt x="152" y="193"/>
                      <a:pt x="150" y="190"/>
                    </a:cubicBezTo>
                    <a:cubicBezTo>
                      <a:pt x="139" y="174"/>
                      <a:pt x="119" y="170"/>
                      <a:pt x="102" y="180"/>
                    </a:cubicBezTo>
                    <a:cubicBezTo>
                      <a:pt x="98" y="182"/>
                      <a:pt x="94" y="185"/>
                      <a:pt x="89" y="187"/>
                    </a:cubicBezTo>
                    <a:cubicBezTo>
                      <a:pt x="82" y="192"/>
                      <a:pt x="79" y="190"/>
                      <a:pt x="76" y="182"/>
                    </a:cubicBezTo>
                    <a:cubicBezTo>
                      <a:pt x="75" y="179"/>
                      <a:pt x="75" y="176"/>
                      <a:pt x="74" y="173"/>
                    </a:cubicBezTo>
                    <a:cubicBezTo>
                      <a:pt x="71" y="165"/>
                      <a:pt x="65" y="158"/>
                      <a:pt x="57" y="154"/>
                    </a:cubicBezTo>
                    <a:cubicBezTo>
                      <a:pt x="54" y="152"/>
                      <a:pt x="50" y="148"/>
                      <a:pt x="49" y="144"/>
                    </a:cubicBezTo>
                    <a:cubicBezTo>
                      <a:pt x="34" y="106"/>
                      <a:pt x="19" y="68"/>
                      <a:pt x="4" y="29"/>
                    </a:cubicBezTo>
                    <a:cubicBezTo>
                      <a:pt x="2" y="25"/>
                      <a:pt x="0" y="19"/>
                      <a:pt x="0" y="14"/>
                    </a:cubicBezTo>
                    <a:cubicBezTo>
                      <a:pt x="0" y="8"/>
                      <a:pt x="4" y="4"/>
                      <a:pt x="11" y="2"/>
                    </a:cubicBezTo>
                    <a:cubicBezTo>
                      <a:pt x="18" y="0"/>
                      <a:pt x="23" y="2"/>
                      <a:pt x="28" y="7"/>
                    </a:cubicBezTo>
                    <a:cubicBezTo>
                      <a:pt x="29" y="8"/>
                      <a:pt x="30" y="10"/>
                      <a:pt x="31" y="11"/>
                    </a:cubicBezTo>
                    <a:cubicBezTo>
                      <a:pt x="41" y="33"/>
                      <a:pt x="53" y="54"/>
                      <a:pt x="63" y="76"/>
                    </a:cubicBezTo>
                    <a:cubicBezTo>
                      <a:pt x="74" y="100"/>
                      <a:pt x="111" y="108"/>
                      <a:pt x="127" y="89"/>
                    </a:cubicBezTo>
                    <a:cubicBezTo>
                      <a:pt x="133" y="83"/>
                      <a:pt x="137" y="84"/>
                      <a:pt x="139" y="92"/>
                    </a:cubicBezTo>
                    <a:cubicBezTo>
                      <a:pt x="147" y="122"/>
                      <a:pt x="155" y="152"/>
                      <a:pt x="162" y="181"/>
                    </a:cubicBezTo>
                    <a:cubicBezTo>
                      <a:pt x="164" y="187"/>
                      <a:pt x="163" y="192"/>
                      <a:pt x="155" y="19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50" name="Freeform 63"/>
              <p:cNvSpPr>
                <a:spLocks/>
              </p:cNvSpPr>
              <p:nvPr/>
            </p:nvSpPr>
            <p:spPr bwMode="auto">
              <a:xfrm>
                <a:off x="-735013" y="4813300"/>
                <a:ext cx="188913" cy="438150"/>
              </a:xfrm>
              <a:custGeom>
                <a:avLst/>
                <a:gdLst>
                  <a:gd name="T0" fmla="*/ 25 w 50"/>
                  <a:gd name="T1" fmla="*/ 116 h 116"/>
                  <a:gd name="T2" fmla="*/ 16 w 50"/>
                  <a:gd name="T3" fmla="*/ 81 h 116"/>
                  <a:gd name="T4" fmla="*/ 3 w 50"/>
                  <a:gd name="T5" fmla="*/ 25 h 116"/>
                  <a:gd name="T6" fmla="*/ 12 w 50"/>
                  <a:gd name="T7" fmla="*/ 3 h 116"/>
                  <a:gd name="T8" fmla="*/ 31 w 50"/>
                  <a:gd name="T9" fmla="*/ 12 h 116"/>
                  <a:gd name="T10" fmla="*/ 49 w 50"/>
                  <a:gd name="T11" fmla="*/ 83 h 116"/>
                  <a:gd name="T12" fmla="*/ 48 w 50"/>
                  <a:gd name="T13" fmla="*/ 88 h 116"/>
                  <a:gd name="T14" fmla="*/ 25 w 50"/>
                  <a:gd name="T15" fmla="*/ 116 h 1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116">
                    <a:moveTo>
                      <a:pt x="25" y="116"/>
                    </a:moveTo>
                    <a:cubicBezTo>
                      <a:pt x="22" y="104"/>
                      <a:pt x="19" y="92"/>
                      <a:pt x="16" y="81"/>
                    </a:cubicBezTo>
                    <a:cubicBezTo>
                      <a:pt x="12" y="62"/>
                      <a:pt x="7" y="44"/>
                      <a:pt x="3" y="25"/>
                    </a:cubicBezTo>
                    <a:cubicBezTo>
                      <a:pt x="0" y="14"/>
                      <a:pt x="3" y="6"/>
                      <a:pt x="12" y="3"/>
                    </a:cubicBezTo>
                    <a:cubicBezTo>
                      <a:pt x="21" y="0"/>
                      <a:pt x="28" y="3"/>
                      <a:pt x="31" y="12"/>
                    </a:cubicBezTo>
                    <a:cubicBezTo>
                      <a:pt x="37" y="36"/>
                      <a:pt x="43" y="59"/>
                      <a:pt x="49" y="83"/>
                    </a:cubicBezTo>
                    <a:cubicBezTo>
                      <a:pt x="50" y="84"/>
                      <a:pt x="49" y="87"/>
                      <a:pt x="48" y="88"/>
                    </a:cubicBezTo>
                    <a:cubicBezTo>
                      <a:pt x="41" y="97"/>
                      <a:pt x="33" y="106"/>
                      <a:pt x="25" y="116"/>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51" name="Freeform 64"/>
              <p:cNvSpPr>
                <a:spLocks/>
              </p:cNvSpPr>
              <p:nvPr/>
            </p:nvSpPr>
            <p:spPr bwMode="auto">
              <a:xfrm>
                <a:off x="-949325" y="5278438"/>
                <a:ext cx="206375" cy="207963"/>
              </a:xfrm>
              <a:custGeom>
                <a:avLst/>
                <a:gdLst>
                  <a:gd name="T0" fmla="*/ 28 w 55"/>
                  <a:gd name="T1" fmla="*/ 55 h 55"/>
                  <a:gd name="T2" fmla="*/ 0 w 55"/>
                  <a:gd name="T3" fmla="*/ 28 h 55"/>
                  <a:gd name="T4" fmla="*/ 28 w 55"/>
                  <a:gd name="T5" fmla="*/ 0 h 55"/>
                  <a:gd name="T6" fmla="*/ 55 w 55"/>
                  <a:gd name="T7" fmla="*/ 27 h 55"/>
                  <a:gd name="T8" fmla="*/ 28 w 55"/>
                  <a:gd name="T9" fmla="*/ 55 h 55"/>
                </a:gdLst>
                <a:ahLst/>
                <a:cxnLst>
                  <a:cxn ang="0">
                    <a:pos x="T0" y="T1"/>
                  </a:cxn>
                  <a:cxn ang="0">
                    <a:pos x="T2" y="T3"/>
                  </a:cxn>
                  <a:cxn ang="0">
                    <a:pos x="T4" y="T5"/>
                  </a:cxn>
                  <a:cxn ang="0">
                    <a:pos x="T6" y="T7"/>
                  </a:cxn>
                  <a:cxn ang="0">
                    <a:pos x="T8" y="T9"/>
                  </a:cxn>
                </a:cxnLst>
                <a:rect l="0" t="0" r="r" b="b"/>
                <a:pathLst>
                  <a:path w="55" h="55">
                    <a:moveTo>
                      <a:pt x="28" y="55"/>
                    </a:moveTo>
                    <a:cubicBezTo>
                      <a:pt x="12" y="55"/>
                      <a:pt x="0" y="43"/>
                      <a:pt x="0" y="28"/>
                    </a:cubicBezTo>
                    <a:cubicBezTo>
                      <a:pt x="0" y="12"/>
                      <a:pt x="12" y="0"/>
                      <a:pt x="28" y="0"/>
                    </a:cubicBezTo>
                    <a:cubicBezTo>
                      <a:pt x="44" y="0"/>
                      <a:pt x="55" y="12"/>
                      <a:pt x="55" y="27"/>
                    </a:cubicBezTo>
                    <a:cubicBezTo>
                      <a:pt x="55" y="43"/>
                      <a:pt x="44" y="55"/>
                      <a:pt x="28" y="55"/>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52" name="Freeform 65"/>
              <p:cNvSpPr>
                <a:spLocks/>
              </p:cNvSpPr>
              <p:nvPr/>
            </p:nvSpPr>
            <p:spPr bwMode="auto">
              <a:xfrm>
                <a:off x="-1757363" y="4919663"/>
                <a:ext cx="657225" cy="788988"/>
              </a:xfrm>
              <a:custGeom>
                <a:avLst/>
                <a:gdLst>
                  <a:gd name="T0" fmla="*/ 165 w 174"/>
                  <a:gd name="T1" fmla="*/ 209 h 209"/>
                  <a:gd name="T2" fmla="*/ 174 w 174"/>
                  <a:gd name="T3" fmla="*/ 195 h 209"/>
                  <a:gd name="T4" fmla="*/ 149 w 174"/>
                  <a:gd name="T5" fmla="*/ 119 h 209"/>
                  <a:gd name="T6" fmla="*/ 104 w 174"/>
                  <a:gd name="T7" fmla="*/ 95 h 209"/>
                  <a:gd name="T8" fmla="*/ 78 w 174"/>
                  <a:gd name="T9" fmla="*/ 84 h 209"/>
                  <a:gd name="T10" fmla="*/ 49 w 174"/>
                  <a:gd name="T11" fmla="*/ 41 h 209"/>
                  <a:gd name="T12" fmla="*/ 34 w 174"/>
                  <a:gd name="T13" fmla="*/ 11 h 209"/>
                  <a:gd name="T14" fmla="*/ 15 w 174"/>
                  <a:gd name="T15" fmla="*/ 1 h 209"/>
                  <a:gd name="T16" fmla="*/ 1 w 174"/>
                  <a:gd name="T17" fmla="*/ 13 h 209"/>
                  <a:gd name="T18" fmla="*/ 2 w 174"/>
                  <a:gd name="T19" fmla="*/ 30 h 209"/>
                  <a:gd name="T20" fmla="*/ 36 w 174"/>
                  <a:gd name="T21" fmla="*/ 95 h 209"/>
                  <a:gd name="T22" fmla="*/ 53 w 174"/>
                  <a:gd name="T23" fmla="*/ 143 h 209"/>
                  <a:gd name="T24" fmla="*/ 55 w 174"/>
                  <a:gd name="T25" fmla="*/ 159 h 209"/>
                  <a:gd name="T26" fmla="*/ 56 w 174"/>
                  <a:gd name="T27" fmla="*/ 196 h 209"/>
                  <a:gd name="T28" fmla="*/ 64 w 174"/>
                  <a:gd name="T29" fmla="*/ 209 h 209"/>
                  <a:gd name="T30" fmla="*/ 165 w 174"/>
                  <a:gd name="T31" fmla="*/ 209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74" h="209">
                    <a:moveTo>
                      <a:pt x="165" y="209"/>
                    </a:moveTo>
                    <a:cubicBezTo>
                      <a:pt x="172" y="207"/>
                      <a:pt x="174" y="202"/>
                      <a:pt x="174" y="195"/>
                    </a:cubicBezTo>
                    <a:cubicBezTo>
                      <a:pt x="162" y="156"/>
                      <a:pt x="162" y="156"/>
                      <a:pt x="149" y="119"/>
                    </a:cubicBezTo>
                    <a:cubicBezTo>
                      <a:pt x="143" y="95"/>
                      <a:pt x="114" y="95"/>
                      <a:pt x="104" y="95"/>
                    </a:cubicBezTo>
                    <a:cubicBezTo>
                      <a:pt x="95" y="95"/>
                      <a:pt x="86" y="91"/>
                      <a:pt x="78" y="84"/>
                    </a:cubicBezTo>
                    <a:cubicBezTo>
                      <a:pt x="65" y="72"/>
                      <a:pt x="57" y="57"/>
                      <a:pt x="49" y="41"/>
                    </a:cubicBezTo>
                    <a:cubicBezTo>
                      <a:pt x="44" y="31"/>
                      <a:pt x="39" y="21"/>
                      <a:pt x="34" y="11"/>
                    </a:cubicBezTo>
                    <a:cubicBezTo>
                      <a:pt x="30" y="3"/>
                      <a:pt x="24" y="0"/>
                      <a:pt x="15" y="1"/>
                    </a:cubicBezTo>
                    <a:cubicBezTo>
                      <a:pt x="8" y="2"/>
                      <a:pt x="2" y="6"/>
                      <a:pt x="1" y="13"/>
                    </a:cubicBezTo>
                    <a:cubicBezTo>
                      <a:pt x="0" y="18"/>
                      <a:pt x="0" y="25"/>
                      <a:pt x="2" y="30"/>
                    </a:cubicBezTo>
                    <a:cubicBezTo>
                      <a:pt x="13" y="52"/>
                      <a:pt x="24" y="74"/>
                      <a:pt x="36" y="95"/>
                    </a:cubicBezTo>
                    <a:cubicBezTo>
                      <a:pt x="44" y="111"/>
                      <a:pt x="50" y="126"/>
                      <a:pt x="53" y="143"/>
                    </a:cubicBezTo>
                    <a:cubicBezTo>
                      <a:pt x="54" y="148"/>
                      <a:pt x="55" y="154"/>
                      <a:pt x="55" y="159"/>
                    </a:cubicBezTo>
                    <a:cubicBezTo>
                      <a:pt x="55" y="171"/>
                      <a:pt x="56" y="184"/>
                      <a:pt x="56" y="196"/>
                    </a:cubicBezTo>
                    <a:cubicBezTo>
                      <a:pt x="56" y="202"/>
                      <a:pt x="57" y="207"/>
                      <a:pt x="64" y="209"/>
                    </a:cubicBezTo>
                    <a:cubicBezTo>
                      <a:pt x="91" y="209"/>
                      <a:pt x="138" y="209"/>
                      <a:pt x="165" y="20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53" name="Freeform 66"/>
              <p:cNvSpPr>
                <a:spLocks/>
              </p:cNvSpPr>
              <p:nvPr/>
            </p:nvSpPr>
            <p:spPr bwMode="auto">
              <a:xfrm>
                <a:off x="-1458913" y="5018088"/>
                <a:ext cx="207963" cy="206375"/>
              </a:xfrm>
              <a:custGeom>
                <a:avLst/>
                <a:gdLst>
                  <a:gd name="T0" fmla="*/ 27 w 55"/>
                  <a:gd name="T1" fmla="*/ 55 h 55"/>
                  <a:gd name="T2" fmla="*/ 55 w 55"/>
                  <a:gd name="T3" fmla="*/ 28 h 55"/>
                  <a:gd name="T4" fmla="*/ 27 w 55"/>
                  <a:gd name="T5" fmla="*/ 0 h 55"/>
                  <a:gd name="T6" fmla="*/ 0 w 55"/>
                  <a:gd name="T7" fmla="*/ 27 h 55"/>
                  <a:gd name="T8" fmla="*/ 27 w 55"/>
                  <a:gd name="T9" fmla="*/ 55 h 55"/>
                </a:gdLst>
                <a:ahLst/>
                <a:cxnLst>
                  <a:cxn ang="0">
                    <a:pos x="T0" y="T1"/>
                  </a:cxn>
                  <a:cxn ang="0">
                    <a:pos x="T2" y="T3"/>
                  </a:cxn>
                  <a:cxn ang="0">
                    <a:pos x="T4" y="T5"/>
                  </a:cxn>
                  <a:cxn ang="0">
                    <a:pos x="T6" y="T7"/>
                  </a:cxn>
                  <a:cxn ang="0">
                    <a:pos x="T8" y="T9"/>
                  </a:cxn>
                </a:cxnLst>
                <a:rect l="0" t="0" r="r" b="b"/>
                <a:pathLst>
                  <a:path w="55" h="55">
                    <a:moveTo>
                      <a:pt x="27" y="55"/>
                    </a:moveTo>
                    <a:cubicBezTo>
                      <a:pt x="43" y="55"/>
                      <a:pt x="55" y="43"/>
                      <a:pt x="55" y="28"/>
                    </a:cubicBezTo>
                    <a:cubicBezTo>
                      <a:pt x="55" y="12"/>
                      <a:pt x="43" y="0"/>
                      <a:pt x="27" y="0"/>
                    </a:cubicBezTo>
                    <a:cubicBezTo>
                      <a:pt x="12" y="0"/>
                      <a:pt x="0" y="12"/>
                      <a:pt x="0" y="27"/>
                    </a:cubicBezTo>
                    <a:cubicBezTo>
                      <a:pt x="0" y="43"/>
                      <a:pt x="11" y="55"/>
                      <a:pt x="27" y="55"/>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54" name="Freeform 67"/>
              <p:cNvSpPr>
                <a:spLocks/>
              </p:cNvSpPr>
              <p:nvPr/>
            </p:nvSpPr>
            <p:spPr bwMode="auto">
              <a:xfrm>
                <a:off x="-466725" y="5018088"/>
                <a:ext cx="203200" cy="206375"/>
              </a:xfrm>
              <a:custGeom>
                <a:avLst/>
                <a:gdLst>
                  <a:gd name="T0" fmla="*/ 27 w 54"/>
                  <a:gd name="T1" fmla="*/ 55 h 55"/>
                  <a:gd name="T2" fmla="*/ 0 w 54"/>
                  <a:gd name="T3" fmla="*/ 27 h 55"/>
                  <a:gd name="T4" fmla="*/ 27 w 54"/>
                  <a:gd name="T5" fmla="*/ 0 h 55"/>
                  <a:gd name="T6" fmla="*/ 54 w 54"/>
                  <a:gd name="T7" fmla="*/ 27 h 55"/>
                  <a:gd name="T8" fmla="*/ 27 w 54"/>
                  <a:gd name="T9" fmla="*/ 55 h 55"/>
                </a:gdLst>
                <a:ahLst/>
                <a:cxnLst>
                  <a:cxn ang="0">
                    <a:pos x="T0" y="T1"/>
                  </a:cxn>
                  <a:cxn ang="0">
                    <a:pos x="T2" y="T3"/>
                  </a:cxn>
                  <a:cxn ang="0">
                    <a:pos x="T4" y="T5"/>
                  </a:cxn>
                  <a:cxn ang="0">
                    <a:pos x="T6" y="T7"/>
                  </a:cxn>
                  <a:cxn ang="0">
                    <a:pos x="T8" y="T9"/>
                  </a:cxn>
                </a:cxnLst>
                <a:rect l="0" t="0" r="r" b="b"/>
                <a:pathLst>
                  <a:path w="54" h="55">
                    <a:moveTo>
                      <a:pt x="27" y="55"/>
                    </a:moveTo>
                    <a:cubicBezTo>
                      <a:pt x="12" y="55"/>
                      <a:pt x="0" y="43"/>
                      <a:pt x="0" y="27"/>
                    </a:cubicBezTo>
                    <a:cubicBezTo>
                      <a:pt x="0" y="12"/>
                      <a:pt x="11" y="0"/>
                      <a:pt x="27" y="0"/>
                    </a:cubicBezTo>
                    <a:cubicBezTo>
                      <a:pt x="43" y="0"/>
                      <a:pt x="54" y="12"/>
                      <a:pt x="54" y="27"/>
                    </a:cubicBezTo>
                    <a:cubicBezTo>
                      <a:pt x="54" y="43"/>
                      <a:pt x="43" y="55"/>
                      <a:pt x="27" y="55"/>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55" name="Freeform 68"/>
              <p:cNvSpPr>
                <a:spLocks/>
              </p:cNvSpPr>
              <p:nvPr/>
            </p:nvSpPr>
            <p:spPr bwMode="auto">
              <a:xfrm>
                <a:off x="-727075" y="4530725"/>
                <a:ext cx="238125" cy="282575"/>
              </a:xfrm>
              <a:custGeom>
                <a:avLst/>
                <a:gdLst>
                  <a:gd name="T0" fmla="*/ 0 w 63"/>
                  <a:gd name="T1" fmla="*/ 72 h 75"/>
                  <a:gd name="T2" fmla="*/ 4 w 63"/>
                  <a:gd name="T3" fmla="*/ 63 h 75"/>
                  <a:gd name="T4" fmla="*/ 30 w 63"/>
                  <a:gd name="T5" fmla="*/ 15 h 75"/>
                  <a:gd name="T6" fmla="*/ 39 w 63"/>
                  <a:gd name="T7" fmla="*/ 5 h 75"/>
                  <a:gd name="T8" fmla="*/ 57 w 63"/>
                  <a:gd name="T9" fmla="*/ 5 h 75"/>
                  <a:gd name="T10" fmla="*/ 60 w 63"/>
                  <a:gd name="T11" fmla="*/ 21 h 75"/>
                  <a:gd name="T12" fmla="*/ 38 w 63"/>
                  <a:gd name="T13" fmla="*/ 69 h 75"/>
                  <a:gd name="T14" fmla="*/ 31 w 63"/>
                  <a:gd name="T15" fmla="*/ 72 h 75"/>
                  <a:gd name="T16" fmla="*/ 8 w 63"/>
                  <a:gd name="T17" fmla="*/ 70 h 75"/>
                  <a:gd name="T18" fmla="*/ 0 w 63"/>
                  <a:gd name="T19" fmla="*/ 7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75">
                    <a:moveTo>
                      <a:pt x="0" y="72"/>
                    </a:moveTo>
                    <a:cubicBezTo>
                      <a:pt x="2" y="68"/>
                      <a:pt x="2" y="65"/>
                      <a:pt x="4" y="63"/>
                    </a:cubicBezTo>
                    <a:cubicBezTo>
                      <a:pt x="12" y="47"/>
                      <a:pt x="21" y="31"/>
                      <a:pt x="30" y="15"/>
                    </a:cubicBezTo>
                    <a:cubicBezTo>
                      <a:pt x="32" y="11"/>
                      <a:pt x="36" y="7"/>
                      <a:pt x="39" y="5"/>
                    </a:cubicBezTo>
                    <a:cubicBezTo>
                      <a:pt x="44" y="0"/>
                      <a:pt x="52" y="1"/>
                      <a:pt x="57" y="5"/>
                    </a:cubicBezTo>
                    <a:cubicBezTo>
                      <a:pt x="63" y="9"/>
                      <a:pt x="62" y="15"/>
                      <a:pt x="60" y="21"/>
                    </a:cubicBezTo>
                    <a:cubicBezTo>
                      <a:pt x="53" y="37"/>
                      <a:pt x="45" y="53"/>
                      <a:pt x="38" y="69"/>
                    </a:cubicBezTo>
                    <a:cubicBezTo>
                      <a:pt x="36" y="72"/>
                      <a:pt x="34" y="75"/>
                      <a:pt x="31" y="72"/>
                    </a:cubicBezTo>
                    <a:cubicBezTo>
                      <a:pt x="24" y="65"/>
                      <a:pt x="16" y="66"/>
                      <a:pt x="8" y="70"/>
                    </a:cubicBezTo>
                    <a:cubicBezTo>
                      <a:pt x="6" y="70"/>
                      <a:pt x="4" y="71"/>
                      <a:pt x="0" y="7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56" name="Freeform 69"/>
              <p:cNvSpPr>
                <a:spLocks/>
              </p:cNvSpPr>
              <p:nvPr/>
            </p:nvSpPr>
            <p:spPr bwMode="auto">
              <a:xfrm>
                <a:off x="-1009650" y="4727575"/>
                <a:ext cx="195263" cy="188913"/>
              </a:xfrm>
              <a:custGeom>
                <a:avLst/>
                <a:gdLst>
                  <a:gd name="T0" fmla="*/ 26 w 52"/>
                  <a:gd name="T1" fmla="*/ 0 h 50"/>
                  <a:gd name="T2" fmla="*/ 51 w 52"/>
                  <a:gd name="T3" fmla="*/ 25 h 50"/>
                  <a:gd name="T4" fmla="*/ 26 w 52"/>
                  <a:gd name="T5" fmla="*/ 50 h 50"/>
                  <a:gd name="T6" fmla="*/ 0 w 52"/>
                  <a:gd name="T7" fmla="*/ 25 h 50"/>
                  <a:gd name="T8" fmla="*/ 26 w 52"/>
                  <a:gd name="T9" fmla="*/ 0 h 50"/>
                </a:gdLst>
                <a:ahLst/>
                <a:cxnLst>
                  <a:cxn ang="0">
                    <a:pos x="T0" y="T1"/>
                  </a:cxn>
                  <a:cxn ang="0">
                    <a:pos x="T2" y="T3"/>
                  </a:cxn>
                  <a:cxn ang="0">
                    <a:pos x="T4" y="T5"/>
                  </a:cxn>
                  <a:cxn ang="0">
                    <a:pos x="T6" y="T7"/>
                  </a:cxn>
                  <a:cxn ang="0">
                    <a:pos x="T8" y="T9"/>
                  </a:cxn>
                </a:cxnLst>
                <a:rect l="0" t="0" r="r" b="b"/>
                <a:pathLst>
                  <a:path w="52" h="50">
                    <a:moveTo>
                      <a:pt x="26" y="0"/>
                    </a:moveTo>
                    <a:cubicBezTo>
                      <a:pt x="40" y="0"/>
                      <a:pt x="52" y="11"/>
                      <a:pt x="51" y="25"/>
                    </a:cubicBezTo>
                    <a:cubicBezTo>
                      <a:pt x="51" y="39"/>
                      <a:pt x="40" y="50"/>
                      <a:pt x="26" y="50"/>
                    </a:cubicBezTo>
                    <a:cubicBezTo>
                      <a:pt x="12" y="50"/>
                      <a:pt x="0" y="39"/>
                      <a:pt x="0" y="25"/>
                    </a:cubicBezTo>
                    <a:cubicBezTo>
                      <a:pt x="0" y="11"/>
                      <a:pt x="12" y="0"/>
                      <a:pt x="26"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57" name="Freeform 70"/>
              <p:cNvSpPr>
                <a:spLocks/>
              </p:cNvSpPr>
              <p:nvPr/>
            </p:nvSpPr>
            <p:spPr bwMode="auto">
              <a:xfrm>
                <a:off x="-1552575" y="4308475"/>
                <a:ext cx="150813" cy="200025"/>
              </a:xfrm>
              <a:custGeom>
                <a:avLst/>
                <a:gdLst>
                  <a:gd name="T0" fmla="*/ 27 w 40"/>
                  <a:gd name="T1" fmla="*/ 0 h 53"/>
                  <a:gd name="T2" fmla="*/ 39 w 40"/>
                  <a:gd name="T3" fmla="*/ 23 h 53"/>
                  <a:gd name="T4" fmla="*/ 39 w 40"/>
                  <a:gd name="T5" fmla="*/ 29 h 53"/>
                  <a:gd name="T6" fmla="*/ 21 w 40"/>
                  <a:gd name="T7" fmla="*/ 47 h 53"/>
                  <a:gd name="T8" fmla="*/ 5 w 40"/>
                  <a:gd name="T9" fmla="*/ 45 h 53"/>
                  <a:gd name="T10" fmla="*/ 3 w 40"/>
                  <a:gd name="T11" fmla="*/ 40 h 53"/>
                  <a:gd name="T12" fmla="*/ 4 w 40"/>
                  <a:gd name="T13" fmla="*/ 28 h 53"/>
                  <a:gd name="T14" fmla="*/ 27 w 40"/>
                  <a:gd name="T15" fmla="*/ 0 h 5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0" h="53">
                    <a:moveTo>
                      <a:pt x="27" y="0"/>
                    </a:moveTo>
                    <a:cubicBezTo>
                      <a:pt x="32" y="8"/>
                      <a:pt x="36" y="15"/>
                      <a:pt x="39" y="23"/>
                    </a:cubicBezTo>
                    <a:cubicBezTo>
                      <a:pt x="40" y="24"/>
                      <a:pt x="40" y="27"/>
                      <a:pt x="39" y="29"/>
                    </a:cubicBezTo>
                    <a:cubicBezTo>
                      <a:pt x="33" y="35"/>
                      <a:pt x="28" y="41"/>
                      <a:pt x="21" y="47"/>
                    </a:cubicBezTo>
                    <a:cubicBezTo>
                      <a:pt x="15" y="53"/>
                      <a:pt x="10" y="52"/>
                      <a:pt x="5" y="45"/>
                    </a:cubicBezTo>
                    <a:cubicBezTo>
                      <a:pt x="4" y="43"/>
                      <a:pt x="4" y="42"/>
                      <a:pt x="3" y="40"/>
                    </a:cubicBezTo>
                    <a:cubicBezTo>
                      <a:pt x="0" y="36"/>
                      <a:pt x="0" y="32"/>
                      <a:pt x="4" y="28"/>
                    </a:cubicBezTo>
                    <a:cubicBezTo>
                      <a:pt x="12" y="19"/>
                      <a:pt x="19" y="10"/>
                      <a:pt x="27"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58" name="Freeform 71"/>
              <p:cNvSpPr>
                <a:spLocks/>
              </p:cNvSpPr>
              <p:nvPr/>
            </p:nvSpPr>
            <p:spPr bwMode="auto">
              <a:xfrm>
                <a:off x="-1425575" y="4273550"/>
                <a:ext cx="155575" cy="268288"/>
              </a:xfrm>
              <a:custGeom>
                <a:avLst/>
                <a:gdLst>
                  <a:gd name="T0" fmla="*/ 3 w 41"/>
                  <a:gd name="T1" fmla="*/ 0 h 71"/>
                  <a:gd name="T2" fmla="*/ 41 w 41"/>
                  <a:gd name="T3" fmla="*/ 70 h 71"/>
                  <a:gd name="T4" fmla="*/ 38 w 41"/>
                  <a:gd name="T5" fmla="*/ 71 h 71"/>
                  <a:gd name="T6" fmla="*/ 0 w 41"/>
                  <a:gd name="T7" fmla="*/ 2 h 71"/>
                  <a:gd name="T8" fmla="*/ 3 w 41"/>
                  <a:gd name="T9" fmla="*/ 0 h 71"/>
                </a:gdLst>
                <a:ahLst/>
                <a:cxnLst>
                  <a:cxn ang="0">
                    <a:pos x="T0" y="T1"/>
                  </a:cxn>
                  <a:cxn ang="0">
                    <a:pos x="T2" y="T3"/>
                  </a:cxn>
                  <a:cxn ang="0">
                    <a:pos x="T4" y="T5"/>
                  </a:cxn>
                  <a:cxn ang="0">
                    <a:pos x="T6" y="T7"/>
                  </a:cxn>
                  <a:cxn ang="0">
                    <a:pos x="T8" y="T9"/>
                  </a:cxn>
                </a:cxnLst>
                <a:rect l="0" t="0" r="r" b="b"/>
                <a:pathLst>
                  <a:path w="41" h="71">
                    <a:moveTo>
                      <a:pt x="3" y="0"/>
                    </a:moveTo>
                    <a:cubicBezTo>
                      <a:pt x="16" y="23"/>
                      <a:pt x="28" y="46"/>
                      <a:pt x="41" y="70"/>
                    </a:cubicBezTo>
                    <a:cubicBezTo>
                      <a:pt x="40" y="70"/>
                      <a:pt x="39" y="71"/>
                      <a:pt x="38" y="71"/>
                    </a:cubicBezTo>
                    <a:cubicBezTo>
                      <a:pt x="25" y="48"/>
                      <a:pt x="13" y="25"/>
                      <a:pt x="0" y="2"/>
                    </a:cubicBezTo>
                    <a:cubicBezTo>
                      <a:pt x="1" y="1"/>
                      <a:pt x="2" y="1"/>
                      <a:pt x="3"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grpSp>
      <p:grpSp>
        <p:nvGrpSpPr>
          <p:cNvPr id="4" name="Gruppieren 3"/>
          <p:cNvGrpSpPr/>
          <p:nvPr/>
        </p:nvGrpSpPr>
        <p:grpSpPr>
          <a:xfrm>
            <a:off x="1476367" y="2526745"/>
            <a:ext cx="764736" cy="764734"/>
            <a:chOff x="1520259" y="2526745"/>
            <a:chExt cx="764736" cy="764734"/>
          </a:xfrm>
        </p:grpSpPr>
        <p:sp>
          <p:nvSpPr>
            <p:cNvPr id="74" name="Oval 53"/>
            <p:cNvSpPr>
              <a:spLocks noChangeAspect="1"/>
            </p:cNvSpPr>
            <p:nvPr/>
          </p:nvSpPr>
          <p:spPr>
            <a:xfrm>
              <a:off x="1520259" y="2526745"/>
              <a:ext cx="764736" cy="764734"/>
            </a:xfrm>
            <a:prstGeom prst="ellipse">
              <a:avLst/>
            </a:prstGeom>
            <a:solidFill>
              <a:srgbClr val="FFFFFF"/>
            </a:solidFill>
            <a:ln w="19050">
              <a:solidFill>
                <a:srgbClr val="8DC63F"/>
              </a:solidFill>
              <a:prstDash val="sys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nvGrpSpPr>
            <p:cNvPr id="61" name="Gruppieren 38"/>
            <p:cNvGrpSpPr>
              <a:grpSpLocks noChangeAspect="1"/>
            </p:cNvGrpSpPr>
            <p:nvPr/>
          </p:nvGrpSpPr>
          <p:grpSpPr>
            <a:xfrm>
              <a:off x="1640440" y="2742372"/>
              <a:ext cx="513466" cy="289346"/>
              <a:chOff x="9612313" y="1233488"/>
              <a:chExt cx="974725" cy="549276"/>
            </a:xfrm>
            <a:solidFill>
              <a:srgbClr val="8DC63F"/>
            </a:solidFill>
          </p:grpSpPr>
          <p:sp>
            <p:nvSpPr>
              <p:cNvPr id="62" name="Freeform 89"/>
              <p:cNvSpPr>
                <a:spLocks noEditPoints="1"/>
              </p:cNvSpPr>
              <p:nvPr/>
            </p:nvSpPr>
            <p:spPr bwMode="auto">
              <a:xfrm>
                <a:off x="9707563" y="1233488"/>
                <a:ext cx="230188" cy="231775"/>
              </a:xfrm>
              <a:custGeom>
                <a:avLst/>
                <a:gdLst>
                  <a:gd name="T0" fmla="*/ 39 w 78"/>
                  <a:gd name="T1" fmla="*/ 78 h 78"/>
                  <a:gd name="T2" fmla="*/ 78 w 78"/>
                  <a:gd name="T3" fmla="*/ 39 h 78"/>
                  <a:gd name="T4" fmla="*/ 39 w 78"/>
                  <a:gd name="T5" fmla="*/ 0 h 78"/>
                  <a:gd name="T6" fmla="*/ 0 w 78"/>
                  <a:gd name="T7" fmla="*/ 39 h 78"/>
                  <a:gd name="T8" fmla="*/ 39 w 78"/>
                  <a:gd name="T9" fmla="*/ 78 h 78"/>
                  <a:gd name="T10" fmla="*/ 39 w 78"/>
                  <a:gd name="T11" fmla="*/ 5 h 78"/>
                  <a:gd name="T12" fmla="*/ 73 w 78"/>
                  <a:gd name="T13" fmla="*/ 39 h 78"/>
                  <a:gd name="T14" fmla="*/ 39 w 78"/>
                  <a:gd name="T15" fmla="*/ 74 h 78"/>
                  <a:gd name="T16" fmla="*/ 4 w 78"/>
                  <a:gd name="T17" fmla="*/ 39 h 78"/>
                  <a:gd name="T18" fmla="*/ 39 w 78"/>
                  <a:gd name="T19" fmla="*/ 5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 h="78">
                    <a:moveTo>
                      <a:pt x="39" y="78"/>
                    </a:moveTo>
                    <a:cubicBezTo>
                      <a:pt x="60" y="78"/>
                      <a:pt x="78" y="61"/>
                      <a:pt x="78" y="39"/>
                    </a:cubicBezTo>
                    <a:cubicBezTo>
                      <a:pt x="78" y="18"/>
                      <a:pt x="60" y="0"/>
                      <a:pt x="39" y="0"/>
                    </a:cubicBezTo>
                    <a:cubicBezTo>
                      <a:pt x="17" y="0"/>
                      <a:pt x="0" y="18"/>
                      <a:pt x="0" y="39"/>
                    </a:cubicBezTo>
                    <a:cubicBezTo>
                      <a:pt x="0" y="61"/>
                      <a:pt x="17" y="78"/>
                      <a:pt x="39" y="78"/>
                    </a:cubicBezTo>
                    <a:close/>
                    <a:moveTo>
                      <a:pt x="39" y="5"/>
                    </a:moveTo>
                    <a:cubicBezTo>
                      <a:pt x="58" y="5"/>
                      <a:pt x="73" y="21"/>
                      <a:pt x="73" y="39"/>
                    </a:cubicBezTo>
                    <a:cubicBezTo>
                      <a:pt x="73" y="58"/>
                      <a:pt x="58" y="74"/>
                      <a:pt x="39" y="74"/>
                    </a:cubicBezTo>
                    <a:cubicBezTo>
                      <a:pt x="20" y="74"/>
                      <a:pt x="4" y="58"/>
                      <a:pt x="4" y="39"/>
                    </a:cubicBezTo>
                    <a:cubicBezTo>
                      <a:pt x="4" y="21"/>
                      <a:pt x="20" y="5"/>
                      <a:pt x="39" y="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63" name="Oval 90"/>
              <p:cNvSpPr>
                <a:spLocks noChangeArrowheads="1"/>
              </p:cNvSpPr>
              <p:nvPr/>
            </p:nvSpPr>
            <p:spPr bwMode="auto">
              <a:xfrm>
                <a:off x="9971088" y="1284288"/>
                <a:ext cx="225425" cy="225425"/>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64" name="Freeform 91"/>
              <p:cNvSpPr>
                <a:spLocks noEditPoints="1"/>
              </p:cNvSpPr>
              <p:nvPr/>
            </p:nvSpPr>
            <p:spPr bwMode="auto">
              <a:xfrm>
                <a:off x="10228263" y="1308101"/>
                <a:ext cx="258763" cy="258763"/>
              </a:xfrm>
              <a:custGeom>
                <a:avLst/>
                <a:gdLst>
                  <a:gd name="T0" fmla="*/ 43 w 87"/>
                  <a:gd name="T1" fmla="*/ 87 h 87"/>
                  <a:gd name="T2" fmla="*/ 87 w 87"/>
                  <a:gd name="T3" fmla="*/ 43 h 87"/>
                  <a:gd name="T4" fmla="*/ 43 w 87"/>
                  <a:gd name="T5" fmla="*/ 0 h 87"/>
                  <a:gd name="T6" fmla="*/ 0 w 87"/>
                  <a:gd name="T7" fmla="*/ 43 h 87"/>
                  <a:gd name="T8" fmla="*/ 43 w 87"/>
                  <a:gd name="T9" fmla="*/ 87 h 87"/>
                  <a:gd name="T10" fmla="*/ 43 w 87"/>
                  <a:gd name="T11" fmla="*/ 5 h 87"/>
                  <a:gd name="T12" fmla="*/ 81 w 87"/>
                  <a:gd name="T13" fmla="*/ 43 h 87"/>
                  <a:gd name="T14" fmla="*/ 43 w 87"/>
                  <a:gd name="T15" fmla="*/ 82 h 87"/>
                  <a:gd name="T16" fmla="*/ 5 w 87"/>
                  <a:gd name="T17" fmla="*/ 43 h 87"/>
                  <a:gd name="T18" fmla="*/ 43 w 87"/>
                  <a:gd name="T19" fmla="*/ 5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7" h="87">
                    <a:moveTo>
                      <a:pt x="43" y="87"/>
                    </a:moveTo>
                    <a:cubicBezTo>
                      <a:pt x="67" y="87"/>
                      <a:pt x="87" y="67"/>
                      <a:pt x="87" y="43"/>
                    </a:cubicBezTo>
                    <a:cubicBezTo>
                      <a:pt x="87" y="20"/>
                      <a:pt x="67" y="0"/>
                      <a:pt x="43" y="0"/>
                    </a:cubicBezTo>
                    <a:cubicBezTo>
                      <a:pt x="19" y="0"/>
                      <a:pt x="0" y="20"/>
                      <a:pt x="0" y="43"/>
                    </a:cubicBezTo>
                    <a:cubicBezTo>
                      <a:pt x="0" y="67"/>
                      <a:pt x="19" y="87"/>
                      <a:pt x="43" y="87"/>
                    </a:cubicBezTo>
                    <a:close/>
                    <a:moveTo>
                      <a:pt x="43" y="5"/>
                    </a:moveTo>
                    <a:cubicBezTo>
                      <a:pt x="64" y="5"/>
                      <a:pt x="81" y="22"/>
                      <a:pt x="81" y="43"/>
                    </a:cubicBezTo>
                    <a:cubicBezTo>
                      <a:pt x="81" y="64"/>
                      <a:pt x="64" y="82"/>
                      <a:pt x="43" y="82"/>
                    </a:cubicBezTo>
                    <a:cubicBezTo>
                      <a:pt x="22" y="82"/>
                      <a:pt x="5" y="64"/>
                      <a:pt x="5" y="43"/>
                    </a:cubicBezTo>
                    <a:cubicBezTo>
                      <a:pt x="5" y="22"/>
                      <a:pt x="22" y="5"/>
                      <a:pt x="43" y="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65" name="Freeform 92"/>
              <p:cNvSpPr>
                <a:spLocks noEditPoints="1"/>
              </p:cNvSpPr>
              <p:nvPr/>
            </p:nvSpPr>
            <p:spPr bwMode="auto">
              <a:xfrm>
                <a:off x="9612313" y="1479551"/>
                <a:ext cx="974725" cy="303213"/>
              </a:xfrm>
              <a:custGeom>
                <a:avLst/>
                <a:gdLst>
                  <a:gd name="T0" fmla="*/ 292 w 329"/>
                  <a:gd name="T1" fmla="*/ 34 h 102"/>
                  <a:gd name="T2" fmla="*/ 224 w 329"/>
                  <a:gd name="T3" fmla="*/ 34 h 102"/>
                  <a:gd name="T4" fmla="*/ 197 w 329"/>
                  <a:gd name="T5" fmla="*/ 20 h 102"/>
                  <a:gd name="T6" fmla="*/ 138 w 329"/>
                  <a:gd name="T7" fmla="*/ 20 h 102"/>
                  <a:gd name="T8" fmla="*/ 107 w 329"/>
                  <a:gd name="T9" fmla="*/ 0 h 102"/>
                  <a:gd name="T10" fmla="*/ 34 w 329"/>
                  <a:gd name="T11" fmla="*/ 0 h 102"/>
                  <a:gd name="T12" fmla="*/ 0 w 329"/>
                  <a:gd name="T13" fmla="*/ 34 h 102"/>
                  <a:gd name="T14" fmla="*/ 0 w 329"/>
                  <a:gd name="T15" fmla="*/ 61 h 102"/>
                  <a:gd name="T16" fmla="*/ 88 w 329"/>
                  <a:gd name="T17" fmla="*/ 61 h 102"/>
                  <a:gd name="T18" fmla="*/ 88 w 329"/>
                  <a:gd name="T19" fmla="*/ 79 h 102"/>
                  <a:gd name="T20" fmla="*/ 173 w 329"/>
                  <a:gd name="T21" fmla="*/ 79 h 102"/>
                  <a:gd name="T22" fmla="*/ 173 w 329"/>
                  <a:gd name="T23" fmla="*/ 102 h 102"/>
                  <a:gd name="T24" fmla="*/ 329 w 329"/>
                  <a:gd name="T25" fmla="*/ 102 h 102"/>
                  <a:gd name="T26" fmla="*/ 329 w 329"/>
                  <a:gd name="T27" fmla="*/ 72 h 102"/>
                  <a:gd name="T28" fmla="*/ 292 w 329"/>
                  <a:gd name="T29" fmla="*/ 34 h 102"/>
                  <a:gd name="T30" fmla="*/ 5 w 329"/>
                  <a:gd name="T31" fmla="*/ 57 h 102"/>
                  <a:gd name="T32" fmla="*/ 5 w 329"/>
                  <a:gd name="T33" fmla="*/ 34 h 102"/>
                  <a:gd name="T34" fmla="*/ 34 w 329"/>
                  <a:gd name="T35" fmla="*/ 5 h 102"/>
                  <a:gd name="T36" fmla="*/ 107 w 329"/>
                  <a:gd name="T37" fmla="*/ 5 h 102"/>
                  <a:gd name="T38" fmla="*/ 133 w 329"/>
                  <a:gd name="T39" fmla="*/ 20 h 102"/>
                  <a:gd name="T40" fmla="*/ 121 w 329"/>
                  <a:gd name="T41" fmla="*/ 20 h 102"/>
                  <a:gd name="T42" fmla="*/ 88 w 329"/>
                  <a:gd name="T43" fmla="*/ 53 h 102"/>
                  <a:gd name="T44" fmla="*/ 88 w 329"/>
                  <a:gd name="T45" fmla="*/ 57 h 102"/>
                  <a:gd name="T46" fmla="*/ 5 w 329"/>
                  <a:gd name="T47" fmla="*/ 57 h 102"/>
                  <a:gd name="T48" fmla="*/ 324 w 329"/>
                  <a:gd name="T49" fmla="*/ 97 h 102"/>
                  <a:gd name="T50" fmla="*/ 178 w 329"/>
                  <a:gd name="T51" fmla="*/ 97 h 102"/>
                  <a:gd name="T52" fmla="*/ 178 w 329"/>
                  <a:gd name="T53" fmla="*/ 72 h 102"/>
                  <a:gd name="T54" fmla="*/ 211 w 329"/>
                  <a:gd name="T55" fmla="*/ 39 h 102"/>
                  <a:gd name="T56" fmla="*/ 292 w 329"/>
                  <a:gd name="T57" fmla="*/ 39 h 102"/>
                  <a:gd name="T58" fmla="*/ 324 w 329"/>
                  <a:gd name="T59" fmla="*/ 72 h 102"/>
                  <a:gd name="T60" fmla="*/ 324 w 329"/>
                  <a:gd name="T61" fmla="*/ 97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29" h="102">
                    <a:moveTo>
                      <a:pt x="292" y="34"/>
                    </a:moveTo>
                    <a:cubicBezTo>
                      <a:pt x="224" y="34"/>
                      <a:pt x="224" y="34"/>
                      <a:pt x="224" y="34"/>
                    </a:cubicBezTo>
                    <a:cubicBezTo>
                      <a:pt x="218" y="26"/>
                      <a:pt x="208" y="20"/>
                      <a:pt x="197" y="20"/>
                    </a:cubicBezTo>
                    <a:cubicBezTo>
                      <a:pt x="138" y="20"/>
                      <a:pt x="138" y="20"/>
                      <a:pt x="138" y="20"/>
                    </a:cubicBezTo>
                    <a:cubicBezTo>
                      <a:pt x="133" y="8"/>
                      <a:pt x="121" y="0"/>
                      <a:pt x="107" y="0"/>
                    </a:cubicBezTo>
                    <a:cubicBezTo>
                      <a:pt x="34" y="0"/>
                      <a:pt x="34" y="0"/>
                      <a:pt x="34" y="0"/>
                    </a:cubicBezTo>
                    <a:cubicBezTo>
                      <a:pt x="16" y="0"/>
                      <a:pt x="0" y="15"/>
                      <a:pt x="0" y="34"/>
                    </a:cubicBezTo>
                    <a:cubicBezTo>
                      <a:pt x="0" y="61"/>
                      <a:pt x="0" y="61"/>
                      <a:pt x="0" y="61"/>
                    </a:cubicBezTo>
                    <a:cubicBezTo>
                      <a:pt x="88" y="61"/>
                      <a:pt x="88" y="61"/>
                      <a:pt x="88" y="61"/>
                    </a:cubicBezTo>
                    <a:cubicBezTo>
                      <a:pt x="88" y="79"/>
                      <a:pt x="88" y="79"/>
                      <a:pt x="88" y="79"/>
                    </a:cubicBezTo>
                    <a:cubicBezTo>
                      <a:pt x="173" y="79"/>
                      <a:pt x="173" y="79"/>
                      <a:pt x="173" y="79"/>
                    </a:cubicBezTo>
                    <a:cubicBezTo>
                      <a:pt x="173" y="102"/>
                      <a:pt x="173" y="102"/>
                      <a:pt x="173" y="102"/>
                    </a:cubicBezTo>
                    <a:cubicBezTo>
                      <a:pt x="329" y="102"/>
                      <a:pt x="329" y="102"/>
                      <a:pt x="329" y="102"/>
                    </a:cubicBezTo>
                    <a:cubicBezTo>
                      <a:pt x="329" y="72"/>
                      <a:pt x="329" y="72"/>
                      <a:pt x="329" y="72"/>
                    </a:cubicBezTo>
                    <a:cubicBezTo>
                      <a:pt x="329" y="51"/>
                      <a:pt x="313" y="34"/>
                      <a:pt x="292" y="34"/>
                    </a:cubicBezTo>
                    <a:close/>
                    <a:moveTo>
                      <a:pt x="5" y="57"/>
                    </a:moveTo>
                    <a:cubicBezTo>
                      <a:pt x="5" y="34"/>
                      <a:pt x="5" y="34"/>
                      <a:pt x="5" y="34"/>
                    </a:cubicBezTo>
                    <a:cubicBezTo>
                      <a:pt x="5" y="18"/>
                      <a:pt x="18" y="5"/>
                      <a:pt x="34" y="5"/>
                    </a:cubicBezTo>
                    <a:cubicBezTo>
                      <a:pt x="107" y="5"/>
                      <a:pt x="107" y="5"/>
                      <a:pt x="107" y="5"/>
                    </a:cubicBezTo>
                    <a:cubicBezTo>
                      <a:pt x="118" y="5"/>
                      <a:pt x="128" y="11"/>
                      <a:pt x="133" y="20"/>
                    </a:cubicBezTo>
                    <a:cubicBezTo>
                      <a:pt x="121" y="20"/>
                      <a:pt x="121" y="20"/>
                      <a:pt x="121" y="20"/>
                    </a:cubicBezTo>
                    <a:cubicBezTo>
                      <a:pt x="103" y="20"/>
                      <a:pt x="88" y="35"/>
                      <a:pt x="88" y="53"/>
                    </a:cubicBezTo>
                    <a:cubicBezTo>
                      <a:pt x="88" y="57"/>
                      <a:pt x="88" y="57"/>
                      <a:pt x="88" y="57"/>
                    </a:cubicBezTo>
                    <a:lnTo>
                      <a:pt x="5" y="57"/>
                    </a:lnTo>
                    <a:close/>
                    <a:moveTo>
                      <a:pt x="324" y="97"/>
                    </a:moveTo>
                    <a:cubicBezTo>
                      <a:pt x="178" y="97"/>
                      <a:pt x="178" y="97"/>
                      <a:pt x="178" y="97"/>
                    </a:cubicBezTo>
                    <a:cubicBezTo>
                      <a:pt x="178" y="72"/>
                      <a:pt x="178" y="72"/>
                      <a:pt x="178" y="72"/>
                    </a:cubicBezTo>
                    <a:cubicBezTo>
                      <a:pt x="178" y="54"/>
                      <a:pt x="193" y="39"/>
                      <a:pt x="211" y="39"/>
                    </a:cubicBezTo>
                    <a:cubicBezTo>
                      <a:pt x="292" y="39"/>
                      <a:pt x="292" y="39"/>
                      <a:pt x="292" y="39"/>
                    </a:cubicBezTo>
                    <a:cubicBezTo>
                      <a:pt x="310" y="39"/>
                      <a:pt x="324" y="54"/>
                      <a:pt x="324" y="72"/>
                    </a:cubicBezTo>
                    <a:lnTo>
                      <a:pt x="324" y="9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de-DE"/>
              </a:p>
            </p:txBody>
          </p:sp>
        </p:grpSp>
      </p:grpSp>
      <p:sp>
        <p:nvSpPr>
          <p:cNvPr id="66" name="Rechteck 65"/>
          <p:cNvSpPr/>
          <p:nvPr/>
        </p:nvSpPr>
        <p:spPr>
          <a:xfrm>
            <a:off x="2373246" y="1407937"/>
            <a:ext cx="6069184" cy="725315"/>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0" tIns="45720" rIns="91440" bIns="45720" numCol="1" spcCol="0" rtlCol="0" fromWordArt="0" anchor="ctr" anchorCtr="0" forceAA="0" compatLnSpc="1">
            <a:prstTxWarp prst="textNoShape">
              <a:avLst/>
            </a:prstTxWarp>
            <a:noAutofit/>
          </a:bodyPr>
          <a:lstStyle/>
          <a:p>
            <a:r>
              <a:rPr lang="ru-RU" b="1" dirty="0" smtClean="0">
                <a:solidFill>
                  <a:srgbClr val="8DC63F"/>
                </a:solidFill>
              </a:rPr>
              <a:t>ОПТИМИЗАЦИЯ ВЗАИМОДЕЙСТВИЯ С БОЛЕЛЬЩИКАМИ</a:t>
            </a:r>
            <a:endParaRPr lang="en-US" b="1" dirty="0" smtClean="0">
              <a:solidFill>
                <a:srgbClr val="8DC63F"/>
              </a:solidFill>
            </a:endParaRPr>
          </a:p>
          <a:p>
            <a:r>
              <a:rPr lang="ru-RU" sz="1600" dirty="0" smtClean="0">
                <a:solidFill>
                  <a:schemeClr val="tx1"/>
                </a:solidFill>
              </a:rPr>
              <a:t>Увеличение вовлечения; уникальные предложения</a:t>
            </a:r>
            <a:endParaRPr lang="en-US" sz="1600" dirty="0">
              <a:solidFill>
                <a:schemeClr val="tx1"/>
              </a:solidFill>
            </a:endParaRPr>
          </a:p>
        </p:txBody>
      </p:sp>
      <p:grpSp>
        <p:nvGrpSpPr>
          <p:cNvPr id="2" name="Gruppieren 1"/>
          <p:cNvGrpSpPr/>
          <p:nvPr/>
        </p:nvGrpSpPr>
        <p:grpSpPr>
          <a:xfrm>
            <a:off x="1476367" y="1403971"/>
            <a:ext cx="764736" cy="764734"/>
            <a:chOff x="1476367" y="1403971"/>
            <a:chExt cx="764736" cy="764734"/>
          </a:xfrm>
        </p:grpSpPr>
        <p:sp>
          <p:nvSpPr>
            <p:cNvPr id="72" name="Oval 53"/>
            <p:cNvSpPr>
              <a:spLocks noChangeAspect="1"/>
            </p:cNvSpPr>
            <p:nvPr/>
          </p:nvSpPr>
          <p:spPr>
            <a:xfrm>
              <a:off x="1476367" y="1403971"/>
              <a:ext cx="764736" cy="764734"/>
            </a:xfrm>
            <a:prstGeom prst="ellipse">
              <a:avLst/>
            </a:prstGeom>
            <a:solidFill>
              <a:schemeClr val="bg1"/>
            </a:solidFill>
            <a:ln w="19050">
              <a:solidFill>
                <a:srgbClr val="8DC63F"/>
              </a:solidFill>
              <a:prstDash val="sys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nvGrpSpPr>
            <p:cNvPr id="69" name="Group 7"/>
            <p:cNvGrpSpPr>
              <a:grpSpLocks noChangeAspect="1"/>
            </p:cNvGrpSpPr>
            <p:nvPr/>
          </p:nvGrpSpPr>
          <p:grpSpPr>
            <a:xfrm>
              <a:off x="1607718" y="1562269"/>
              <a:ext cx="463270" cy="448138"/>
              <a:chOff x="6034713" y="3364290"/>
              <a:chExt cx="877547" cy="848886"/>
            </a:xfrm>
            <a:solidFill>
              <a:srgbClr val="8DC63F"/>
            </a:solidFill>
          </p:grpSpPr>
          <p:sp>
            <p:nvSpPr>
              <p:cNvPr id="70" name="Freeform 57"/>
              <p:cNvSpPr>
                <a:spLocks noChangeAspect="1" noEditPoints="1"/>
              </p:cNvSpPr>
              <p:nvPr/>
            </p:nvSpPr>
            <p:spPr bwMode="auto">
              <a:xfrm>
                <a:off x="6034713" y="3364290"/>
                <a:ext cx="877547" cy="848886"/>
              </a:xfrm>
              <a:custGeom>
                <a:avLst/>
                <a:gdLst>
                  <a:gd name="T0" fmla="*/ 523 w 1086"/>
                  <a:gd name="T1" fmla="*/ 0 h 1050"/>
                  <a:gd name="T2" fmla="*/ 578 w 1086"/>
                  <a:gd name="T3" fmla="*/ 11 h 1050"/>
                  <a:gd name="T4" fmla="*/ 914 w 1086"/>
                  <a:gd name="T5" fmla="*/ 406 h 1050"/>
                  <a:gd name="T6" fmla="*/ 864 w 1086"/>
                  <a:gd name="T7" fmla="*/ 646 h 1050"/>
                  <a:gd name="T8" fmla="*/ 867 w 1086"/>
                  <a:gd name="T9" fmla="*/ 667 h 1050"/>
                  <a:gd name="T10" fmla="*/ 1052 w 1086"/>
                  <a:gd name="T11" fmla="*/ 853 h 1050"/>
                  <a:gd name="T12" fmla="*/ 1052 w 1086"/>
                  <a:gd name="T13" fmla="*/ 960 h 1050"/>
                  <a:gd name="T14" fmla="*/ 996 w 1086"/>
                  <a:gd name="T15" fmla="*/ 1017 h 1050"/>
                  <a:gd name="T16" fmla="*/ 889 w 1086"/>
                  <a:gd name="T17" fmla="*/ 1017 h 1050"/>
                  <a:gd name="T18" fmla="*/ 704 w 1086"/>
                  <a:gd name="T19" fmla="*/ 831 h 1050"/>
                  <a:gd name="T20" fmla="*/ 681 w 1086"/>
                  <a:gd name="T21" fmla="*/ 828 h 1050"/>
                  <a:gd name="T22" fmla="*/ 43 w 1086"/>
                  <a:gd name="T23" fmla="*/ 519 h 1050"/>
                  <a:gd name="T24" fmla="*/ 396 w 1086"/>
                  <a:gd name="T25" fmla="*/ 6 h 1050"/>
                  <a:gd name="T26" fmla="*/ 427 w 1086"/>
                  <a:gd name="T27" fmla="*/ 0 h 1050"/>
                  <a:gd name="T28" fmla="*/ 523 w 1086"/>
                  <a:gd name="T29" fmla="*/ 0 h 1050"/>
                  <a:gd name="T30" fmla="*/ 845 w 1086"/>
                  <a:gd name="T31" fmla="*/ 440 h 1050"/>
                  <a:gd name="T32" fmla="*/ 475 w 1086"/>
                  <a:gd name="T33" fmla="*/ 70 h 1050"/>
                  <a:gd name="T34" fmla="*/ 106 w 1086"/>
                  <a:gd name="T35" fmla="*/ 438 h 1050"/>
                  <a:gd name="T36" fmla="*/ 472 w 1086"/>
                  <a:gd name="T37" fmla="*/ 809 h 1050"/>
                  <a:gd name="T38" fmla="*/ 845 w 1086"/>
                  <a:gd name="T39" fmla="*/ 440 h 10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86" h="1050">
                    <a:moveTo>
                      <a:pt x="523" y="0"/>
                    </a:moveTo>
                    <a:cubicBezTo>
                      <a:pt x="541" y="7"/>
                      <a:pt x="560" y="7"/>
                      <a:pt x="578" y="11"/>
                    </a:cubicBezTo>
                    <a:cubicBezTo>
                      <a:pt x="764" y="56"/>
                      <a:pt x="899" y="215"/>
                      <a:pt x="914" y="406"/>
                    </a:cubicBezTo>
                    <a:cubicBezTo>
                      <a:pt x="920" y="491"/>
                      <a:pt x="903" y="571"/>
                      <a:pt x="864" y="646"/>
                    </a:cubicBezTo>
                    <a:cubicBezTo>
                      <a:pt x="859" y="655"/>
                      <a:pt x="859" y="660"/>
                      <a:pt x="867" y="667"/>
                    </a:cubicBezTo>
                    <a:cubicBezTo>
                      <a:pt x="929" y="729"/>
                      <a:pt x="991" y="791"/>
                      <a:pt x="1052" y="853"/>
                    </a:cubicBezTo>
                    <a:cubicBezTo>
                      <a:pt x="1086" y="886"/>
                      <a:pt x="1086" y="926"/>
                      <a:pt x="1052" y="960"/>
                    </a:cubicBezTo>
                    <a:cubicBezTo>
                      <a:pt x="1034" y="979"/>
                      <a:pt x="1015" y="998"/>
                      <a:pt x="996" y="1017"/>
                    </a:cubicBezTo>
                    <a:cubicBezTo>
                      <a:pt x="963" y="1050"/>
                      <a:pt x="922" y="1050"/>
                      <a:pt x="889" y="1017"/>
                    </a:cubicBezTo>
                    <a:cubicBezTo>
                      <a:pt x="827" y="955"/>
                      <a:pt x="765" y="893"/>
                      <a:pt x="704" y="831"/>
                    </a:cubicBezTo>
                    <a:cubicBezTo>
                      <a:pt x="696" y="824"/>
                      <a:pt x="691" y="823"/>
                      <a:pt x="681" y="828"/>
                    </a:cubicBezTo>
                    <a:cubicBezTo>
                      <a:pt x="420" y="967"/>
                      <a:pt x="95" y="810"/>
                      <a:pt x="43" y="519"/>
                    </a:cubicBezTo>
                    <a:cubicBezTo>
                      <a:pt x="0" y="278"/>
                      <a:pt x="156" y="51"/>
                      <a:pt x="396" y="6"/>
                    </a:cubicBezTo>
                    <a:cubicBezTo>
                      <a:pt x="406" y="4"/>
                      <a:pt x="417" y="5"/>
                      <a:pt x="427" y="0"/>
                    </a:cubicBezTo>
                    <a:cubicBezTo>
                      <a:pt x="459" y="0"/>
                      <a:pt x="491" y="0"/>
                      <a:pt x="523" y="0"/>
                    </a:cubicBezTo>
                    <a:close/>
                    <a:moveTo>
                      <a:pt x="845" y="440"/>
                    </a:moveTo>
                    <a:cubicBezTo>
                      <a:pt x="847" y="251"/>
                      <a:pt x="695" y="71"/>
                      <a:pt x="475" y="70"/>
                    </a:cubicBezTo>
                    <a:cubicBezTo>
                      <a:pt x="272" y="68"/>
                      <a:pt x="106" y="236"/>
                      <a:pt x="106" y="438"/>
                    </a:cubicBezTo>
                    <a:cubicBezTo>
                      <a:pt x="105" y="641"/>
                      <a:pt x="271" y="809"/>
                      <a:pt x="472" y="809"/>
                    </a:cubicBezTo>
                    <a:cubicBezTo>
                      <a:pt x="679" y="809"/>
                      <a:pt x="845" y="645"/>
                      <a:pt x="845" y="44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71" name="Freeform 7"/>
              <p:cNvSpPr>
                <a:spLocks noEditPoints="1"/>
              </p:cNvSpPr>
              <p:nvPr/>
            </p:nvSpPr>
            <p:spPr bwMode="auto">
              <a:xfrm>
                <a:off x="6158399" y="3561355"/>
                <a:ext cx="509786" cy="388100"/>
              </a:xfrm>
              <a:custGeom>
                <a:avLst/>
                <a:gdLst>
                  <a:gd name="T0" fmla="*/ 2744 w 3008"/>
                  <a:gd name="T1" fmla="*/ 36 h 2290"/>
                  <a:gd name="T2" fmla="*/ 2652 w 3008"/>
                  <a:gd name="T3" fmla="*/ 4 h 2290"/>
                  <a:gd name="T4" fmla="*/ 2528 w 3008"/>
                  <a:gd name="T5" fmla="*/ 4 h 2290"/>
                  <a:gd name="T6" fmla="*/ 2344 w 3008"/>
                  <a:gd name="T7" fmla="*/ 42 h 2290"/>
                  <a:gd name="T8" fmla="*/ 1500 w 3008"/>
                  <a:gd name="T9" fmla="*/ 208 h 2290"/>
                  <a:gd name="T10" fmla="*/ 774 w 3008"/>
                  <a:gd name="T11" fmla="*/ 310 h 2290"/>
                  <a:gd name="T12" fmla="*/ 276 w 3008"/>
                  <a:gd name="T13" fmla="*/ 360 h 2290"/>
                  <a:gd name="T14" fmla="*/ 154 w 3008"/>
                  <a:gd name="T15" fmla="*/ 400 h 2290"/>
                  <a:gd name="T16" fmla="*/ 84 w 3008"/>
                  <a:gd name="T17" fmla="*/ 462 h 2290"/>
                  <a:gd name="T18" fmla="*/ 36 w 3008"/>
                  <a:gd name="T19" fmla="*/ 548 h 2290"/>
                  <a:gd name="T20" fmla="*/ 2 w 3008"/>
                  <a:gd name="T21" fmla="*/ 754 h 2290"/>
                  <a:gd name="T22" fmla="*/ 10 w 3008"/>
                  <a:gd name="T23" fmla="*/ 874 h 2290"/>
                  <a:gd name="T24" fmla="*/ 40 w 3008"/>
                  <a:gd name="T25" fmla="*/ 930 h 2290"/>
                  <a:gd name="T26" fmla="*/ 42 w 3008"/>
                  <a:gd name="T27" fmla="*/ 880 h 2290"/>
                  <a:gd name="T28" fmla="*/ 98 w 3008"/>
                  <a:gd name="T29" fmla="*/ 950 h 2290"/>
                  <a:gd name="T30" fmla="*/ 110 w 3008"/>
                  <a:gd name="T31" fmla="*/ 946 h 2290"/>
                  <a:gd name="T32" fmla="*/ 94 w 3008"/>
                  <a:gd name="T33" fmla="*/ 886 h 2290"/>
                  <a:gd name="T34" fmla="*/ 112 w 3008"/>
                  <a:gd name="T35" fmla="*/ 892 h 2290"/>
                  <a:gd name="T36" fmla="*/ 164 w 3008"/>
                  <a:gd name="T37" fmla="*/ 946 h 2290"/>
                  <a:gd name="T38" fmla="*/ 154 w 3008"/>
                  <a:gd name="T39" fmla="*/ 860 h 2290"/>
                  <a:gd name="T40" fmla="*/ 168 w 3008"/>
                  <a:gd name="T41" fmla="*/ 874 h 2290"/>
                  <a:gd name="T42" fmla="*/ 228 w 3008"/>
                  <a:gd name="T43" fmla="*/ 946 h 2290"/>
                  <a:gd name="T44" fmla="*/ 232 w 3008"/>
                  <a:gd name="T45" fmla="*/ 922 h 2290"/>
                  <a:gd name="T46" fmla="*/ 1164 w 3008"/>
                  <a:gd name="T47" fmla="*/ 2252 h 2290"/>
                  <a:gd name="T48" fmla="*/ 1580 w 3008"/>
                  <a:gd name="T49" fmla="*/ 2290 h 2290"/>
                  <a:gd name="T50" fmla="*/ 1860 w 3008"/>
                  <a:gd name="T51" fmla="*/ 2274 h 2290"/>
                  <a:gd name="T52" fmla="*/ 2656 w 3008"/>
                  <a:gd name="T53" fmla="*/ 960 h 2290"/>
                  <a:gd name="T54" fmla="*/ 2686 w 3008"/>
                  <a:gd name="T55" fmla="*/ 912 h 2290"/>
                  <a:gd name="T56" fmla="*/ 2698 w 3008"/>
                  <a:gd name="T57" fmla="*/ 472 h 2290"/>
                  <a:gd name="T58" fmla="*/ 2706 w 3008"/>
                  <a:gd name="T59" fmla="*/ 476 h 2290"/>
                  <a:gd name="T60" fmla="*/ 2704 w 3008"/>
                  <a:gd name="T61" fmla="*/ 380 h 2290"/>
                  <a:gd name="T62" fmla="*/ 2724 w 3008"/>
                  <a:gd name="T63" fmla="*/ 400 h 2290"/>
                  <a:gd name="T64" fmla="*/ 2788 w 3008"/>
                  <a:gd name="T65" fmla="*/ 460 h 2290"/>
                  <a:gd name="T66" fmla="*/ 2778 w 3008"/>
                  <a:gd name="T67" fmla="*/ 396 h 2290"/>
                  <a:gd name="T68" fmla="*/ 2830 w 3008"/>
                  <a:gd name="T69" fmla="*/ 440 h 2290"/>
                  <a:gd name="T70" fmla="*/ 2854 w 3008"/>
                  <a:gd name="T71" fmla="*/ 450 h 2290"/>
                  <a:gd name="T72" fmla="*/ 2844 w 3008"/>
                  <a:gd name="T73" fmla="*/ 388 h 2290"/>
                  <a:gd name="T74" fmla="*/ 2920 w 3008"/>
                  <a:gd name="T75" fmla="*/ 450 h 2290"/>
                  <a:gd name="T76" fmla="*/ 2908 w 3008"/>
                  <a:gd name="T77" fmla="*/ 412 h 2290"/>
                  <a:gd name="T78" fmla="*/ 2898 w 3008"/>
                  <a:gd name="T79" fmla="*/ 346 h 2290"/>
                  <a:gd name="T80" fmla="*/ 2968 w 3008"/>
                  <a:gd name="T81" fmla="*/ 398 h 2290"/>
                  <a:gd name="T82" fmla="*/ 2998 w 3008"/>
                  <a:gd name="T83" fmla="*/ 416 h 2290"/>
                  <a:gd name="T84" fmla="*/ 2864 w 3008"/>
                  <a:gd name="T85" fmla="*/ 184 h 2290"/>
                  <a:gd name="T86" fmla="*/ 2786 w 3008"/>
                  <a:gd name="T87" fmla="*/ 68 h 2290"/>
                  <a:gd name="T88" fmla="*/ 572 w 3008"/>
                  <a:gd name="T89" fmla="*/ 716 h 2290"/>
                  <a:gd name="T90" fmla="*/ 1270 w 3008"/>
                  <a:gd name="T91" fmla="*/ 636 h 2290"/>
                  <a:gd name="T92" fmla="*/ 1194 w 3008"/>
                  <a:gd name="T93" fmla="*/ 768 h 2290"/>
                  <a:gd name="T94" fmla="*/ 1182 w 3008"/>
                  <a:gd name="T95" fmla="*/ 898 h 2290"/>
                  <a:gd name="T96" fmla="*/ 1238 w 3008"/>
                  <a:gd name="T97" fmla="*/ 1050 h 2290"/>
                  <a:gd name="T98" fmla="*/ 1354 w 3008"/>
                  <a:gd name="T99" fmla="*/ 1158 h 2290"/>
                  <a:gd name="T100" fmla="*/ 1514 w 3008"/>
                  <a:gd name="T101" fmla="*/ 1198 h 2290"/>
                  <a:gd name="T102" fmla="*/ 1644 w 3008"/>
                  <a:gd name="T103" fmla="*/ 1172 h 2290"/>
                  <a:gd name="T104" fmla="*/ 1772 w 3008"/>
                  <a:gd name="T105" fmla="*/ 1076 h 2290"/>
                  <a:gd name="T106" fmla="*/ 1840 w 3008"/>
                  <a:gd name="T107" fmla="*/ 932 h 2290"/>
                  <a:gd name="T108" fmla="*/ 1844 w 3008"/>
                  <a:gd name="T109" fmla="*/ 818 h 2290"/>
                  <a:gd name="T110" fmla="*/ 1810 w 3008"/>
                  <a:gd name="T111" fmla="*/ 710 h 2290"/>
                  <a:gd name="T112" fmla="*/ 1744 w 3008"/>
                  <a:gd name="T113" fmla="*/ 622 h 2290"/>
                  <a:gd name="T114" fmla="*/ 1674 w 3008"/>
                  <a:gd name="T115" fmla="*/ 570 h 2290"/>
                  <a:gd name="T116" fmla="*/ 2478 w 3008"/>
                  <a:gd name="T117" fmla="*/ 408 h 2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008" h="2290">
                    <a:moveTo>
                      <a:pt x="2786" y="68"/>
                    </a:moveTo>
                    <a:lnTo>
                      <a:pt x="2786" y="68"/>
                    </a:lnTo>
                    <a:lnTo>
                      <a:pt x="2774" y="58"/>
                    </a:lnTo>
                    <a:lnTo>
                      <a:pt x="2760" y="46"/>
                    </a:lnTo>
                    <a:lnTo>
                      <a:pt x="2744" y="36"/>
                    </a:lnTo>
                    <a:lnTo>
                      <a:pt x="2728" y="28"/>
                    </a:lnTo>
                    <a:lnTo>
                      <a:pt x="2712" y="20"/>
                    </a:lnTo>
                    <a:lnTo>
                      <a:pt x="2692" y="14"/>
                    </a:lnTo>
                    <a:lnTo>
                      <a:pt x="2674" y="8"/>
                    </a:lnTo>
                    <a:lnTo>
                      <a:pt x="2652" y="4"/>
                    </a:lnTo>
                    <a:lnTo>
                      <a:pt x="2630" y="2"/>
                    </a:lnTo>
                    <a:lnTo>
                      <a:pt x="2606" y="0"/>
                    </a:lnTo>
                    <a:lnTo>
                      <a:pt x="2582" y="0"/>
                    </a:lnTo>
                    <a:lnTo>
                      <a:pt x="2554" y="0"/>
                    </a:lnTo>
                    <a:lnTo>
                      <a:pt x="2528" y="4"/>
                    </a:lnTo>
                    <a:lnTo>
                      <a:pt x="2498" y="8"/>
                    </a:lnTo>
                    <a:lnTo>
                      <a:pt x="2468" y="14"/>
                    </a:lnTo>
                    <a:lnTo>
                      <a:pt x="2436" y="20"/>
                    </a:lnTo>
                    <a:lnTo>
                      <a:pt x="2436" y="20"/>
                    </a:lnTo>
                    <a:lnTo>
                      <a:pt x="2344" y="42"/>
                    </a:lnTo>
                    <a:lnTo>
                      <a:pt x="2242" y="66"/>
                    </a:lnTo>
                    <a:lnTo>
                      <a:pt x="2134" y="90"/>
                    </a:lnTo>
                    <a:lnTo>
                      <a:pt x="2018" y="114"/>
                    </a:lnTo>
                    <a:lnTo>
                      <a:pt x="1768" y="160"/>
                    </a:lnTo>
                    <a:lnTo>
                      <a:pt x="1500" y="208"/>
                    </a:lnTo>
                    <a:lnTo>
                      <a:pt x="1358" y="230"/>
                    </a:lnTo>
                    <a:lnTo>
                      <a:pt x="1216" y="252"/>
                    </a:lnTo>
                    <a:lnTo>
                      <a:pt x="1070" y="272"/>
                    </a:lnTo>
                    <a:lnTo>
                      <a:pt x="922" y="292"/>
                    </a:lnTo>
                    <a:lnTo>
                      <a:pt x="774" y="310"/>
                    </a:lnTo>
                    <a:lnTo>
                      <a:pt x="626" y="326"/>
                    </a:lnTo>
                    <a:lnTo>
                      <a:pt x="478" y="340"/>
                    </a:lnTo>
                    <a:lnTo>
                      <a:pt x="330" y="354"/>
                    </a:lnTo>
                    <a:lnTo>
                      <a:pt x="330" y="354"/>
                    </a:lnTo>
                    <a:lnTo>
                      <a:pt x="276" y="360"/>
                    </a:lnTo>
                    <a:lnTo>
                      <a:pt x="230" y="370"/>
                    </a:lnTo>
                    <a:lnTo>
                      <a:pt x="208" y="376"/>
                    </a:lnTo>
                    <a:lnTo>
                      <a:pt x="190" y="384"/>
                    </a:lnTo>
                    <a:lnTo>
                      <a:pt x="170" y="392"/>
                    </a:lnTo>
                    <a:lnTo>
                      <a:pt x="154" y="400"/>
                    </a:lnTo>
                    <a:lnTo>
                      <a:pt x="138" y="410"/>
                    </a:lnTo>
                    <a:lnTo>
                      <a:pt x="122" y="422"/>
                    </a:lnTo>
                    <a:lnTo>
                      <a:pt x="108" y="434"/>
                    </a:lnTo>
                    <a:lnTo>
                      <a:pt x="96" y="448"/>
                    </a:lnTo>
                    <a:lnTo>
                      <a:pt x="84" y="462"/>
                    </a:lnTo>
                    <a:lnTo>
                      <a:pt x="72" y="478"/>
                    </a:lnTo>
                    <a:lnTo>
                      <a:pt x="52" y="512"/>
                    </a:lnTo>
                    <a:lnTo>
                      <a:pt x="52" y="512"/>
                    </a:lnTo>
                    <a:lnTo>
                      <a:pt x="44" y="530"/>
                    </a:lnTo>
                    <a:lnTo>
                      <a:pt x="36" y="548"/>
                    </a:lnTo>
                    <a:lnTo>
                      <a:pt x="24" y="586"/>
                    </a:lnTo>
                    <a:lnTo>
                      <a:pt x="16" y="630"/>
                    </a:lnTo>
                    <a:lnTo>
                      <a:pt x="10" y="674"/>
                    </a:lnTo>
                    <a:lnTo>
                      <a:pt x="4" y="716"/>
                    </a:lnTo>
                    <a:lnTo>
                      <a:pt x="2" y="754"/>
                    </a:lnTo>
                    <a:lnTo>
                      <a:pt x="0" y="808"/>
                    </a:lnTo>
                    <a:lnTo>
                      <a:pt x="0" y="808"/>
                    </a:lnTo>
                    <a:lnTo>
                      <a:pt x="2" y="830"/>
                    </a:lnTo>
                    <a:lnTo>
                      <a:pt x="4" y="852"/>
                    </a:lnTo>
                    <a:lnTo>
                      <a:pt x="10" y="874"/>
                    </a:lnTo>
                    <a:lnTo>
                      <a:pt x="16" y="892"/>
                    </a:lnTo>
                    <a:lnTo>
                      <a:pt x="22" y="906"/>
                    </a:lnTo>
                    <a:lnTo>
                      <a:pt x="28" y="920"/>
                    </a:lnTo>
                    <a:lnTo>
                      <a:pt x="36" y="928"/>
                    </a:lnTo>
                    <a:lnTo>
                      <a:pt x="40" y="930"/>
                    </a:lnTo>
                    <a:lnTo>
                      <a:pt x="40" y="930"/>
                    </a:lnTo>
                    <a:lnTo>
                      <a:pt x="42" y="928"/>
                    </a:lnTo>
                    <a:lnTo>
                      <a:pt x="44" y="922"/>
                    </a:lnTo>
                    <a:lnTo>
                      <a:pt x="44" y="906"/>
                    </a:lnTo>
                    <a:lnTo>
                      <a:pt x="42" y="880"/>
                    </a:lnTo>
                    <a:lnTo>
                      <a:pt x="42" y="880"/>
                    </a:lnTo>
                    <a:lnTo>
                      <a:pt x="52" y="894"/>
                    </a:lnTo>
                    <a:lnTo>
                      <a:pt x="74" y="924"/>
                    </a:lnTo>
                    <a:lnTo>
                      <a:pt x="86" y="940"/>
                    </a:lnTo>
                    <a:lnTo>
                      <a:pt x="98" y="950"/>
                    </a:lnTo>
                    <a:lnTo>
                      <a:pt x="106" y="956"/>
                    </a:lnTo>
                    <a:lnTo>
                      <a:pt x="108" y="956"/>
                    </a:lnTo>
                    <a:lnTo>
                      <a:pt x="110" y="954"/>
                    </a:lnTo>
                    <a:lnTo>
                      <a:pt x="110" y="954"/>
                    </a:lnTo>
                    <a:lnTo>
                      <a:pt x="110" y="946"/>
                    </a:lnTo>
                    <a:lnTo>
                      <a:pt x="110" y="938"/>
                    </a:lnTo>
                    <a:lnTo>
                      <a:pt x="106" y="922"/>
                    </a:lnTo>
                    <a:lnTo>
                      <a:pt x="100" y="906"/>
                    </a:lnTo>
                    <a:lnTo>
                      <a:pt x="94" y="886"/>
                    </a:lnTo>
                    <a:lnTo>
                      <a:pt x="94" y="886"/>
                    </a:lnTo>
                    <a:lnTo>
                      <a:pt x="94" y="882"/>
                    </a:lnTo>
                    <a:lnTo>
                      <a:pt x="96" y="880"/>
                    </a:lnTo>
                    <a:lnTo>
                      <a:pt x="98" y="880"/>
                    </a:lnTo>
                    <a:lnTo>
                      <a:pt x="102" y="882"/>
                    </a:lnTo>
                    <a:lnTo>
                      <a:pt x="112" y="892"/>
                    </a:lnTo>
                    <a:lnTo>
                      <a:pt x="124" y="904"/>
                    </a:lnTo>
                    <a:lnTo>
                      <a:pt x="148" y="932"/>
                    </a:lnTo>
                    <a:lnTo>
                      <a:pt x="158" y="942"/>
                    </a:lnTo>
                    <a:lnTo>
                      <a:pt x="164" y="946"/>
                    </a:lnTo>
                    <a:lnTo>
                      <a:pt x="164" y="946"/>
                    </a:lnTo>
                    <a:lnTo>
                      <a:pt x="166" y="944"/>
                    </a:lnTo>
                    <a:lnTo>
                      <a:pt x="166" y="942"/>
                    </a:lnTo>
                    <a:lnTo>
                      <a:pt x="166" y="928"/>
                    </a:lnTo>
                    <a:lnTo>
                      <a:pt x="160" y="892"/>
                    </a:lnTo>
                    <a:lnTo>
                      <a:pt x="154" y="860"/>
                    </a:lnTo>
                    <a:lnTo>
                      <a:pt x="152" y="850"/>
                    </a:lnTo>
                    <a:lnTo>
                      <a:pt x="152" y="848"/>
                    </a:lnTo>
                    <a:lnTo>
                      <a:pt x="152" y="848"/>
                    </a:lnTo>
                    <a:lnTo>
                      <a:pt x="152" y="848"/>
                    </a:lnTo>
                    <a:lnTo>
                      <a:pt x="168" y="874"/>
                    </a:lnTo>
                    <a:lnTo>
                      <a:pt x="184" y="898"/>
                    </a:lnTo>
                    <a:lnTo>
                      <a:pt x="198" y="918"/>
                    </a:lnTo>
                    <a:lnTo>
                      <a:pt x="212" y="934"/>
                    </a:lnTo>
                    <a:lnTo>
                      <a:pt x="222" y="944"/>
                    </a:lnTo>
                    <a:lnTo>
                      <a:pt x="228" y="946"/>
                    </a:lnTo>
                    <a:lnTo>
                      <a:pt x="230" y="946"/>
                    </a:lnTo>
                    <a:lnTo>
                      <a:pt x="232" y="942"/>
                    </a:lnTo>
                    <a:lnTo>
                      <a:pt x="234" y="938"/>
                    </a:lnTo>
                    <a:lnTo>
                      <a:pt x="232" y="922"/>
                    </a:lnTo>
                    <a:lnTo>
                      <a:pt x="232" y="922"/>
                    </a:lnTo>
                    <a:lnTo>
                      <a:pt x="226" y="898"/>
                    </a:lnTo>
                    <a:lnTo>
                      <a:pt x="216" y="866"/>
                    </a:lnTo>
                    <a:lnTo>
                      <a:pt x="188" y="796"/>
                    </a:lnTo>
                    <a:lnTo>
                      <a:pt x="1164" y="1582"/>
                    </a:lnTo>
                    <a:lnTo>
                      <a:pt x="1164" y="2252"/>
                    </a:lnTo>
                    <a:lnTo>
                      <a:pt x="1164" y="2252"/>
                    </a:lnTo>
                    <a:lnTo>
                      <a:pt x="1266" y="2268"/>
                    </a:lnTo>
                    <a:lnTo>
                      <a:pt x="1368" y="2280"/>
                    </a:lnTo>
                    <a:lnTo>
                      <a:pt x="1474" y="2288"/>
                    </a:lnTo>
                    <a:lnTo>
                      <a:pt x="1580" y="2290"/>
                    </a:lnTo>
                    <a:lnTo>
                      <a:pt x="1580" y="2290"/>
                    </a:lnTo>
                    <a:lnTo>
                      <a:pt x="1652" y="2288"/>
                    </a:lnTo>
                    <a:lnTo>
                      <a:pt x="1722" y="2286"/>
                    </a:lnTo>
                    <a:lnTo>
                      <a:pt x="1792" y="2280"/>
                    </a:lnTo>
                    <a:lnTo>
                      <a:pt x="1860" y="2274"/>
                    </a:lnTo>
                    <a:lnTo>
                      <a:pt x="1860" y="1586"/>
                    </a:lnTo>
                    <a:lnTo>
                      <a:pt x="2648" y="968"/>
                    </a:lnTo>
                    <a:lnTo>
                      <a:pt x="2648" y="968"/>
                    </a:lnTo>
                    <a:lnTo>
                      <a:pt x="2648" y="968"/>
                    </a:lnTo>
                    <a:lnTo>
                      <a:pt x="2656" y="960"/>
                    </a:lnTo>
                    <a:lnTo>
                      <a:pt x="2664" y="952"/>
                    </a:lnTo>
                    <a:lnTo>
                      <a:pt x="2672" y="944"/>
                    </a:lnTo>
                    <a:lnTo>
                      <a:pt x="2678" y="934"/>
                    </a:lnTo>
                    <a:lnTo>
                      <a:pt x="2682" y="924"/>
                    </a:lnTo>
                    <a:lnTo>
                      <a:pt x="2686" y="912"/>
                    </a:lnTo>
                    <a:lnTo>
                      <a:pt x="2688" y="900"/>
                    </a:lnTo>
                    <a:lnTo>
                      <a:pt x="2688" y="888"/>
                    </a:lnTo>
                    <a:lnTo>
                      <a:pt x="2682" y="440"/>
                    </a:lnTo>
                    <a:lnTo>
                      <a:pt x="2682" y="440"/>
                    </a:lnTo>
                    <a:lnTo>
                      <a:pt x="2698" y="472"/>
                    </a:lnTo>
                    <a:lnTo>
                      <a:pt x="2698" y="472"/>
                    </a:lnTo>
                    <a:lnTo>
                      <a:pt x="2702" y="480"/>
                    </a:lnTo>
                    <a:lnTo>
                      <a:pt x="2704" y="482"/>
                    </a:lnTo>
                    <a:lnTo>
                      <a:pt x="2706" y="480"/>
                    </a:lnTo>
                    <a:lnTo>
                      <a:pt x="2706" y="476"/>
                    </a:lnTo>
                    <a:lnTo>
                      <a:pt x="2706" y="456"/>
                    </a:lnTo>
                    <a:lnTo>
                      <a:pt x="2704" y="432"/>
                    </a:lnTo>
                    <a:lnTo>
                      <a:pt x="2702" y="406"/>
                    </a:lnTo>
                    <a:lnTo>
                      <a:pt x="2702" y="386"/>
                    </a:lnTo>
                    <a:lnTo>
                      <a:pt x="2704" y="380"/>
                    </a:lnTo>
                    <a:lnTo>
                      <a:pt x="2706" y="378"/>
                    </a:lnTo>
                    <a:lnTo>
                      <a:pt x="2710" y="380"/>
                    </a:lnTo>
                    <a:lnTo>
                      <a:pt x="2714" y="386"/>
                    </a:lnTo>
                    <a:lnTo>
                      <a:pt x="2714" y="386"/>
                    </a:lnTo>
                    <a:lnTo>
                      <a:pt x="2724" y="400"/>
                    </a:lnTo>
                    <a:lnTo>
                      <a:pt x="2734" y="414"/>
                    </a:lnTo>
                    <a:lnTo>
                      <a:pt x="2762" y="442"/>
                    </a:lnTo>
                    <a:lnTo>
                      <a:pt x="2794" y="474"/>
                    </a:lnTo>
                    <a:lnTo>
                      <a:pt x="2794" y="474"/>
                    </a:lnTo>
                    <a:lnTo>
                      <a:pt x="2788" y="460"/>
                    </a:lnTo>
                    <a:lnTo>
                      <a:pt x="2780" y="430"/>
                    </a:lnTo>
                    <a:lnTo>
                      <a:pt x="2778" y="414"/>
                    </a:lnTo>
                    <a:lnTo>
                      <a:pt x="2776" y="402"/>
                    </a:lnTo>
                    <a:lnTo>
                      <a:pt x="2776" y="398"/>
                    </a:lnTo>
                    <a:lnTo>
                      <a:pt x="2778" y="396"/>
                    </a:lnTo>
                    <a:lnTo>
                      <a:pt x="2780" y="396"/>
                    </a:lnTo>
                    <a:lnTo>
                      <a:pt x="2782" y="398"/>
                    </a:lnTo>
                    <a:lnTo>
                      <a:pt x="2782" y="398"/>
                    </a:lnTo>
                    <a:lnTo>
                      <a:pt x="2806" y="420"/>
                    </a:lnTo>
                    <a:lnTo>
                      <a:pt x="2830" y="440"/>
                    </a:lnTo>
                    <a:lnTo>
                      <a:pt x="2848" y="450"/>
                    </a:lnTo>
                    <a:lnTo>
                      <a:pt x="2854" y="452"/>
                    </a:lnTo>
                    <a:lnTo>
                      <a:pt x="2854" y="452"/>
                    </a:lnTo>
                    <a:lnTo>
                      <a:pt x="2854" y="450"/>
                    </a:lnTo>
                    <a:lnTo>
                      <a:pt x="2854" y="450"/>
                    </a:lnTo>
                    <a:lnTo>
                      <a:pt x="2848" y="416"/>
                    </a:lnTo>
                    <a:lnTo>
                      <a:pt x="2844" y="394"/>
                    </a:lnTo>
                    <a:lnTo>
                      <a:pt x="2840" y="380"/>
                    </a:lnTo>
                    <a:lnTo>
                      <a:pt x="2840" y="380"/>
                    </a:lnTo>
                    <a:lnTo>
                      <a:pt x="2844" y="388"/>
                    </a:lnTo>
                    <a:lnTo>
                      <a:pt x="2860" y="406"/>
                    </a:lnTo>
                    <a:lnTo>
                      <a:pt x="2872" y="418"/>
                    </a:lnTo>
                    <a:lnTo>
                      <a:pt x="2886" y="430"/>
                    </a:lnTo>
                    <a:lnTo>
                      <a:pt x="2902" y="440"/>
                    </a:lnTo>
                    <a:lnTo>
                      <a:pt x="2920" y="450"/>
                    </a:lnTo>
                    <a:lnTo>
                      <a:pt x="2920" y="450"/>
                    </a:lnTo>
                    <a:lnTo>
                      <a:pt x="2922" y="450"/>
                    </a:lnTo>
                    <a:lnTo>
                      <a:pt x="2922" y="446"/>
                    </a:lnTo>
                    <a:lnTo>
                      <a:pt x="2914" y="428"/>
                    </a:lnTo>
                    <a:lnTo>
                      <a:pt x="2908" y="412"/>
                    </a:lnTo>
                    <a:lnTo>
                      <a:pt x="2904" y="394"/>
                    </a:lnTo>
                    <a:lnTo>
                      <a:pt x="2900" y="372"/>
                    </a:lnTo>
                    <a:lnTo>
                      <a:pt x="2898" y="348"/>
                    </a:lnTo>
                    <a:lnTo>
                      <a:pt x="2898" y="348"/>
                    </a:lnTo>
                    <a:lnTo>
                      <a:pt x="2898" y="346"/>
                    </a:lnTo>
                    <a:lnTo>
                      <a:pt x="2900" y="346"/>
                    </a:lnTo>
                    <a:lnTo>
                      <a:pt x="2904" y="346"/>
                    </a:lnTo>
                    <a:lnTo>
                      <a:pt x="2920" y="358"/>
                    </a:lnTo>
                    <a:lnTo>
                      <a:pt x="2942" y="378"/>
                    </a:lnTo>
                    <a:lnTo>
                      <a:pt x="2968" y="398"/>
                    </a:lnTo>
                    <a:lnTo>
                      <a:pt x="2990" y="418"/>
                    </a:lnTo>
                    <a:lnTo>
                      <a:pt x="3004" y="432"/>
                    </a:lnTo>
                    <a:lnTo>
                      <a:pt x="3008" y="434"/>
                    </a:lnTo>
                    <a:lnTo>
                      <a:pt x="3008" y="432"/>
                    </a:lnTo>
                    <a:lnTo>
                      <a:pt x="2998" y="416"/>
                    </a:lnTo>
                    <a:lnTo>
                      <a:pt x="2998" y="416"/>
                    </a:lnTo>
                    <a:lnTo>
                      <a:pt x="2978" y="384"/>
                    </a:lnTo>
                    <a:lnTo>
                      <a:pt x="2952" y="342"/>
                    </a:lnTo>
                    <a:lnTo>
                      <a:pt x="2894" y="238"/>
                    </a:lnTo>
                    <a:lnTo>
                      <a:pt x="2864" y="184"/>
                    </a:lnTo>
                    <a:lnTo>
                      <a:pt x="2834" y="136"/>
                    </a:lnTo>
                    <a:lnTo>
                      <a:pt x="2808" y="96"/>
                    </a:lnTo>
                    <a:lnTo>
                      <a:pt x="2796" y="80"/>
                    </a:lnTo>
                    <a:lnTo>
                      <a:pt x="2786" y="68"/>
                    </a:lnTo>
                    <a:lnTo>
                      <a:pt x="2786" y="68"/>
                    </a:lnTo>
                    <a:close/>
                    <a:moveTo>
                      <a:pt x="1850" y="1230"/>
                    </a:moveTo>
                    <a:lnTo>
                      <a:pt x="1188" y="1224"/>
                    </a:lnTo>
                    <a:lnTo>
                      <a:pt x="428" y="730"/>
                    </a:lnTo>
                    <a:lnTo>
                      <a:pt x="428" y="730"/>
                    </a:lnTo>
                    <a:lnTo>
                      <a:pt x="572" y="716"/>
                    </a:lnTo>
                    <a:lnTo>
                      <a:pt x="772" y="698"/>
                    </a:lnTo>
                    <a:lnTo>
                      <a:pt x="1010" y="670"/>
                    </a:lnTo>
                    <a:lnTo>
                      <a:pt x="1138" y="654"/>
                    </a:lnTo>
                    <a:lnTo>
                      <a:pt x="1270" y="636"/>
                    </a:lnTo>
                    <a:lnTo>
                      <a:pt x="1270" y="636"/>
                    </a:lnTo>
                    <a:lnTo>
                      <a:pt x="1250" y="660"/>
                    </a:lnTo>
                    <a:lnTo>
                      <a:pt x="1232" y="684"/>
                    </a:lnTo>
                    <a:lnTo>
                      <a:pt x="1218" y="712"/>
                    </a:lnTo>
                    <a:lnTo>
                      <a:pt x="1204" y="740"/>
                    </a:lnTo>
                    <a:lnTo>
                      <a:pt x="1194" y="768"/>
                    </a:lnTo>
                    <a:lnTo>
                      <a:pt x="1186" y="800"/>
                    </a:lnTo>
                    <a:lnTo>
                      <a:pt x="1182" y="832"/>
                    </a:lnTo>
                    <a:lnTo>
                      <a:pt x="1180" y="864"/>
                    </a:lnTo>
                    <a:lnTo>
                      <a:pt x="1180" y="864"/>
                    </a:lnTo>
                    <a:lnTo>
                      <a:pt x="1182" y="898"/>
                    </a:lnTo>
                    <a:lnTo>
                      <a:pt x="1186" y="932"/>
                    </a:lnTo>
                    <a:lnTo>
                      <a:pt x="1196" y="964"/>
                    </a:lnTo>
                    <a:lnTo>
                      <a:pt x="1206" y="994"/>
                    </a:lnTo>
                    <a:lnTo>
                      <a:pt x="1220" y="1022"/>
                    </a:lnTo>
                    <a:lnTo>
                      <a:pt x="1238" y="1050"/>
                    </a:lnTo>
                    <a:lnTo>
                      <a:pt x="1256" y="1076"/>
                    </a:lnTo>
                    <a:lnTo>
                      <a:pt x="1278" y="1100"/>
                    </a:lnTo>
                    <a:lnTo>
                      <a:pt x="1302" y="1122"/>
                    </a:lnTo>
                    <a:lnTo>
                      <a:pt x="1328" y="1140"/>
                    </a:lnTo>
                    <a:lnTo>
                      <a:pt x="1354" y="1158"/>
                    </a:lnTo>
                    <a:lnTo>
                      <a:pt x="1384" y="1172"/>
                    </a:lnTo>
                    <a:lnTo>
                      <a:pt x="1414" y="1182"/>
                    </a:lnTo>
                    <a:lnTo>
                      <a:pt x="1446" y="1190"/>
                    </a:lnTo>
                    <a:lnTo>
                      <a:pt x="1480" y="1196"/>
                    </a:lnTo>
                    <a:lnTo>
                      <a:pt x="1514" y="1198"/>
                    </a:lnTo>
                    <a:lnTo>
                      <a:pt x="1514" y="1198"/>
                    </a:lnTo>
                    <a:lnTo>
                      <a:pt x="1548" y="1196"/>
                    </a:lnTo>
                    <a:lnTo>
                      <a:pt x="1582" y="1190"/>
                    </a:lnTo>
                    <a:lnTo>
                      <a:pt x="1614" y="1182"/>
                    </a:lnTo>
                    <a:lnTo>
                      <a:pt x="1644" y="1172"/>
                    </a:lnTo>
                    <a:lnTo>
                      <a:pt x="1672" y="1158"/>
                    </a:lnTo>
                    <a:lnTo>
                      <a:pt x="1700" y="1140"/>
                    </a:lnTo>
                    <a:lnTo>
                      <a:pt x="1726" y="1122"/>
                    </a:lnTo>
                    <a:lnTo>
                      <a:pt x="1750" y="1100"/>
                    </a:lnTo>
                    <a:lnTo>
                      <a:pt x="1772" y="1076"/>
                    </a:lnTo>
                    <a:lnTo>
                      <a:pt x="1790" y="1050"/>
                    </a:lnTo>
                    <a:lnTo>
                      <a:pt x="1808" y="1022"/>
                    </a:lnTo>
                    <a:lnTo>
                      <a:pt x="1822" y="994"/>
                    </a:lnTo>
                    <a:lnTo>
                      <a:pt x="1832" y="964"/>
                    </a:lnTo>
                    <a:lnTo>
                      <a:pt x="1840" y="932"/>
                    </a:lnTo>
                    <a:lnTo>
                      <a:pt x="1846" y="898"/>
                    </a:lnTo>
                    <a:lnTo>
                      <a:pt x="1848" y="864"/>
                    </a:lnTo>
                    <a:lnTo>
                      <a:pt x="1848" y="864"/>
                    </a:lnTo>
                    <a:lnTo>
                      <a:pt x="1846" y="840"/>
                    </a:lnTo>
                    <a:lnTo>
                      <a:pt x="1844" y="818"/>
                    </a:lnTo>
                    <a:lnTo>
                      <a:pt x="1840" y="794"/>
                    </a:lnTo>
                    <a:lnTo>
                      <a:pt x="1834" y="772"/>
                    </a:lnTo>
                    <a:lnTo>
                      <a:pt x="1828" y="752"/>
                    </a:lnTo>
                    <a:lnTo>
                      <a:pt x="1820" y="730"/>
                    </a:lnTo>
                    <a:lnTo>
                      <a:pt x="1810" y="710"/>
                    </a:lnTo>
                    <a:lnTo>
                      <a:pt x="1800" y="692"/>
                    </a:lnTo>
                    <a:lnTo>
                      <a:pt x="1788" y="672"/>
                    </a:lnTo>
                    <a:lnTo>
                      <a:pt x="1774" y="656"/>
                    </a:lnTo>
                    <a:lnTo>
                      <a:pt x="1760" y="638"/>
                    </a:lnTo>
                    <a:lnTo>
                      <a:pt x="1744" y="622"/>
                    </a:lnTo>
                    <a:lnTo>
                      <a:pt x="1728" y="608"/>
                    </a:lnTo>
                    <a:lnTo>
                      <a:pt x="1712" y="594"/>
                    </a:lnTo>
                    <a:lnTo>
                      <a:pt x="1692" y="582"/>
                    </a:lnTo>
                    <a:lnTo>
                      <a:pt x="1674" y="570"/>
                    </a:lnTo>
                    <a:lnTo>
                      <a:pt x="1674" y="570"/>
                    </a:lnTo>
                    <a:lnTo>
                      <a:pt x="1814" y="546"/>
                    </a:lnTo>
                    <a:lnTo>
                      <a:pt x="1948" y="520"/>
                    </a:lnTo>
                    <a:lnTo>
                      <a:pt x="2186" y="472"/>
                    </a:lnTo>
                    <a:lnTo>
                      <a:pt x="2368" y="432"/>
                    </a:lnTo>
                    <a:lnTo>
                      <a:pt x="2478" y="408"/>
                    </a:lnTo>
                    <a:lnTo>
                      <a:pt x="2480" y="808"/>
                    </a:lnTo>
                    <a:lnTo>
                      <a:pt x="1850" y="12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grpSp>
    </p:spTree>
    <p:extLst>
      <p:ext uri="{BB962C8B-B14F-4D97-AF65-F5344CB8AC3E}">
        <p14:creationId xmlns:p14="http://schemas.microsoft.com/office/powerpoint/2010/main" val="2291139908"/>
      </p:ext>
    </p:extLst>
  </p:cSld>
  <p:clrMapOvr>
    <a:masterClrMapping/>
  </p:clrMapOvr>
  <p:transition>
    <p:fad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8" name="Picture 3"/>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19264" y="2499588"/>
            <a:ext cx="2364784" cy="215138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9" name="Picture 4"/>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434089" y="2493712"/>
            <a:ext cx="2376782" cy="21647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0" name="Picture 3"/>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455324" y="2508954"/>
            <a:ext cx="2491264" cy="19567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1" name="Richtungspfeil 26"/>
          <p:cNvSpPr/>
          <p:nvPr/>
        </p:nvSpPr>
        <p:spPr>
          <a:xfrm>
            <a:off x="521550" y="1476991"/>
            <a:ext cx="2681825" cy="413123"/>
          </a:xfrm>
          <a:prstGeom prst="homePlate">
            <a:avLst/>
          </a:prstGeom>
          <a:solidFill>
            <a:srgbClr val="000000"/>
          </a:solidFill>
          <a:ln w="3175" cap="flat" cmpd="sng" algn="ctr">
            <a:noFill/>
            <a:prstDash val="solid"/>
            <a:bevel/>
            <a:headEnd type="none" w="med" len="med"/>
            <a:tailEnd type="none" w="med" len="med"/>
          </a:ln>
          <a:effectLst/>
        </p:spPr>
        <p:txBody>
          <a:bodyPr vert="horz" wrap="square" lIns="72000" tIns="0" rIns="0" bIns="0" numCol="1" rtlCol="0" anchor="ctr" anchorCtr="0" compatLnSpc="1">
            <a:prstTxWarp prst="textNoShape">
              <a:avLst/>
            </a:prstTxWarp>
            <a:noAutofit/>
          </a:bodyPr>
          <a:lstStyle/>
          <a:p>
            <a:pPr algn="ctr" defTabSz="914400" fontAlgn="base">
              <a:lnSpc>
                <a:spcPct val="110000"/>
              </a:lnSpc>
              <a:spcBef>
                <a:spcPct val="40000"/>
              </a:spcBef>
              <a:spcAft>
                <a:spcPct val="0"/>
              </a:spcAft>
              <a:buClr>
                <a:srgbClr val="D20032"/>
              </a:buClr>
              <a:buFont typeface="Wingdings" pitchFamily="2" charset="2"/>
              <a:buNone/>
            </a:pPr>
            <a:endParaRPr lang="de-DE" b="1" dirty="0">
              <a:solidFill>
                <a:srgbClr val="FFFFFF"/>
              </a:solidFill>
            </a:endParaRPr>
          </a:p>
        </p:txBody>
      </p:sp>
      <p:sp>
        <p:nvSpPr>
          <p:cNvPr id="32" name="Rechteck 36"/>
          <p:cNvSpPr/>
          <p:nvPr/>
        </p:nvSpPr>
        <p:spPr>
          <a:xfrm>
            <a:off x="557021" y="1524094"/>
            <a:ext cx="2385265" cy="338554"/>
          </a:xfrm>
          <a:prstGeom prst="rect">
            <a:avLst/>
          </a:prstGeom>
        </p:spPr>
        <p:txBody>
          <a:bodyPr wrap="square">
            <a:spAutoFit/>
          </a:bodyPr>
          <a:lstStyle/>
          <a:p>
            <a:pPr algn="ctr" defTabSz="914400"/>
            <a:r>
              <a:rPr lang="ru-RU" sz="1600" b="1" dirty="0" smtClean="0">
                <a:solidFill>
                  <a:srgbClr val="FFFFFF"/>
                </a:solidFill>
              </a:rPr>
              <a:t>СБОР ДАННЫХ</a:t>
            </a:r>
            <a:endParaRPr lang="en-US" sz="1600" b="1" dirty="0">
              <a:solidFill>
                <a:srgbClr val="5F5F5F"/>
              </a:solidFill>
            </a:endParaRPr>
          </a:p>
        </p:txBody>
      </p:sp>
      <p:sp>
        <p:nvSpPr>
          <p:cNvPr id="33" name="Eingekerbter Richtungspfeil 32"/>
          <p:cNvSpPr/>
          <p:nvPr/>
        </p:nvSpPr>
        <p:spPr>
          <a:xfrm>
            <a:off x="3295438" y="1476478"/>
            <a:ext cx="2759559" cy="413123"/>
          </a:xfrm>
          <a:prstGeom prst="chevron">
            <a:avLst/>
          </a:prstGeom>
          <a:solidFill>
            <a:srgbClr val="000000"/>
          </a:solidFill>
          <a:ln w="3175" cap="flat" cmpd="sng" algn="ctr">
            <a:noFill/>
            <a:prstDash val="solid"/>
            <a:bevel/>
            <a:headEnd type="none" w="med" len="med"/>
            <a:tailEnd type="none" w="med" len="med"/>
          </a:ln>
          <a:effectLst/>
        </p:spPr>
        <p:txBody>
          <a:bodyPr vert="horz" wrap="square" lIns="72000" tIns="0" rIns="0" bIns="0" numCol="1" rtlCol="0" anchor="ctr" anchorCtr="0" compatLnSpc="1">
            <a:prstTxWarp prst="textNoShape">
              <a:avLst/>
            </a:prstTxWarp>
            <a:noAutofit/>
          </a:bodyPr>
          <a:lstStyle/>
          <a:p>
            <a:pPr algn="ctr" defTabSz="914400" fontAlgn="base">
              <a:lnSpc>
                <a:spcPct val="110000"/>
              </a:lnSpc>
              <a:spcBef>
                <a:spcPct val="40000"/>
              </a:spcBef>
              <a:spcAft>
                <a:spcPct val="0"/>
              </a:spcAft>
              <a:buClr>
                <a:srgbClr val="D20032"/>
              </a:buClr>
              <a:buFont typeface="Wingdings" pitchFamily="2" charset="2"/>
              <a:buNone/>
            </a:pPr>
            <a:endParaRPr lang="de-DE" sz="1400" dirty="0">
              <a:solidFill>
                <a:srgbClr val="FFFFFF"/>
              </a:solidFill>
            </a:endParaRPr>
          </a:p>
        </p:txBody>
      </p:sp>
      <p:sp>
        <p:nvSpPr>
          <p:cNvPr id="34" name="Eingekerbter Richtungspfeil 35"/>
          <p:cNvSpPr/>
          <p:nvPr/>
        </p:nvSpPr>
        <p:spPr>
          <a:xfrm>
            <a:off x="6177930" y="1483603"/>
            <a:ext cx="2759559" cy="413123"/>
          </a:xfrm>
          <a:prstGeom prst="chevron">
            <a:avLst/>
          </a:prstGeom>
          <a:solidFill>
            <a:srgbClr val="000000"/>
          </a:solidFill>
          <a:ln w="3175" cap="flat" cmpd="sng" algn="ctr">
            <a:noFill/>
            <a:prstDash val="solid"/>
            <a:bevel/>
            <a:headEnd type="none" w="med" len="med"/>
            <a:tailEnd type="none" w="med" len="med"/>
          </a:ln>
          <a:effectLst/>
        </p:spPr>
        <p:txBody>
          <a:bodyPr vert="horz" wrap="square" lIns="72000" tIns="0" rIns="0" bIns="0" numCol="1" rtlCol="0" anchor="ctr" anchorCtr="0" compatLnSpc="1">
            <a:prstTxWarp prst="textNoShape">
              <a:avLst/>
            </a:prstTxWarp>
            <a:noAutofit/>
          </a:bodyPr>
          <a:lstStyle/>
          <a:p>
            <a:pPr algn="ctr" defTabSz="914400" fontAlgn="base">
              <a:lnSpc>
                <a:spcPct val="110000"/>
              </a:lnSpc>
              <a:spcBef>
                <a:spcPct val="40000"/>
              </a:spcBef>
              <a:spcAft>
                <a:spcPct val="0"/>
              </a:spcAft>
              <a:buClr>
                <a:srgbClr val="D20032"/>
              </a:buClr>
              <a:buFont typeface="Wingdings" pitchFamily="2" charset="2"/>
              <a:buNone/>
            </a:pPr>
            <a:endParaRPr lang="de-DE" sz="1400" dirty="0">
              <a:solidFill>
                <a:srgbClr val="FFFFFF"/>
              </a:solidFill>
            </a:endParaRPr>
          </a:p>
        </p:txBody>
      </p:sp>
      <p:sp>
        <p:nvSpPr>
          <p:cNvPr id="35" name="Rechteck 36"/>
          <p:cNvSpPr/>
          <p:nvPr/>
        </p:nvSpPr>
        <p:spPr>
          <a:xfrm>
            <a:off x="3305911" y="1524094"/>
            <a:ext cx="2790090" cy="338554"/>
          </a:xfrm>
          <a:prstGeom prst="rect">
            <a:avLst/>
          </a:prstGeom>
        </p:spPr>
        <p:txBody>
          <a:bodyPr wrap="square">
            <a:spAutoFit/>
          </a:bodyPr>
          <a:lstStyle/>
          <a:p>
            <a:pPr algn="ctr" defTabSz="914400"/>
            <a:r>
              <a:rPr lang="ru-RU" sz="1600" b="1" dirty="0" smtClean="0">
                <a:solidFill>
                  <a:srgbClr val="FFFFFF"/>
                </a:solidFill>
              </a:rPr>
              <a:t>АНАЛИЗ И СЕГМЕНТАЦИЯ </a:t>
            </a:r>
            <a:endParaRPr lang="en-US" sz="1600" b="1" dirty="0">
              <a:solidFill>
                <a:srgbClr val="5F5F5F"/>
              </a:solidFill>
            </a:endParaRPr>
          </a:p>
        </p:txBody>
      </p:sp>
      <p:sp>
        <p:nvSpPr>
          <p:cNvPr id="36" name="Rechteck 36"/>
          <p:cNvSpPr/>
          <p:nvPr/>
        </p:nvSpPr>
        <p:spPr>
          <a:xfrm>
            <a:off x="6290245" y="1524094"/>
            <a:ext cx="2385265" cy="338554"/>
          </a:xfrm>
          <a:prstGeom prst="rect">
            <a:avLst/>
          </a:prstGeom>
        </p:spPr>
        <p:txBody>
          <a:bodyPr wrap="square">
            <a:spAutoFit/>
          </a:bodyPr>
          <a:lstStyle/>
          <a:p>
            <a:pPr algn="ctr" defTabSz="914400"/>
            <a:r>
              <a:rPr lang="ru-RU" sz="1600" b="1" dirty="0" smtClean="0">
                <a:solidFill>
                  <a:srgbClr val="FFFFFF"/>
                </a:solidFill>
              </a:rPr>
              <a:t>ПРИМЕНЕНИЕ ДАННЫХ</a:t>
            </a:r>
            <a:endParaRPr lang="en-US" sz="1600" b="1" dirty="0">
              <a:solidFill>
                <a:srgbClr val="5F5F5F"/>
              </a:solidFill>
            </a:endParaRPr>
          </a:p>
        </p:txBody>
      </p:sp>
      <p:sp>
        <p:nvSpPr>
          <p:cNvPr id="37" name="TextBox 341"/>
          <p:cNvSpPr txBox="1"/>
          <p:nvPr/>
        </p:nvSpPr>
        <p:spPr>
          <a:xfrm>
            <a:off x="521550" y="1960267"/>
            <a:ext cx="2469300" cy="307777"/>
          </a:xfrm>
          <a:prstGeom prst="rect">
            <a:avLst/>
          </a:prstGeom>
          <a:noFill/>
        </p:spPr>
        <p:txBody>
          <a:bodyPr wrap="square" rtlCol="0">
            <a:spAutoFit/>
          </a:bodyPr>
          <a:lstStyle/>
          <a:p>
            <a:pPr algn="ctr" defTabSz="914400"/>
            <a:r>
              <a:rPr lang="ru-RU" sz="1400" b="1" dirty="0" smtClean="0">
                <a:solidFill>
                  <a:srgbClr val="8DC63F"/>
                </a:solidFill>
              </a:rPr>
              <a:t>ТОЧКИ ВЗАИМОДЕЙСТВИЯ</a:t>
            </a:r>
            <a:endParaRPr lang="en-US" sz="1100" b="1" dirty="0" smtClean="0">
              <a:solidFill>
                <a:srgbClr val="8DC63F"/>
              </a:solidFill>
            </a:endParaRPr>
          </a:p>
        </p:txBody>
      </p:sp>
      <p:sp>
        <p:nvSpPr>
          <p:cNvPr id="38" name="TextBox 603"/>
          <p:cNvSpPr txBox="1"/>
          <p:nvPr/>
        </p:nvSpPr>
        <p:spPr>
          <a:xfrm>
            <a:off x="6181725" y="1961882"/>
            <a:ext cx="2562225" cy="307777"/>
          </a:xfrm>
          <a:prstGeom prst="rect">
            <a:avLst/>
          </a:prstGeom>
          <a:noFill/>
        </p:spPr>
        <p:txBody>
          <a:bodyPr wrap="square" rtlCol="0">
            <a:spAutoFit/>
          </a:bodyPr>
          <a:lstStyle/>
          <a:p>
            <a:pPr algn="ctr" defTabSz="914400"/>
            <a:r>
              <a:rPr lang="ru-RU" sz="1400" b="1" dirty="0" smtClean="0">
                <a:solidFill>
                  <a:srgbClr val="8DC63F"/>
                </a:solidFill>
              </a:rPr>
              <a:t>ИНДИВИДУАЛЬНЫЕ РЕШЕНИЯ</a:t>
            </a:r>
            <a:endParaRPr lang="en-US" sz="1400" b="1" dirty="0" smtClean="0">
              <a:solidFill>
                <a:srgbClr val="8DC63F"/>
              </a:solidFill>
            </a:endParaRPr>
          </a:p>
        </p:txBody>
      </p:sp>
      <p:sp>
        <p:nvSpPr>
          <p:cNvPr id="39" name="TextBox 163"/>
          <p:cNvSpPr txBox="1"/>
          <p:nvPr/>
        </p:nvSpPr>
        <p:spPr>
          <a:xfrm>
            <a:off x="3295651" y="1961882"/>
            <a:ext cx="2533650" cy="307777"/>
          </a:xfrm>
          <a:prstGeom prst="rect">
            <a:avLst/>
          </a:prstGeom>
          <a:noFill/>
        </p:spPr>
        <p:txBody>
          <a:bodyPr wrap="square" rtlCol="0">
            <a:spAutoFit/>
          </a:bodyPr>
          <a:lstStyle/>
          <a:p>
            <a:pPr algn="ctr" defTabSz="914400"/>
            <a:r>
              <a:rPr lang="ru-RU" sz="1400" b="1" dirty="0" smtClean="0">
                <a:solidFill>
                  <a:srgbClr val="8DC63F"/>
                </a:solidFill>
              </a:rPr>
              <a:t>БАЗА БОЛЕЛЬЩИКОВ</a:t>
            </a:r>
            <a:endParaRPr lang="en-US" sz="1400" b="1" dirty="0" smtClean="0">
              <a:solidFill>
                <a:srgbClr val="8DC63F"/>
              </a:solidFill>
            </a:endParaRPr>
          </a:p>
        </p:txBody>
      </p:sp>
      <p:sp>
        <p:nvSpPr>
          <p:cNvPr id="3" name="Title 2"/>
          <p:cNvSpPr>
            <a:spLocks noGrp="1"/>
          </p:cNvSpPr>
          <p:nvPr>
            <p:ph type="title"/>
          </p:nvPr>
        </p:nvSpPr>
        <p:spPr>
          <a:xfrm>
            <a:off x="514919" y="483069"/>
            <a:ext cx="7657481" cy="664797"/>
          </a:xfrm>
        </p:spPr>
        <p:txBody>
          <a:bodyPr/>
          <a:lstStyle/>
          <a:p>
            <a:r>
              <a:rPr lang="en-US" b="1" dirty="0" smtClean="0"/>
              <a:t>CRM – </a:t>
            </a:r>
            <a:r>
              <a:rPr lang="ru-RU" b="1" dirty="0" smtClean="0"/>
              <a:t>крайне мощный инструмент </a:t>
            </a:r>
            <a:r>
              <a:rPr lang="ru-RU" dirty="0" smtClean="0"/>
              <a:t>для оптимизации ВЗАИМОДЕЙСТВИЯ с болельщиками</a:t>
            </a:r>
            <a:endParaRPr lang="en-US" dirty="0"/>
          </a:p>
        </p:txBody>
      </p:sp>
      <p:grpSp>
        <p:nvGrpSpPr>
          <p:cNvPr id="18" name="Gruppieren 17"/>
          <p:cNvGrpSpPr>
            <a:grpSpLocks noChangeAspect="1"/>
          </p:cNvGrpSpPr>
          <p:nvPr/>
        </p:nvGrpSpPr>
        <p:grpSpPr>
          <a:xfrm>
            <a:off x="539748" y="4876006"/>
            <a:ext cx="719884" cy="215444"/>
            <a:chOff x="539748" y="4876006"/>
            <a:chExt cx="719884" cy="215444"/>
          </a:xfrm>
        </p:grpSpPr>
        <p:sp>
          <p:nvSpPr>
            <p:cNvPr id="19" name="Textfeld 18"/>
            <p:cNvSpPr txBox="1"/>
            <p:nvPr userDrawn="1"/>
          </p:nvSpPr>
          <p:spPr>
            <a:xfrm>
              <a:off x="539750" y="4876006"/>
              <a:ext cx="719882" cy="215444"/>
            </a:xfrm>
            <a:prstGeom prst="rect">
              <a:avLst/>
            </a:prstGeom>
            <a:noFill/>
          </p:spPr>
          <p:txBody>
            <a:bodyPr wrap="square" rtlCol="0">
              <a:spAutoFit/>
            </a:bodyPr>
            <a:lstStyle/>
            <a:p>
              <a:pPr algn="ctr"/>
              <a:r>
                <a:rPr lang="ru-RU" sz="800" kern="1300" spc="80" dirty="0" smtClean="0"/>
                <a:t>ТРЕНД</a:t>
              </a:r>
              <a:r>
                <a:rPr lang="de-DE" sz="800" kern="1300" spc="80" baseline="0" dirty="0" smtClean="0"/>
                <a:t> </a:t>
              </a:r>
              <a:r>
                <a:rPr lang="de-DE" sz="800" b="1" kern="1300" spc="80" baseline="0" dirty="0" smtClean="0"/>
                <a:t>0</a:t>
              </a:r>
              <a:r>
                <a:rPr lang="ru-RU" sz="800" b="1" kern="1300" spc="80" baseline="0" dirty="0" smtClean="0"/>
                <a:t>4</a:t>
              </a:r>
              <a:endParaRPr lang="de-DE" sz="800" b="1" kern="1300" spc="80" baseline="0" dirty="0" smtClean="0"/>
            </a:p>
          </p:txBody>
        </p:sp>
        <p:sp>
          <p:nvSpPr>
            <p:cNvPr id="21" name="Gleichschenkliges Dreieck 20"/>
            <p:cNvSpPr/>
            <p:nvPr userDrawn="1"/>
          </p:nvSpPr>
          <p:spPr>
            <a:xfrm rot="16200000" flipH="1" flipV="1">
              <a:off x="534004" y="4938683"/>
              <a:ext cx="83300" cy="71811"/>
            </a:xfrm>
            <a:prstGeom prst="triangl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sp>
          <p:nvSpPr>
            <p:cNvPr id="25" name="Gleichschenkliges Dreieck 24"/>
            <p:cNvSpPr/>
            <p:nvPr userDrawn="1"/>
          </p:nvSpPr>
          <p:spPr>
            <a:xfrm rot="5400000" flipV="1">
              <a:off x="1182077" y="4938684"/>
              <a:ext cx="83300" cy="71811"/>
            </a:xfrm>
            <a:prstGeom prst="triangl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grpSp>
    </p:spTree>
    <p:extLst>
      <p:ext uri="{BB962C8B-B14F-4D97-AF65-F5344CB8AC3E}">
        <p14:creationId xmlns:p14="http://schemas.microsoft.com/office/powerpoint/2010/main" val="2531832374"/>
      </p:ext>
    </p:extLst>
  </p:cSld>
  <p:clrMapOvr>
    <a:masterClrMapping/>
  </p:clrMapOvr>
  <p:transition>
    <p:fad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a:xfrm>
            <a:off x="2051720" y="1573011"/>
            <a:ext cx="3690410" cy="3041923"/>
          </a:xfrm>
          <a:prstGeom prst="rect">
            <a:avLst/>
          </a:prstGeom>
        </p:spPr>
        <p:txBody>
          <a:bodyPr wrap="square" lIns="0" rIns="0">
            <a:spAutoFit/>
          </a:bodyPr>
          <a:lstStyle/>
          <a:p>
            <a:pPr lvl="0" indent="-1371600">
              <a:lnSpc>
                <a:spcPct val="93000"/>
              </a:lnSpc>
              <a:spcAft>
                <a:spcPts val="600"/>
              </a:spcAft>
              <a:buClr>
                <a:srgbClr val="5F5F5F"/>
              </a:buClr>
              <a:defRPr/>
            </a:pPr>
            <a:r>
              <a:rPr lang="ru-RU" sz="1600" b="1" kern="0" cap="all" dirty="0" err="1" smtClean="0">
                <a:solidFill>
                  <a:srgbClr val="8DC63F"/>
                </a:solidFill>
              </a:rPr>
              <a:t>чТО</a:t>
            </a:r>
            <a:r>
              <a:rPr lang="ru-RU" sz="1600" b="1" kern="0" cap="all" dirty="0" smtClean="0">
                <a:solidFill>
                  <a:srgbClr val="8DC63F"/>
                </a:solidFill>
              </a:rPr>
              <a:t> ОНИ СДЕЛАЛИ</a:t>
            </a:r>
            <a:r>
              <a:rPr lang="ru-RU" sz="1600" b="1" kern="0" cap="all" dirty="0">
                <a:solidFill>
                  <a:srgbClr val="8DC63F"/>
                </a:solidFill>
              </a:rPr>
              <a:t> </a:t>
            </a:r>
            <a:r>
              <a:rPr lang="ru-RU" sz="1600" kern="0" cap="all" dirty="0" smtClean="0"/>
              <a:t>И В ЧЕМ ПОЛЬЗА</a:t>
            </a:r>
            <a:endParaRPr lang="en-US" sz="1600" kern="0" cap="all" dirty="0"/>
          </a:p>
          <a:p>
            <a:pPr lvl="0" indent="-1371600">
              <a:lnSpc>
                <a:spcPct val="0"/>
              </a:lnSpc>
              <a:spcAft>
                <a:spcPts val="600"/>
              </a:spcAft>
              <a:buClr>
                <a:srgbClr val="5F5F5F"/>
              </a:buClr>
              <a:defRPr/>
            </a:pPr>
            <a:r>
              <a:rPr lang="en-US" sz="1600" b="1" kern="0" cap="all" dirty="0"/>
              <a:t/>
            </a:r>
            <a:br>
              <a:rPr lang="en-US" sz="1600" b="1" kern="0" cap="all" dirty="0"/>
            </a:br>
            <a:endParaRPr lang="en-US" sz="1600" b="1" kern="0" cap="all" dirty="0"/>
          </a:p>
          <a:p>
            <a:pPr lvl="0" indent="-1371600">
              <a:lnSpc>
                <a:spcPct val="0"/>
              </a:lnSpc>
              <a:spcAft>
                <a:spcPts val="600"/>
              </a:spcAft>
              <a:buClr>
                <a:srgbClr val="5F5F5F"/>
              </a:buClr>
              <a:defRPr/>
            </a:pPr>
            <a:endParaRPr lang="en-US" sz="1600" b="1" kern="0" cap="all" dirty="0"/>
          </a:p>
          <a:p>
            <a:pPr lvl="0" indent="-1371600">
              <a:lnSpc>
                <a:spcPct val="0"/>
              </a:lnSpc>
              <a:spcAft>
                <a:spcPts val="600"/>
              </a:spcAft>
              <a:buClr>
                <a:srgbClr val="5F5F5F"/>
              </a:buClr>
              <a:defRPr/>
            </a:pPr>
            <a:endParaRPr lang="en-US" sz="1600" b="1" kern="0" cap="all" dirty="0"/>
          </a:p>
          <a:p>
            <a:pPr lvl="0" indent="-1371600">
              <a:lnSpc>
                <a:spcPct val="0"/>
              </a:lnSpc>
              <a:spcAft>
                <a:spcPts val="600"/>
              </a:spcAft>
              <a:buClr>
                <a:srgbClr val="5F5F5F"/>
              </a:buClr>
              <a:defRPr/>
            </a:pPr>
            <a:endParaRPr lang="en-US" sz="1600" b="1" kern="0" cap="all" dirty="0"/>
          </a:p>
          <a:p>
            <a:pPr marL="285750" lvl="1" indent="-285750" defTabSz="271463">
              <a:spcBef>
                <a:spcPts val="600"/>
              </a:spcBef>
              <a:buClr>
                <a:srgbClr val="009DD9"/>
              </a:buClr>
              <a:buFont typeface="Arial" panose="020B0604020202020204" pitchFamily="34" charset="0"/>
              <a:buChar char="•"/>
              <a:defRPr/>
            </a:pPr>
            <a:r>
              <a:rPr lang="en-US" sz="1400" kern="0" dirty="0" smtClean="0"/>
              <a:t>‘</a:t>
            </a:r>
            <a:r>
              <a:rPr lang="ru-RU" sz="1400" kern="0" dirty="0" smtClean="0"/>
              <a:t>Мгновенные Места</a:t>
            </a:r>
            <a:r>
              <a:rPr lang="en-US" sz="1400" kern="0" dirty="0" smtClean="0"/>
              <a:t>’ </a:t>
            </a:r>
            <a:r>
              <a:rPr lang="ru-RU" sz="1400" kern="0" dirty="0" smtClean="0"/>
              <a:t>сервис позволяет заменить физические билеты и проходить на арену  </a:t>
            </a:r>
            <a:r>
              <a:rPr lang="ru-RU" sz="1400" b="1" kern="0" dirty="0" smtClean="0"/>
              <a:t>с помощью кредитной картой.</a:t>
            </a:r>
          </a:p>
          <a:p>
            <a:pPr marL="285750" lvl="1" indent="-285750" defTabSz="271463">
              <a:spcBef>
                <a:spcPts val="600"/>
              </a:spcBef>
              <a:buClr>
                <a:srgbClr val="009DD9"/>
              </a:buClr>
              <a:buFont typeface="Arial" panose="020B0604020202020204" pitchFamily="34" charset="0"/>
              <a:buChar char="•"/>
              <a:defRPr/>
            </a:pPr>
            <a:r>
              <a:rPr lang="ru-RU" sz="1400" kern="0" dirty="0" smtClean="0"/>
              <a:t>Безопасный онлайн магазин для </a:t>
            </a:r>
            <a:r>
              <a:rPr lang="ru-RU" sz="1400" b="1" kern="0" dirty="0" smtClean="0"/>
              <a:t>обмена и продажи билетов на игры.</a:t>
            </a:r>
          </a:p>
          <a:p>
            <a:pPr marL="285750" lvl="1" indent="-285750" defTabSz="271463">
              <a:spcBef>
                <a:spcPts val="600"/>
              </a:spcBef>
              <a:buClr>
                <a:srgbClr val="009DD9"/>
              </a:buClr>
              <a:buFont typeface="Arial" panose="020B0604020202020204" pitchFamily="34" charset="0"/>
              <a:buChar char="•"/>
              <a:defRPr/>
            </a:pPr>
            <a:r>
              <a:rPr lang="ru-RU" sz="1400" kern="0" dirty="0" smtClean="0"/>
              <a:t>Система увеличивающая возможности </a:t>
            </a:r>
            <a:r>
              <a:rPr lang="ru-RU" sz="1400" b="1" kern="0" dirty="0" smtClean="0"/>
              <a:t>приема данных</a:t>
            </a:r>
            <a:r>
              <a:rPr lang="ru-RU" sz="1400" kern="0" dirty="0" smtClean="0"/>
              <a:t>.</a:t>
            </a:r>
            <a:endParaRPr lang="en-US" sz="1400" kern="0" dirty="0"/>
          </a:p>
          <a:p>
            <a:pPr marL="285750" lvl="1" indent="-285750" defTabSz="271463">
              <a:spcBef>
                <a:spcPts val="600"/>
              </a:spcBef>
              <a:buClr>
                <a:srgbClr val="009DD9"/>
              </a:buClr>
              <a:buFont typeface="Arial" panose="020B0604020202020204" pitchFamily="34" charset="0"/>
              <a:buChar char="•"/>
              <a:defRPr/>
            </a:pPr>
            <a:r>
              <a:rPr lang="ru-RU" sz="1400" kern="0" dirty="0" smtClean="0"/>
              <a:t>Возросла </a:t>
            </a:r>
            <a:r>
              <a:rPr lang="ru-RU" sz="1400" b="1" kern="0" dirty="0" smtClean="0"/>
              <a:t>посещаемость</a:t>
            </a:r>
            <a:r>
              <a:rPr lang="ru-RU" sz="1400" kern="0" dirty="0" smtClean="0"/>
              <a:t> арены.</a:t>
            </a:r>
          </a:p>
          <a:p>
            <a:pPr marL="285750" lvl="1" indent="-285750" defTabSz="271463">
              <a:spcBef>
                <a:spcPts val="600"/>
              </a:spcBef>
              <a:buClr>
                <a:srgbClr val="009DD9"/>
              </a:buClr>
              <a:buFont typeface="Arial" panose="020B0604020202020204" pitchFamily="34" charset="0"/>
              <a:buChar char="•"/>
              <a:defRPr/>
            </a:pPr>
            <a:endParaRPr lang="en-US" sz="1400" kern="0" dirty="0"/>
          </a:p>
        </p:txBody>
      </p:sp>
      <p:sp>
        <p:nvSpPr>
          <p:cNvPr id="2" name="Titel 1"/>
          <p:cNvSpPr>
            <a:spLocks noGrp="1"/>
          </p:cNvSpPr>
          <p:nvPr>
            <p:ph type="title"/>
          </p:nvPr>
        </p:nvSpPr>
        <p:spPr>
          <a:xfrm>
            <a:off x="522287" y="484770"/>
            <a:ext cx="8278269" cy="664797"/>
          </a:xfrm>
        </p:spPr>
        <p:txBody>
          <a:bodyPr/>
          <a:lstStyle/>
          <a:p>
            <a:r>
              <a:rPr lang="ru-RU" b="1" dirty="0" err="1"/>
              <a:t>кливленд</a:t>
            </a:r>
            <a:r>
              <a:rPr lang="ru-RU" b="1" dirty="0"/>
              <a:t> </a:t>
            </a:r>
            <a:r>
              <a:rPr lang="ru-RU" b="1" dirty="0" err="1"/>
              <a:t>кавальерс</a:t>
            </a:r>
            <a:r>
              <a:rPr lang="ru-RU" b="1" dirty="0"/>
              <a:t> </a:t>
            </a:r>
            <a:r>
              <a:rPr lang="ru-RU" b="1" dirty="0" smtClean="0"/>
              <a:t>– </a:t>
            </a:r>
            <a:r>
              <a:rPr lang="ru-RU" dirty="0" smtClean="0"/>
              <a:t>ИНДИВИДУАЛЬНАЯ БИЛЕТНАЯ СИСТЕМА И ВТОРИЧНЫЙ РЫНОК</a:t>
            </a:r>
            <a:endParaRPr lang="en-US" dirty="0"/>
          </a:p>
        </p:txBody>
      </p:sp>
      <p:sp>
        <p:nvSpPr>
          <p:cNvPr id="18" name="Rechteck 17"/>
          <p:cNvSpPr/>
          <p:nvPr/>
        </p:nvSpPr>
        <p:spPr>
          <a:xfrm>
            <a:off x="521982" y="198152"/>
            <a:ext cx="570669" cy="184666"/>
          </a:xfrm>
          <a:prstGeom prst="rect">
            <a:avLst/>
          </a:prstGeom>
        </p:spPr>
        <p:txBody>
          <a:bodyPr wrap="none" lIns="0" tIns="0" rIns="0" bIns="0">
            <a:spAutoFit/>
          </a:bodyPr>
          <a:lstStyle/>
          <a:p>
            <a:r>
              <a:rPr lang="ru-RU" sz="1200" b="1" dirty="0" smtClean="0"/>
              <a:t>ПРИМЕР</a:t>
            </a:r>
            <a:endParaRPr lang="de-DE" sz="1200" b="1" dirty="0"/>
          </a:p>
        </p:txBody>
      </p:sp>
      <p:grpSp>
        <p:nvGrpSpPr>
          <p:cNvPr id="20" name="Gruppieren 19"/>
          <p:cNvGrpSpPr>
            <a:grpSpLocks noChangeAspect="1"/>
          </p:cNvGrpSpPr>
          <p:nvPr/>
        </p:nvGrpSpPr>
        <p:grpSpPr>
          <a:xfrm>
            <a:off x="6327195" y="2346725"/>
            <a:ext cx="1942120" cy="1901869"/>
            <a:chOff x="6188805" y="2365331"/>
            <a:chExt cx="2402607" cy="1719767"/>
          </a:xfrm>
        </p:grpSpPr>
        <p:pic>
          <p:nvPicPr>
            <p:cNvPr id="21" name="Picture 24" descr="https://static1.squarespace.com/static/53079c8ee4b0749b708a3ed4/530904fae4b032b4d4b01a66/57820013725e25016e5d5184/1469155623315/00_title.jpg?format=1000w"/>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224" t="5652" r="224" b="7395"/>
            <a:stretch/>
          </p:blipFill>
          <p:spPr bwMode="auto">
            <a:xfrm>
              <a:off x="6188805" y="2365331"/>
              <a:ext cx="2402607" cy="1045742"/>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26" descr="http://www.sportsbusinessdaily.com/images/articles/SBJ201005101101-02.jpg"/>
            <p:cNvPicPr>
              <a:picLocks noChangeAspect="1" noChangeArrowheads="1"/>
            </p:cNvPicPr>
            <p:nvPr/>
          </p:nvPicPr>
          <p:blipFill rotWithShape="1">
            <a:blip r:embed="rId4">
              <a:extLst>
                <a:ext uri="{28A0092B-C50C-407E-A947-70E740481C1C}">
                  <a14:useLocalDpi xmlns:a14="http://schemas.microsoft.com/office/drawing/2010/main" val="0"/>
                </a:ext>
              </a:extLst>
            </a:blip>
            <a:srcRect b="7809"/>
            <a:stretch/>
          </p:blipFill>
          <p:spPr bwMode="auto">
            <a:xfrm>
              <a:off x="6188805" y="3424864"/>
              <a:ext cx="2402607" cy="660234"/>
            </a:xfrm>
            <a:prstGeom prst="rect">
              <a:avLst/>
            </a:prstGeom>
            <a:noFill/>
            <a:extLst>
              <a:ext uri="{909E8E84-426E-40DD-AFC4-6F175D3DCCD1}">
                <a14:hiddenFill xmlns:a14="http://schemas.microsoft.com/office/drawing/2010/main">
                  <a:solidFill>
                    <a:srgbClr val="FFFFFF"/>
                  </a:solidFill>
                </a14:hiddenFill>
              </a:ext>
            </a:extLst>
          </p:spPr>
        </p:pic>
      </p:grpSp>
      <p:pic>
        <p:nvPicPr>
          <p:cNvPr id="24" name="Picture 2" descr="File:Cleveland Cavaliers 2010.sv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41530" y="2404867"/>
            <a:ext cx="1350149" cy="682840"/>
          </a:xfrm>
          <a:prstGeom prst="rect">
            <a:avLst/>
          </a:prstGeom>
          <a:noFill/>
          <a:extLst>
            <a:ext uri="{909E8E84-426E-40DD-AFC4-6F175D3DCCD1}">
              <a14:hiddenFill xmlns:a14="http://schemas.microsoft.com/office/drawing/2010/main">
                <a:solidFill>
                  <a:srgbClr val="FFFFFF"/>
                </a:solidFill>
              </a14:hiddenFill>
            </a:ext>
          </a:extLst>
        </p:spPr>
      </p:pic>
      <p:cxnSp>
        <p:nvCxnSpPr>
          <p:cNvPr id="17" name="Straight Connector 14"/>
          <p:cNvCxnSpPr/>
          <p:nvPr/>
        </p:nvCxnSpPr>
        <p:spPr>
          <a:xfrm>
            <a:off x="521982" y="2076695"/>
            <a:ext cx="8278574" cy="0"/>
          </a:xfrm>
          <a:prstGeom prst="line">
            <a:avLst/>
          </a:prstGeom>
          <a:ln w="57150">
            <a:solidFill>
              <a:srgbClr val="000000"/>
            </a:solidFill>
            <a:prstDash val="solid"/>
          </a:ln>
        </p:spPr>
        <p:style>
          <a:lnRef idx="2">
            <a:schemeClr val="accent1"/>
          </a:lnRef>
          <a:fillRef idx="0">
            <a:schemeClr val="accent1"/>
          </a:fillRef>
          <a:effectRef idx="1">
            <a:schemeClr val="accent1"/>
          </a:effectRef>
          <a:fontRef idx="minor">
            <a:schemeClr val="tx1"/>
          </a:fontRef>
        </p:style>
      </p:cxnSp>
      <p:grpSp>
        <p:nvGrpSpPr>
          <p:cNvPr id="19" name="Gruppieren 18"/>
          <p:cNvGrpSpPr>
            <a:grpSpLocks noChangeAspect="1"/>
          </p:cNvGrpSpPr>
          <p:nvPr/>
        </p:nvGrpSpPr>
        <p:grpSpPr>
          <a:xfrm>
            <a:off x="539748" y="4876006"/>
            <a:ext cx="719884" cy="215444"/>
            <a:chOff x="539748" y="4876006"/>
            <a:chExt cx="719884" cy="215444"/>
          </a:xfrm>
        </p:grpSpPr>
        <p:sp>
          <p:nvSpPr>
            <p:cNvPr id="23" name="Textfeld 22"/>
            <p:cNvSpPr txBox="1"/>
            <p:nvPr userDrawn="1"/>
          </p:nvSpPr>
          <p:spPr>
            <a:xfrm>
              <a:off x="539750" y="4876006"/>
              <a:ext cx="719882" cy="215444"/>
            </a:xfrm>
            <a:prstGeom prst="rect">
              <a:avLst/>
            </a:prstGeom>
            <a:noFill/>
          </p:spPr>
          <p:txBody>
            <a:bodyPr wrap="square" rtlCol="0">
              <a:spAutoFit/>
            </a:bodyPr>
            <a:lstStyle/>
            <a:p>
              <a:pPr algn="ctr"/>
              <a:r>
                <a:rPr lang="ru-RU" sz="800" kern="1300" spc="80" dirty="0" smtClean="0"/>
                <a:t>ТРЕНД</a:t>
              </a:r>
              <a:r>
                <a:rPr lang="de-DE" sz="800" kern="1300" spc="80" baseline="0" dirty="0" smtClean="0"/>
                <a:t> </a:t>
              </a:r>
              <a:r>
                <a:rPr lang="ru-RU" sz="800" b="1" kern="1300" spc="80" dirty="0" smtClean="0"/>
                <a:t>04</a:t>
              </a:r>
              <a:endParaRPr lang="de-DE" sz="800" b="1" kern="1300" spc="80" baseline="0" dirty="0" smtClean="0"/>
            </a:p>
          </p:txBody>
        </p:sp>
        <p:sp>
          <p:nvSpPr>
            <p:cNvPr id="25" name="Gleichschenkliges Dreieck 24"/>
            <p:cNvSpPr/>
            <p:nvPr userDrawn="1"/>
          </p:nvSpPr>
          <p:spPr>
            <a:xfrm rot="16200000" flipH="1" flipV="1">
              <a:off x="534004" y="4938683"/>
              <a:ext cx="83300" cy="71811"/>
            </a:xfrm>
            <a:prstGeom prst="triangl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sp>
          <p:nvSpPr>
            <p:cNvPr id="26" name="Gleichschenkliges Dreieck 25"/>
            <p:cNvSpPr/>
            <p:nvPr userDrawn="1"/>
          </p:nvSpPr>
          <p:spPr>
            <a:xfrm rot="5400000" flipV="1">
              <a:off x="1182077" y="4938684"/>
              <a:ext cx="83300" cy="71811"/>
            </a:xfrm>
            <a:prstGeom prst="triangl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grpSp>
    </p:spTree>
    <p:extLst>
      <p:ext uri="{BB962C8B-B14F-4D97-AF65-F5344CB8AC3E}">
        <p14:creationId xmlns:p14="http://schemas.microsoft.com/office/powerpoint/2010/main" val="1158596694"/>
      </p:ext>
    </p:extLst>
  </p:cSld>
  <p:clrMapOvr>
    <a:masterClrMapping/>
  </p:clrMapOvr>
  <p:transition>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a:xfrm>
            <a:off x="2006715" y="1573011"/>
            <a:ext cx="4140461" cy="2968185"/>
          </a:xfrm>
          <a:prstGeom prst="rect">
            <a:avLst/>
          </a:prstGeom>
        </p:spPr>
        <p:txBody>
          <a:bodyPr wrap="square" lIns="0" rIns="0">
            <a:spAutoFit/>
          </a:bodyPr>
          <a:lstStyle/>
          <a:p>
            <a:pPr lvl="0" indent="-1371600">
              <a:lnSpc>
                <a:spcPct val="93000"/>
              </a:lnSpc>
              <a:spcAft>
                <a:spcPts val="600"/>
              </a:spcAft>
              <a:buClr>
                <a:srgbClr val="5F5F5F"/>
              </a:buClr>
              <a:defRPr/>
            </a:pPr>
            <a:r>
              <a:rPr lang="ru-RU" sz="1600" b="1" kern="0" cap="all" dirty="0" err="1">
                <a:solidFill>
                  <a:srgbClr val="8DC63F"/>
                </a:solidFill>
              </a:rPr>
              <a:t>чТО</a:t>
            </a:r>
            <a:r>
              <a:rPr lang="ru-RU" sz="1600" b="1" kern="0" cap="all" dirty="0">
                <a:solidFill>
                  <a:srgbClr val="8DC63F"/>
                </a:solidFill>
              </a:rPr>
              <a:t> ОНИ СДЕЛАЛИ </a:t>
            </a:r>
            <a:r>
              <a:rPr lang="ru-RU" sz="1600" kern="0" cap="all" dirty="0"/>
              <a:t>И В ЧЕМ ПОЛЬЗА</a:t>
            </a:r>
            <a:endParaRPr lang="en-US" sz="1600" kern="0" cap="all" dirty="0"/>
          </a:p>
          <a:p>
            <a:pPr lvl="0" indent="-1371600">
              <a:lnSpc>
                <a:spcPct val="50000"/>
              </a:lnSpc>
              <a:spcAft>
                <a:spcPts val="600"/>
              </a:spcAft>
              <a:buClr>
                <a:srgbClr val="5F5F5F"/>
              </a:buClr>
              <a:defRPr/>
            </a:pPr>
            <a:r>
              <a:rPr lang="en-US" sz="1600" b="1" kern="0" cap="all" dirty="0"/>
              <a:t/>
            </a:r>
            <a:br>
              <a:rPr lang="en-US" sz="1600" b="1" kern="0" cap="all" dirty="0"/>
            </a:br>
            <a:endParaRPr lang="en-US" sz="1600" b="1" kern="0" cap="all" dirty="0"/>
          </a:p>
          <a:p>
            <a:pPr marL="285750" lvl="1" indent="-285750" defTabSz="271463">
              <a:spcBef>
                <a:spcPts val="600"/>
              </a:spcBef>
              <a:buClr>
                <a:srgbClr val="009DD9"/>
              </a:buClr>
              <a:buFont typeface="Arial" panose="020B0604020202020204" pitchFamily="34" charset="0"/>
              <a:buChar char="•"/>
              <a:defRPr/>
            </a:pPr>
            <a:r>
              <a:rPr lang="ru-RU" sz="1400" kern="0" dirty="0" smtClean="0"/>
              <a:t>Команда базируется в 41 по численности населения городе в США, поэтому </a:t>
            </a:r>
            <a:r>
              <a:rPr lang="ru-RU" sz="1400" b="1" kern="0" dirty="0" smtClean="0"/>
              <a:t>значим каждый болельщик.</a:t>
            </a:r>
            <a:endParaRPr lang="en-US" sz="1400" b="1" kern="0" dirty="0"/>
          </a:p>
          <a:p>
            <a:pPr marL="285750" lvl="1" indent="-285750" defTabSz="271463">
              <a:spcBef>
                <a:spcPts val="600"/>
              </a:spcBef>
              <a:buClr>
                <a:srgbClr val="009DD9"/>
              </a:buClr>
              <a:buFont typeface="Arial" panose="020B0604020202020204" pitchFamily="34" charset="0"/>
              <a:buChar char="•"/>
              <a:defRPr/>
            </a:pPr>
            <a:r>
              <a:rPr lang="ru-RU" sz="1400" b="1" kern="0" dirty="0" smtClean="0"/>
              <a:t>Интеграция всех каналов</a:t>
            </a:r>
            <a:r>
              <a:rPr lang="ru-RU" sz="1400" kern="0" dirty="0" smtClean="0"/>
              <a:t> в систему </a:t>
            </a:r>
            <a:r>
              <a:rPr lang="en-US" sz="1400" kern="0" dirty="0" smtClean="0"/>
              <a:t>CRM.</a:t>
            </a:r>
            <a:endParaRPr lang="en-US" sz="1400" kern="0" dirty="0"/>
          </a:p>
          <a:p>
            <a:pPr marL="285750" lvl="1" indent="-285750" defTabSz="271463">
              <a:spcBef>
                <a:spcPts val="600"/>
              </a:spcBef>
              <a:buClr>
                <a:srgbClr val="009DD9"/>
              </a:buClr>
              <a:buFont typeface="Arial" panose="020B0604020202020204" pitchFamily="34" charset="0"/>
              <a:buChar char="•"/>
              <a:defRPr/>
            </a:pPr>
            <a:r>
              <a:rPr lang="en-US" sz="1400" kern="0" dirty="0" smtClean="0"/>
              <a:t>99.9% </a:t>
            </a:r>
            <a:r>
              <a:rPr lang="ru-RU" sz="1400" kern="0" dirty="0" smtClean="0"/>
              <a:t>всех посетивших домашние игры команды </a:t>
            </a:r>
            <a:r>
              <a:rPr lang="ru-RU" sz="1400" b="1" kern="0" dirty="0" smtClean="0"/>
              <a:t>оценили свой опыт на «хорошо» или «отлично».</a:t>
            </a:r>
            <a:endParaRPr lang="en-US" sz="1400" b="1" kern="0" dirty="0"/>
          </a:p>
          <a:p>
            <a:pPr marL="285750" lvl="1" indent="-285750" defTabSz="271463">
              <a:spcBef>
                <a:spcPts val="600"/>
              </a:spcBef>
              <a:buClr>
                <a:srgbClr val="009DD9"/>
              </a:buClr>
              <a:buFont typeface="Arial" panose="020B0604020202020204" pitchFamily="34" charset="0"/>
              <a:buChar char="•"/>
              <a:defRPr/>
            </a:pPr>
            <a:r>
              <a:rPr lang="ru-RU" sz="1400" kern="0" dirty="0" smtClean="0"/>
              <a:t>Компания по </a:t>
            </a:r>
            <a:r>
              <a:rPr lang="en-US" sz="1400" kern="0" dirty="0" smtClean="0"/>
              <a:t>digital </a:t>
            </a:r>
            <a:r>
              <a:rPr lang="ru-RU" sz="1400" kern="0" dirty="0" smtClean="0"/>
              <a:t>маркетингу основанная на данных распространяет</a:t>
            </a:r>
            <a:r>
              <a:rPr lang="ru-RU" sz="1400" b="1" kern="0" dirty="0" smtClean="0"/>
              <a:t> правильный контент через правильные платформы</a:t>
            </a:r>
            <a:endParaRPr lang="en-US" sz="1400" b="1" kern="0" dirty="0"/>
          </a:p>
        </p:txBody>
      </p:sp>
      <p:sp>
        <p:nvSpPr>
          <p:cNvPr id="2" name="Titel 1"/>
          <p:cNvSpPr>
            <a:spLocks noGrp="1"/>
          </p:cNvSpPr>
          <p:nvPr>
            <p:ph type="title"/>
          </p:nvPr>
        </p:nvSpPr>
        <p:spPr>
          <a:xfrm>
            <a:off x="522287" y="484770"/>
            <a:ext cx="8278269" cy="664797"/>
          </a:xfrm>
        </p:spPr>
        <p:txBody>
          <a:bodyPr/>
          <a:lstStyle/>
          <a:p>
            <a:r>
              <a:rPr lang="ru-RU" b="1" dirty="0" err="1"/>
              <a:t>оклахома</a:t>
            </a:r>
            <a:r>
              <a:rPr lang="ru-RU" b="1" dirty="0"/>
              <a:t> сити </a:t>
            </a:r>
            <a:r>
              <a:rPr lang="ru-RU" b="1" dirty="0" err="1" smtClean="0"/>
              <a:t>тандер</a:t>
            </a:r>
            <a:r>
              <a:rPr lang="ru-RU" b="1" dirty="0" smtClean="0"/>
              <a:t> </a:t>
            </a:r>
            <a:r>
              <a:rPr lang="en-US" b="1" dirty="0" smtClean="0"/>
              <a:t>– </a:t>
            </a:r>
            <a:r>
              <a:rPr lang="ru-RU" dirty="0" smtClean="0"/>
              <a:t>ПОВЫШЕНИЕ УДОВЛЕТВОРЕНИЯ БОЛЕЛЬЩИКОВ С ПОМОЩЬЮ </a:t>
            </a:r>
            <a:r>
              <a:rPr lang="en-US" dirty="0" err="1" smtClean="0"/>
              <a:t>crm</a:t>
            </a:r>
            <a:endParaRPr lang="en-US" baseline="30000" dirty="0"/>
          </a:p>
        </p:txBody>
      </p:sp>
      <p:sp>
        <p:nvSpPr>
          <p:cNvPr id="18" name="Rechteck 17"/>
          <p:cNvSpPr/>
          <p:nvPr/>
        </p:nvSpPr>
        <p:spPr>
          <a:xfrm>
            <a:off x="521982" y="198152"/>
            <a:ext cx="570669" cy="184666"/>
          </a:xfrm>
          <a:prstGeom prst="rect">
            <a:avLst/>
          </a:prstGeom>
        </p:spPr>
        <p:txBody>
          <a:bodyPr wrap="none" lIns="0" tIns="0" rIns="0" bIns="0">
            <a:spAutoFit/>
          </a:bodyPr>
          <a:lstStyle/>
          <a:p>
            <a:r>
              <a:rPr lang="ru-RU" sz="1200" b="1" dirty="0" smtClean="0"/>
              <a:t>ПРИМЕР</a:t>
            </a:r>
            <a:endParaRPr lang="de-DE" sz="1200" b="1" dirty="0"/>
          </a:p>
        </p:txBody>
      </p:sp>
      <p:cxnSp>
        <p:nvCxnSpPr>
          <p:cNvPr id="25" name="Straight Connector 14"/>
          <p:cNvCxnSpPr/>
          <p:nvPr/>
        </p:nvCxnSpPr>
        <p:spPr>
          <a:xfrm>
            <a:off x="539750" y="2076695"/>
            <a:ext cx="8260806" cy="0"/>
          </a:xfrm>
          <a:prstGeom prst="line">
            <a:avLst/>
          </a:prstGeom>
          <a:ln w="38100">
            <a:solidFill>
              <a:srgbClr val="000000"/>
            </a:solidFill>
            <a:prstDash val="solid"/>
          </a:ln>
        </p:spPr>
        <p:style>
          <a:lnRef idx="2">
            <a:schemeClr val="accent1"/>
          </a:lnRef>
          <a:fillRef idx="0">
            <a:schemeClr val="accent1"/>
          </a:fillRef>
          <a:effectRef idx="1">
            <a:schemeClr val="accent1"/>
          </a:effectRef>
          <a:fontRef idx="minor">
            <a:schemeClr val="tx1"/>
          </a:fontRef>
        </p:style>
      </p:cxnSp>
      <p:grpSp>
        <p:nvGrpSpPr>
          <p:cNvPr id="20" name="Gruppieren 19"/>
          <p:cNvGrpSpPr>
            <a:grpSpLocks noChangeAspect="1"/>
          </p:cNvGrpSpPr>
          <p:nvPr/>
        </p:nvGrpSpPr>
        <p:grpSpPr>
          <a:xfrm>
            <a:off x="6492690" y="2326855"/>
            <a:ext cx="2308951" cy="2205701"/>
            <a:chOff x="6096255" y="1391698"/>
            <a:chExt cx="2378915" cy="2272536"/>
          </a:xfrm>
        </p:grpSpPr>
        <p:pic>
          <p:nvPicPr>
            <p:cNvPr id="21" name="Picture 4" descr="https://blogs.adobe.com/aemmobile/files/2015/11/Thunder-Plus-Main.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096255" y="1391698"/>
              <a:ext cx="2378915" cy="1355982"/>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10" descr="http://image.slidesharecdn.com/jitccrminsportsandentertainmentpresentation092413forjitcwebsite-131003031551-phpapp02/95/crm-in-sports-and-entertainment-15-638.jpg?cb=1380770774"/>
            <p:cNvPicPr>
              <a:picLocks noChangeAspect="1" noChangeArrowheads="1"/>
            </p:cNvPicPr>
            <p:nvPr/>
          </p:nvPicPr>
          <p:blipFill rotWithShape="1">
            <a:blip r:embed="rId4">
              <a:extLst>
                <a:ext uri="{28A0092B-C50C-407E-A947-70E740481C1C}">
                  <a14:useLocalDpi xmlns:a14="http://schemas.microsoft.com/office/drawing/2010/main" val="0"/>
                </a:ext>
              </a:extLst>
            </a:blip>
            <a:srcRect l="14738" t="29035" r="15167" b="18669"/>
            <a:stretch/>
          </p:blipFill>
          <p:spPr bwMode="auto">
            <a:xfrm>
              <a:off x="6126448" y="2727670"/>
              <a:ext cx="2348704" cy="936564"/>
            </a:xfrm>
            <a:prstGeom prst="rect">
              <a:avLst/>
            </a:prstGeom>
            <a:noFill/>
            <a:extLst>
              <a:ext uri="{909E8E84-426E-40DD-AFC4-6F175D3DCCD1}">
                <a14:hiddenFill xmlns:a14="http://schemas.microsoft.com/office/drawing/2010/main">
                  <a:solidFill>
                    <a:srgbClr val="FFFFFF"/>
                  </a:solidFill>
                </a14:hiddenFill>
              </a:ext>
            </a:extLst>
          </p:spPr>
        </p:pic>
      </p:grpSp>
      <p:pic>
        <p:nvPicPr>
          <p:cNvPr id="32" name="Picture 2" descr="https://upload.wikimedia.org/wikipedia/en/thumb/5/5d/Oklahoma_City_Thunder.svg/1118px-Oklahoma_City_Thunder.svg.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61374" y="2359476"/>
            <a:ext cx="1052894" cy="964368"/>
          </a:xfrm>
          <a:prstGeom prst="rect">
            <a:avLst/>
          </a:prstGeom>
          <a:noFill/>
          <a:extLst>
            <a:ext uri="{909E8E84-426E-40DD-AFC4-6F175D3DCCD1}">
              <a14:hiddenFill xmlns:a14="http://schemas.microsoft.com/office/drawing/2010/main">
                <a:solidFill>
                  <a:srgbClr val="FFFFFF"/>
                </a:solidFill>
              </a14:hiddenFill>
            </a:ext>
          </a:extLst>
        </p:spPr>
      </p:pic>
      <p:cxnSp>
        <p:nvCxnSpPr>
          <p:cNvPr id="17" name="Straight Connector 14"/>
          <p:cNvCxnSpPr/>
          <p:nvPr/>
        </p:nvCxnSpPr>
        <p:spPr>
          <a:xfrm>
            <a:off x="521982" y="2076695"/>
            <a:ext cx="8278574" cy="0"/>
          </a:xfrm>
          <a:prstGeom prst="line">
            <a:avLst/>
          </a:prstGeom>
          <a:ln w="57150">
            <a:solidFill>
              <a:srgbClr val="000000"/>
            </a:solidFill>
            <a:prstDash val="solid"/>
          </a:ln>
        </p:spPr>
        <p:style>
          <a:lnRef idx="2">
            <a:schemeClr val="accent1"/>
          </a:lnRef>
          <a:fillRef idx="0">
            <a:schemeClr val="accent1"/>
          </a:fillRef>
          <a:effectRef idx="1">
            <a:schemeClr val="accent1"/>
          </a:effectRef>
          <a:fontRef idx="minor">
            <a:schemeClr val="tx1"/>
          </a:fontRef>
        </p:style>
      </p:cxnSp>
      <p:grpSp>
        <p:nvGrpSpPr>
          <p:cNvPr id="19" name="Gruppieren 18"/>
          <p:cNvGrpSpPr>
            <a:grpSpLocks noChangeAspect="1"/>
          </p:cNvGrpSpPr>
          <p:nvPr/>
        </p:nvGrpSpPr>
        <p:grpSpPr>
          <a:xfrm>
            <a:off x="539748" y="4876006"/>
            <a:ext cx="719884" cy="215444"/>
            <a:chOff x="539748" y="4876006"/>
            <a:chExt cx="719884" cy="215444"/>
          </a:xfrm>
        </p:grpSpPr>
        <p:sp>
          <p:nvSpPr>
            <p:cNvPr id="23" name="Textfeld 22"/>
            <p:cNvSpPr txBox="1"/>
            <p:nvPr userDrawn="1"/>
          </p:nvSpPr>
          <p:spPr>
            <a:xfrm>
              <a:off x="539750" y="4876006"/>
              <a:ext cx="719882" cy="215444"/>
            </a:xfrm>
            <a:prstGeom prst="rect">
              <a:avLst/>
            </a:prstGeom>
            <a:noFill/>
          </p:spPr>
          <p:txBody>
            <a:bodyPr wrap="square" rtlCol="0">
              <a:spAutoFit/>
            </a:bodyPr>
            <a:lstStyle/>
            <a:p>
              <a:pPr algn="ctr"/>
              <a:r>
                <a:rPr lang="ru-RU" sz="800" kern="1300" spc="80" dirty="0" smtClean="0"/>
                <a:t>ТРЕНД</a:t>
              </a:r>
              <a:r>
                <a:rPr lang="de-DE" sz="800" kern="1300" spc="80" baseline="0" dirty="0" smtClean="0"/>
                <a:t> </a:t>
              </a:r>
              <a:r>
                <a:rPr lang="de-DE" sz="800" b="1" kern="1300" spc="80" baseline="0" dirty="0" smtClean="0"/>
                <a:t>0</a:t>
              </a:r>
              <a:r>
                <a:rPr lang="ru-RU" sz="800" b="1" kern="1300" spc="80" baseline="0" dirty="0" smtClean="0"/>
                <a:t>4</a:t>
              </a:r>
              <a:endParaRPr lang="de-DE" sz="800" b="1" kern="1300" spc="80" baseline="0" dirty="0" smtClean="0"/>
            </a:p>
          </p:txBody>
        </p:sp>
        <p:sp>
          <p:nvSpPr>
            <p:cNvPr id="24" name="Gleichschenkliges Dreieck 23"/>
            <p:cNvSpPr/>
            <p:nvPr userDrawn="1"/>
          </p:nvSpPr>
          <p:spPr>
            <a:xfrm rot="16200000" flipH="1" flipV="1">
              <a:off x="534004" y="4938683"/>
              <a:ext cx="83300" cy="71811"/>
            </a:xfrm>
            <a:prstGeom prst="triangl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sp>
          <p:nvSpPr>
            <p:cNvPr id="26" name="Gleichschenkliges Dreieck 25"/>
            <p:cNvSpPr/>
            <p:nvPr userDrawn="1"/>
          </p:nvSpPr>
          <p:spPr>
            <a:xfrm rot="5400000" flipV="1">
              <a:off x="1182077" y="4938684"/>
              <a:ext cx="83300" cy="71811"/>
            </a:xfrm>
            <a:prstGeom prst="triangl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grpSp>
    </p:spTree>
    <p:extLst>
      <p:ext uri="{BB962C8B-B14F-4D97-AF65-F5344CB8AC3E}">
        <p14:creationId xmlns:p14="http://schemas.microsoft.com/office/powerpoint/2010/main" val="2560707128"/>
      </p:ext>
    </p:extLst>
  </p:cSld>
  <p:clrMapOvr>
    <a:masterClrMapping/>
  </p:clrMapOvr>
  <p:transition>
    <p:fad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a:xfrm>
            <a:off x="2051720" y="1573011"/>
            <a:ext cx="3690410" cy="2672591"/>
          </a:xfrm>
          <a:prstGeom prst="rect">
            <a:avLst/>
          </a:prstGeom>
        </p:spPr>
        <p:txBody>
          <a:bodyPr wrap="square" lIns="0" rIns="0">
            <a:spAutoFit/>
          </a:bodyPr>
          <a:lstStyle/>
          <a:p>
            <a:pPr lvl="0" indent="-1371600">
              <a:lnSpc>
                <a:spcPct val="93000"/>
              </a:lnSpc>
              <a:spcAft>
                <a:spcPts val="600"/>
              </a:spcAft>
              <a:buClr>
                <a:srgbClr val="5F5F5F"/>
              </a:buClr>
              <a:defRPr/>
            </a:pPr>
            <a:r>
              <a:rPr lang="ru-RU" sz="1600" b="1" kern="0" cap="all" dirty="0" err="1">
                <a:solidFill>
                  <a:srgbClr val="8DC63F"/>
                </a:solidFill>
              </a:rPr>
              <a:t>чТО</a:t>
            </a:r>
            <a:r>
              <a:rPr lang="ru-RU" sz="1600" b="1" kern="0" cap="all" dirty="0">
                <a:solidFill>
                  <a:srgbClr val="8DC63F"/>
                </a:solidFill>
              </a:rPr>
              <a:t> ОНИ СДЕЛАЛИ </a:t>
            </a:r>
            <a:r>
              <a:rPr lang="ru-RU" sz="1600" kern="0" cap="all" dirty="0"/>
              <a:t>И В ЧЕМ ПОЛЬЗА</a:t>
            </a:r>
            <a:endParaRPr lang="en-US" sz="1600" kern="0" cap="all" dirty="0"/>
          </a:p>
          <a:p>
            <a:pPr lvl="0" indent="-1371600">
              <a:lnSpc>
                <a:spcPct val="0"/>
              </a:lnSpc>
              <a:spcAft>
                <a:spcPts val="600"/>
              </a:spcAft>
              <a:buClr>
                <a:srgbClr val="5F5F5F"/>
              </a:buClr>
              <a:defRPr/>
            </a:pPr>
            <a:r>
              <a:rPr lang="en-US" sz="1600" b="1" kern="0" cap="all" dirty="0"/>
              <a:t/>
            </a:r>
            <a:br>
              <a:rPr lang="en-US" sz="1600" b="1" kern="0" cap="all" dirty="0"/>
            </a:br>
            <a:endParaRPr lang="en-US" sz="1600" b="1" kern="0" cap="all" dirty="0"/>
          </a:p>
          <a:p>
            <a:pPr lvl="0" indent="-1371600">
              <a:lnSpc>
                <a:spcPct val="0"/>
              </a:lnSpc>
              <a:spcAft>
                <a:spcPts val="600"/>
              </a:spcAft>
              <a:buClr>
                <a:srgbClr val="5F5F5F"/>
              </a:buClr>
              <a:defRPr/>
            </a:pPr>
            <a:endParaRPr lang="en-US" sz="1600" b="1" kern="0" cap="all" dirty="0"/>
          </a:p>
          <a:p>
            <a:pPr lvl="0" indent="-1371600">
              <a:lnSpc>
                <a:spcPct val="0"/>
              </a:lnSpc>
              <a:spcAft>
                <a:spcPts val="600"/>
              </a:spcAft>
              <a:buClr>
                <a:srgbClr val="5F5F5F"/>
              </a:buClr>
              <a:defRPr/>
            </a:pPr>
            <a:endParaRPr lang="en-US" sz="1600" b="1" kern="0" cap="all" dirty="0"/>
          </a:p>
          <a:p>
            <a:pPr lvl="0" indent="-1371600">
              <a:lnSpc>
                <a:spcPct val="0"/>
              </a:lnSpc>
              <a:spcAft>
                <a:spcPts val="600"/>
              </a:spcAft>
              <a:buClr>
                <a:srgbClr val="5F5F5F"/>
              </a:buClr>
              <a:defRPr/>
            </a:pPr>
            <a:endParaRPr lang="en-US" sz="1600" b="1" kern="0" cap="all" dirty="0"/>
          </a:p>
          <a:p>
            <a:pPr marL="285750" lvl="1" indent="-285750" defTabSz="271463">
              <a:spcBef>
                <a:spcPts val="600"/>
              </a:spcBef>
              <a:buClr>
                <a:srgbClr val="009DD9"/>
              </a:buClr>
              <a:buFont typeface="Arial" panose="020B0604020202020204" pitchFamily="34" charset="0"/>
              <a:buChar char="•"/>
              <a:defRPr/>
            </a:pPr>
            <a:r>
              <a:rPr lang="ru-RU" sz="1400" kern="0" dirty="0"/>
              <a:t>Программа</a:t>
            </a:r>
            <a:r>
              <a:rPr lang="ru-RU" sz="1400" b="1" kern="0" dirty="0"/>
              <a:t> </a:t>
            </a:r>
            <a:r>
              <a:rPr lang="en-US" sz="1400" kern="0" dirty="0" smtClean="0"/>
              <a:t>‘</a:t>
            </a:r>
            <a:r>
              <a:rPr lang="ru-RU" sz="1400" kern="0" dirty="0" smtClean="0"/>
              <a:t>Верны</a:t>
            </a:r>
            <a:r>
              <a:rPr lang="en-US" sz="1400" kern="0" dirty="0" smtClean="0"/>
              <a:t> </a:t>
            </a:r>
            <a:r>
              <a:rPr lang="en-US" sz="1400" kern="0" dirty="0"/>
              <a:t>49’ </a:t>
            </a:r>
            <a:r>
              <a:rPr lang="ru-RU" sz="1400" b="1" kern="0" dirty="0" smtClean="0"/>
              <a:t>поощряет преданных фанатов.</a:t>
            </a:r>
          </a:p>
          <a:p>
            <a:pPr marL="285750" lvl="1" indent="-285750" defTabSz="271463">
              <a:spcBef>
                <a:spcPts val="600"/>
              </a:spcBef>
              <a:buClr>
                <a:srgbClr val="009DD9"/>
              </a:buClr>
              <a:buFont typeface="Arial" panose="020B0604020202020204" pitchFamily="34" charset="0"/>
              <a:buChar char="•"/>
              <a:defRPr/>
            </a:pPr>
            <a:r>
              <a:rPr lang="ru-RU" sz="1400" b="1" kern="0" dirty="0" smtClean="0"/>
              <a:t>Приложение  позволяет</a:t>
            </a:r>
            <a:r>
              <a:rPr lang="ru-RU" sz="1400" kern="0" dirty="0" smtClean="0"/>
              <a:t> заказать сувениры, еду к своему месту, купить билеты и посмотреть навигация по стадиону.</a:t>
            </a:r>
            <a:endParaRPr lang="en-US" sz="1400" kern="0" dirty="0" smtClean="0"/>
          </a:p>
          <a:p>
            <a:pPr marL="285750" lvl="1" indent="-285750" defTabSz="271463">
              <a:spcBef>
                <a:spcPts val="600"/>
              </a:spcBef>
              <a:buClr>
                <a:srgbClr val="009DD9"/>
              </a:buClr>
              <a:buFont typeface="Arial" panose="020B0604020202020204" pitchFamily="34" charset="0"/>
              <a:buChar char="•"/>
              <a:defRPr/>
            </a:pPr>
            <a:r>
              <a:rPr lang="ru-RU" sz="1400" kern="0" dirty="0" smtClean="0"/>
              <a:t>Применение новых вариантов </a:t>
            </a:r>
            <a:r>
              <a:rPr lang="ru-RU" sz="1400" b="1" kern="0" dirty="0" smtClean="0"/>
              <a:t>измерения данных</a:t>
            </a:r>
            <a:r>
              <a:rPr lang="ru-RU" sz="1400" kern="0" dirty="0" smtClean="0"/>
              <a:t>, позволяющая оптимизировать взаимодействие с клиентами</a:t>
            </a:r>
            <a:endParaRPr lang="en-US" sz="1400" kern="0" dirty="0"/>
          </a:p>
        </p:txBody>
      </p:sp>
      <p:sp>
        <p:nvSpPr>
          <p:cNvPr id="2" name="Titel 1"/>
          <p:cNvSpPr>
            <a:spLocks noGrp="1"/>
          </p:cNvSpPr>
          <p:nvPr>
            <p:ph type="title"/>
          </p:nvPr>
        </p:nvSpPr>
        <p:spPr>
          <a:xfrm>
            <a:off x="522287" y="484770"/>
            <a:ext cx="8278269" cy="997196"/>
          </a:xfrm>
        </p:spPr>
        <p:txBody>
          <a:bodyPr/>
          <a:lstStyle/>
          <a:p>
            <a:r>
              <a:rPr lang="ru-RU" b="1" dirty="0"/>
              <a:t>сан </a:t>
            </a:r>
            <a:r>
              <a:rPr lang="ru-RU" b="1" dirty="0" err="1"/>
              <a:t>франциско</a:t>
            </a:r>
            <a:r>
              <a:rPr lang="ru-RU" b="1" dirty="0"/>
              <a:t> </a:t>
            </a:r>
            <a:r>
              <a:rPr lang="ru-RU" b="1" dirty="0" smtClean="0"/>
              <a:t>49 </a:t>
            </a:r>
            <a:r>
              <a:rPr lang="en-US" b="1" dirty="0" smtClean="0"/>
              <a:t>–</a:t>
            </a:r>
            <a:r>
              <a:rPr lang="ru-RU" b="1" dirty="0" smtClean="0"/>
              <a:t> </a:t>
            </a:r>
            <a:r>
              <a:rPr lang="ru-RU" dirty="0" smtClean="0"/>
              <a:t>увеличили точки взаимодействия для сбора данных о поведении болельщиков</a:t>
            </a:r>
            <a:br>
              <a:rPr lang="ru-RU" dirty="0" smtClean="0"/>
            </a:br>
            <a:endParaRPr lang="en-US" dirty="0"/>
          </a:p>
        </p:txBody>
      </p:sp>
      <p:sp>
        <p:nvSpPr>
          <p:cNvPr id="18" name="Rechteck 17"/>
          <p:cNvSpPr/>
          <p:nvPr/>
        </p:nvSpPr>
        <p:spPr>
          <a:xfrm>
            <a:off x="521982" y="198152"/>
            <a:ext cx="570669" cy="184666"/>
          </a:xfrm>
          <a:prstGeom prst="rect">
            <a:avLst/>
          </a:prstGeom>
        </p:spPr>
        <p:txBody>
          <a:bodyPr wrap="none" lIns="0" tIns="0" rIns="0" bIns="0">
            <a:spAutoFit/>
          </a:bodyPr>
          <a:lstStyle/>
          <a:p>
            <a:r>
              <a:rPr lang="ru-RU" sz="1200" b="1" dirty="0" smtClean="0"/>
              <a:t>ПРИМЕР</a:t>
            </a:r>
            <a:endParaRPr lang="de-DE" sz="1200" b="1" dirty="0"/>
          </a:p>
        </p:txBody>
      </p:sp>
      <p:grpSp>
        <p:nvGrpSpPr>
          <p:cNvPr id="3" name="Gruppieren 2"/>
          <p:cNvGrpSpPr>
            <a:grpSpLocks noChangeAspect="1"/>
          </p:cNvGrpSpPr>
          <p:nvPr/>
        </p:nvGrpSpPr>
        <p:grpSpPr>
          <a:xfrm>
            <a:off x="6282190" y="2377870"/>
            <a:ext cx="2385266" cy="1953458"/>
            <a:chOff x="5961959" y="1491630"/>
            <a:chExt cx="2581671" cy="1953458"/>
          </a:xfrm>
        </p:grpSpPr>
        <p:pic>
          <p:nvPicPr>
            <p:cNvPr id="19" name="Picture 4" descr="levis stadium tickets"/>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961959" y="2594681"/>
              <a:ext cx="1616348" cy="850407"/>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8" descr="levis app"/>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372200" y="1491630"/>
              <a:ext cx="1942500" cy="890902"/>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10" descr="levis my orders"/>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639991" y="2523113"/>
              <a:ext cx="903639" cy="888825"/>
            </a:xfrm>
            <a:prstGeom prst="rect">
              <a:avLst/>
            </a:prstGeom>
            <a:noFill/>
            <a:extLst>
              <a:ext uri="{909E8E84-426E-40DD-AFC4-6F175D3DCCD1}">
                <a14:hiddenFill xmlns:a14="http://schemas.microsoft.com/office/drawing/2010/main">
                  <a:solidFill>
                    <a:srgbClr val="FFFFFF"/>
                  </a:solidFill>
                </a14:hiddenFill>
              </a:ext>
            </a:extLst>
          </p:spPr>
        </p:pic>
      </p:grpSp>
      <p:cxnSp>
        <p:nvCxnSpPr>
          <p:cNvPr id="20" name="Straight Connector 14"/>
          <p:cNvCxnSpPr/>
          <p:nvPr/>
        </p:nvCxnSpPr>
        <p:spPr>
          <a:xfrm>
            <a:off x="521982" y="2076695"/>
            <a:ext cx="8278574" cy="0"/>
          </a:xfrm>
          <a:prstGeom prst="line">
            <a:avLst/>
          </a:prstGeom>
          <a:ln w="57150">
            <a:solidFill>
              <a:srgbClr val="000000"/>
            </a:solidFill>
            <a:prstDash val="solid"/>
          </a:ln>
        </p:spPr>
        <p:style>
          <a:lnRef idx="2">
            <a:schemeClr val="accent1"/>
          </a:lnRef>
          <a:fillRef idx="0">
            <a:schemeClr val="accent1"/>
          </a:fillRef>
          <a:effectRef idx="1">
            <a:schemeClr val="accent1"/>
          </a:effectRef>
          <a:fontRef idx="minor">
            <a:schemeClr val="tx1"/>
          </a:fontRef>
        </p:style>
      </p:cxnSp>
      <p:grpSp>
        <p:nvGrpSpPr>
          <p:cNvPr id="21" name="Gruppieren 20"/>
          <p:cNvGrpSpPr>
            <a:grpSpLocks noChangeAspect="1"/>
          </p:cNvGrpSpPr>
          <p:nvPr/>
        </p:nvGrpSpPr>
        <p:grpSpPr>
          <a:xfrm>
            <a:off x="539748" y="4876006"/>
            <a:ext cx="719884" cy="215444"/>
            <a:chOff x="539748" y="4876006"/>
            <a:chExt cx="719884" cy="215444"/>
          </a:xfrm>
        </p:grpSpPr>
        <p:sp>
          <p:nvSpPr>
            <p:cNvPr id="22" name="Textfeld 21"/>
            <p:cNvSpPr txBox="1"/>
            <p:nvPr userDrawn="1"/>
          </p:nvSpPr>
          <p:spPr>
            <a:xfrm>
              <a:off x="539750" y="4876006"/>
              <a:ext cx="719882" cy="215444"/>
            </a:xfrm>
            <a:prstGeom prst="rect">
              <a:avLst/>
            </a:prstGeom>
            <a:noFill/>
          </p:spPr>
          <p:txBody>
            <a:bodyPr wrap="square" rtlCol="0">
              <a:spAutoFit/>
            </a:bodyPr>
            <a:lstStyle/>
            <a:p>
              <a:pPr algn="ctr"/>
              <a:r>
                <a:rPr lang="ru-RU" sz="800" kern="1300" spc="80" dirty="0" smtClean="0"/>
                <a:t>ТРЕНД</a:t>
              </a:r>
              <a:r>
                <a:rPr lang="de-DE" sz="800" kern="1300" spc="80" baseline="0" dirty="0" smtClean="0"/>
                <a:t> </a:t>
              </a:r>
              <a:r>
                <a:rPr lang="de-DE" sz="800" b="1" kern="1300" spc="80" baseline="0" dirty="0" smtClean="0"/>
                <a:t>0</a:t>
              </a:r>
              <a:r>
                <a:rPr lang="ru-RU" sz="800" b="1" kern="1300" spc="80" baseline="0" dirty="0" smtClean="0"/>
                <a:t>4</a:t>
              </a:r>
              <a:endParaRPr lang="de-DE" sz="800" b="1" kern="1300" spc="80" baseline="0" dirty="0" smtClean="0"/>
            </a:p>
          </p:txBody>
        </p:sp>
        <p:sp>
          <p:nvSpPr>
            <p:cNvPr id="23" name="Gleichschenkliges Dreieck 22"/>
            <p:cNvSpPr/>
            <p:nvPr userDrawn="1"/>
          </p:nvSpPr>
          <p:spPr>
            <a:xfrm rot="16200000" flipH="1" flipV="1">
              <a:off x="534004" y="4938683"/>
              <a:ext cx="83300" cy="71811"/>
            </a:xfrm>
            <a:prstGeom prst="triangl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sp>
          <p:nvSpPr>
            <p:cNvPr id="24" name="Gleichschenkliges Dreieck 23"/>
            <p:cNvSpPr/>
            <p:nvPr userDrawn="1"/>
          </p:nvSpPr>
          <p:spPr>
            <a:xfrm rot="5400000" flipV="1">
              <a:off x="1182077" y="4938684"/>
              <a:ext cx="83300" cy="71811"/>
            </a:xfrm>
            <a:prstGeom prst="triangl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grpSp>
      <p:pic>
        <p:nvPicPr>
          <p:cNvPr id="15362" name="Picture 2" descr="C:\Users\anelles\Work Folders\Desktop\1000.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836585" y="2357465"/>
            <a:ext cx="855095" cy="74379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6470702"/>
      </p:ext>
    </p:extLst>
  </p:cSld>
  <p:clrMapOvr>
    <a:masterClrMapping/>
  </p:clrMapOvr>
  <p:transition>
    <p:fad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5" name="Gruppieren 14"/>
          <p:cNvGrpSpPr>
            <a:grpSpLocks noChangeAspect="1"/>
          </p:cNvGrpSpPr>
          <p:nvPr/>
        </p:nvGrpSpPr>
        <p:grpSpPr>
          <a:xfrm>
            <a:off x="539748" y="4876006"/>
            <a:ext cx="719884" cy="215444"/>
            <a:chOff x="539748" y="4876006"/>
            <a:chExt cx="719884" cy="215444"/>
          </a:xfrm>
        </p:grpSpPr>
        <p:sp>
          <p:nvSpPr>
            <p:cNvPr id="16" name="Textfeld 15"/>
            <p:cNvSpPr txBox="1"/>
            <p:nvPr userDrawn="1"/>
          </p:nvSpPr>
          <p:spPr>
            <a:xfrm>
              <a:off x="539750" y="4876006"/>
              <a:ext cx="719882" cy="215444"/>
            </a:xfrm>
            <a:prstGeom prst="rect">
              <a:avLst/>
            </a:prstGeom>
            <a:noFill/>
          </p:spPr>
          <p:txBody>
            <a:bodyPr wrap="square" rtlCol="0">
              <a:spAutoFit/>
            </a:bodyPr>
            <a:lstStyle/>
            <a:p>
              <a:pPr algn="ctr"/>
              <a:r>
                <a:rPr lang="de-DE" sz="800" kern="1300" spc="80" baseline="0" dirty="0" smtClean="0">
                  <a:solidFill>
                    <a:srgbClr val="FFFFFF"/>
                  </a:solidFill>
                </a:rPr>
                <a:t>TREND </a:t>
              </a:r>
              <a:r>
                <a:rPr lang="de-DE" sz="800" b="1" kern="1300" spc="80" baseline="0" dirty="0" smtClean="0">
                  <a:solidFill>
                    <a:srgbClr val="FFFFFF"/>
                  </a:solidFill>
                </a:rPr>
                <a:t>0</a:t>
              </a:r>
              <a:r>
                <a:rPr lang="ru-RU" sz="800" b="1" kern="1300" spc="80" baseline="0" dirty="0" smtClean="0">
                  <a:solidFill>
                    <a:srgbClr val="FFFFFF"/>
                  </a:solidFill>
                </a:rPr>
                <a:t>4</a:t>
              </a:r>
              <a:endParaRPr lang="de-DE" sz="800" b="1" kern="1300" spc="80" baseline="0" dirty="0" smtClean="0">
                <a:solidFill>
                  <a:srgbClr val="FFFFFF"/>
                </a:solidFill>
              </a:endParaRPr>
            </a:p>
          </p:txBody>
        </p:sp>
        <p:sp>
          <p:nvSpPr>
            <p:cNvPr id="17" name="Gleichschenkliges Dreieck 16"/>
            <p:cNvSpPr/>
            <p:nvPr userDrawn="1"/>
          </p:nvSpPr>
          <p:spPr>
            <a:xfrm rot="16200000" flipH="1" flipV="1">
              <a:off x="534004" y="4938683"/>
              <a:ext cx="83300" cy="71811"/>
            </a:xfrm>
            <a:prstGeom prst="triangle">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solidFill>
                  <a:srgbClr val="FFFFFF"/>
                </a:solidFill>
              </a:endParaRPr>
            </a:p>
          </p:txBody>
        </p:sp>
        <p:sp>
          <p:nvSpPr>
            <p:cNvPr id="18" name="Gleichschenkliges Dreieck 17"/>
            <p:cNvSpPr/>
            <p:nvPr userDrawn="1"/>
          </p:nvSpPr>
          <p:spPr>
            <a:xfrm rot="5400000" flipV="1">
              <a:off x="1182077" y="4938684"/>
              <a:ext cx="83300" cy="71811"/>
            </a:xfrm>
            <a:prstGeom prst="triangle">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solidFill>
                  <a:srgbClr val="FFFFFF"/>
                </a:solidFill>
              </a:endParaRPr>
            </a:p>
          </p:txBody>
        </p:sp>
      </p:grpSp>
      <p:sp>
        <p:nvSpPr>
          <p:cNvPr id="33" name="Titel 1"/>
          <p:cNvSpPr>
            <a:spLocks noGrp="1"/>
          </p:cNvSpPr>
          <p:nvPr>
            <p:ph type="title"/>
          </p:nvPr>
        </p:nvSpPr>
        <p:spPr>
          <a:xfrm>
            <a:off x="0" y="483069"/>
            <a:ext cx="9144000" cy="332399"/>
          </a:xfrm>
        </p:spPr>
        <p:txBody>
          <a:bodyPr/>
          <a:lstStyle/>
          <a:p>
            <a:pPr algn="ctr"/>
            <a:r>
              <a:rPr lang="ru-RU" dirty="0" smtClean="0">
                <a:solidFill>
                  <a:srgbClr val="FFFFFF"/>
                </a:solidFill>
              </a:rPr>
              <a:t>Какие </a:t>
            </a:r>
            <a:r>
              <a:rPr lang="ru-RU" b="1" dirty="0" smtClean="0">
                <a:solidFill>
                  <a:srgbClr val="8DC63F"/>
                </a:solidFill>
              </a:rPr>
              <a:t>перспективы</a:t>
            </a:r>
            <a:r>
              <a:rPr lang="en-US" b="1" dirty="0" smtClean="0">
                <a:solidFill>
                  <a:srgbClr val="8DC63F"/>
                </a:solidFill>
              </a:rPr>
              <a:t>?</a:t>
            </a:r>
            <a:endParaRPr lang="de-DE" b="1" dirty="0">
              <a:solidFill>
                <a:srgbClr val="8DC63F"/>
              </a:solidFill>
            </a:endParaRPr>
          </a:p>
        </p:txBody>
      </p:sp>
      <p:sp>
        <p:nvSpPr>
          <p:cNvPr id="43" name="Rechteck 42"/>
          <p:cNvSpPr/>
          <p:nvPr/>
        </p:nvSpPr>
        <p:spPr>
          <a:xfrm>
            <a:off x="3532595" y="1626646"/>
            <a:ext cx="2258325" cy="2765190"/>
          </a:xfrm>
          <a:prstGeom prst="rect">
            <a:avLst/>
          </a:prstGeom>
          <a:solidFill>
            <a:srgbClr val="000000"/>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sp>
        <p:nvSpPr>
          <p:cNvPr id="44" name="Rechteck 43"/>
          <p:cNvSpPr/>
          <p:nvPr/>
        </p:nvSpPr>
        <p:spPr>
          <a:xfrm>
            <a:off x="3532595" y="1626646"/>
            <a:ext cx="2258325" cy="2765190"/>
          </a:xfrm>
          <a:prstGeom prst="rect">
            <a:avLst/>
          </a:prstGeom>
          <a:solidFill>
            <a:srgbClr val="000000"/>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sp>
        <p:nvSpPr>
          <p:cNvPr id="45" name="Textfeld 44"/>
          <p:cNvSpPr txBox="1"/>
          <p:nvPr/>
        </p:nvSpPr>
        <p:spPr>
          <a:xfrm>
            <a:off x="2771800" y="1537439"/>
            <a:ext cx="5400600" cy="646331"/>
          </a:xfrm>
          <a:prstGeom prst="rect">
            <a:avLst/>
          </a:prstGeom>
          <a:noFill/>
        </p:spPr>
        <p:txBody>
          <a:bodyPr wrap="square" rtlCol="0">
            <a:spAutoFit/>
          </a:bodyPr>
          <a:lstStyle/>
          <a:p>
            <a:r>
              <a:rPr lang="ru-RU" dirty="0" smtClean="0">
                <a:solidFill>
                  <a:srgbClr val="FFFFFF"/>
                </a:solidFill>
              </a:rPr>
              <a:t>Будет усовершенствован сбор и организация информации в одном месте </a:t>
            </a:r>
            <a:endParaRPr lang="de-DE" dirty="0" err="1">
              <a:solidFill>
                <a:srgbClr val="FFFFFF"/>
              </a:solidFill>
            </a:endParaRPr>
          </a:p>
        </p:txBody>
      </p:sp>
      <p:sp>
        <p:nvSpPr>
          <p:cNvPr id="46" name="Textfeld 45"/>
          <p:cNvSpPr txBox="1"/>
          <p:nvPr/>
        </p:nvSpPr>
        <p:spPr>
          <a:xfrm>
            <a:off x="2771798" y="3860634"/>
            <a:ext cx="5400601" cy="923330"/>
          </a:xfrm>
          <a:prstGeom prst="rect">
            <a:avLst/>
          </a:prstGeom>
          <a:noFill/>
        </p:spPr>
        <p:txBody>
          <a:bodyPr wrap="square" rtlCol="0">
            <a:spAutoFit/>
          </a:bodyPr>
          <a:lstStyle/>
          <a:p>
            <a:pPr marL="0" lvl="1">
              <a:spcBef>
                <a:spcPts val="1800"/>
              </a:spcBef>
              <a:buClr>
                <a:srgbClr val="009DD9"/>
              </a:buClr>
            </a:pPr>
            <a:r>
              <a:rPr lang="ru-RU" dirty="0" smtClean="0">
                <a:solidFill>
                  <a:srgbClr val="FFFFFF"/>
                </a:solidFill>
              </a:rPr>
              <a:t>Больший спрос на продвинутые системы и решения, фокус на то, как данные интерпретируются, визуализируется и используются</a:t>
            </a:r>
            <a:endParaRPr lang="en-US" dirty="0">
              <a:solidFill>
                <a:srgbClr val="FFFFFF"/>
              </a:solidFill>
            </a:endParaRPr>
          </a:p>
        </p:txBody>
      </p:sp>
      <p:sp>
        <p:nvSpPr>
          <p:cNvPr id="47" name="Rechteck 46"/>
          <p:cNvSpPr/>
          <p:nvPr/>
        </p:nvSpPr>
        <p:spPr>
          <a:xfrm>
            <a:off x="4210464" y="1549647"/>
            <a:ext cx="2258325" cy="276519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sp>
        <p:nvSpPr>
          <p:cNvPr id="48" name="Textfeld 47"/>
          <p:cNvSpPr txBox="1"/>
          <p:nvPr/>
        </p:nvSpPr>
        <p:spPr>
          <a:xfrm>
            <a:off x="2771799" y="2690504"/>
            <a:ext cx="5355595" cy="923330"/>
          </a:xfrm>
          <a:prstGeom prst="rect">
            <a:avLst/>
          </a:prstGeom>
          <a:noFill/>
        </p:spPr>
        <p:txBody>
          <a:bodyPr wrap="square" rtlCol="0">
            <a:spAutoFit/>
          </a:bodyPr>
          <a:lstStyle/>
          <a:p>
            <a:pPr marL="0" lvl="1">
              <a:spcBef>
                <a:spcPts val="1800"/>
              </a:spcBef>
              <a:buClr>
                <a:srgbClr val="009DD9"/>
              </a:buClr>
            </a:pPr>
            <a:r>
              <a:rPr lang="ru-RU" dirty="0" smtClean="0">
                <a:solidFill>
                  <a:srgbClr val="FFFFFF"/>
                </a:solidFill>
              </a:rPr>
              <a:t>Ускорится доставка персональных решений, которые будут выявлены на основе данных</a:t>
            </a:r>
            <a:r>
              <a:rPr lang="en-US" dirty="0">
                <a:solidFill>
                  <a:srgbClr val="FFFFFF"/>
                </a:solidFill>
              </a:rPr>
              <a:t/>
            </a:r>
            <a:br>
              <a:rPr lang="en-US" dirty="0">
                <a:solidFill>
                  <a:srgbClr val="FFFFFF"/>
                </a:solidFill>
              </a:rPr>
            </a:br>
            <a:endParaRPr lang="en-US" dirty="0">
              <a:solidFill>
                <a:srgbClr val="FFFFFF"/>
              </a:solidFill>
            </a:endParaRPr>
          </a:p>
        </p:txBody>
      </p:sp>
      <p:grpSp>
        <p:nvGrpSpPr>
          <p:cNvPr id="49" name="Gruppieren 48"/>
          <p:cNvGrpSpPr/>
          <p:nvPr/>
        </p:nvGrpSpPr>
        <p:grpSpPr>
          <a:xfrm rot="16200000">
            <a:off x="1955651" y="1640436"/>
            <a:ext cx="456109" cy="456109"/>
            <a:chOff x="1357632" y="1654339"/>
            <a:chExt cx="579118" cy="579118"/>
          </a:xfrm>
        </p:grpSpPr>
        <p:sp>
          <p:nvSpPr>
            <p:cNvPr id="50" name="Ellipse 49"/>
            <p:cNvSpPr/>
            <p:nvPr/>
          </p:nvSpPr>
          <p:spPr>
            <a:xfrm>
              <a:off x="1357632" y="1654339"/>
              <a:ext cx="579118" cy="579118"/>
            </a:xfrm>
            <a:prstGeom prst="ellipse">
              <a:avLst/>
            </a:prstGeom>
            <a:solidFill>
              <a:srgbClr val="8DC63F"/>
            </a:solidFill>
            <a:ln w="28575">
              <a:solidFill>
                <a:srgbClr val="FFFFFF"/>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sp>
          <p:nvSpPr>
            <p:cNvPr id="51" name="Gleichschenkliges Dreieck 50"/>
            <p:cNvSpPr/>
            <p:nvPr/>
          </p:nvSpPr>
          <p:spPr>
            <a:xfrm flipV="1">
              <a:off x="1507419" y="1869460"/>
              <a:ext cx="279546" cy="240988"/>
            </a:xfrm>
            <a:prstGeom prst="triangle">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grpSp>
      <p:cxnSp>
        <p:nvCxnSpPr>
          <p:cNvPr id="52" name="Gerade Verbindung 51"/>
          <p:cNvCxnSpPr/>
          <p:nvPr/>
        </p:nvCxnSpPr>
        <p:spPr>
          <a:xfrm flipV="1">
            <a:off x="2873048" y="1446625"/>
            <a:ext cx="818166" cy="1"/>
          </a:xfrm>
          <a:prstGeom prst="line">
            <a:avLst/>
          </a:prstGeom>
          <a:ln w="57150">
            <a:solidFill>
              <a:srgbClr val="8DC63F"/>
            </a:solidFill>
          </a:ln>
        </p:spPr>
        <p:style>
          <a:lnRef idx="2">
            <a:schemeClr val="accent1"/>
          </a:lnRef>
          <a:fillRef idx="0">
            <a:schemeClr val="accent1"/>
          </a:fillRef>
          <a:effectRef idx="1">
            <a:schemeClr val="accent1"/>
          </a:effectRef>
          <a:fontRef idx="minor">
            <a:schemeClr val="tx1"/>
          </a:fontRef>
        </p:style>
      </p:cxnSp>
      <p:cxnSp>
        <p:nvCxnSpPr>
          <p:cNvPr id="53" name="Gerade Verbindung 52"/>
          <p:cNvCxnSpPr/>
          <p:nvPr/>
        </p:nvCxnSpPr>
        <p:spPr>
          <a:xfrm flipV="1">
            <a:off x="2873048" y="2614056"/>
            <a:ext cx="818166" cy="1"/>
          </a:xfrm>
          <a:prstGeom prst="line">
            <a:avLst/>
          </a:prstGeom>
          <a:ln w="57150">
            <a:solidFill>
              <a:srgbClr val="8DC63F"/>
            </a:solidFill>
          </a:ln>
        </p:spPr>
        <p:style>
          <a:lnRef idx="2">
            <a:schemeClr val="accent1"/>
          </a:lnRef>
          <a:fillRef idx="0">
            <a:schemeClr val="accent1"/>
          </a:fillRef>
          <a:effectRef idx="1">
            <a:schemeClr val="accent1"/>
          </a:effectRef>
          <a:fontRef idx="minor">
            <a:schemeClr val="tx1"/>
          </a:fontRef>
        </p:style>
      </p:cxnSp>
      <p:cxnSp>
        <p:nvCxnSpPr>
          <p:cNvPr id="54" name="Gerade Verbindung 53"/>
          <p:cNvCxnSpPr/>
          <p:nvPr/>
        </p:nvCxnSpPr>
        <p:spPr>
          <a:xfrm flipV="1">
            <a:off x="2873048" y="3744997"/>
            <a:ext cx="818166" cy="1"/>
          </a:xfrm>
          <a:prstGeom prst="line">
            <a:avLst/>
          </a:prstGeom>
          <a:ln w="57150">
            <a:solidFill>
              <a:srgbClr val="8DC63F"/>
            </a:solidFill>
          </a:ln>
        </p:spPr>
        <p:style>
          <a:lnRef idx="2">
            <a:schemeClr val="accent1"/>
          </a:lnRef>
          <a:fillRef idx="0">
            <a:schemeClr val="accent1"/>
          </a:fillRef>
          <a:effectRef idx="1">
            <a:schemeClr val="accent1"/>
          </a:effectRef>
          <a:fontRef idx="minor">
            <a:schemeClr val="tx1"/>
          </a:fontRef>
        </p:style>
      </p:cxnSp>
      <p:grpSp>
        <p:nvGrpSpPr>
          <p:cNvPr id="55" name="Gruppieren 54"/>
          <p:cNvGrpSpPr/>
          <p:nvPr/>
        </p:nvGrpSpPr>
        <p:grpSpPr>
          <a:xfrm rot="16200000">
            <a:off x="1955651" y="2774455"/>
            <a:ext cx="456109" cy="456109"/>
            <a:chOff x="1357632" y="1654339"/>
            <a:chExt cx="579118" cy="579118"/>
          </a:xfrm>
        </p:grpSpPr>
        <p:sp>
          <p:nvSpPr>
            <p:cNvPr id="56" name="Ellipse 55"/>
            <p:cNvSpPr/>
            <p:nvPr/>
          </p:nvSpPr>
          <p:spPr>
            <a:xfrm>
              <a:off x="1357632" y="1654339"/>
              <a:ext cx="579118" cy="579118"/>
            </a:xfrm>
            <a:prstGeom prst="ellipse">
              <a:avLst/>
            </a:prstGeom>
            <a:solidFill>
              <a:srgbClr val="8DC63F"/>
            </a:solidFill>
            <a:ln w="28575">
              <a:solidFill>
                <a:srgbClr val="FFFFFF"/>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sp>
          <p:nvSpPr>
            <p:cNvPr id="57" name="Gleichschenkliges Dreieck 56"/>
            <p:cNvSpPr/>
            <p:nvPr/>
          </p:nvSpPr>
          <p:spPr>
            <a:xfrm flipV="1">
              <a:off x="1507419" y="1869460"/>
              <a:ext cx="279546" cy="240988"/>
            </a:xfrm>
            <a:prstGeom prst="triangle">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grpSp>
      <p:grpSp>
        <p:nvGrpSpPr>
          <p:cNvPr id="58" name="Gruppieren 57"/>
          <p:cNvGrpSpPr/>
          <p:nvPr/>
        </p:nvGrpSpPr>
        <p:grpSpPr>
          <a:xfrm rot="16200000">
            <a:off x="1955651" y="3955744"/>
            <a:ext cx="456109" cy="456109"/>
            <a:chOff x="1357632" y="1654339"/>
            <a:chExt cx="579118" cy="579118"/>
          </a:xfrm>
        </p:grpSpPr>
        <p:sp>
          <p:nvSpPr>
            <p:cNvPr id="59" name="Ellipse 58"/>
            <p:cNvSpPr/>
            <p:nvPr/>
          </p:nvSpPr>
          <p:spPr>
            <a:xfrm>
              <a:off x="1357632" y="1654339"/>
              <a:ext cx="579118" cy="579118"/>
            </a:xfrm>
            <a:prstGeom prst="ellipse">
              <a:avLst/>
            </a:prstGeom>
            <a:solidFill>
              <a:srgbClr val="8DC63F"/>
            </a:solidFill>
            <a:ln w="28575">
              <a:solidFill>
                <a:srgbClr val="FFFFFF"/>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sp>
          <p:nvSpPr>
            <p:cNvPr id="60" name="Gleichschenkliges Dreieck 59"/>
            <p:cNvSpPr/>
            <p:nvPr/>
          </p:nvSpPr>
          <p:spPr>
            <a:xfrm flipV="1">
              <a:off x="1507419" y="1869460"/>
              <a:ext cx="279546" cy="240988"/>
            </a:xfrm>
            <a:prstGeom prst="triangle">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grpSp>
    </p:spTree>
    <p:extLst>
      <p:ext uri="{BB962C8B-B14F-4D97-AF65-F5344CB8AC3E}">
        <p14:creationId xmlns:p14="http://schemas.microsoft.com/office/powerpoint/2010/main" val="1947194603"/>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522288" y="480203"/>
            <a:ext cx="8053564" cy="332399"/>
          </a:xfrm>
        </p:spPr>
        <p:txBody>
          <a:bodyPr/>
          <a:lstStyle/>
          <a:p>
            <a:r>
              <a:rPr lang="ru-RU" b="1" dirty="0" smtClean="0"/>
              <a:t>Глобальный рынок спорта </a:t>
            </a:r>
            <a:r>
              <a:rPr lang="ru-RU" dirty="0" smtClean="0"/>
              <a:t>Бьет рекорды</a:t>
            </a:r>
            <a:endParaRPr lang="de-DE" sz="2400" dirty="0"/>
          </a:p>
        </p:txBody>
      </p:sp>
      <p:pic>
        <p:nvPicPr>
          <p:cNvPr id="9" name="Picture 4" descr="Image result for AB INBEV"/>
          <p:cNvPicPr>
            <a:picLocks noChangeAspect="1" noChangeArrowheads="1"/>
          </p:cNvPicPr>
          <p:nvPr/>
        </p:nvPicPr>
        <p:blipFill>
          <a:blip r:embed="rId2" cstate="print">
            <a:extLst>
              <a:ext uri="{BEBA8EAE-BF5A-486C-A8C5-ECC9F3942E4B}">
                <a14:imgProps xmlns:a14="http://schemas.microsoft.com/office/drawing/2010/main">
                  <a14:imgLayer r:embed="rId3">
                    <a14:imgEffect>
                      <a14:saturation sat="400000"/>
                    </a14:imgEffect>
                  </a14:imgLayer>
                </a14:imgProps>
              </a:ext>
              <a:ext uri="{28A0092B-C50C-407E-A947-70E740481C1C}">
                <a14:useLocalDpi xmlns:a14="http://schemas.microsoft.com/office/drawing/2010/main" val="0"/>
              </a:ext>
            </a:extLst>
          </a:blip>
          <a:srcRect/>
          <a:stretch>
            <a:fillRect/>
          </a:stretch>
        </p:blipFill>
        <p:spPr bwMode="auto">
          <a:xfrm>
            <a:off x="4897078" y="1619497"/>
            <a:ext cx="579612" cy="530868"/>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p:cNvSpPr txBox="1"/>
          <p:nvPr/>
        </p:nvSpPr>
        <p:spPr>
          <a:xfrm>
            <a:off x="5562110" y="1657712"/>
            <a:ext cx="3384376" cy="523220"/>
          </a:xfrm>
          <a:prstGeom prst="rect">
            <a:avLst/>
          </a:prstGeom>
          <a:noFill/>
        </p:spPr>
        <p:txBody>
          <a:bodyPr wrap="square" rtlCol="0">
            <a:spAutoFit/>
          </a:bodyPr>
          <a:lstStyle/>
          <a:p>
            <a:r>
              <a:rPr lang="ru-RU" sz="1400" b="1" dirty="0" smtClean="0">
                <a:solidFill>
                  <a:schemeClr val="accent2"/>
                </a:solidFill>
              </a:rPr>
              <a:t>САН </a:t>
            </a:r>
            <a:r>
              <a:rPr lang="ru-RU" sz="1400" b="1" dirty="0" err="1">
                <a:solidFill>
                  <a:schemeClr val="accent2"/>
                </a:solidFill>
              </a:rPr>
              <a:t>ИнБев</a:t>
            </a:r>
            <a:r>
              <a:rPr lang="en-GB" sz="1400" b="1" dirty="0" smtClean="0">
                <a:solidFill>
                  <a:schemeClr val="accent2"/>
                </a:solidFill>
              </a:rPr>
              <a:t> </a:t>
            </a:r>
            <a:r>
              <a:rPr lang="ru-RU" sz="1400" dirty="0" smtClean="0"/>
              <a:t>заключает соглашение с НФЛ на</a:t>
            </a:r>
            <a:r>
              <a:rPr lang="en-GB" sz="1400" dirty="0" smtClean="0"/>
              <a:t> $1.4</a:t>
            </a:r>
            <a:r>
              <a:rPr lang="ru-RU" sz="1400" dirty="0" smtClean="0"/>
              <a:t> миллиарда на 6 лет</a:t>
            </a:r>
            <a:endParaRPr lang="en-GB" sz="1400" dirty="0" smtClean="0"/>
          </a:p>
        </p:txBody>
      </p:sp>
      <p:sp>
        <p:nvSpPr>
          <p:cNvPr id="13" name="TextBox 12"/>
          <p:cNvSpPr txBox="1"/>
          <p:nvPr/>
        </p:nvSpPr>
        <p:spPr>
          <a:xfrm>
            <a:off x="5562110" y="2199515"/>
            <a:ext cx="3150350" cy="738664"/>
          </a:xfrm>
          <a:prstGeom prst="rect">
            <a:avLst/>
          </a:prstGeom>
          <a:noFill/>
        </p:spPr>
        <p:txBody>
          <a:bodyPr wrap="square" rtlCol="0">
            <a:spAutoFit/>
          </a:bodyPr>
          <a:lstStyle/>
          <a:p>
            <a:r>
              <a:rPr lang="ru-RU" sz="1400" b="1" dirty="0" smtClean="0">
                <a:solidFill>
                  <a:schemeClr val="accent2"/>
                </a:solidFill>
              </a:rPr>
              <a:t>ТОЙОТА</a:t>
            </a:r>
            <a:r>
              <a:rPr lang="en-GB" sz="1400" b="1" dirty="0" smtClean="0"/>
              <a:t> </a:t>
            </a:r>
            <a:r>
              <a:rPr lang="ru-RU" sz="1400" dirty="0" smtClean="0"/>
              <a:t>заключает соглашение с МОК на </a:t>
            </a:r>
            <a:r>
              <a:rPr lang="en-GB" sz="1400" dirty="0" smtClean="0"/>
              <a:t>$1.63</a:t>
            </a:r>
            <a:r>
              <a:rPr lang="ru-RU" sz="1400" dirty="0" smtClean="0"/>
              <a:t> миллиардов </a:t>
            </a:r>
            <a:r>
              <a:rPr lang="en-GB" sz="1400" dirty="0" smtClean="0"/>
              <a:t>– </a:t>
            </a:r>
            <a:r>
              <a:rPr lang="ru-RU" sz="1400" dirty="0" smtClean="0"/>
              <a:t>крупнейшая спонсорская сделка в истории</a:t>
            </a:r>
            <a:endParaRPr lang="en-GB" sz="1400" dirty="0" smtClean="0"/>
          </a:p>
        </p:txBody>
      </p:sp>
      <p:pic>
        <p:nvPicPr>
          <p:cNvPr id="5122" name="Picture 2" descr="Image result for toyota"/>
          <p:cNvPicPr>
            <a:picLocks noChangeAspect="1" noChangeArrowheads="1"/>
          </p:cNvPicPr>
          <p:nvPr/>
        </p:nvPicPr>
        <p:blipFill>
          <a:blip r:embed="rId4" cstate="print">
            <a:extLst>
              <a:ext uri="{BEBA8EAE-BF5A-486C-A8C5-ECC9F3942E4B}">
                <a14:imgProps xmlns:a14="http://schemas.microsoft.com/office/drawing/2010/main">
                  <a14:imgLayer r:embed="rId5">
                    <a14:imgEffect>
                      <a14:saturation sat="400000"/>
                    </a14:imgEffect>
                  </a14:imgLayer>
                </a14:imgProps>
              </a:ext>
              <a:ext uri="{28A0092B-C50C-407E-A947-70E740481C1C}">
                <a14:useLocalDpi xmlns:a14="http://schemas.microsoft.com/office/drawing/2010/main" val="0"/>
              </a:ext>
            </a:extLst>
          </a:blip>
          <a:srcRect/>
          <a:stretch>
            <a:fillRect/>
          </a:stretch>
        </p:blipFill>
        <p:spPr bwMode="auto">
          <a:xfrm>
            <a:off x="4863305" y="2250948"/>
            <a:ext cx="597600" cy="354733"/>
          </a:xfrm>
          <a:prstGeom prst="rect">
            <a:avLst/>
          </a:prstGeom>
          <a:noFill/>
          <a:extLst>
            <a:ext uri="{909E8E84-426E-40DD-AFC4-6F175D3DCCD1}">
              <a14:hiddenFill xmlns:a14="http://schemas.microsoft.com/office/drawing/2010/main">
                <a:solidFill>
                  <a:srgbClr val="FFFFFF"/>
                </a:solidFill>
              </a14:hiddenFill>
            </a:ext>
          </a:extLst>
        </p:spPr>
      </p:pic>
      <p:sp>
        <p:nvSpPr>
          <p:cNvPr id="17" name="TextBox 16"/>
          <p:cNvSpPr txBox="1"/>
          <p:nvPr/>
        </p:nvSpPr>
        <p:spPr>
          <a:xfrm>
            <a:off x="1410439" y="3592544"/>
            <a:ext cx="2981541" cy="523220"/>
          </a:xfrm>
          <a:prstGeom prst="rect">
            <a:avLst/>
          </a:prstGeom>
          <a:noFill/>
        </p:spPr>
        <p:txBody>
          <a:bodyPr wrap="square" rtlCol="0">
            <a:spAutoFit/>
          </a:bodyPr>
          <a:lstStyle/>
          <a:p>
            <a:r>
              <a:rPr lang="ru-RU" sz="1400" b="1" dirty="0" smtClean="0">
                <a:solidFill>
                  <a:schemeClr val="accent2"/>
                </a:solidFill>
              </a:rPr>
              <a:t>НБА </a:t>
            </a:r>
            <a:r>
              <a:rPr lang="ru-RU" sz="1400" dirty="0" smtClean="0"/>
              <a:t>развивается в Китае, заключив сделку с </a:t>
            </a:r>
            <a:r>
              <a:rPr lang="en-US" sz="1400" dirty="0" err="1" smtClean="0"/>
              <a:t>Tencent</a:t>
            </a:r>
            <a:r>
              <a:rPr lang="en-US" sz="1400" dirty="0" smtClean="0"/>
              <a:t> </a:t>
            </a:r>
            <a:r>
              <a:rPr lang="ru-RU" sz="1400" dirty="0" smtClean="0"/>
              <a:t>на</a:t>
            </a:r>
            <a:r>
              <a:rPr lang="ru-RU" sz="1400" dirty="0"/>
              <a:t> </a:t>
            </a:r>
            <a:r>
              <a:rPr lang="en-GB" sz="1400" dirty="0" smtClean="0"/>
              <a:t>$700</a:t>
            </a:r>
            <a:r>
              <a:rPr lang="ru-RU" sz="1400" dirty="0" smtClean="0"/>
              <a:t> миллионов</a:t>
            </a:r>
            <a:endParaRPr lang="en-GB" sz="1400" dirty="0" smtClean="0"/>
          </a:p>
        </p:txBody>
      </p:sp>
      <p:sp>
        <p:nvSpPr>
          <p:cNvPr id="21" name="TextBox 20"/>
          <p:cNvSpPr txBox="1"/>
          <p:nvPr/>
        </p:nvSpPr>
        <p:spPr>
          <a:xfrm>
            <a:off x="1410442" y="4208770"/>
            <a:ext cx="2715195" cy="523220"/>
          </a:xfrm>
          <a:prstGeom prst="rect">
            <a:avLst/>
          </a:prstGeom>
          <a:noFill/>
        </p:spPr>
        <p:txBody>
          <a:bodyPr wrap="square" rtlCol="0">
            <a:spAutoFit/>
          </a:bodyPr>
          <a:lstStyle/>
          <a:p>
            <a:r>
              <a:rPr lang="ru-RU" sz="1400" b="1" dirty="0" smtClean="0">
                <a:solidFill>
                  <a:schemeClr val="accent2"/>
                </a:solidFill>
              </a:rPr>
              <a:t>На Кубке </a:t>
            </a:r>
            <a:r>
              <a:rPr lang="ru-RU" sz="1400" b="1" dirty="0">
                <a:solidFill>
                  <a:schemeClr val="accent2"/>
                </a:solidFill>
              </a:rPr>
              <a:t>М</a:t>
            </a:r>
            <a:r>
              <a:rPr lang="ru-RU" sz="1400" b="1" dirty="0" smtClean="0">
                <a:solidFill>
                  <a:schemeClr val="accent2"/>
                </a:solidFill>
              </a:rPr>
              <a:t>ира ФИФА </a:t>
            </a:r>
            <a:r>
              <a:rPr lang="ru-RU" sz="1400" dirty="0" smtClean="0"/>
              <a:t>2022 будет 44 национальные сборные</a:t>
            </a:r>
            <a:endParaRPr lang="en-GB" sz="1400" dirty="0" smtClean="0"/>
          </a:p>
        </p:txBody>
      </p:sp>
      <p:pic>
        <p:nvPicPr>
          <p:cNvPr id="5124" name="Picture 4" descr="Image result for nfl logo"/>
          <p:cNvPicPr>
            <a:picLocks noChangeAspect="1" noChangeArrowheads="1"/>
          </p:cNvPicPr>
          <p:nvPr/>
        </p:nvPicPr>
        <p:blipFill>
          <a:blip r:embed="rId6" cstate="print">
            <a:extLst>
              <a:ext uri="{BEBA8EAE-BF5A-486C-A8C5-ECC9F3942E4B}">
                <a14:imgProps xmlns:a14="http://schemas.microsoft.com/office/drawing/2010/main">
                  <a14:imgLayer r:embed="rId7">
                    <a14:imgEffect>
                      <a14:saturation sat="400000"/>
                    </a14:imgEffect>
                  </a14:imgLayer>
                </a14:imgProps>
              </a:ext>
              <a:ext uri="{28A0092B-C50C-407E-A947-70E740481C1C}">
                <a14:useLocalDpi xmlns:a14="http://schemas.microsoft.com/office/drawing/2010/main" val="0"/>
              </a:ext>
            </a:extLst>
          </a:blip>
          <a:srcRect/>
          <a:stretch>
            <a:fillRect/>
          </a:stretch>
        </p:blipFill>
        <p:spPr bwMode="auto">
          <a:xfrm>
            <a:off x="770954" y="1683721"/>
            <a:ext cx="627545" cy="417515"/>
          </a:xfrm>
          <a:prstGeom prst="rect">
            <a:avLst/>
          </a:prstGeom>
          <a:noFill/>
          <a:extLst>
            <a:ext uri="{909E8E84-426E-40DD-AFC4-6F175D3DCCD1}">
              <a14:hiddenFill xmlns:a14="http://schemas.microsoft.com/office/drawing/2010/main">
                <a:solidFill>
                  <a:srgbClr val="FFFFFF"/>
                </a:solidFill>
              </a14:hiddenFill>
            </a:ext>
          </a:extLst>
        </p:spPr>
      </p:pic>
      <p:sp>
        <p:nvSpPr>
          <p:cNvPr id="27" name="TextBox 26"/>
          <p:cNvSpPr txBox="1"/>
          <p:nvPr/>
        </p:nvSpPr>
        <p:spPr>
          <a:xfrm>
            <a:off x="1410441" y="2166705"/>
            <a:ext cx="2261459" cy="523220"/>
          </a:xfrm>
          <a:prstGeom prst="rect">
            <a:avLst/>
          </a:prstGeom>
          <a:noFill/>
        </p:spPr>
        <p:txBody>
          <a:bodyPr wrap="square" rtlCol="0">
            <a:spAutoFit/>
          </a:bodyPr>
          <a:lstStyle/>
          <a:p>
            <a:r>
              <a:rPr lang="ru-RU" sz="1400" b="1" dirty="0" smtClean="0">
                <a:solidFill>
                  <a:schemeClr val="accent2"/>
                </a:solidFill>
              </a:rPr>
              <a:t>НБА </a:t>
            </a:r>
            <a:r>
              <a:rPr lang="ru-RU" sz="1400" dirty="0" smtClean="0"/>
              <a:t>сделка на </a:t>
            </a:r>
            <a:r>
              <a:rPr lang="en-GB" sz="1400" dirty="0" smtClean="0"/>
              <a:t>$</a:t>
            </a:r>
            <a:r>
              <a:rPr lang="ru-RU" sz="1400" dirty="0" smtClean="0"/>
              <a:t>24</a:t>
            </a:r>
            <a:r>
              <a:rPr lang="en-GB" sz="1400" dirty="0" smtClean="0"/>
              <a:t> </a:t>
            </a:r>
            <a:r>
              <a:rPr lang="ru-RU" sz="1400" dirty="0" smtClean="0"/>
              <a:t>миллиарда на 9 лет</a:t>
            </a:r>
            <a:endParaRPr lang="en-GB" sz="1400" dirty="0" smtClean="0"/>
          </a:p>
        </p:txBody>
      </p:sp>
      <p:sp>
        <p:nvSpPr>
          <p:cNvPr id="30" name="TextBox 29"/>
          <p:cNvSpPr txBox="1"/>
          <p:nvPr/>
        </p:nvSpPr>
        <p:spPr>
          <a:xfrm>
            <a:off x="1410442" y="1657712"/>
            <a:ext cx="2798212" cy="553998"/>
          </a:xfrm>
          <a:prstGeom prst="rect">
            <a:avLst/>
          </a:prstGeom>
          <a:noFill/>
        </p:spPr>
        <p:txBody>
          <a:bodyPr wrap="square" rtlCol="0">
            <a:spAutoFit/>
          </a:bodyPr>
          <a:lstStyle/>
          <a:p>
            <a:pPr>
              <a:lnSpc>
                <a:spcPts val="1800"/>
              </a:lnSpc>
            </a:pPr>
            <a:r>
              <a:rPr lang="ru-RU" sz="1400" b="1" dirty="0" smtClean="0">
                <a:solidFill>
                  <a:schemeClr val="accent2"/>
                </a:solidFill>
              </a:rPr>
              <a:t>НФЛ</a:t>
            </a:r>
            <a:r>
              <a:rPr lang="en-GB" sz="1400" b="1" dirty="0" smtClean="0"/>
              <a:t> </a:t>
            </a:r>
            <a:r>
              <a:rPr lang="ru-RU" sz="1400" dirty="0" smtClean="0"/>
              <a:t>сделк</a:t>
            </a:r>
            <a:r>
              <a:rPr lang="ru-RU" sz="1400" dirty="0"/>
              <a:t>а</a:t>
            </a:r>
            <a:r>
              <a:rPr lang="ru-RU" sz="1400" dirty="0" smtClean="0"/>
              <a:t> на </a:t>
            </a:r>
            <a:r>
              <a:rPr lang="en-GB" sz="1400" dirty="0" smtClean="0"/>
              <a:t>$38.24</a:t>
            </a:r>
            <a:r>
              <a:rPr lang="ru-RU" sz="1400" dirty="0"/>
              <a:t> </a:t>
            </a:r>
            <a:r>
              <a:rPr lang="ru-RU" sz="1400" dirty="0" smtClean="0"/>
              <a:t>миллиардов на 9 лет</a:t>
            </a:r>
            <a:endParaRPr lang="en-GB" sz="1400" dirty="0" smtClean="0"/>
          </a:p>
        </p:txBody>
      </p:sp>
      <p:pic>
        <p:nvPicPr>
          <p:cNvPr id="5128" name="Picture 8" descr="Image result for nba"/>
          <p:cNvPicPr>
            <a:picLocks noChangeAspect="1" noChangeArrowheads="1"/>
          </p:cNvPicPr>
          <p:nvPr/>
        </p:nvPicPr>
        <p:blipFill>
          <a:blip r:embed="rId8" cstate="print">
            <a:clrChange>
              <a:clrFrom>
                <a:srgbClr val="F3F3F3"/>
              </a:clrFrom>
              <a:clrTo>
                <a:srgbClr val="F3F3F3">
                  <a:alpha val="0"/>
                </a:srgbClr>
              </a:clrTo>
            </a:clrChange>
            <a:extLst>
              <a:ext uri="{BEBA8EAE-BF5A-486C-A8C5-ECC9F3942E4B}">
                <a14:imgProps xmlns:a14="http://schemas.microsoft.com/office/drawing/2010/main">
                  <a14:imgLayer r:embed="rId9">
                    <a14:imgEffect>
                      <a14:saturation sat="400000"/>
                    </a14:imgEffect>
                  </a14:imgLayer>
                </a14:imgProps>
              </a:ext>
              <a:ext uri="{28A0092B-C50C-407E-A947-70E740481C1C}">
                <a14:useLocalDpi xmlns:a14="http://schemas.microsoft.com/office/drawing/2010/main" val="0"/>
              </a:ext>
            </a:extLst>
          </a:blip>
          <a:srcRect/>
          <a:stretch>
            <a:fillRect/>
          </a:stretch>
        </p:blipFill>
        <p:spPr bwMode="auto">
          <a:xfrm>
            <a:off x="852769" y="3596389"/>
            <a:ext cx="558304" cy="372202"/>
          </a:xfrm>
          <a:prstGeom prst="rect">
            <a:avLst/>
          </a:prstGeom>
          <a:noFill/>
          <a:extLst>
            <a:ext uri="{909E8E84-426E-40DD-AFC4-6F175D3DCCD1}">
              <a14:hiddenFill xmlns:a14="http://schemas.microsoft.com/office/drawing/2010/main">
                <a:solidFill>
                  <a:srgbClr val="FFFFFF"/>
                </a:solidFill>
              </a14:hiddenFill>
            </a:ext>
          </a:extLst>
        </p:spPr>
      </p:pic>
      <p:pic>
        <p:nvPicPr>
          <p:cNvPr id="5130" name="Picture 10" descr="Image result for fifa logo"/>
          <p:cNvPicPr>
            <a:picLocks noChangeAspect="1" noChangeArrowheads="1"/>
          </p:cNvPicPr>
          <p:nvPr/>
        </p:nvPicPr>
        <p:blipFill>
          <a:blip r:embed="rId10" cstate="print">
            <a:extLst>
              <a:ext uri="{BEBA8EAE-BF5A-486C-A8C5-ECC9F3942E4B}">
                <a14:imgProps xmlns:a14="http://schemas.microsoft.com/office/drawing/2010/main">
                  <a14:imgLayer r:embed="rId11">
                    <a14:imgEffect>
                      <a14:saturation sat="400000"/>
                    </a14:imgEffect>
                  </a14:imgLayer>
                </a14:imgProps>
              </a:ext>
              <a:ext uri="{28A0092B-C50C-407E-A947-70E740481C1C}">
                <a14:useLocalDpi xmlns:a14="http://schemas.microsoft.com/office/drawing/2010/main" val="0"/>
              </a:ext>
            </a:extLst>
          </a:blip>
          <a:srcRect/>
          <a:stretch>
            <a:fillRect/>
          </a:stretch>
        </p:blipFill>
        <p:spPr bwMode="auto">
          <a:xfrm>
            <a:off x="780761" y="4237907"/>
            <a:ext cx="656481" cy="368516"/>
          </a:xfrm>
          <a:prstGeom prst="rect">
            <a:avLst/>
          </a:prstGeom>
          <a:noFill/>
          <a:extLst>
            <a:ext uri="{909E8E84-426E-40DD-AFC4-6F175D3DCCD1}">
              <a14:hiddenFill xmlns:a14="http://schemas.microsoft.com/office/drawing/2010/main">
                <a:solidFill>
                  <a:srgbClr val="FFFFFF"/>
                </a:solidFill>
              </a14:hiddenFill>
            </a:ext>
          </a:extLst>
        </p:spPr>
      </p:pic>
      <p:sp>
        <p:nvSpPr>
          <p:cNvPr id="33" name="TextBox 32"/>
          <p:cNvSpPr txBox="1"/>
          <p:nvPr/>
        </p:nvSpPr>
        <p:spPr>
          <a:xfrm>
            <a:off x="4863305" y="3592545"/>
            <a:ext cx="4027244" cy="523220"/>
          </a:xfrm>
          <a:prstGeom prst="rect">
            <a:avLst/>
          </a:prstGeom>
          <a:noFill/>
        </p:spPr>
        <p:txBody>
          <a:bodyPr wrap="square" rtlCol="0">
            <a:spAutoFit/>
          </a:bodyPr>
          <a:lstStyle/>
          <a:p>
            <a:r>
              <a:rPr lang="en-GB" sz="1400" b="1" dirty="0" smtClean="0">
                <a:solidFill>
                  <a:schemeClr val="accent2"/>
                </a:solidFill>
              </a:rPr>
              <a:t>93 </a:t>
            </a:r>
            <a:r>
              <a:rPr lang="ru-RU" sz="1400" b="1" dirty="0" smtClean="0">
                <a:solidFill>
                  <a:schemeClr val="accent2"/>
                </a:solidFill>
              </a:rPr>
              <a:t>из </a:t>
            </a:r>
            <a:r>
              <a:rPr lang="en-GB" sz="1400" b="1" dirty="0" smtClean="0">
                <a:solidFill>
                  <a:schemeClr val="accent2"/>
                </a:solidFill>
              </a:rPr>
              <a:t>100</a:t>
            </a:r>
            <a:r>
              <a:rPr lang="ru-RU" sz="1400" b="1" dirty="0" smtClean="0">
                <a:solidFill>
                  <a:schemeClr val="accent2"/>
                </a:solidFill>
              </a:rPr>
              <a:t> </a:t>
            </a:r>
            <a:r>
              <a:rPr lang="ru-RU" sz="1400" dirty="0" smtClean="0"/>
              <a:t>самых просматриваемых </a:t>
            </a:r>
            <a:r>
              <a:rPr lang="en-GB" sz="1400" b="1" dirty="0" smtClean="0"/>
              <a:t> </a:t>
            </a:r>
            <a:r>
              <a:rPr lang="ru-RU" sz="1400" b="1" dirty="0" smtClean="0">
                <a:solidFill>
                  <a:schemeClr val="accent2"/>
                </a:solidFill>
              </a:rPr>
              <a:t>передач в прямом эфире на ТВ </a:t>
            </a:r>
            <a:r>
              <a:rPr lang="ru-RU" sz="1400" dirty="0" smtClean="0"/>
              <a:t>в 2015 – </a:t>
            </a:r>
            <a:r>
              <a:rPr lang="ru-RU" sz="1400" b="1" dirty="0">
                <a:solidFill>
                  <a:schemeClr val="accent2"/>
                </a:solidFill>
              </a:rPr>
              <a:t>спорт</a:t>
            </a:r>
            <a:endParaRPr lang="en-GB" sz="1400" b="1" dirty="0">
              <a:solidFill>
                <a:schemeClr val="accent2"/>
              </a:solidFill>
            </a:endParaRPr>
          </a:p>
        </p:txBody>
      </p:sp>
      <p:sp>
        <p:nvSpPr>
          <p:cNvPr id="34" name="TextBox 33"/>
          <p:cNvSpPr txBox="1"/>
          <p:nvPr/>
        </p:nvSpPr>
        <p:spPr>
          <a:xfrm>
            <a:off x="5967155" y="4135249"/>
            <a:ext cx="2835533" cy="523220"/>
          </a:xfrm>
          <a:prstGeom prst="rect">
            <a:avLst/>
          </a:prstGeom>
          <a:noFill/>
        </p:spPr>
        <p:txBody>
          <a:bodyPr wrap="square" rtlCol="0">
            <a:spAutoFit/>
          </a:bodyPr>
          <a:lstStyle/>
          <a:p>
            <a:r>
              <a:rPr lang="ru-RU" sz="1400" dirty="0" smtClean="0"/>
              <a:t>Более</a:t>
            </a:r>
            <a:r>
              <a:rPr lang="en-GB" sz="1400" b="1" dirty="0" smtClean="0"/>
              <a:t> </a:t>
            </a:r>
            <a:r>
              <a:rPr lang="en-GB" sz="1400" b="1" dirty="0" smtClean="0">
                <a:solidFill>
                  <a:schemeClr val="accent2"/>
                </a:solidFill>
              </a:rPr>
              <a:t>50% </a:t>
            </a:r>
            <a:r>
              <a:rPr lang="ru-RU" sz="1400" b="1" dirty="0" err="1" smtClean="0">
                <a:solidFill>
                  <a:schemeClr val="accent2"/>
                </a:solidFill>
              </a:rPr>
              <a:t>твитов</a:t>
            </a:r>
            <a:r>
              <a:rPr lang="ru-RU" sz="1400" b="1" dirty="0" smtClean="0">
                <a:solidFill>
                  <a:schemeClr val="accent2"/>
                </a:solidFill>
              </a:rPr>
              <a:t> связанных с ТВ</a:t>
            </a:r>
            <a:r>
              <a:rPr lang="en-GB" sz="1400" b="1" dirty="0" smtClean="0"/>
              <a:t/>
            </a:r>
            <a:br>
              <a:rPr lang="en-GB" sz="1400" b="1" dirty="0" smtClean="0"/>
            </a:br>
            <a:r>
              <a:rPr lang="ru-RU" sz="1400" dirty="0" smtClean="0"/>
              <a:t>посвящены</a:t>
            </a:r>
            <a:r>
              <a:rPr lang="ru-RU" sz="1400" b="1" dirty="0" smtClean="0"/>
              <a:t> </a:t>
            </a:r>
            <a:r>
              <a:rPr lang="ru-RU" sz="1400" b="1" dirty="0" smtClean="0">
                <a:solidFill>
                  <a:schemeClr val="accent2"/>
                </a:solidFill>
              </a:rPr>
              <a:t>спорту</a:t>
            </a:r>
            <a:endParaRPr lang="en-GB" sz="1400" dirty="0" smtClean="0">
              <a:solidFill>
                <a:schemeClr val="accent2"/>
              </a:solidFill>
            </a:endParaRPr>
          </a:p>
        </p:txBody>
      </p:sp>
      <p:sp>
        <p:nvSpPr>
          <p:cNvPr id="32" name="Rectangle 19"/>
          <p:cNvSpPr/>
          <p:nvPr/>
        </p:nvSpPr>
        <p:spPr>
          <a:xfrm>
            <a:off x="519124" y="1208600"/>
            <a:ext cx="3915796" cy="29696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216000" anchor="ctr"/>
          <a:lstStyle/>
          <a:p>
            <a:r>
              <a:rPr lang="ru-RU" sz="1400" dirty="0" smtClean="0">
                <a:solidFill>
                  <a:srgbClr val="FFFFFF"/>
                </a:solidFill>
              </a:rPr>
              <a:t>САМЫЕ КРУПНЫЕ МЕДИА ПРАВА</a:t>
            </a:r>
            <a:endParaRPr lang="de-DE" sz="1400" dirty="0">
              <a:solidFill>
                <a:srgbClr val="FFFFFF"/>
              </a:solidFill>
            </a:endParaRPr>
          </a:p>
        </p:txBody>
      </p:sp>
      <p:sp>
        <p:nvSpPr>
          <p:cNvPr id="37" name="Rectangle 19"/>
          <p:cNvSpPr/>
          <p:nvPr/>
        </p:nvSpPr>
        <p:spPr>
          <a:xfrm>
            <a:off x="519124" y="3129885"/>
            <a:ext cx="3915796" cy="29696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216000" anchor="ctr"/>
          <a:lstStyle/>
          <a:p>
            <a:r>
              <a:rPr lang="ru-RU" sz="1400" dirty="0" smtClean="0">
                <a:solidFill>
                  <a:srgbClr val="FFFFFF"/>
                </a:solidFill>
              </a:rPr>
              <a:t>ГЛОБАЛЬНОЕ РАСШИРЕНИЕ</a:t>
            </a:r>
            <a:endParaRPr lang="de-DE" sz="1400" dirty="0">
              <a:solidFill>
                <a:srgbClr val="FFFFFF"/>
              </a:solidFill>
            </a:endParaRPr>
          </a:p>
        </p:txBody>
      </p:sp>
      <p:sp>
        <p:nvSpPr>
          <p:cNvPr id="40" name="Rectangle 19"/>
          <p:cNvSpPr/>
          <p:nvPr/>
        </p:nvSpPr>
        <p:spPr>
          <a:xfrm>
            <a:off x="4743550" y="1208600"/>
            <a:ext cx="4052891" cy="29696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216000" anchor="ctr"/>
          <a:lstStyle/>
          <a:p>
            <a:pPr lvl="0">
              <a:defRPr/>
            </a:pPr>
            <a:r>
              <a:rPr lang="ru-RU" sz="1100" dirty="0">
                <a:solidFill>
                  <a:srgbClr val="FFFFFF"/>
                </a:solidFill>
              </a:rPr>
              <a:t>СПОНСОРСКИЕ ИНВЕСТИЦИИ ЗА 2016 ГОД - </a:t>
            </a:r>
            <a:r>
              <a:rPr lang="en-US" sz="1100" dirty="0">
                <a:solidFill>
                  <a:srgbClr val="FFFFFF"/>
                </a:solidFill>
              </a:rPr>
              <a:t>$</a:t>
            </a:r>
            <a:r>
              <a:rPr lang="en-US" sz="1100" dirty="0" smtClean="0">
                <a:solidFill>
                  <a:srgbClr val="FFFFFF"/>
                </a:solidFill>
              </a:rPr>
              <a:t>60</a:t>
            </a:r>
            <a:r>
              <a:rPr lang="ru-RU" sz="1100" dirty="0">
                <a:solidFill>
                  <a:srgbClr val="FFFFFF"/>
                </a:solidFill>
              </a:rPr>
              <a:t> </a:t>
            </a:r>
            <a:r>
              <a:rPr lang="ru-RU" sz="1100" dirty="0" smtClean="0">
                <a:solidFill>
                  <a:srgbClr val="FFFFFF"/>
                </a:solidFill>
              </a:rPr>
              <a:t>МИЛЛИАРДОВ</a:t>
            </a:r>
            <a:endParaRPr lang="en-US" sz="1100" dirty="0">
              <a:solidFill>
                <a:srgbClr val="FFFFFF"/>
              </a:solidFill>
            </a:endParaRPr>
          </a:p>
        </p:txBody>
      </p:sp>
      <p:sp>
        <p:nvSpPr>
          <p:cNvPr id="43" name="Rectangle 19"/>
          <p:cNvSpPr/>
          <p:nvPr/>
        </p:nvSpPr>
        <p:spPr>
          <a:xfrm>
            <a:off x="4749798" y="3129885"/>
            <a:ext cx="4052890" cy="29696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216000" anchor="ctr"/>
          <a:lstStyle/>
          <a:p>
            <a:r>
              <a:rPr lang="ru-RU" sz="1400" dirty="0" smtClean="0">
                <a:solidFill>
                  <a:srgbClr val="FFFFFF"/>
                </a:solidFill>
              </a:rPr>
              <a:t>САМАЯ ЦЕННАЯ РЕКЛАМНАЯ  ПЛОЩАДКА</a:t>
            </a:r>
            <a:endParaRPr lang="de-DE" sz="1400" dirty="0">
              <a:solidFill>
                <a:srgbClr val="FFFFFF"/>
              </a:solidFill>
            </a:endParaRPr>
          </a:p>
        </p:txBody>
      </p:sp>
      <p:grpSp>
        <p:nvGrpSpPr>
          <p:cNvPr id="28" name="Gruppieren 27"/>
          <p:cNvGrpSpPr>
            <a:grpSpLocks noChangeAspect="1"/>
          </p:cNvGrpSpPr>
          <p:nvPr/>
        </p:nvGrpSpPr>
        <p:grpSpPr>
          <a:xfrm>
            <a:off x="539748" y="4876006"/>
            <a:ext cx="719884" cy="215444"/>
            <a:chOff x="539748" y="4876006"/>
            <a:chExt cx="719884" cy="215444"/>
          </a:xfrm>
        </p:grpSpPr>
        <p:sp>
          <p:nvSpPr>
            <p:cNvPr id="29" name="Textfeld 28"/>
            <p:cNvSpPr txBox="1"/>
            <p:nvPr userDrawn="1"/>
          </p:nvSpPr>
          <p:spPr>
            <a:xfrm>
              <a:off x="539750" y="4876006"/>
              <a:ext cx="719882" cy="215444"/>
            </a:xfrm>
            <a:prstGeom prst="rect">
              <a:avLst/>
            </a:prstGeom>
            <a:noFill/>
          </p:spPr>
          <p:txBody>
            <a:bodyPr wrap="square" rtlCol="0">
              <a:spAutoFit/>
            </a:bodyPr>
            <a:lstStyle/>
            <a:p>
              <a:pPr algn="ctr"/>
              <a:r>
                <a:rPr lang="ru-RU" sz="800" kern="1300" spc="80" dirty="0" smtClean="0"/>
                <a:t>ТРЕНД</a:t>
              </a:r>
              <a:r>
                <a:rPr lang="de-DE" sz="800" kern="1300" spc="80" baseline="0" dirty="0" smtClean="0"/>
                <a:t> </a:t>
              </a:r>
              <a:r>
                <a:rPr lang="de-DE" sz="800" b="1" kern="1300" spc="80" baseline="0" dirty="0" smtClean="0"/>
                <a:t>01</a:t>
              </a:r>
            </a:p>
          </p:txBody>
        </p:sp>
        <p:sp>
          <p:nvSpPr>
            <p:cNvPr id="31" name="Gleichschenkliges Dreieck 30"/>
            <p:cNvSpPr/>
            <p:nvPr userDrawn="1"/>
          </p:nvSpPr>
          <p:spPr>
            <a:xfrm rot="16200000" flipH="1" flipV="1">
              <a:off x="534004" y="4938683"/>
              <a:ext cx="83300" cy="71811"/>
            </a:xfrm>
            <a:prstGeom prst="triangl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sp>
          <p:nvSpPr>
            <p:cNvPr id="35" name="Gleichschenkliges Dreieck 34"/>
            <p:cNvSpPr/>
            <p:nvPr userDrawn="1"/>
          </p:nvSpPr>
          <p:spPr>
            <a:xfrm rot="5400000" flipV="1">
              <a:off x="1182077" y="4938684"/>
              <a:ext cx="83300" cy="71811"/>
            </a:xfrm>
            <a:prstGeom prst="triangl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grpSp>
      <p:sp>
        <p:nvSpPr>
          <p:cNvPr id="3" name="Rechteck 2"/>
          <p:cNvSpPr/>
          <p:nvPr/>
        </p:nvSpPr>
        <p:spPr>
          <a:xfrm>
            <a:off x="519122" y="1581641"/>
            <a:ext cx="3915798" cy="1356538"/>
          </a:xfrm>
          <a:prstGeom prst="rect">
            <a:avLst/>
          </a:prstGeom>
          <a:noFill/>
          <a:ln w="6350">
            <a:solidFill>
              <a:srgbClr val="000000"/>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sp>
        <p:nvSpPr>
          <p:cNvPr id="36" name="Rechteck 35"/>
          <p:cNvSpPr/>
          <p:nvPr/>
        </p:nvSpPr>
        <p:spPr>
          <a:xfrm>
            <a:off x="4749797" y="1581640"/>
            <a:ext cx="4052889" cy="1356539"/>
          </a:xfrm>
          <a:prstGeom prst="rect">
            <a:avLst/>
          </a:prstGeom>
          <a:noFill/>
          <a:ln w="6350">
            <a:solidFill>
              <a:srgbClr val="000000"/>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sp>
        <p:nvSpPr>
          <p:cNvPr id="38" name="Rechteck 37"/>
          <p:cNvSpPr/>
          <p:nvPr/>
        </p:nvSpPr>
        <p:spPr>
          <a:xfrm>
            <a:off x="519122" y="3516855"/>
            <a:ext cx="3915798" cy="1260139"/>
          </a:xfrm>
          <a:prstGeom prst="rect">
            <a:avLst/>
          </a:prstGeom>
          <a:noFill/>
          <a:ln w="6350">
            <a:solidFill>
              <a:srgbClr val="000000"/>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sp>
        <p:nvSpPr>
          <p:cNvPr id="39" name="Rechteck 38"/>
          <p:cNvSpPr/>
          <p:nvPr/>
        </p:nvSpPr>
        <p:spPr>
          <a:xfrm>
            <a:off x="4749797" y="3516855"/>
            <a:ext cx="4052889" cy="1260140"/>
          </a:xfrm>
          <a:prstGeom prst="rect">
            <a:avLst/>
          </a:prstGeom>
          <a:noFill/>
          <a:ln w="6350">
            <a:solidFill>
              <a:srgbClr val="000000"/>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pic>
        <p:nvPicPr>
          <p:cNvPr id="41" name="Picture 2" descr="Image result for nba"/>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879087" y="2184053"/>
            <a:ext cx="455316" cy="45531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56836962"/>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6" name="Rechteck 225"/>
          <p:cNvSpPr/>
          <p:nvPr/>
        </p:nvSpPr>
        <p:spPr>
          <a:xfrm>
            <a:off x="2876908" y="1491630"/>
            <a:ext cx="2685202" cy="3331260"/>
          </a:xfrm>
          <a:prstGeom prst="rect">
            <a:avLst/>
          </a:prstGeom>
          <a:noFill/>
          <a:ln w="6350">
            <a:solidFill>
              <a:srgbClr val="000000"/>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sp>
        <p:nvSpPr>
          <p:cNvPr id="28" name="Rechteck 27"/>
          <p:cNvSpPr/>
          <p:nvPr/>
        </p:nvSpPr>
        <p:spPr>
          <a:xfrm>
            <a:off x="1376645" y="1131590"/>
            <a:ext cx="990110" cy="3622012"/>
          </a:xfrm>
          <a:prstGeom prst="rect">
            <a:avLst/>
          </a:prstGeom>
          <a:solidFill>
            <a:schemeClr val="bg1">
              <a:lumMod val="95000"/>
            </a:schemeClr>
          </a:solidFill>
          <a:ln w="63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sp>
        <p:nvSpPr>
          <p:cNvPr id="11" name="Rechteck 10"/>
          <p:cNvSpPr/>
          <p:nvPr/>
        </p:nvSpPr>
        <p:spPr>
          <a:xfrm>
            <a:off x="5877145" y="1131590"/>
            <a:ext cx="2970330" cy="3622012"/>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sp>
        <p:nvSpPr>
          <p:cNvPr id="162" name="Oval 53"/>
          <p:cNvSpPr>
            <a:spLocks noChangeAspect="1"/>
          </p:cNvSpPr>
          <p:nvPr/>
        </p:nvSpPr>
        <p:spPr>
          <a:xfrm>
            <a:off x="4561096" y="2289607"/>
            <a:ext cx="821606" cy="821604"/>
          </a:xfrm>
          <a:prstGeom prst="ellipse">
            <a:avLst/>
          </a:prstGeom>
          <a:solidFill>
            <a:srgbClr val="FFFFFF"/>
          </a:solidFill>
          <a:ln w="19050">
            <a:solidFill>
              <a:srgbClr val="FF8300"/>
            </a:solidFill>
            <a:prstDash val="sys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nvGrpSpPr>
          <p:cNvPr id="273" name="Gruppieren 272"/>
          <p:cNvGrpSpPr>
            <a:grpSpLocks noChangeAspect="1"/>
          </p:cNvGrpSpPr>
          <p:nvPr/>
        </p:nvGrpSpPr>
        <p:grpSpPr>
          <a:xfrm>
            <a:off x="4700464" y="2471318"/>
            <a:ext cx="542870" cy="440730"/>
            <a:chOff x="1285875" y="1179513"/>
            <a:chExt cx="6269038" cy="5089526"/>
          </a:xfrm>
          <a:solidFill>
            <a:schemeClr val="accent2"/>
          </a:solidFill>
        </p:grpSpPr>
        <p:sp>
          <p:nvSpPr>
            <p:cNvPr id="274" name="Freeform 7"/>
            <p:cNvSpPr>
              <a:spLocks/>
            </p:cNvSpPr>
            <p:nvPr/>
          </p:nvSpPr>
          <p:spPr bwMode="auto">
            <a:xfrm>
              <a:off x="1285875" y="1179513"/>
              <a:ext cx="6269038" cy="4803775"/>
            </a:xfrm>
            <a:custGeom>
              <a:avLst/>
              <a:gdLst>
                <a:gd name="T0" fmla="*/ 597 w 3949"/>
                <a:gd name="T1" fmla="*/ 585 h 3026"/>
                <a:gd name="T2" fmla="*/ 751 w 3949"/>
                <a:gd name="T3" fmla="*/ 556 h 3026"/>
                <a:gd name="T4" fmla="*/ 967 w 3949"/>
                <a:gd name="T5" fmla="*/ 445 h 3026"/>
                <a:gd name="T6" fmla="*/ 1151 w 3949"/>
                <a:gd name="T7" fmla="*/ 308 h 3026"/>
                <a:gd name="T8" fmla="*/ 1270 w 3949"/>
                <a:gd name="T9" fmla="*/ 510 h 3026"/>
                <a:gd name="T10" fmla="*/ 1419 w 3949"/>
                <a:gd name="T11" fmla="*/ 736 h 3026"/>
                <a:gd name="T12" fmla="*/ 1613 w 3949"/>
                <a:gd name="T13" fmla="*/ 963 h 3026"/>
                <a:gd name="T14" fmla="*/ 2047 w 3949"/>
                <a:gd name="T15" fmla="*/ 1090 h 3026"/>
                <a:gd name="T16" fmla="*/ 2372 w 3949"/>
                <a:gd name="T17" fmla="*/ 1049 h 3026"/>
                <a:gd name="T18" fmla="*/ 2600 w 3949"/>
                <a:gd name="T19" fmla="*/ 810 h 3026"/>
                <a:gd name="T20" fmla="*/ 2877 w 3949"/>
                <a:gd name="T21" fmla="*/ 688 h 3026"/>
                <a:gd name="T22" fmla="*/ 3052 w 3949"/>
                <a:gd name="T23" fmla="*/ 643 h 3026"/>
                <a:gd name="T24" fmla="*/ 2831 w 3949"/>
                <a:gd name="T25" fmla="*/ 569 h 3026"/>
                <a:gd name="T26" fmla="*/ 3009 w 3949"/>
                <a:gd name="T27" fmla="*/ 335 h 3026"/>
                <a:gd name="T28" fmla="*/ 3037 w 3949"/>
                <a:gd name="T29" fmla="*/ 71 h 3026"/>
                <a:gd name="T30" fmla="*/ 3391 w 3949"/>
                <a:gd name="T31" fmla="*/ 106 h 3026"/>
                <a:gd name="T32" fmla="*/ 3538 w 3949"/>
                <a:gd name="T33" fmla="*/ 315 h 3026"/>
                <a:gd name="T34" fmla="*/ 3705 w 3949"/>
                <a:gd name="T35" fmla="*/ 389 h 3026"/>
                <a:gd name="T36" fmla="*/ 3895 w 3949"/>
                <a:gd name="T37" fmla="*/ 345 h 3026"/>
                <a:gd name="T38" fmla="*/ 3913 w 3949"/>
                <a:gd name="T39" fmla="*/ 576 h 3026"/>
                <a:gd name="T40" fmla="*/ 3825 w 3949"/>
                <a:gd name="T41" fmla="*/ 834 h 3026"/>
                <a:gd name="T42" fmla="*/ 3721 w 3949"/>
                <a:gd name="T43" fmla="*/ 922 h 3026"/>
                <a:gd name="T44" fmla="*/ 3561 w 3949"/>
                <a:gd name="T45" fmla="*/ 1019 h 3026"/>
                <a:gd name="T46" fmla="*/ 3299 w 3949"/>
                <a:gd name="T47" fmla="*/ 1275 h 3026"/>
                <a:gd name="T48" fmla="*/ 3246 w 3949"/>
                <a:gd name="T49" fmla="*/ 1130 h 3026"/>
                <a:gd name="T50" fmla="*/ 3022 w 3949"/>
                <a:gd name="T51" fmla="*/ 1311 h 3026"/>
                <a:gd name="T52" fmla="*/ 3081 w 3949"/>
                <a:gd name="T53" fmla="*/ 1400 h 3026"/>
                <a:gd name="T54" fmla="*/ 3222 w 3949"/>
                <a:gd name="T55" fmla="*/ 1412 h 3026"/>
                <a:gd name="T56" fmla="*/ 3306 w 3949"/>
                <a:gd name="T57" fmla="*/ 1476 h 3026"/>
                <a:gd name="T58" fmla="*/ 3187 w 3949"/>
                <a:gd name="T59" fmla="*/ 1588 h 3026"/>
                <a:gd name="T60" fmla="*/ 3276 w 3949"/>
                <a:gd name="T61" fmla="*/ 1855 h 3026"/>
                <a:gd name="T62" fmla="*/ 3325 w 3949"/>
                <a:gd name="T63" fmla="*/ 2030 h 3026"/>
                <a:gd name="T64" fmla="*/ 3378 w 3949"/>
                <a:gd name="T65" fmla="*/ 2088 h 3026"/>
                <a:gd name="T66" fmla="*/ 3342 w 3949"/>
                <a:gd name="T67" fmla="*/ 2254 h 3026"/>
                <a:gd name="T68" fmla="*/ 3246 w 3949"/>
                <a:gd name="T69" fmla="*/ 2437 h 3026"/>
                <a:gd name="T70" fmla="*/ 3167 w 3949"/>
                <a:gd name="T71" fmla="*/ 2591 h 3026"/>
                <a:gd name="T72" fmla="*/ 3007 w 3949"/>
                <a:gd name="T73" fmla="*/ 2752 h 3026"/>
                <a:gd name="T74" fmla="*/ 2859 w 3949"/>
                <a:gd name="T75" fmla="*/ 2787 h 3026"/>
                <a:gd name="T76" fmla="*/ 2758 w 3949"/>
                <a:gd name="T77" fmla="*/ 2843 h 3026"/>
                <a:gd name="T78" fmla="*/ 2598 w 3949"/>
                <a:gd name="T79" fmla="*/ 2904 h 3026"/>
                <a:gd name="T80" fmla="*/ 2448 w 3949"/>
                <a:gd name="T81" fmla="*/ 2998 h 3026"/>
                <a:gd name="T82" fmla="*/ 2367 w 3949"/>
                <a:gd name="T83" fmla="*/ 2898 h 3026"/>
                <a:gd name="T84" fmla="*/ 2167 w 3949"/>
                <a:gd name="T85" fmla="*/ 2825 h 3026"/>
                <a:gd name="T86" fmla="*/ 2003 w 3949"/>
                <a:gd name="T87" fmla="*/ 2782 h 3026"/>
                <a:gd name="T88" fmla="*/ 1859 w 3949"/>
                <a:gd name="T89" fmla="*/ 2792 h 3026"/>
                <a:gd name="T90" fmla="*/ 1763 w 3949"/>
                <a:gd name="T91" fmla="*/ 2906 h 3026"/>
                <a:gd name="T92" fmla="*/ 1595 w 3949"/>
                <a:gd name="T93" fmla="*/ 2815 h 3026"/>
                <a:gd name="T94" fmla="*/ 1527 w 3949"/>
                <a:gd name="T95" fmla="*/ 2642 h 3026"/>
                <a:gd name="T96" fmla="*/ 1471 w 3949"/>
                <a:gd name="T97" fmla="*/ 2535 h 3026"/>
                <a:gd name="T98" fmla="*/ 1532 w 3949"/>
                <a:gd name="T99" fmla="*/ 2304 h 3026"/>
                <a:gd name="T100" fmla="*/ 1384 w 3949"/>
                <a:gd name="T101" fmla="*/ 2238 h 3026"/>
                <a:gd name="T102" fmla="*/ 1029 w 3949"/>
                <a:gd name="T103" fmla="*/ 2279 h 3026"/>
                <a:gd name="T104" fmla="*/ 841 w 3949"/>
                <a:gd name="T105" fmla="*/ 2157 h 3026"/>
                <a:gd name="T106" fmla="*/ 731 w 3949"/>
                <a:gd name="T107" fmla="*/ 2136 h 3026"/>
                <a:gd name="T108" fmla="*/ 567 w 3949"/>
                <a:gd name="T109" fmla="*/ 2066 h 3026"/>
                <a:gd name="T110" fmla="*/ 419 w 3949"/>
                <a:gd name="T111" fmla="*/ 1939 h 3026"/>
                <a:gd name="T112" fmla="*/ 257 w 3949"/>
                <a:gd name="T113" fmla="*/ 1809 h 3026"/>
                <a:gd name="T114" fmla="*/ 135 w 3949"/>
                <a:gd name="T115" fmla="*/ 1535 h 3026"/>
                <a:gd name="T116" fmla="*/ 201 w 3949"/>
                <a:gd name="T117" fmla="*/ 1366 h 3026"/>
                <a:gd name="T118" fmla="*/ 84 w 3949"/>
                <a:gd name="T119" fmla="*/ 1141 h 3026"/>
                <a:gd name="T120" fmla="*/ 56 w 3949"/>
                <a:gd name="T121" fmla="*/ 1011 h 3026"/>
                <a:gd name="T122" fmla="*/ 25 w 3949"/>
                <a:gd name="T123" fmla="*/ 848 h 3026"/>
                <a:gd name="T124" fmla="*/ 203 w 3949"/>
                <a:gd name="T125" fmla="*/ 836 h 30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949" h="3026">
                  <a:moveTo>
                    <a:pt x="435" y="795"/>
                  </a:moveTo>
                  <a:lnTo>
                    <a:pt x="435" y="795"/>
                  </a:lnTo>
                  <a:lnTo>
                    <a:pt x="485" y="785"/>
                  </a:lnTo>
                  <a:lnTo>
                    <a:pt x="485" y="785"/>
                  </a:lnTo>
                  <a:lnTo>
                    <a:pt x="495" y="782"/>
                  </a:lnTo>
                  <a:lnTo>
                    <a:pt x="501" y="780"/>
                  </a:lnTo>
                  <a:lnTo>
                    <a:pt x="511" y="775"/>
                  </a:lnTo>
                  <a:lnTo>
                    <a:pt x="511" y="775"/>
                  </a:lnTo>
                  <a:lnTo>
                    <a:pt x="515" y="775"/>
                  </a:lnTo>
                  <a:lnTo>
                    <a:pt x="516" y="777"/>
                  </a:lnTo>
                  <a:lnTo>
                    <a:pt x="523" y="780"/>
                  </a:lnTo>
                  <a:lnTo>
                    <a:pt x="525" y="780"/>
                  </a:lnTo>
                  <a:lnTo>
                    <a:pt x="526" y="782"/>
                  </a:lnTo>
                  <a:lnTo>
                    <a:pt x="526" y="780"/>
                  </a:lnTo>
                  <a:lnTo>
                    <a:pt x="528" y="775"/>
                  </a:lnTo>
                  <a:lnTo>
                    <a:pt x="528" y="775"/>
                  </a:lnTo>
                  <a:lnTo>
                    <a:pt x="525" y="765"/>
                  </a:lnTo>
                  <a:lnTo>
                    <a:pt x="521" y="752"/>
                  </a:lnTo>
                  <a:lnTo>
                    <a:pt x="521" y="747"/>
                  </a:lnTo>
                  <a:lnTo>
                    <a:pt x="521" y="742"/>
                  </a:lnTo>
                  <a:lnTo>
                    <a:pt x="523" y="737"/>
                  </a:lnTo>
                  <a:lnTo>
                    <a:pt x="528" y="734"/>
                  </a:lnTo>
                  <a:lnTo>
                    <a:pt x="528" y="734"/>
                  </a:lnTo>
                  <a:lnTo>
                    <a:pt x="543" y="727"/>
                  </a:lnTo>
                  <a:lnTo>
                    <a:pt x="554" y="701"/>
                  </a:lnTo>
                  <a:lnTo>
                    <a:pt x="554" y="701"/>
                  </a:lnTo>
                  <a:lnTo>
                    <a:pt x="556" y="701"/>
                  </a:lnTo>
                  <a:lnTo>
                    <a:pt x="561" y="703"/>
                  </a:lnTo>
                  <a:lnTo>
                    <a:pt x="567" y="701"/>
                  </a:lnTo>
                  <a:lnTo>
                    <a:pt x="567" y="701"/>
                  </a:lnTo>
                  <a:lnTo>
                    <a:pt x="576" y="701"/>
                  </a:lnTo>
                  <a:lnTo>
                    <a:pt x="582" y="701"/>
                  </a:lnTo>
                  <a:lnTo>
                    <a:pt x="586" y="699"/>
                  </a:lnTo>
                  <a:lnTo>
                    <a:pt x="589" y="698"/>
                  </a:lnTo>
                  <a:lnTo>
                    <a:pt x="591" y="693"/>
                  </a:lnTo>
                  <a:lnTo>
                    <a:pt x="591" y="684"/>
                  </a:lnTo>
                  <a:lnTo>
                    <a:pt x="591" y="684"/>
                  </a:lnTo>
                  <a:lnTo>
                    <a:pt x="592" y="637"/>
                  </a:lnTo>
                  <a:lnTo>
                    <a:pt x="592" y="612"/>
                  </a:lnTo>
                  <a:lnTo>
                    <a:pt x="595" y="594"/>
                  </a:lnTo>
                  <a:lnTo>
                    <a:pt x="595" y="594"/>
                  </a:lnTo>
                  <a:lnTo>
                    <a:pt x="597" y="585"/>
                  </a:lnTo>
                  <a:lnTo>
                    <a:pt x="597" y="579"/>
                  </a:lnTo>
                  <a:lnTo>
                    <a:pt x="595" y="571"/>
                  </a:lnTo>
                  <a:lnTo>
                    <a:pt x="595" y="571"/>
                  </a:lnTo>
                  <a:lnTo>
                    <a:pt x="594" y="566"/>
                  </a:lnTo>
                  <a:lnTo>
                    <a:pt x="589" y="557"/>
                  </a:lnTo>
                  <a:lnTo>
                    <a:pt x="582" y="549"/>
                  </a:lnTo>
                  <a:lnTo>
                    <a:pt x="582" y="549"/>
                  </a:lnTo>
                  <a:lnTo>
                    <a:pt x="579" y="548"/>
                  </a:lnTo>
                  <a:lnTo>
                    <a:pt x="574" y="541"/>
                  </a:lnTo>
                  <a:lnTo>
                    <a:pt x="572" y="539"/>
                  </a:lnTo>
                  <a:lnTo>
                    <a:pt x="572" y="536"/>
                  </a:lnTo>
                  <a:lnTo>
                    <a:pt x="574" y="533"/>
                  </a:lnTo>
                  <a:lnTo>
                    <a:pt x="577" y="529"/>
                  </a:lnTo>
                  <a:lnTo>
                    <a:pt x="577" y="529"/>
                  </a:lnTo>
                  <a:lnTo>
                    <a:pt x="584" y="528"/>
                  </a:lnTo>
                  <a:lnTo>
                    <a:pt x="587" y="528"/>
                  </a:lnTo>
                  <a:lnTo>
                    <a:pt x="597" y="529"/>
                  </a:lnTo>
                  <a:lnTo>
                    <a:pt x="605" y="531"/>
                  </a:lnTo>
                  <a:lnTo>
                    <a:pt x="612" y="531"/>
                  </a:lnTo>
                  <a:lnTo>
                    <a:pt x="620" y="529"/>
                  </a:lnTo>
                  <a:lnTo>
                    <a:pt x="620" y="529"/>
                  </a:lnTo>
                  <a:lnTo>
                    <a:pt x="635" y="526"/>
                  </a:lnTo>
                  <a:lnTo>
                    <a:pt x="650" y="523"/>
                  </a:lnTo>
                  <a:lnTo>
                    <a:pt x="663" y="524"/>
                  </a:lnTo>
                  <a:lnTo>
                    <a:pt x="673" y="528"/>
                  </a:lnTo>
                  <a:lnTo>
                    <a:pt x="673" y="528"/>
                  </a:lnTo>
                  <a:lnTo>
                    <a:pt x="681" y="531"/>
                  </a:lnTo>
                  <a:lnTo>
                    <a:pt x="690" y="531"/>
                  </a:lnTo>
                  <a:lnTo>
                    <a:pt x="698" y="533"/>
                  </a:lnTo>
                  <a:lnTo>
                    <a:pt x="706" y="536"/>
                  </a:lnTo>
                  <a:lnTo>
                    <a:pt x="706" y="536"/>
                  </a:lnTo>
                  <a:lnTo>
                    <a:pt x="709" y="541"/>
                  </a:lnTo>
                  <a:lnTo>
                    <a:pt x="713" y="546"/>
                  </a:lnTo>
                  <a:lnTo>
                    <a:pt x="716" y="552"/>
                  </a:lnTo>
                  <a:lnTo>
                    <a:pt x="719" y="554"/>
                  </a:lnTo>
                  <a:lnTo>
                    <a:pt x="722" y="556"/>
                  </a:lnTo>
                  <a:lnTo>
                    <a:pt x="722" y="556"/>
                  </a:lnTo>
                  <a:lnTo>
                    <a:pt x="741" y="561"/>
                  </a:lnTo>
                  <a:lnTo>
                    <a:pt x="747" y="562"/>
                  </a:lnTo>
                  <a:lnTo>
                    <a:pt x="747" y="562"/>
                  </a:lnTo>
                  <a:lnTo>
                    <a:pt x="749" y="561"/>
                  </a:lnTo>
                  <a:lnTo>
                    <a:pt x="751" y="556"/>
                  </a:lnTo>
                  <a:lnTo>
                    <a:pt x="752" y="552"/>
                  </a:lnTo>
                  <a:lnTo>
                    <a:pt x="752" y="549"/>
                  </a:lnTo>
                  <a:lnTo>
                    <a:pt x="751" y="546"/>
                  </a:lnTo>
                  <a:lnTo>
                    <a:pt x="747" y="541"/>
                  </a:lnTo>
                  <a:lnTo>
                    <a:pt x="747" y="541"/>
                  </a:lnTo>
                  <a:lnTo>
                    <a:pt x="744" y="538"/>
                  </a:lnTo>
                  <a:lnTo>
                    <a:pt x="739" y="538"/>
                  </a:lnTo>
                  <a:lnTo>
                    <a:pt x="737" y="539"/>
                  </a:lnTo>
                  <a:lnTo>
                    <a:pt x="734" y="541"/>
                  </a:lnTo>
                  <a:lnTo>
                    <a:pt x="732" y="541"/>
                  </a:lnTo>
                  <a:lnTo>
                    <a:pt x="732" y="541"/>
                  </a:lnTo>
                  <a:lnTo>
                    <a:pt x="736" y="528"/>
                  </a:lnTo>
                  <a:lnTo>
                    <a:pt x="736" y="528"/>
                  </a:lnTo>
                  <a:lnTo>
                    <a:pt x="741" y="516"/>
                  </a:lnTo>
                  <a:lnTo>
                    <a:pt x="744" y="506"/>
                  </a:lnTo>
                  <a:lnTo>
                    <a:pt x="755" y="490"/>
                  </a:lnTo>
                  <a:lnTo>
                    <a:pt x="774" y="465"/>
                  </a:lnTo>
                  <a:lnTo>
                    <a:pt x="774" y="465"/>
                  </a:lnTo>
                  <a:lnTo>
                    <a:pt x="798" y="424"/>
                  </a:lnTo>
                  <a:lnTo>
                    <a:pt x="813" y="402"/>
                  </a:lnTo>
                  <a:lnTo>
                    <a:pt x="820" y="396"/>
                  </a:lnTo>
                  <a:lnTo>
                    <a:pt x="823" y="394"/>
                  </a:lnTo>
                  <a:lnTo>
                    <a:pt x="825" y="393"/>
                  </a:lnTo>
                  <a:lnTo>
                    <a:pt x="825" y="393"/>
                  </a:lnTo>
                  <a:lnTo>
                    <a:pt x="831" y="396"/>
                  </a:lnTo>
                  <a:lnTo>
                    <a:pt x="840" y="402"/>
                  </a:lnTo>
                  <a:lnTo>
                    <a:pt x="858" y="419"/>
                  </a:lnTo>
                  <a:lnTo>
                    <a:pt x="858" y="419"/>
                  </a:lnTo>
                  <a:lnTo>
                    <a:pt x="864" y="427"/>
                  </a:lnTo>
                  <a:lnTo>
                    <a:pt x="873" y="434"/>
                  </a:lnTo>
                  <a:lnTo>
                    <a:pt x="879" y="437"/>
                  </a:lnTo>
                  <a:lnTo>
                    <a:pt x="887" y="439"/>
                  </a:lnTo>
                  <a:lnTo>
                    <a:pt x="887" y="439"/>
                  </a:lnTo>
                  <a:lnTo>
                    <a:pt x="906" y="440"/>
                  </a:lnTo>
                  <a:lnTo>
                    <a:pt x="914" y="442"/>
                  </a:lnTo>
                  <a:lnTo>
                    <a:pt x="934" y="455"/>
                  </a:lnTo>
                  <a:lnTo>
                    <a:pt x="944" y="445"/>
                  </a:lnTo>
                  <a:lnTo>
                    <a:pt x="944" y="445"/>
                  </a:lnTo>
                  <a:lnTo>
                    <a:pt x="957" y="445"/>
                  </a:lnTo>
                  <a:lnTo>
                    <a:pt x="957" y="445"/>
                  </a:lnTo>
                  <a:lnTo>
                    <a:pt x="967" y="445"/>
                  </a:lnTo>
                  <a:lnTo>
                    <a:pt x="967" y="445"/>
                  </a:lnTo>
                  <a:lnTo>
                    <a:pt x="972" y="440"/>
                  </a:lnTo>
                  <a:lnTo>
                    <a:pt x="980" y="427"/>
                  </a:lnTo>
                  <a:lnTo>
                    <a:pt x="988" y="409"/>
                  </a:lnTo>
                  <a:lnTo>
                    <a:pt x="990" y="401"/>
                  </a:lnTo>
                  <a:lnTo>
                    <a:pt x="991" y="393"/>
                  </a:lnTo>
                  <a:lnTo>
                    <a:pt x="991" y="393"/>
                  </a:lnTo>
                  <a:lnTo>
                    <a:pt x="993" y="378"/>
                  </a:lnTo>
                  <a:lnTo>
                    <a:pt x="996" y="363"/>
                  </a:lnTo>
                  <a:lnTo>
                    <a:pt x="1001" y="351"/>
                  </a:lnTo>
                  <a:lnTo>
                    <a:pt x="1003" y="348"/>
                  </a:lnTo>
                  <a:lnTo>
                    <a:pt x="1006" y="345"/>
                  </a:lnTo>
                  <a:lnTo>
                    <a:pt x="1006" y="345"/>
                  </a:lnTo>
                  <a:lnTo>
                    <a:pt x="1011" y="343"/>
                  </a:lnTo>
                  <a:lnTo>
                    <a:pt x="1014" y="343"/>
                  </a:lnTo>
                  <a:lnTo>
                    <a:pt x="1024" y="345"/>
                  </a:lnTo>
                  <a:lnTo>
                    <a:pt x="1033" y="346"/>
                  </a:lnTo>
                  <a:lnTo>
                    <a:pt x="1038" y="346"/>
                  </a:lnTo>
                  <a:lnTo>
                    <a:pt x="1043" y="345"/>
                  </a:lnTo>
                  <a:lnTo>
                    <a:pt x="1043" y="345"/>
                  </a:lnTo>
                  <a:lnTo>
                    <a:pt x="1062" y="338"/>
                  </a:lnTo>
                  <a:lnTo>
                    <a:pt x="1071" y="333"/>
                  </a:lnTo>
                  <a:lnTo>
                    <a:pt x="1074" y="331"/>
                  </a:lnTo>
                  <a:lnTo>
                    <a:pt x="1076" y="327"/>
                  </a:lnTo>
                  <a:lnTo>
                    <a:pt x="1076" y="327"/>
                  </a:lnTo>
                  <a:lnTo>
                    <a:pt x="1076" y="315"/>
                  </a:lnTo>
                  <a:lnTo>
                    <a:pt x="1080" y="302"/>
                  </a:lnTo>
                  <a:lnTo>
                    <a:pt x="1084" y="295"/>
                  </a:lnTo>
                  <a:lnTo>
                    <a:pt x="1087" y="290"/>
                  </a:lnTo>
                  <a:lnTo>
                    <a:pt x="1092" y="287"/>
                  </a:lnTo>
                  <a:lnTo>
                    <a:pt x="1097" y="287"/>
                  </a:lnTo>
                  <a:lnTo>
                    <a:pt x="1097" y="287"/>
                  </a:lnTo>
                  <a:lnTo>
                    <a:pt x="1107" y="292"/>
                  </a:lnTo>
                  <a:lnTo>
                    <a:pt x="1115" y="297"/>
                  </a:lnTo>
                  <a:lnTo>
                    <a:pt x="1122" y="303"/>
                  </a:lnTo>
                  <a:lnTo>
                    <a:pt x="1122" y="303"/>
                  </a:lnTo>
                  <a:lnTo>
                    <a:pt x="1133" y="299"/>
                  </a:lnTo>
                  <a:lnTo>
                    <a:pt x="1141" y="297"/>
                  </a:lnTo>
                  <a:lnTo>
                    <a:pt x="1145" y="297"/>
                  </a:lnTo>
                  <a:lnTo>
                    <a:pt x="1148" y="299"/>
                  </a:lnTo>
                  <a:lnTo>
                    <a:pt x="1148" y="299"/>
                  </a:lnTo>
                  <a:lnTo>
                    <a:pt x="1150" y="303"/>
                  </a:lnTo>
                  <a:lnTo>
                    <a:pt x="1151" y="308"/>
                  </a:lnTo>
                  <a:lnTo>
                    <a:pt x="1150" y="315"/>
                  </a:lnTo>
                  <a:lnTo>
                    <a:pt x="1148" y="323"/>
                  </a:lnTo>
                  <a:lnTo>
                    <a:pt x="1148" y="323"/>
                  </a:lnTo>
                  <a:lnTo>
                    <a:pt x="1146" y="331"/>
                  </a:lnTo>
                  <a:lnTo>
                    <a:pt x="1148" y="340"/>
                  </a:lnTo>
                  <a:lnTo>
                    <a:pt x="1151" y="346"/>
                  </a:lnTo>
                  <a:lnTo>
                    <a:pt x="1151" y="346"/>
                  </a:lnTo>
                  <a:lnTo>
                    <a:pt x="1150" y="348"/>
                  </a:lnTo>
                  <a:lnTo>
                    <a:pt x="1146" y="351"/>
                  </a:lnTo>
                  <a:lnTo>
                    <a:pt x="1145" y="353"/>
                  </a:lnTo>
                  <a:lnTo>
                    <a:pt x="1146" y="356"/>
                  </a:lnTo>
                  <a:lnTo>
                    <a:pt x="1148" y="360"/>
                  </a:lnTo>
                  <a:lnTo>
                    <a:pt x="1151" y="363"/>
                  </a:lnTo>
                  <a:lnTo>
                    <a:pt x="1151" y="363"/>
                  </a:lnTo>
                  <a:lnTo>
                    <a:pt x="1160" y="369"/>
                  </a:lnTo>
                  <a:lnTo>
                    <a:pt x="1168" y="379"/>
                  </a:lnTo>
                  <a:lnTo>
                    <a:pt x="1176" y="389"/>
                  </a:lnTo>
                  <a:lnTo>
                    <a:pt x="1176" y="389"/>
                  </a:lnTo>
                  <a:lnTo>
                    <a:pt x="1181" y="397"/>
                  </a:lnTo>
                  <a:lnTo>
                    <a:pt x="1188" y="404"/>
                  </a:lnTo>
                  <a:lnTo>
                    <a:pt x="1196" y="409"/>
                  </a:lnTo>
                  <a:lnTo>
                    <a:pt x="1196" y="409"/>
                  </a:lnTo>
                  <a:lnTo>
                    <a:pt x="1203" y="412"/>
                  </a:lnTo>
                  <a:lnTo>
                    <a:pt x="1209" y="416"/>
                  </a:lnTo>
                  <a:lnTo>
                    <a:pt x="1216" y="421"/>
                  </a:lnTo>
                  <a:lnTo>
                    <a:pt x="1222" y="424"/>
                  </a:lnTo>
                  <a:lnTo>
                    <a:pt x="1222" y="424"/>
                  </a:lnTo>
                  <a:lnTo>
                    <a:pt x="1231" y="429"/>
                  </a:lnTo>
                  <a:lnTo>
                    <a:pt x="1240" y="435"/>
                  </a:lnTo>
                  <a:lnTo>
                    <a:pt x="1249" y="440"/>
                  </a:lnTo>
                  <a:lnTo>
                    <a:pt x="1255" y="444"/>
                  </a:lnTo>
                  <a:lnTo>
                    <a:pt x="1255" y="444"/>
                  </a:lnTo>
                  <a:lnTo>
                    <a:pt x="1259" y="445"/>
                  </a:lnTo>
                  <a:lnTo>
                    <a:pt x="1262" y="449"/>
                  </a:lnTo>
                  <a:lnTo>
                    <a:pt x="1268" y="460"/>
                  </a:lnTo>
                  <a:lnTo>
                    <a:pt x="1273" y="473"/>
                  </a:lnTo>
                  <a:lnTo>
                    <a:pt x="1275" y="478"/>
                  </a:lnTo>
                  <a:lnTo>
                    <a:pt x="1275" y="483"/>
                  </a:lnTo>
                  <a:lnTo>
                    <a:pt x="1275" y="483"/>
                  </a:lnTo>
                  <a:lnTo>
                    <a:pt x="1273" y="493"/>
                  </a:lnTo>
                  <a:lnTo>
                    <a:pt x="1270" y="505"/>
                  </a:lnTo>
                  <a:lnTo>
                    <a:pt x="1270" y="510"/>
                  </a:lnTo>
                  <a:lnTo>
                    <a:pt x="1270" y="516"/>
                  </a:lnTo>
                  <a:lnTo>
                    <a:pt x="1272" y="519"/>
                  </a:lnTo>
                  <a:lnTo>
                    <a:pt x="1275" y="523"/>
                  </a:lnTo>
                  <a:lnTo>
                    <a:pt x="1275" y="523"/>
                  </a:lnTo>
                  <a:lnTo>
                    <a:pt x="1278" y="526"/>
                  </a:lnTo>
                  <a:lnTo>
                    <a:pt x="1283" y="533"/>
                  </a:lnTo>
                  <a:lnTo>
                    <a:pt x="1288" y="548"/>
                  </a:lnTo>
                  <a:lnTo>
                    <a:pt x="1293" y="567"/>
                  </a:lnTo>
                  <a:lnTo>
                    <a:pt x="1293" y="567"/>
                  </a:lnTo>
                  <a:lnTo>
                    <a:pt x="1290" y="571"/>
                  </a:lnTo>
                  <a:lnTo>
                    <a:pt x="1287" y="576"/>
                  </a:lnTo>
                  <a:lnTo>
                    <a:pt x="1283" y="582"/>
                  </a:lnTo>
                  <a:lnTo>
                    <a:pt x="1283" y="582"/>
                  </a:lnTo>
                  <a:lnTo>
                    <a:pt x="1283" y="590"/>
                  </a:lnTo>
                  <a:lnTo>
                    <a:pt x="1283" y="599"/>
                  </a:lnTo>
                  <a:lnTo>
                    <a:pt x="1283" y="607"/>
                  </a:lnTo>
                  <a:lnTo>
                    <a:pt x="1283" y="607"/>
                  </a:lnTo>
                  <a:lnTo>
                    <a:pt x="1275" y="615"/>
                  </a:lnTo>
                  <a:lnTo>
                    <a:pt x="1267" y="625"/>
                  </a:lnTo>
                  <a:lnTo>
                    <a:pt x="1260" y="635"/>
                  </a:lnTo>
                  <a:lnTo>
                    <a:pt x="1260" y="635"/>
                  </a:lnTo>
                  <a:lnTo>
                    <a:pt x="1254" y="645"/>
                  </a:lnTo>
                  <a:lnTo>
                    <a:pt x="1250" y="655"/>
                  </a:lnTo>
                  <a:lnTo>
                    <a:pt x="1249" y="660"/>
                  </a:lnTo>
                  <a:lnTo>
                    <a:pt x="1249" y="665"/>
                  </a:lnTo>
                  <a:lnTo>
                    <a:pt x="1250" y="668"/>
                  </a:lnTo>
                  <a:lnTo>
                    <a:pt x="1254" y="673"/>
                  </a:lnTo>
                  <a:lnTo>
                    <a:pt x="1254" y="673"/>
                  </a:lnTo>
                  <a:lnTo>
                    <a:pt x="1268" y="686"/>
                  </a:lnTo>
                  <a:lnTo>
                    <a:pt x="1278" y="693"/>
                  </a:lnTo>
                  <a:lnTo>
                    <a:pt x="1293" y="699"/>
                  </a:lnTo>
                  <a:lnTo>
                    <a:pt x="1293" y="699"/>
                  </a:lnTo>
                  <a:lnTo>
                    <a:pt x="1306" y="704"/>
                  </a:lnTo>
                  <a:lnTo>
                    <a:pt x="1315" y="709"/>
                  </a:lnTo>
                  <a:lnTo>
                    <a:pt x="1323" y="714"/>
                  </a:lnTo>
                  <a:lnTo>
                    <a:pt x="1334" y="716"/>
                  </a:lnTo>
                  <a:lnTo>
                    <a:pt x="1334" y="716"/>
                  </a:lnTo>
                  <a:lnTo>
                    <a:pt x="1349" y="717"/>
                  </a:lnTo>
                  <a:lnTo>
                    <a:pt x="1379" y="722"/>
                  </a:lnTo>
                  <a:lnTo>
                    <a:pt x="1379" y="722"/>
                  </a:lnTo>
                  <a:lnTo>
                    <a:pt x="1402" y="729"/>
                  </a:lnTo>
                  <a:lnTo>
                    <a:pt x="1419" y="736"/>
                  </a:lnTo>
                  <a:lnTo>
                    <a:pt x="1430" y="744"/>
                  </a:lnTo>
                  <a:lnTo>
                    <a:pt x="1438" y="752"/>
                  </a:lnTo>
                  <a:lnTo>
                    <a:pt x="1438" y="752"/>
                  </a:lnTo>
                  <a:lnTo>
                    <a:pt x="1447" y="762"/>
                  </a:lnTo>
                  <a:lnTo>
                    <a:pt x="1458" y="777"/>
                  </a:lnTo>
                  <a:lnTo>
                    <a:pt x="1471" y="790"/>
                  </a:lnTo>
                  <a:lnTo>
                    <a:pt x="1480" y="795"/>
                  </a:lnTo>
                  <a:lnTo>
                    <a:pt x="1480" y="795"/>
                  </a:lnTo>
                  <a:lnTo>
                    <a:pt x="1488" y="800"/>
                  </a:lnTo>
                  <a:lnTo>
                    <a:pt x="1498" y="806"/>
                  </a:lnTo>
                  <a:lnTo>
                    <a:pt x="1511" y="815"/>
                  </a:lnTo>
                  <a:lnTo>
                    <a:pt x="1511" y="815"/>
                  </a:lnTo>
                  <a:lnTo>
                    <a:pt x="1513" y="813"/>
                  </a:lnTo>
                  <a:lnTo>
                    <a:pt x="1519" y="811"/>
                  </a:lnTo>
                  <a:lnTo>
                    <a:pt x="1523" y="810"/>
                  </a:lnTo>
                  <a:lnTo>
                    <a:pt x="1526" y="811"/>
                  </a:lnTo>
                  <a:lnTo>
                    <a:pt x="1529" y="815"/>
                  </a:lnTo>
                  <a:lnTo>
                    <a:pt x="1529" y="820"/>
                  </a:lnTo>
                  <a:lnTo>
                    <a:pt x="1529" y="820"/>
                  </a:lnTo>
                  <a:lnTo>
                    <a:pt x="1529" y="838"/>
                  </a:lnTo>
                  <a:lnTo>
                    <a:pt x="1537" y="858"/>
                  </a:lnTo>
                  <a:lnTo>
                    <a:pt x="1537" y="858"/>
                  </a:lnTo>
                  <a:lnTo>
                    <a:pt x="1537" y="867"/>
                  </a:lnTo>
                  <a:lnTo>
                    <a:pt x="1539" y="877"/>
                  </a:lnTo>
                  <a:lnTo>
                    <a:pt x="1537" y="891"/>
                  </a:lnTo>
                  <a:lnTo>
                    <a:pt x="1537" y="891"/>
                  </a:lnTo>
                  <a:lnTo>
                    <a:pt x="1537" y="896"/>
                  </a:lnTo>
                  <a:lnTo>
                    <a:pt x="1539" y="902"/>
                  </a:lnTo>
                  <a:lnTo>
                    <a:pt x="1547" y="914"/>
                  </a:lnTo>
                  <a:lnTo>
                    <a:pt x="1556" y="924"/>
                  </a:lnTo>
                  <a:lnTo>
                    <a:pt x="1557" y="928"/>
                  </a:lnTo>
                  <a:lnTo>
                    <a:pt x="1559" y="932"/>
                  </a:lnTo>
                  <a:lnTo>
                    <a:pt x="1559" y="932"/>
                  </a:lnTo>
                  <a:lnTo>
                    <a:pt x="1560" y="940"/>
                  </a:lnTo>
                  <a:lnTo>
                    <a:pt x="1562" y="950"/>
                  </a:lnTo>
                  <a:lnTo>
                    <a:pt x="1565" y="963"/>
                  </a:lnTo>
                  <a:lnTo>
                    <a:pt x="1565" y="963"/>
                  </a:lnTo>
                  <a:lnTo>
                    <a:pt x="1585" y="961"/>
                  </a:lnTo>
                  <a:lnTo>
                    <a:pt x="1602" y="961"/>
                  </a:lnTo>
                  <a:lnTo>
                    <a:pt x="1608" y="961"/>
                  </a:lnTo>
                  <a:lnTo>
                    <a:pt x="1613" y="963"/>
                  </a:lnTo>
                  <a:lnTo>
                    <a:pt x="1613" y="963"/>
                  </a:lnTo>
                  <a:lnTo>
                    <a:pt x="1623" y="966"/>
                  </a:lnTo>
                  <a:lnTo>
                    <a:pt x="1638" y="970"/>
                  </a:lnTo>
                  <a:lnTo>
                    <a:pt x="1669" y="976"/>
                  </a:lnTo>
                  <a:lnTo>
                    <a:pt x="1669" y="976"/>
                  </a:lnTo>
                  <a:lnTo>
                    <a:pt x="1709" y="985"/>
                  </a:lnTo>
                  <a:lnTo>
                    <a:pt x="1732" y="990"/>
                  </a:lnTo>
                  <a:lnTo>
                    <a:pt x="1749" y="994"/>
                  </a:lnTo>
                  <a:lnTo>
                    <a:pt x="1749" y="994"/>
                  </a:lnTo>
                  <a:lnTo>
                    <a:pt x="1753" y="996"/>
                  </a:lnTo>
                  <a:lnTo>
                    <a:pt x="1762" y="998"/>
                  </a:lnTo>
                  <a:lnTo>
                    <a:pt x="1780" y="999"/>
                  </a:lnTo>
                  <a:lnTo>
                    <a:pt x="1818" y="999"/>
                  </a:lnTo>
                  <a:lnTo>
                    <a:pt x="1818" y="999"/>
                  </a:lnTo>
                  <a:lnTo>
                    <a:pt x="1854" y="1001"/>
                  </a:lnTo>
                  <a:lnTo>
                    <a:pt x="1874" y="1003"/>
                  </a:lnTo>
                  <a:lnTo>
                    <a:pt x="1890" y="1008"/>
                  </a:lnTo>
                  <a:lnTo>
                    <a:pt x="1890" y="1008"/>
                  </a:lnTo>
                  <a:lnTo>
                    <a:pt x="1918" y="1021"/>
                  </a:lnTo>
                  <a:lnTo>
                    <a:pt x="1930" y="1026"/>
                  </a:lnTo>
                  <a:lnTo>
                    <a:pt x="1937" y="1029"/>
                  </a:lnTo>
                  <a:lnTo>
                    <a:pt x="1937" y="1029"/>
                  </a:lnTo>
                  <a:lnTo>
                    <a:pt x="1937" y="1034"/>
                  </a:lnTo>
                  <a:lnTo>
                    <a:pt x="1937" y="1039"/>
                  </a:lnTo>
                  <a:lnTo>
                    <a:pt x="1938" y="1042"/>
                  </a:lnTo>
                  <a:lnTo>
                    <a:pt x="1940" y="1046"/>
                  </a:lnTo>
                  <a:lnTo>
                    <a:pt x="1943" y="1049"/>
                  </a:lnTo>
                  <a:lnTo>
                    <a:pt x="1950" y="1051"/>
                  </a:lnTo>
                  <a:lnTo>
                    <a:pt x="1950" y="1051"/>
                  </a:lnTo>
                  <a:lnTo>
                    <a:pt x="1955" y="1052"/>
                  </a:lnTo>
                  <a:lnTo>
                    <a:pt x="1961" y="1052"/>
                  </a:lnTo>
                  <a:lnTo>
                    <a:pt x="1971" y="1051"/>
                  </a:lnTo>
                  <a:lnTo>
                    <a:pt x="1978" y="1049"/>
                  </a:lnTo>
                  <a:lnTo>
                    <a:pt x="1981" y="1049"/>
                  </a:lnTo>
                  <a:lnTo>
                    <a:pt x="1983" y="1051"/>
                  </a:lnTo>
                  <a:lnTo>
                    <a:pt x="1983" y="1051"/>
                  </a:lnTo>
                  <a:lnTo>
                    <a:pt x="1989" y="1057"/>
                  </a:lnTo>
                  <a:lnTo>
                    <a:pt x="1999" y="1064"/>
                  </a:lnTo>
                  <a:lnTo>
                    <a:pt x="2019" y="1075"/>
                  </a:lnTo>
                  <a:lnTo>
                    <a:pt x="2019" y="1075"/>
                  </a:lnTo>
                  <a:lnTo>
                    <a:pt x="2034" y="1085"/>
                  </a:lnTo>
                  <a:lnTo>
                    <a:pt x="2040" y="1088"/>
                  </a:lnTo>
                  <a:lnTo>
                    <a:pt x="2047" y="1090"/>
                  </a:lnTo>
                  <a:lnTo>
                    <a:pt x="2047" y="1090"/>
                  </a:lnTo>
                  <a:lnTo>
                    <a:pt x="2054" y="1090"/>
                  </a:lnTo>
                  <a:lnTo>
                    <a:pt x="2060" y="1092"/>
                  </a:lnTo>
                  <a:lnTo>
                    <a:pt x="2070" y="1095"/>
                  </a:lnTo>
                  <a:lnTo>
                    <a:pt x="2070" y="1095"/>
                  </a:lnTo>
                  <a:lnTo>
                    <a:pt x="2077" y="1092"/>
                  </a:lnTo>
                  <a:lnTo>
                    <a:pt x="2085" y="1088"/>
                  </a:lnTo>
                  <a:lnTo>
                    <a:pt x="2095" y="1085"/>
                  </a:lnTo>
                  <a:lnTo>
                    <a:pt x="2098" y="1087"/>
                  </a:lnTo>
                  <a:lnTo>
                    <a:pt x="2102" y="1088"/>
                  </a:lnTo>
                  <a:lnTo>
                    <a:pt x="2102" y="1088"/>
                  </a:lnTo>
                  <a:lnTo>
                    <a:pt x="2102" y="1092"/>
                  </a:lnTo>
                  <a:lnTo>
                    <a:pt x="2102" y="1095"/>
                  </a:lnTo>
                  <a:lnTo>
                    <a:pt x="2102" y="1102"/>
                  </a:lnTo>
                  <a:lnTo>
                    <a:pt x="2103" y="1107"/>
                  </a:lnTo>
                  <a:lnTo>
                    <a:pt x="2105" y="1108"/>
                  </a:lnTo>
                  <a:lnTo>
                    <a:pt x="2108" y="1110"/>
                  </a:lnTo>
                  <a:lnTo>
                    <a:pt x="2108" y="1110"/>
                  </a:lnTo>
                  <a:lnTo>
                    <a:pt x="2125" y="1113"/>
                  </a:lnTo>
                  <a:lnTo>
                    <a:pt x="2135" y="1112"/>
                  </a:lnTo>
                  <a:lnTo>
                    <a:pt x="2144" y="1110"/>
                  </a:lnTo>
                  <a:lnTo>
                    <a:pt x="2144" y="1110"/>
                  </a:lnTo>
                  <a:lnTo>
                    <a:pt x="2158" y="1102"/>
                  </a:lnTo>
                  <a:lnTo>
                    <a:pt x="2176" y="1088"/>
                  </a:lnTo>
                  <a:lnTo>
                    <a:pt x="2194" y="1077"/>
                  </a:lnTo>
                  <a:lnTo>
                    <a:pt x="2200" y="1074"/>
                  </a:lnTo>
                  <a:lnTo>
                    <a:pt x="2207" y="1072"/>
                  </a:lnTo>
                  <a:lnTo>
                    <a:pt x="2207" y="1072"/>
                  </a:lnTo>
                  <a:lnTo>
                    <a:pt x="2212" y="1070"/>
                  </a:lnTo>
                  <a:lnTo>
                    <a:pt x="2217" y="1069"/>
                  </a:lnTo>
                  <a:lnTo>
                    <a:pt x="2227" y="1062"/>
                  </a:lnTo>
                  <a:lnTo>
                    <a:pt x="2237" y="1057"/>
                  </a:lnTo>
                  <a:lnTo>
                    <a:pt x="2243" y="1054"/>
                  </a:lnTo>
                  <a:lnTo>
                    <a:pt x="2253" y="1054"/>
                  </a:lnTo>
                  <a:lnTo>
                    <a:pt x="2253" y="1054"/>
                  </a:lnTo>
                  <a:lnTo>
                    <a:pt x="2278" y="1052"/>
                  </a:lnTo>
                  <a:lnTo>
                    <a:pt x="2313" y="1049"/>
                  </a:lnTo>
                  <a:lnTo>
                    <a:pt x="2342" y="1046"/>
                  </a:lnTo>
                  <a:lnTo>
                    <a:pt x="2354" y="1046"/>
                  </a:lnTo>
                  <a:lnTo>
                    <a:pt x="2360" y="1046"/>
                  </a:lnTo>
                  <a:lnTo>
                    <a:pt x="2360" y="1046"/>
                  </a:lnTo>
                  <a:lnTo>
                    <a:pt x="2372" y="1049"/>
                  </a:lnTo>
                  <a:lnTo>
                    <a:pt x="2387" y="1052"/>
                  </a:lnTo>
                  <a:lnTo>
                    <a:pt x="2398" y="1054"/>
                  </a:lnTo>
                  <a:lnTo>
                    <a:pt x="2407" y="1052"/>
                  </a:lnTo>
                  <a:lnTo>
                    <a:pt x="2407" y="1052"/>
                  </a:lnTo>
                  <a:lnTo>
                    <a:pt x="2428" y="1042"/>
                  </a:lnTo>
                  <a:lnTo>
                    <a:pt x="2451" y="1034"/>
                  </a:lnTo>
                  <a:lnTo>
                    <a:pt x="2451" y="1034"/>
                  </a:lnTo>
                  <a:lnTo>
                    <a:pt x="2466" y="1034"/>
                  </a:lnTo>
                  <a:lnTo>
                    <a:pt x="2476" y="1032"/>
                  </a:lnTo>
                  <a:lnTo>
                    <a:pt x="2479" y="1031"/>
                  </a:lnTo>
                  <a:lnTo>
                    <a:pt x="2484" y="1029"/>
                  </a:lnTo>
                  <a:lnTo>
                    <a:pt x="2484" y="1029"/>
                  </a:lnTo>
                  <a:lnTo>
                    <a:pt x="2492" y="1016"/>
                  </a:lnTo>
                  <a:lnTo>
                    <a:pt x="2504" y="998"/>
                  </a:lnTo>
                  <a:lnTo>
                    <a:pt x="2516" y="980"/>
                  </a:lnTo>
                  <a:lnTo>
                    <a:pt x="2522" y="970"/>
                  </a:lnTo>
                  <a:lnTo>
                    <a:pt x="2522" y="970"/>
                  </a:lnTo>
                  <a:lnTo>
                    <a:pt x="2529" y="968"/>
                  </a:lnTo>
                  <a:lnTo>
                    <a:pt x="2535" y="966"/>
                  </a:lnTo>
                  <a:lnTo>
                    <a:pt x="2544" y="966"/>
                  </a:lnTo>
                  <a:lnTo>
                    <a:pt x="2547" y="965"/>
                  </a:lnTo>
                  <a:lnTo>
                    <a:pt x="2547" y="965"/>
                  </a:lnTo>
                  <a:lnTo>
                    <a:pt x="2572" y="948"/>
                  </a:lnTo>
                  <a:lnTo>
                    <a:pt x="2586" y="937"/>
                  </a:lnTo>
                  <a:lnTo>
                    <a:pt x="2591" y="932"/>
                  </a:lnTo>
                  <a:lnTo>
                    <a:pt x="2591" y="928"/>
                  </a:lnTo>
                  <a:lnTo>
                    <a:pt x="2591" y="928"/>
                  </a:lnTo>
                  <a:lnTo>
                    <a:pt x="2585" y="920"/>
                  </a:lnTo>
                  <a:lnTo>
                    <a:pt x="2573" y="907"/>
                  </a:lnTo>
                  <a:lnTo>
                    <a:pt x="2563" y="892"/>
                  </a:lnTo>
                  <a:lnTo>
                    <a:pt x="2560" y="886"/>
                  </a:lnTo>
                  <a:lnTo>
                    <a:pt x="2557" y="879"/>
                  </a:lnTo>
                  <a:lnTo>
                    <a:pt x="2557" y="879"/>
                  </a:lnTo>
                  <a:lnTo>
                    <a:pt x="2557" y="871"/>
                  </a:lnTo>
                  <a:lnTo>
                    <a:pt x="2560" y="861"/>
                  </a:lnTo>
                  <a:lnTo>
                    <a:pt x="2567" y="839"/>
                  </a:lnTo>
                  <a:lnTo>
                    <a:pt x="2577" y="821"/>
                  </a:lnTo>
                  <a:lnTo>
                    <a:pt x="2582" y="815"/>
                  </a:lnTo>
                  <a:lnTo>
                    <a:pt x="2585" y="813"/>
                  </a:lnTo>
                  <a:lnTo>
                    <a:pt x="2585" y="813"/>
                  </a:lnTo>
                  <a:lnTo>
                    <a:pt x="2591" y="813"/>
                  </a:lnTo>
                  <a:lnTo>
                    <a:pt x="2600" y="810"/>
                  </a:lnTo>
                  <a:lnTo>
                    <a:pt x="2610" y="810"/>
                  </a:lnTo>
                  <a:lnTo>
                    <a:pt x="2613" y="810"/>
                  </a:lnTo>
                  <a:lnTo>
                    <a:pt x="2616" y="811"/>
                  </a:lnTo>
                  <a:lnTo>
                    <a:pt x="2616" y="811"/>
                  </a:lnTo>
                  <a:lnTo>
                    <a:pt x="2624" y="818"/>
                  </a:lnTo>
                  <a:lnTo>
                    <a:pt x="2631" y="825"/>
                  </a:lnTo>
                  <a:lnTo>
                    <a:pt x="2638" y="830"/>
                  </a:lnTo>
                  <a:lnTo>
                    <a:pt x="2643" y="834"/>
                  </a:lnTo>
                  <a:lnTo>
                    <a:pt x="2643" y="834"/>
                  </a:lnTo>
                  <a:lnTo>
                    <a:pt x="2652" y="836"/>
                  </a:lnTo>
                  <a:lnTo>
                    <a:pt x="2664" y="836"/>
                  </a:lnTo>
                  <a:lnTo>
                    <a:pt x="2685" y="834"/>
                  </a:lnTo>
                  <a:lnTo>
                    <a:pt x="2685" y="834"/>
                  </a:lnTo>
                  <a:lnTo>
                    <a:pt x="2689" y="833"/>
                  </a:lnTo>
                  <a:lnTo>
                    <a:pt x="2695" y="830"/>
                  </a:lnTo>
                  <a:lnTo>
                    <a:pt x="2713" y="815"/>
                  </a:lnTo>
                  <a:lnTo>
                    <a:pt x="2745" y="790"/>
                  </a:lnTo>
                  <a:lnTo>
                    <a:pt x="2745" y="790"/>
                  </a:lnTo>
                  <a:lnTo>
                    <a:pt x="2755" y="785"/>
                  </a:lnTo>
                  <a:lnTo>
                    <a:pt x="2770" y="780"/>
                  </a:lnTo>
                  <a:lnTo>
                    <a:pt x="2783" y="777"/>
                  </a:lnTo>
                  <a:lnTo>
                    <a:pt x="2794" y="777"/>
                  </a:lnTo>
                  <a:lnTo>
                    <a:pt x="2794" y="777"/>
                  </a:lnTo>
                  <a:lnTo>
                    <a:pt x="2799" y="777"/>
                  </a:lnTo>
                  <a:lnTo>
                    <a:pt x="2806" y="775"/>
                  </a:lnTo>
                  <a:lnTo>
                    <a:pt x="2819" y="769"/>
                  </a:lnTo>
                  <a:lnTo>
                    <a:pt x="2832" y="760"/>
                  </a:lnTo>
                  <a:lnTo>
                    <a:pt x="2841" y="752"/>
                  </a:lnTo>
                  <a:lnTo>
                    <a:pt x="2841" y="752"/>
                  </a:lnTo>
                  <a:lnTo>
                    <a:pt x="2844" y="749"/>
                  </a:lnTo>
                  <a:lnTo>
                    <a:pt x="2845" y="744"/>
                  </a:lnTo>
                  <a:lnTo>
                    <a:pt x="2849" y="732"/>
                  </a:lnTo>
                  <a:lnTo>
                    <a:pt x="2850" y="719"/>
                  </a:lnTo>
                  <a:lnTo>
                    <a:pt x="2854" y="709"/>
                  </a:lnTo>
                  <a:lnTo>
                    <a:pt x="2854" y="709"/>
                  </a:lnTo>
                  <a:lnTo>
                    <a:pt x="2857" y="703"/>
                  </a:lnTo>
                  <a:lnTo>
                    <a:pt x="2859" y="696"/>
                  </a:lnTo>
                  <a:lnTo>
                    <a:pt x="2860" y="693"/>
                  </a:lnTo>
                  <a:lnTo>
                    <a:pt x="2864" y="691"/>
                  </a:lnTo>
                  <a:lnTo>
                    <a:pt x="2869" y="689"/>
                  </a:lnTo>
                  <a:lnTo>
                    <a:pt x="2877" y="688"/>
                  </a:lnTo>
                  <a:lnTo>
                    <a:pt x="2877" y="688"/>
                  </a:lnTo>
                  <a:lnTo>
                    <a:pt x="2903" y="686"/>
                  </a:lnTo>
                  <a:lnTo>
                    <a:pt x="2911" y="684"/>
                  </a:lnTo>
                  <a:lnTo>
                    <a:pt x="2916" y="683"/>
                  </a:lnTo>
                  <a:lnTo>
                    <a:pt x="2916" y="683"/>
                  </a:lnTo>
                  <a:lnTo>
                    <a:pt x="2918" y="676"/>
                  </a:lnTo>
                  <a:lnTo>
                    <a:pt x="2920" y="670"/>
                  </a:lnTo>
                  <a:lnTo>
                    <a:pt x="2920" y="661"/>
                  </a:lnTo>
                  <a:lnTo>
                    <a:pt x="2921" y="660"/>
                  </a:lnTo>
                  <a:lnTo>
                    <a:pt x="2923" y="658"/>
                  </a:lnTo>
                  <a:lnTo>
                    <a:pt x="2923" y="658"/>
                  </a:lnTo>
                  <a:lnTo>
                    <a:pt x="2926" y="658"/>
                  </a:lnTo>
                  <a:lnTo>
                    <a:pt x="2931" y="660"/>
                  </a:lnTo>
                  <a:lnTo>
                    <a:pt x="2939" y="661"/>
                  </a:lnTo>
                  <a:lnTo>
                    <a:pt x="2949" y="661"/>
                  </a:lnTo>
                  <a:lnTo>
                    <a:pt x="2949" y="661"/>
                  </a:lnTo>
                  <a:lnTo>
                    <a:pt x="2954" y="661"/>
                  </a:lnTo>
                  <a:lnTo>
                    <a:pt x="2958" y="658"/>
                  </a:lnTo>
                  <a:lnTo>
                    <a:pt x="2966" y="651"/>
                  </a:lnTo>
                  <a:lnTo>
                    <a:pt x="2972" y="645"/>
                  </a:lnTo>
                  <a:lnTo>
                    <a:pt x="2976" y="643"/>
                  </a:lnTo>
                  <a:lnTo>
                    <a:pt x="2979" y="643"/>
                  </a:lnTo>
                  <a:lnTo>
                    <a:pt x="2979" y="643"/>
                  </a:lnTo>
                  <a:lnTo>
                    <a:pt x="2984" y="643"/>
                  </a:lnTo>
                  <a:lnTo>
                    <a:pt x="2987" y="645"/>
                  </a:lnTo>
                  <a:lnTo>
                    <a:pt x="2991" y="646"/>
                  </a:lnTo>
                  <a:lnTo>
                    <a:pt x="2994" y="646"/>
                  </a:lnTo>
                  <a:lnTo>
                    <a:pt x="2994" y="646"/>
                  </a:lnTo>
                  <a:lnTo>
                    <a:pt x="2996" y="646"/>
                  </a:lnTo>
                  <a:lnTo>
                    <a:pt x="2997" y="645"/>
                  </a:lnTo>
                  <a:lnTo>
                    <a:pt x="3001" y="638"/>
                  </a:lnTo>
                  <a:lnTo>
                    <a:pt x="3005" y="635"/>
                  </a:lnTo>
                  <a:lnTo>
                    <a:pt x="3007" y="633"/>
                  </a:lnTo>
                  <a:lnTo>
                    <a:pt x="3009" y="635"/>
                  </a:lnTo>
                  <a:lnTo>
                    <a:pt x="3009" y="635"/>
                  </a:lnTo>
                  <a:lnTo>
                    <a:pt x="3010" y="640"/>
                  </a:lnTo>
                  <a:lnTo>
                    <a:pt x="3014" y="645"/>
                  </a:lnTo>
                  <a:lnTo>
                    <a:pt x="3017" y="646"/>
                  </a:lnTo>
                  <a:lnTo>
                    <a:pt x="3022" y="648"/>
                  </a:lnTo>
                  <a:lnTo>
                    <a:pt x="3029" y="648"/>
                  </a:lnTo>
                  <a:lnTo>
                    <a:pt x="3035" y="646"/>
                  </a:lnTo>
                  <a:lnTo>
                    <a:pt x="3035" y="646"/>
                  </a:lnTo>
                  <a:lnTo>
                    <a:pt x="3052" y="643"/>
                  </a:lnTo>
                  <a:lnTo>
                    <a:pt x="3058" y="642"/>
                  </a:lnTo>
                  <a:lnTo>
                    <a:pt x="3063" y="638"/>
                  </a:lnTo>
                  <a:lnTo>
                    <a:pt x="3068" y="635"/>
                  </a:lnTo>
                  <a:lnTo>
                    <a:pt x="3071" y="630"/>
                  </a:lnTo>
                  <a:lnTo>
                    <a:pt x="3071" y="625"/>
                  </a:lnTo>
                  <a:lnTo>
                    <a:pt x="3071" y="620"/>
                  </a:lnTo>
                  <a:lnTo>
                    <a:pt x="3071" y="620"/>
                  </a:lnTo>
                  <a:lnTo>
                    <a:pt x="3066" y="613"/>
                  </a:lnTo>
                  <a:lnTo>
                    <a:pt x="3058" y="604"/>
                  </a:lnTo>
                  <a:lnTo>
                    <a:pt x="3037" y="579"/>
                  </a:lnTo>
                  <a:lnTo>
                    <a:pt x="3010" y="556"/>
                  </a:lnTo>
                  <a:lnTo>
                    <a:pt x="3001" y="548"/>
                  </a:lnTo>
                  <a:lnTo>
                    <a:pt x="2992" y="543"/>
                  </a:lnTo>
                  <a:lnTo>
                    <a:pt x="2992" y="543"/>
                  </a:lnTo>
                  <a:lnTo>
                    <a:pt x="2981" y="538"/>
                  </a:lnTo>
                  <a:lnTo>
                    <a:pt x="2966" y="534"/>
                  </a:lnTo>
                  <a:lnTo>
                    <a:pt x="2949" y="533"/>
                  </a:lnTo>
                  <a:lnTo>
                    <a:pt x="2943" y="534"/>
                  </a:lnTo>
                  <a:lnTo>
                    <a:pt x="2935" y="536"/>
                  </a:lnTo>
                  <a:lnTo>
                    <a:pt x="2935" y="536"/>
                  </a:lnTo>
                  <a:lnTo>
                    <a:pt x="2931" y="538"/>
                  </a:lnTo>
                  <a:lnTo>
                    <a:pt x="2930" y="543"/>
                  </a:lnTo>
                  <a:lnTo>
                    <a:pt x="2923" y="552"/>
                  </a:lnTo>
                  <a:lnTo>
                    <a:pt x="2921" y="557"/>
                  </a:lnTo>
                  <a:lnTo>
                    <a:pt x="2918" y="561"/>
                  </a:lnTo>
                  <a:lnTo>
                    <a:pt x="2913" y="564"/>
                  </a:lnTo>
                  <a:lnTo>
                    <a:pt x="2908" y="566"/>
                  </a:lnTo>
                  <a:lnTo>
                    <a:pt x="2908" y="566"/>
                  </a:lnTo>
                  <a:lnTo>
                    <a:pt x="2905" y="566"/>
                  </a:lnTo>
                  <a:lnTo>
                    <a:pt x="2902" y="562"/>
                  </a:lnTo>
                  <a:lnTo>
                    <a:pt x="2895" y="557"/>
                  </a:lnTo>
                  <a:lnTo>
                    <a:pt x="2888" y="552"/>
                  </a:lnTo>
                  <a:lnTo>
                    <a:pt x="2883" y="549"/>
                  </a:lnTo>
                  <a:lnTo>
                    <a:pt x="2878" y="549"/>
                  </a:lnTo>
                  <a:lnTo>
                    <a:pt x="2878" y="549"/>
                  </a:lnTo>
                  <a:lnTo>
                    <a:pt x="2869" y="551"/>
                  </a:lnTo>
                  <a:lnTo>
                    <a:pt x="2859" y="552"/>
                  </a:lnTo>
                  <a:lnTo>
                    <a:pt x="2844" y="557"/>
                  </a:lnTo>
                  <a:lnTo>
                    <a:pt x="2844" y="557"/>
                  </a:lnTo>
                  <a:lnTo>
                    <a:pt x="2841" y="561"/>
                  </a:lnTo>
                  <a:lnTo>
                    <a:pt x="2837" y="566"/>
                  </a:lnTo>
                  <a:lnTo>
                    <a:pt x="2831" y="569"/>
                  </a:lnTo>
                  <a:lnTo>
                    <a:pt x="2826" y="571"/>
                  </a:lnTo>
                  <a:lnTo>
                    <a:pt x="2819" y="571"/>
                  </a:lnTo>
                  <a:lnTo>
                    <a:pt x="2819" y="571"/>
                  </a:lnTo>
                  <a:lnTo>
                    <a:pt x="2816" y="571"/>
                  </a:lnTo>
                  <a:lnTo>
                    <a:pt x="2811" y="567"/>
                  </a:lnTo>
                  <a:lnTo>
                    <a:pt x="2803" y="557"/>
                  </a:lnTo>
                  <a:lnTo>
                    <a:pt x="2798" y="552"/>
                  </a:lnTo>
                  <a:lnTo>
                    <a:pt x="2796" y="546"/>
                  </a:lnTo>
                  <a:lnTo>
                    <a:pt x="2794" y="541"/>
                  </a:lnTo>
                  <a:lnTo>
                    <a:pt x="2794" y="534"/>
                  </a:lnTo>
                  <a:lnTo>
                    <a:pt x="2794" y="534"/>
                  </a:lnTo>
                  <a:lnTo>
                    <a:pt x="2798" y="526"/>
                  </a:lnTo>
                  <a:lnTo>
                    <a:pt x="2801" y="521"/>
                  </a:lnTo>
                  <a:lnTo>
                    <a:pt x="2804" y="516"/>
                  </a:lnTo>
                  <a:lnTo>
                    <a:pt x="2808" y="513"/>
                  </a:lnTo>
                  <a:lnTo>
                    <a:pt x="2808" y="513"/>
                  </a:lnTo>
                  <a:lnTo>
                    <a:pt x="2822" y="465"/>
                  </a:lnTo>
                  <a:lnTo>
                    <a:pt x="2822" y="465"/>
                  </a:lnTo>
                  <a:lnTo>
                    <a:pt x="2827" y="447"/>
                  </a:lnTo>
                  <a:lnTo>
                    <a:pt x="2837" y="419"/>
                  </a:lnTo>
                  <a:lnTo>
                    <a:pt x="2849" y="389"/>
                  </a:lnTo>
                  <a:lnTo>
                    <a:pt x="2854" y="381"/>
                  </a:lnTo>
                  <a:lnTo>
                    <a:pt x="2859" y="376"/>
                  </a:lnTo>
                  <a:lnTo>
                    <a:pt x="2859" y="376"/>
                  </a:lnTo>
                  <a:lnTo>
                    <a:pt x="2864" y="376"/>
                  </a:lnTo>
                  <a:lnTo>
                    <a:pt x="2870" y="378"/>
                  </a:lnTo>
                  <a:lnTo>
                    <a:pt x="2885" y="384"/>
                  </a:lnTo>
                  <a:lnTo>
                    <a:pt x="2902" y="391"/>
                  </a:lnTo>
                  <a:lnTo>
                    <a:pt x="2908" y="393"/>
                  </a:lnTo>
                  <a:lnTo>
                    <a:pt x="2913" y="393"/>
                  </a:lnTo>
                  <a:lnTo>
                    <a:pt x="2913" y="393"/>
                  </a:lnTo>
                  <a:lnTo>
                    <a:pt x="2920" y="391"/>
                  </a:lnTo>
                  <a:lnTo>
                    <a:pt x="2928" y="388"/>
                  </a:lnTo>
                  <a:lnTo>
                    <a:pt x="2946" y="376"/>
                  </a:lnTo>
                  <a:lnTo>
                    <a:pt x="2964" y="363"/>
                  </a:lnTo>
                  <a:lnTo>
                    <a:pt x="2976" y="356"/>
                  </a:lnTo>
                  <a:lnTo>
                    <a:pt x="2976" y="356"/>
                  </a:lnTo>
                  <a:lnTo>
                    <a:pt x="2984" y="353"/>
                  </a:lnTo>
                  <a:lnTo>
                    <a:pt x="2994" y="348"/>
                  </a:lnTo>
                  <a:lnTo>
                    <a:pt x="3004" y="341"/>
                  </a:lnTo>
                  <a:lnTo>
                    <a:pt x="3007" y="338"/>
                  </a:lnTo>
                  <a:lnTo>
                    <a:pt x="3009" y="335"/>
                  </a:lnTo>
                  <a:lnTo>
                    <a:pt x="3009" y="335"/>
                  </a:lnTo>
                  <a:lnTo>
                    <a:pt x="3007" y="328"/>
                  </a:lnTo>
                  <a:lnTo>
                    <a:pt x="3004" y="320"/>
                  </a:lnTo>
                  <a:lnTo>
                    <a:pt x="3001" y="310"/>
                  </a:lnTo>
                  <a:lnTo>
                    <a:pt x="2999" y="303"/>
                  </a:lnTo>
                  <a:lnTo>
                    <a:pt x="2999" y="303"/>
                  </a:lnTo>
                  <a:lnTo>
                    <a:pt x="2999" y="299"/>
                  </a:lnTo>
                  <a:lnTo>
                    <a:pt x="3001" y="292"/>
                  </a:lnTo>
                  <a:lnTo>
                    <a:pt x="3005" y="275"/>
                  </a:lnTo>
                  <a:lnTo>
                    <a:pt x="3017" y="251"/>
                  </a:lnTo>
                  <a:lnTo>
                    <a:pt x="3017" y="251"/>
                  </a:lnTo>
                  <a:lnTo>
                    <a:pt x="3025" y="229"/>
                  </a:lnTo>
                  <a:lnTo>
                    <a:pt x="3030" y="214"/>
                  </a:lnTo>
                  <a:lnTo>
                    <a:pt x="3035" y="203"/>
                  </a:lnTo>
                  <a:lnTo>
                    <a:pt x="3035" y="203"/>
                  </a:lnTo>
                  <a:lnTo>
                    <a:pt x="3043" y="191"/>
                  </a:lnTo>
                  <a:lnTo>
                    <a:pt x="3057" y="178"/>
                  </a:lnTo>
                  <a:lnTo>
                    <a:pt x="3066" y="163"/>
                  </a:lnTo>
                  <a:lnTo>
                    <a:pt x="3070" y="158"/>
                  </a:lnTo>
                  <a:lnTo>
                    <a:pt x="3071" y="153"/>
                  </a:lnTo>
                  <a:lnTo>
                    <a:pt x="3071" y="153"/>
                  </a:lnTo>
                  <a:lnTo>
                    <a:pt x="3071" y="145"/>
                  </a:lnTo>
                  <a:lnTo>
                    <a:pt x="3068" y="139"/>
                  </a:lnTo>
                  <a:lnTo>
                    <a:pt x="3065" y="134"/>
                  </a:lnTo>
                  <a:lnTo>
                    <a:pt x="3063" y="127"/>
                  </a:lnTo>
                  <a:lnTo>
                    <a:pt x="3063" y="127"/>
                  </a:lnTo>
                  <a:lnTo>
                    <a:pt x="3060" y="110"/>
                  </a:lnTo>
                  <a:lnTo>
                    <a:pt x="3058" y="102"/>
                  </a:lnTo>
                  <a:lnTo>
                    <a:pt x="3055" y="101"/>
                  </a:lnTo>
                  <a:lnTo>
                    <a:pt x="3053" y="99"/>
                  </a:lnTo>
                  <a:lnTo>
                    <a:pt x="3053" y="99"/>
                  </a:lnTo>
                  <a:lnTo>
                    <a:pt x="3047" y="102"/>
                  </a:lnTo>
                  <a:lnTo>
                    <a:pt x="3037" y="107"/>
                  </a:lnTo>
                  <a:lnTo>
                    <a:pt x="3027" y="109"/>
                  </a:lnTo>
                  <a:lnTo>
                    <a:pt x="3024" y="107"/>
                  </a:lnTo>
                  <a:lnTo>
                    <a:pt x="3022" y="106"/>
                  </a:lnTo>
                  <a:lnTo>
                    <a:pt x="3022" y="106"/>
                  </a:lnTo>
                  <a:lnTo>
                    <a:pt x="3022" y="101"/>
                  </a:lnTo>
                  <a:lnTo>
                    <a:pt x="3024" y="96"/>
                  </a:lnTo>
                  <a:lnTo>
                    <a:pt x="3027" y="86"/>
                  </a:lnTo>
                  <a:lnTo>
                    <a:pt x="3032" y="78"/>
                  </a:lnTo>
                  <a:lnTo>
                    <a:pt x="3037" y="71"/>
                  </a:lnTo>
                  <a:lnTo>
                    <a:pt x="3037" y="71"/>
                  </a:lnTo>
                  <a:lnTo>
                    <a:pt x="3053" y="54"/>
                  </a:lnTo>
                  <a:lnTo>
                    <a:pt x="3065" y="46"/>
                  </a:lnTo>
                  <a:lnTo>
                    <a:pt x="3071" y="41"/>
                  </a:lnTo>
                  <a:lnTo>
                    <a:pt x="3071" y="41"/>
                  </a:lnTo>
                  <a:lnTo>
                    <a:pt x="3086" y="36"/>
                  </a:lnTo>
                  <a:lnTo>
                    <a:pt x="3096" y="31"/>
                  </a:lnTo>
                  <a:lnTo>
                    <a:pt x="3108" y="30"/>
                  </a:lnTo>
                  <a:lnTo>
                    <a:pt x="3108" y="30"/>
                  </a:lnTo>
                  <a:lnTo>
                    <a:pt x="3121" y="25"/>
                  </a:lnTo>
                  <a:lnTo>
                    <a:pt x="3134" y="20"/>
                  </a:lnTo>
                  <a:lnTo>
                    <a:pt x="3147" y="15"/>
                  </a:lnTo>
                  <a:lnTo>
                    <a:pt x="3154" y="13"/>
                  </a:lnTo>
                  <a:lnTo>
                    <a:pt x="3154" y="13"/>
                  </a:lnTo>
                  <a:lnTo>
                    <a:pt x="3164" y="15"/>
                  </a:lnTo>
                  <a:lnTo>
                    <a:pt x="3170" y="15"/>
                  </a:lnTo>
                  <a:lnTo>
                    <a:pt x="3177" y="13"/>
                  </a:lnTo>
                  <a:lnTo>
                    <a:pt x="3177" y="13"/>
                  </a:lnTo>
                  <a:lnTo>
                    <a:pt x="3185" y="8"/>
                  </a:lnTo>
                  <a:lnTo>
                    <a:pt x="3192" y="3"/>
                  </a:lnTo>
                  <a:lnTo>
                    <a:pt x="3200" y="0"/>
                  </a:lnTo>
                  <a:lnTo>
                    <a:pt x="3205" y="0"/>
                  </a:lnTo>
                  <a:lnTo>
                    <a:pt x="3210" y="0"/>
                  </a:lnTo>
                  <a:lnTo>
                    <a:pt x="3210" y="0"/>
                  </a:lnTo>
                  <a:lnTo>
                    <a:pt x="3263" y="20"/>
                  </a:lnTo>
                  <a:lnTo>
                    <a:pt x="3263" y="20"/>
                  </a:lnTo>
                  <a:lnTo>
                    <a:pt x="3274" y="25"/>
                  </a:lnTo>
                  <a:lnTo>
                    <a:pt x="3283" y="25"/>
                  </a:lnTo>
                  <a:lnTo>
                    <a:pt x="3302" y="23"/>
                  </a:lnTo>
                  <a:lnTo>
                    <a:pt x="3302" y="23"/>
                  </a:lnTo>
                  <a:lnTo>
                    <a:pt x="3317" y="23"/>
                  </a:lnTo>
                  <a:lnTo>
                    <a:pt x="3325" y="26"/>
                  </a:lnTo>
                  <a:lnTo>
                    <a:pt x="3334" y="31"/>
                  </a:lnTo>
                  <a:lnTo>
                    <a:pt x="3342" y="38"/>
                  </a:lnTo>
                  <a:lnTo>
                    <a:pt x="3342" y="38"/>
                  </a:lnTo>
                  <a:lnTo>
                    <a:pt x="3355" y="51"/>
                  </a:lnTo>
                  <a:lnTo>
                    <a:pt x="3370" y="68"/>
                  </a:lnTo>
                  <a:lnTo>
                    <a:pt x="3383" y="84"/>
                  </a:lnTo>
                  <a:lnTo>
                    <a:pt x="3387" y="92"/>
                  </a:lnTo>
                  <a:lnTo>
                    <a:pt x="3388" y="97"/>
                  </a:lnTo>
                  <a:lnTo>
                    <a:pt x="3388" y="97"/>
                  </a:lnTo>
                  <a:lnTo>
                    <a:pt x="3391" y="106"/>
                  </a:lnTo>
                  <a:lnTo>
                    <a:pt x="3395" y="115"/>
                  </a:lnTo>
                  <a:lnTo>
                    <a:pt x="3405" y="132"/>
                  </a:lnTo>
                  <a:lnTo>
                    <a:pt x="3405" y="132"/>
                  </a:lnTo>
                  <a:lnTo>
                    <a:pt x="3418" y="150"/>
                  </a:lnTo>
                  <a:lnTo>
                    <a:pt x="3423" y="160"/>
                  </a:lnTo>
                  <a:lnTo>
                    <a:pt x="3426" y="168"/>
                  </a:lnTo>
                  <a:lnTo>
                    <a:pt x="3426" y="168"/>
                  </a:lnTo>
                  <a:lnTo>
                    <a:pt x="3429" y="181"/>
                  </a:lnTo>
                  <a:lnTo>
                    <a:pt x="3433" y="190"/>
                  </a:lnTo>
                  <a:lnTo>
                    <a:pt x="3438" y="196"/>
                  </a:lnTo>
                  <a:lnTo>
                    <a:pt x="3438" y="196"/>
                  </a:lnTo>
                  <a:lnTo>
                    <a:pt x="3444" y="201"/>
                  </a:lnTo>
                  <a:lnTo>
                    <a:pt x="3451" y="208"/>
                  </a:lnTo>
                  <a:lnTo>
                    <a:pt x="3459" y="216"/>
                  </a:lnTo>
                  <a:lnTo>
                    <a:pt x="3462" y="221"/>
                  </a:lnTo>
                  <a:lnTo>
                    <a:pt x="3464" y="228"/>
                  </a:lnTo>
                  <a:lnTo>
                    <a:pt x="3464" y="228"/>
                  </a:lnTo>
                  <a:lnTo>
                    <a:pt x="3464" y="237"/>
                  </a:lnTo>
                  <a:lnTo>
                    <a:pt x="3464" y="246"/>
                  </a:lnTo>
                  <a:lnTo>
                    <a:pt x="3464" y="252"/>
                  </a:lnTo>
                  <a:lnTo>
                    <a:pt x="3466" y="256"/>
                  </a:lnTo>
                  <a:lnTo>
                    <a:pt x="3469" y="257"/>
                  </a:lnTo>
                  <a:lnTo>
                    <a:pt x="3469" y="257"/>
                  </a:lnTo>
                  <a:lnTo>
                    <a:pt x="3482" y="262"/>
                  </a:lnTo>
                  <a:lnTo>
                    <a:pt x="3485" y="266"/>
                  </a:lnTo>
                  <a:lnTo>
                    <a:pt x="3487" y="270"/>
                  </a:lnTo>
                  <a:lnTo>
                    <a:pt x="3487" y="270"/>
                  </a:lnTo>
                  <a:lnTo>
                    <a:pt x="3485" y="279"/>
                  </a:lnTo>
                  <a:lnTo>
                    <a:pt x="3484" y="289"/>
                  </a:lnTo>
                  <a:lnTo>
                    <a:pt x="3484" y="299"/>
                  </a:lnTo>
                  <a:lnTo>
                    <a:pt x="3484" y="302"/>
                  </a:lnTo>
                  <a:lnTo>
                    <a:pt x="3487" y="303"/>
                  </a:lnTo>
                  <a:lnTo>
                    <a:pt x="3487" y="303"/>
                  </a:lnTo>
                  <a:lnTo>
                    <a:pt x="3499" y="313"/>
                  </a:lnTo>
                  <a:lnTo>
                    <a:pt x="3504" y="318"/>
                  </a:lnTo>
                  <a:lnTo>
                    <a:pt x="3507" y="320"/>
                  </a:lnTo>
                  <a:lnTo>
                    <a:pt x="3507" y="320"/>
                  </a:lnTo>
                  <a:lnTo>
                    <a:pt x="3522" y="318"/>
                  </a:lnTo>
                  <a:lnTo>
                    <a:pt x="3532" y="318"/>
                  </a:lnTo>
                  <a:lnTo>
                    <a:pt x="3537" y="317"/>
                  </a:lnTo>
                  <a:lnTo>
                    <a:pt x="3537" y="317"/>
                  </a:lnTo>
                  <a:lnTo>
                    <a:pt x="3538" y="315"/>
                  </a:lnTo>
                  <a:lnTo>
                    <a:pt x="3538" y="313"/>
                  </a:lnTo>
                  <a:lnTo>
                    <a:pt x="3538" y="310"/>
                  </a:lnTo>
                  <a:lnTo>
                    <a:pt x="3540" y="308"/>
                  </a:lnTo>
                  <a:lnTo>
                    <a:pt x="3542" y="307"/>
                  </a:lnTo>
                  <a:lnTo>
                    <a:pt x="3550" y="307"/>
                  </a:lnTo>
                  <a:lnTo>
                    <a:pt x="3550" y="307"/>
                  </a:lnTo>
                  <a:lnTo>
                    <a:pt x="3555" y="307"/>
                  </a:lnTo>
                  <a:lnTo>
                    <a:pt x="3560" y="308"/>
                  </a:lnTo>
                  <a:lnTo>
                    <a:pt x="3568" y="313"/>
                  </a:lnTo>
                  <a:lnTo>
                    <a:pt x="3575" y="318"/>
                  </a:lnTo>
                  <a:lnTo>
                    <a:pt x="3583" y="320"/>
                  </a:lnTo>
                  <a:lnTo>
                    <a:pt x="3583" y="320"/>
                  </a:lnTo>
                  <a:lnTo>
                    <a:pt x="3593" y="320"/>
                  </a:lnTo>
                  <a:lnTo>
                    <a:pt x="3599" y="318"/>
                  </a:lnTo>
                  <a:lnTo>
                    <a:pt x="3608" y="317"/>
                  </a:lnTo>
                  <a:lnTo>
                    <a:pt x="3616" y="318"/>
                  </a:lnTo>
                  <a:lnTo>
                    <a:pt x="3616" y="318"/>
                  </a:lnTo>
                  <a:lnTo>
                    <a:pt x="3621" y="320"/>
                  </a:lnTo>
                  <a:lnTo>
                    <a:pt x="3624" y="323"/>
                  </a:lnTo>
                  <a:lnTo>
                    <a:pt x="3629" y="330"/>
                  </a:lnTo>
                  <a:lnTo>
                    <a:pt x="3634" y="338"/>
                  </a:lnTo>
                  <a:lnTo>
                    <a:pt x="3641" y="343"/>
                  </a:lnTo>
                  <a:lnTo>
                    <a:pt x="3641" y="343"/>
                  </a:lnTo>
                  <a:lnTo>
                    <a:pt x="3655" y="348"/>
                  </a:lnTo>
                  <a:lnTo>
                    <a:pt x="3667" y="350"/>
                  </a:lnTo>
                  <a:lnTo>
                    <a:pt x="3667" y="350"/>
                  </a:lnTo>
                  <a:lnTo>
                    <a:pt x="3672" y="348"/>
                  </a:lnTo>
                  <a:lnTo>
                    <a:pt x="3678" y="346"/>
                  </a:lnTo>
                  <a:lnTo>
                    <a:pt x="3685" y="345"/>
                  </a:lnTo>
                  <a:lnTo>
                    <a:pt x="3687" y="346"/>
                  </a:lnTo>
                  <a:lnTo>
                    <a:pt x="3687" y="348"/>
                  </a:lnTo>
                  <a:lnTo>
                    <a:pt x="3687" y="348"/>
                  </a:lnTo>
                  <a:lnTo>
                    <a:pt x="3685" y="355"/>
                  </a:lnTo>
                  <a:lnTo>
                    <a:pt x="3683" y="363"/>
                  </a:lnTo>
                  <a:lnTo>
                    <a:pt x="3683" y="371"/>
                  </a:lnTo>
                  <a:lnTo>
                    <a:pt x="3685" y="373"/>
                  </a:lnTo>
                  <a:lnTo>
                    <a:pt x="3687" y="376"/>
                  </a:lnTo>
                  <a:lnTo>
                    <a:pt x="3687" y="376"/>
                  </a:lnTo>
                  <a:lnTo>
                    <a:pt x="3698" y="381"/>
                  </a:lnTo>
                  <a:lnTo>
                    <a:pt x="3703" y="384"/>
                  </a:lnTo>
                  <a:lnTo>
                    <a:pt x="3705" y="386"/>
                  </a:lnTo>
                  <a:lnTo>
                    <a:pt x="3705" y="389"/>
                  </a:lnTo>
                  <a:lnTo>
                    <a:pt x="3705" y="389"/>
                  </a:lnTo>
                  <a:lnTo>
                    <a:pt x="3702" y="407"/>
                  </a:lnTo>
                  <a:lnTo>
                    <a:pt x="3703" y="414"/>
                  </a:lnTo>
                  <a:lnTo>
                    <a:pt x="3705" y="419"/>
                  </a:lnTo>
                  <a:lnTo>
                    <a:pt x="3705" y="419"/>
                  </a:lnTo>
                  <a:lnTo>
                    <a:pt x="3713" y="427"/>
                  </a:lnTo>
                  <a:lnTo>
                    <a:pt x="3718" y="430"/>
                  </a:lnTo>
                  <a:lnTo>
                    <a:pt x="3720" y="435"/>
                  </a:lnTo>
                  <a:lnTo>
                    <a:pt x="3720" y="435"/>
                  </a:lnTo>
                  <a:lnTo>
                    <a:pt x="3720" y="439"/>
                  </a:lnTo>
                  <a:lnTo>
                    <a:pt x="3721" y="444"/>
                  </a:lnTo>
                  <a:lnTo>
                    <a:pt x="3725" y="445"/>
                  </a:lnTo>
                  <a:lnTo>
                    <a:pt x="3728" y="447"/>
                  </a:lnTo>
                  <a:lnTo>
                    <a:pt x="3728" y="447"/>
                  </a:lnTo>
                  <a:lnTo>
                    <a:pt x="3733" y="445"/>
                  </a:lnTo>
                  <a:lnTo>
                    <a:pt x="3740" y="442"/>
                  </a:lnTo>
                  <a:lnTo>
                    <a:pt x="3748" y="437"/>
                  </a:lnTo>
                  <a:lnTo>
                    <a:pt x="3748" y="437"/>
                  </a:lnTo>
                  <a:lnTo>
                    <a:pt x="3761" y="435"/>
                  </a:lnTo>
                  <a:lnTo>
                    <a:pt x="3781" y="432"/>
                  </a:lnTo>
                  <a:lnTo>
                    <a:pt x="3781" y="432"/>
                  </a:lnTo>
                  <a:lnTo>
                    <a:pt x="3789" y="432"/>
                  </a:lnTo>
                  <a:lnTo>
                    <a:pt x="3799" y="430"/>
                  </a:lnTo>
                  <a:lnTo>
                    <a:pt x="3807" y="425"/>
                  </a:lnTo>
                  <a:lnTo>
                    <a:pt x="3814" y="422"/>
                  </a:lnTo>
                  <a:lnTo>
                    <a:pt x="3814" y="422"/>
                  </a:lnTo>
                  <a:lnTo>
                    <a:pt x="3820" y="414"/>
                  </a:lnTo>
                  <a:lnTo>
                    <a:pt x="3825" y="402"/>
                  </a:lnTo>
                  <a:lnTo>
                    <a:pt x="3830" y="391"/>
                  </a:lnTo>
                  <a:lnTo>
                    <a:pt x="3834" y="388"/>
                  </a:lnTo>
                  <a:lnTo>
                    <a:pt x="3837" y="386"/>
                  </a:lnTo>
                  <a:lnTo>
                    <a:pt x="3837" y="386"/>
                  </a:lnTo>
                  <a:lnTo>
                    <a:pt x="3848" y="381"/>
                  </a:lnTo>
                  <a:lnTo>
                    <a:pt x="3855" y="379"/>
                  </a:lnTo>
                  <a:lnTo>
                    <a:pt x="3860" y="378"/>
                  </a:lnTo>
                  <a:lnTo>
                    <a:pt x="3860" y="378"/>
                  </a:lnTo>
                  <a:lnTo>
                    <a:pt x="3867" y="373"/>
                  </a:lnTo>
                  <a:lnTo>
                    <a:pt x="3875" y="363"/>
                  </a:lnTo>
                  <a:lnTo>
                    <a:pt x="3881" y="355"/>
                  </a:lnTo>
                  <a:lnTo>
                    <a:pt x="3888" y="350"/>
                  </a:lnTo>
                  <a:lnTo>
                    <a:pt x="3888" y="350"/>
                  </a:lnTo>
                  <a:lnTo>
                    <a:pt x="3895" y="345"/>
                  </a:lnTo>
                  <a:lnTo>
                    <a:pt x="3904" y="336"/>
                  </a:lnTo>
                  <a:lnTo>
                    <a:pt x="3916" y="331"/>
                  </a:lnTo>
                  <a:lnTo>
                    <a:pt x="3921" y="330"/>
                  </a:lnTo>
                  <a:lnTo>
                    <a:pt x="3924" y="331"/>
                  </a:lnTo>
                  <a:lnTo>
                    <a:pt x="3924" y="331"/>
                  </a:lnTo>
                  <a:lnTo>
                    <a:pt x="3928" y="335"/>
                  </a:lnTo>
                  <a:lnTo>
                    <a:pt x="3928" y="338"/>
                  </a:lnTo>
                  <a:lnTo>
                    <a:pt x="3929" y="346"/>
                  </a:lnTo>
                  <a:lnTo>
                    <a:pt x="3929" y="356"/>
                  </a:lnTo>
                  <a:lnTo>
                    <a:pt x="3931" y="364"/>
                  </a:lnTo>
                  <a:lnTo>
                    <a:pt x="3931" y="364"/>
                  </a:lnTo>
                  <a:lnTo>
                    <a:pt x="3936" y="371"/>
                  </a:lnTo>
                  <a:lnTo>
                    <a:pt x="3942" y="378"/>
                  </a:lnTo>
                  <a:lnTo>
                    <a:pt x="3947" y="384"/>
                  </a:lnTo>
                  <a:lnTo>
                    <a:pt x="3949" y="388"/>
                  </a:lnTo>
                  <a:lnTo>
                    <a:pt x="3949" y="391"/>
                  </a:lnTo>
                  <a:lnTo>
                    <a:pt x="3949" y="391"/>
                  </a:lnTo>
                  <a:lnTo>
                    <a:pt x="3947" y="406"/>
                  </a:lnTo>
                  <a:lnTo>
                    <a:pt x="3944" y="412"/>
                  </a:lnTo>
                  <a:lnTo>
                    <a:pt x="3939" y="417"/>
                  </a:lnTo>
                  <a:lnTo>
                    <a:pt x="3939" y="417"/>
                  </a:lnTo>
                  <a:lnTo>
                    <a:pt x="3929" y="425"/>
                  </a:lnTo>
                  <a:lnTo>
                    <a:pt x="3926" y="429"/>
                  </a:lnTo>
                  <a:lnTo>
                    <a:pt x="3924" y="435"/>
                  </a:lnTo>
                  <a:lnTo>
                    <a:pt x="3924" y="435"/>
                  </a:lnTo>
                  <a:lnTo>
                    <a:pt x="3926" y="444"/>
                  </a:lnTo>
                  <a:lnTo>
                    <a:pt x="3928" y="454"/>
                  </a:lnTo>
                  <a:lnTo>
                    <a:pt x="3929" y="462"/>
                  </a:lnTo>
                  <a:lnTo>
                    <a:pt x="3928" y="468"/>
                  </a:lnTo>
                  <a:lnTo>
                    <a:pt x="3928" y="468"/>
                  </a:lnTo>
                  <a:lnTo>
                    <a:pt x="3926" y="475"/>
                  </a:lnTo>
                  <a:lnTo>
                    <a:pt x="3924" y="483"/>
                  </a:lnTo>
                  <a:lnTo>
                    <a:pt x="3924" y="500"/>
                  </a:lnTo>
                  <a:lnTo>
                    <a:pt x="3924" y="500"/>
                  </a:lnTo>
                  <a:lnTo>
                    <a:pt x="3926" y="515"/>
                  </a:lnTo>
                  <a:lnTo>
                    <a:pt x="3926" y="528"/>
                  </a:lnTo>
                  <a:lnTo>
                    <a:pt x="3926" y="528"/>
                  </a:lnTo>
                  <a:lnTo>
                    <a:pt x="3923" y="541"/>
                  </a:lnTo>
                  <a:lnTo>
                    <a:pt x="3916" y="556"/>
                  </a:lnTo>
                  <a:lnTo>
                    <a:pt x="3916" y="556"/>
                  </a:lnTo>
                  <a:lnTo>
                    <a:pt x="3914" y="566"/>
                  </a:lnTo>
                  <a:lnTo>
                    <a:pt x="3913" y="576"/>
                  </a:lnTo>
                  <a:lnTo>
                    <a:pt x="3913" y="590"/>
                  </a:lnTo>
                  <a:lnTo>
                    <a:pt x="3913" y="590"/>
                  </a:lnTo>
                  <a:lnTo>
                    <a:pt x="3913" y="594"/>
                  </a:lnTo>
                  <a:lnTo>
                    <a:pt x="3909" y="599"/>
                  </a:lnTo>
                  <a:lnTo>
                    <a:pt x="3906" y="604"/>
                  </a:lnTo>
                  <a:lnTo>
                    <a:pt x="3906" y="609"/>
                  </a:lnTo>
                  <a:lnTo>
                    <a:pt x="3906" y="609"/>
                  </a:lnTo>
                  <a:lnTo>
                    <a:pt x="3906" y="627"/>
                  </a:lnTo>
                  <a:lnTo>
                    <a:pt x="3908" y="637"/>
                  </a:lnTo>
                  <a:lnTo>
                    <a:pt x="3906" y="642"/>
                  </a:lnTo>
                  <a:lnTo>
                    <a:pt x="3906" y="642"/>
                  </a:lnTo>
                  <a:lnTo>
                    <a:pt x="3895" y="642"/>
                  </a:lnTo>
                  <a:lnTo>
                    <a:pt x="3873" y="642"/>
                  </a:lnTo>
                  <a:lnTo>
                    <a:pt x="3850" y="640"/>
                  </a:lnTo>
                  <a:lnTo>
                    <a:pt x="3837" y="640"/>
                  </a:lnTo>
                  <a:lnTo>
                    <a:pt x="3837" y="640"/>
                  </a:lnTo>
                  <a:lnTo>
                    <a:pt x="3830" y="642"/>
                  </a:lnTo>
                  <a:lnTo>
                    <a:pt x="3825" y="643"/>
                  </a:lnTo>
                  <a:lnTo>
                    <a:pt x="3822" y="648"/>
                  </a:lnTo>
                  <a:lnTo>
                    <a:pt x="3820" y="653"/>
                  </a:lnTo>
                  <a:lnTo>
                    <a:pt x="3820" y="653"/>
                  </a:lnTo>
                  <a:lnTo>
                    <a:pt x="3820" y="660"/>
                  </a:lnTo>
                  <a:lnTo>
                    <a:pt x="3817" y="665"/>
                  </a:lnTo>
                  <a:lnTo>
                    <a:pt x="3810" y="673"/>
                  </a:lnTo>
                  <a:lnTo>
                    <a:pt x="3810" y="673"/>
                  </a:lnTo>
                  <a:lnTo>
                    <a:pt x="3807" y="675"/>
                  </a:lnTo>
                  <a:lnTo>
                    <a:pt x="3801" y="676"/>
                  </a:lnTo>
                  <a:lnTo>
                    <a:pt x="3796" y="679"/>
                  </a:lnTo>
                  <a:lnTo>
                    <a:pt x="3791" y="684"/>
                  </a:lnTo>
                  <a:lnTo>
                    <a:pt x="3791" y="684"/>
                  </a:lnTo>
                  <a:lnTo>
                    <a:pt x="3789" y="688"/>
                  </a:lnTo>
                  <a:lnTo>
                    <a:pt x="3789" y="693"/>
                  </a:lnTo>
                  <a:lnTo>
                    <a:pt x="3791" y="703"/>
                  </a:lnTo>
                  <a:lnTo>
                    <a:pt x="3794" y="712"/>
                  </a:lnTo>
                  <a:lnTo>
                    <a:pt x="3797" y="719"/>
                  </a:lnTo>
                  <a:lnTo>
                    <a:pt x="3797" y="719"/>
                  </a:lnTo>
                  <a:lnTo>
                    <a:pt x="3809" y="739"/>
                  </a:lnTo>
                  <a:lnTo>
                    <a:pt x="3819" y="762"/>
                  </a:lnTo>
                  <a:lnTo>
                    <a:pt x="3819" y="762"/>
                  </a:lnTo>
                  <a:lnTo>
                    <a:pt x="3822" y="778"/>
                  </a:lnTo>
                  <a:lnTo>
                    <a:pt x="3825" y="806"/>
                  </a:lnTo>
                  <a:lnTo>
                    <a:pt x="3825" y="834"/>
                  </a:lnTo>
                  <a:lnTo>
                    <a:pt x="3825" y="846"/>
                  </a:lnTo>
                  <a:lnTo>
                    <a:pt x="3824" y="851"/>
                  </a:lnTo>
                  <a:lnTo>
                    <a:pt x="3824" y="851"/>
                  </a:lnTo>
                  <a:lnTo>
                    <a:pt x="3819" y="858"/>
                  </a:lnTo>
                  <a:lnTo>
                    <a:pt x="3812" y="863"/>
                  </a:lnTo>
                  <a:lnTo>
                    <a:pt x="3801" y="869"/>
                  </a:lnTo>
                  <a:lnTo>
                    <a:pt x="3801" y="869"/>
                  </a:lnTo>
                  <a:lnTo>
                    <a:pt x="3794" y="877"/>
                  </a:lnTo>
                  <a:lnTo>
                    <a:pt x="3792" y="881"/>
                  </a:lnTo>
                  <a:lnTo>
                    <a:pt x="3792" y="882"/>
                  </a:lnTo>
                  <a:lnTo>
                    <a:pt x="3794" y="884"/>
                  </a:lnTo>
                  <a:lnTo>
                    <a:pt x="3794" y="884"/>
                  </a:lnTo>
                  <a:lnTo>
                    <a:pt x="3797" y="889"/>
                  </a:lnTo>
                  <a:lnTo>
                    <a:pt x="3799" y="892"/>
                  </a:lnTo>
                  <a:lnTo>
                    <a:pt x="3799" y="896"/>
                  </a:lnTo>
                  <a:lnTo>
                    <a:pt x="3799" y="900"/>
                  </a:lnTo>
                  <a:lnTo>
                    <a:pt x="3796" y="905"/>
                  </a:lnTo>
                  <a:lnTo>
                    <a:pt x="3794" y="907"/>
                  </a:lnTo>
                  <a:lnTo>
                    <a:pt x="3794" y="907"/>
                  </a:lnTo>
                  <a:lnTo>
                    <a:pt x="3791" y="905"/>
                  </a:lnTo>
                  <a:lnTo>
                    <a:pt x="3786" y="900"/>
                  </a:lnTo>
                  <a:lnTo>
                    <a:pt x="3779" y="892"/>
                  </a:lnTo>
                  <a:lnTo>
                    <a:pt x="3776" y="887"/>
                  </a:lnTo>
                  <a:lnTo>
                    <a:pt x="3774" y="881"/>
                  </a:lnTo>
                  <a:lnTo>
                    <a:pt x="3774" y="881"/>
                  </a:lnTo>
                  <a:lnTo>
                    <a:pt x="3771" y="876"/>
                  </a:lnTo>
                  <a:lnTo>
                    <a:pt x="3764" y="869"/>
                  </a:lnTo>
                  <a:lnTo>
                    <a:pt x="3758" y="864"/>
                  </a:lnTo>
                  <a:lnTo>
                    <a:pt x="3756" y="863"/>
                  </a:lnTo>
                  <a:lnTo>
                    <a:pt x="3754" y="864"/>
                  </a:lnTo>
                  <a:lnTo>
                    <a:pt x="3754" y="864"/>
                  </a:lnTo>
                  <a:lnTo>
                    <a:pt x="3748" y="877"/>
                  </a:lnTo>
                  <a:lnTo>
                    <a:pt x="3744" y="886"/>
                  </a:lnTo>
                  <a:lnTo>
                    <a:pt x="3744" y="894"/>
                  </a:lnTo>
                  <a:lnTo>
                    <a:pt x="3744" y="894"/>
                  </a:lnTo>
                  <a:lnTo>
                    <a:pt x="3744" y="907"/>
                  </a:lnTo>
                  <a:lnTo>
                    <a:pt x="3744" y="917"/>
                  </a:lnTo>
                  <a:lnTo>
                    <a:pt x="3744" y="917"/>
                  </a:lnTo>
                  <a:lnTo>
                    <a:pt x="3736" y="917"/>
                  </a:lnTo>
                  <a:lnTo>
                    <a:pt x="3728" y="919"/>
                  </a:lnTo>
                  <a:lnTo>
                    <a:pt x="3725" y="920"/>
                  </a:lnTo>
                  <a:lnTo>
                    <a:pt x="3721" y="922"/>
                  </a:lnTo>
                  <a:lnTo>
                    <a:pt x="3721" y="922"/>
                  </a:lnTo>
                  <a:lnTo>
                    <a:pt x="3718" y="927"/>
                  </a:lnTo>
                  <a:lnTo>
                    <a:pt x="3718" y="933"/>
                  </a:lnTo>
                  <a:lnTo>
                    <a:pt x="3716" y="940"/>
                  </a:lnTo>
                  <a:lnTo>
                    <a:pt x="3715" y="945"/>
                  </a:lnTo>
                  <a:lnTo>
                    <a:pt x="3715" y="945"/>
                  </a:lnTo>
                  <a:lnTo>
                    <a:pt x="3705" y="958"/>
                  </a:lnTo>
                  <a:lnTo>
                    <a:pt x="3698" y="963"/>
                  </a:lnTo>
                  <a:lnTo>
                    <a:pt x="3697" y="965"/>
                  </a:lnTo>
                  <a:lnTo>
                    <a:pt x="3693" y="966"/>
                  </a:lnTo>
                  <a:lnTo>
                    <a:pt x="3693" y="966"/>
                  </a:lnTo>
                  <a:lnTo>
                    <a:pt x="3674" y="965"/>
                  </a:lnTo>
                  <a:lnTo>
                    <a:pt x="3662" y="965"/>
                  </a:lnTo>
                  <a:lnTo>
                    <a:pt x="3657" y="966"/>
                  </a:lnTo>
                  <a:lnTo>
                    <a:pt x="3655" y="970"/>
                  </a:lnTo>
                  <a:lnTo>
                    <a:pt x="3655" y="970"/>
                  </a:lnTo>
                  <a:lnTo>
                    <a:pt x="3650" y="983"/>
                  </a:lnTo>
                  <a:lnTo>
                    <a:pt x="3650" y="988"/>
                  </a:lnTo>
                  <a:lnTo>
                    <a:pt x="3654" y="993"/>
                  </a:lnTo>
                  <a:lnTo>
                    <a:pt x="3654" y="993"/>
                  </a:lnTo>
                  <a:lnTo>
                    <a:pt x="3664" y="1004"/>
                  </a:lnTo>
                  <a:lnTo>
                    <a:pt x="3667" y="1011"/>
                  </a:lnTo>
                  <a:lnTo>
                    <a:pt x="3667" y="1014"/>
                  </a:lnTo>
                  <a:lnTo>
                    <a:pt x="3667" y="1014"/>
                  </a:lnTo>
                  <a:lnTo>
                    <a:pt x="3664" y="1019"/>
                  </a:lnTo>
                  <a:lnTo>
                    <a:pt x="3657" y="1024"/>
                  </a:lnTo>
                  <a:lnTo>
                    <a:pt x="3649" y="1027"/>
                  </a:lnTo>
                  <a:lnTo>
                    <a:pt x="3642" y="1029"/>
                  </a:lnTo>
                  <a:lnTo>
                    <a:pt x="3642" y="1029"/>
                  </a:lnTo>
                  <a:lnTo>
                    <a:pt x="3624" y="1031"/>
                  </a:lnTo>
                  <a:lnTo>
                    <a:pt x="3614" y="1029"/>
                  </a:lnTo>
                  <a:lnTo>
                    <a:pt x="3608" y="1029"/>
                  </a:lnTo>
                  <a:lnTo>
                    <a:pt x="3608" y="1029"/>
                  </a:lnTo>
                  <a:lnTo>
                    <a:pt x="3603" y="1024"/>
                  </a:lnTo>
                  <a:lnTo>
                    <a:pt x="3596" y="1016"/>
                  </a:lnTo>
                  <a:lnTo>
                    <a:pt x="3589" y="1011"/>
                  </a:lnTo>
                  <a:lnTo>
                    <a:pt x="3586" y="1009"/>
                  </a:lnTo>
                  <a:lnTo>
                    <a:pt x="3583" y="1009"/>
                  </a:lnTo>
                  <a:lnTo>
                    <a:pt x="3583" y="1009"/>
                  </a:lnTo>
                  <a:lnTo>
                    <a:pt x="3575" y="1011"/>
                  </a:lnTo>
                  <a:lnTo>
                    <a:pt x="3566" y="1014"/>
                  </a:lnTo>
                  <a:lnTo>
                    <a:pt x="3561" y="1019"/>
                  </a:lnTo>
                  <a:lnTo>
                    <a:pt x="3558" y="1022"/>
                  </a:lnTo>
                  <a:lnTo>
                    <a:pt x="3558" y="1027"/>
                  </a:lnTo>
                  <a:lnTo>
                    <a:pt x="3558" y="1027"/>
                  </a:lnTo>
                  <a:lnTo>
                    <a:pt x="3558" y="1036"/>
                  </a:lnTo>
                  <a:lnTo>
                    <a:pt x="3556" y="1044"/>
                  </a:lnTo>
                  <a:lnTo>
                    <a:pt x="3553" y="1052"/>
                  </a:lnTo>
                  <a:lnTo>
                    <a:pt x="3550" y="1059"/>
                  </a:lnTo>
                  <a:lnTo>
                    <a:pt x="3550" y="1059"/>
                  </a:lnTo>
                  <a:lnTo>
                    <a:pt x="3538" y="1077"/>
                  </a:lnTo>
                  <a:lnTo>
                    <a:pt x="3533" y="1085"/>
                  </a:lnTo>
                  <a:lnTo>
                    <a:pt x="3528" y="1090"/>
                  </a:lnTo>
                  <a:lnTo>
                    <a:pt x="3528" y="1090"/>
                  </a:lnTo>
                  <a:lnTo>
                    <a:pt x="3512" y="1100"/>
                  </a:lnTo>
                  <a:lnTo>
                    <a:pt x="3504" y="1107"/>
                  </a:lnTo>
                  <a:lnTo>
                    <a:pt x="3497" y="1113"/>
                  </a:lnTo>
                  <a:lnTo>
                    <a:pt x="3497" y="1113"/>
                  </a:lnTo>
                  <a:lnTo>
                    <a:pt x="3492" y="1118"/>
                  </a:lnTo>
                  <a:lnTo>
                    <a:pt x="3484" y="1125"/>
                  </a:lnTo>
                  <a:lnTo>
                    <a:pt x="3476" y="1131"/>
                  </a:lnTo>
                  <a:lnTo>
                    <a:pt x="3469" y="1138"/>
                  </a:lnTo>
                  <a:lnTo>
                    <a:pt x="3469" y="1138"/>
                  </a:lnTo>
                  <a:lnTo>
                    <a:pt x="3456" y="1154"/>
                  </a:lnTo>
                  <a:lnTo>
                    <a:pt x="3441" y="1173"/>
                  </a:lnTo>
                  <a:lnTo>
                    <a:pt x="3441" y="1173"/>
                  </a:lnTo>
                  <a:lnTo>
                    <a:pt x="3439" y="1176"/>
                  </a:lnTo>
                  <a:lnTo>
                    <a:pt x="3438" y="1181"/>
                  </a:lnTo>
                  <a:lnTo>
                    <a:pt x="3438" y="1187"/>
                  </a:lnTo>
                  <a:lnTo>
                    <a:pt x="3436" y="1194"/>
                  </a:lnTo>
                  <a:lnTo>
                    <a:pt x="3434" y="1196"/>
                  </a:lnTo>
                  <a:lnTo>
                    <a:pt x="3431" y="1197"/>
                  </a:lnTo>
                  <a:lnTo>
                    <a:pt x="3431" y="1197"/>
                  </a:lnTo>
                  <a:lnTo>
                    <a:pt x="3405" y="1201"/>
                  </a:lnTo>
                  <a:lnTo>
                    <a:pt x="3388" y="1204"/>
                  </a:lnTo>
                  <a:lnTo>
                    <a:pt x="3372" y="1210"/>
                  </a:lnTo>
                  <a:lnTo>
                    <a:pt x="3372" y="1210"/>
                  </a:lnTo>
                  <a:lnTo>
                    <a:pt x="3358" y="1219"/>
                  </a:lnTo>
                  <a:lnTo>
                    <a:pt x="3349" y="1225"/>
                  </a:lnTo>
                  <a:lnTo>
                    <a:pt x="3332" y="1240"/>
                  </a:lnTo>
                  <a:lnTo>
                    <a:pt x="3332" y="1240"/>
                  </a:lnTo>
                  <a:lnTo>
                    <a:pt x="3314" y="1258"/>
                  </a:lnTo>
                  <a:lnTo>
                    <a:pt x="3299" y="1275"/>
                  </a:lnTo>
                  <a:lnTo>
                    <a:pt x="3299" y="1275"/>
                  </a:lnTo>
                  <a:lnTo>
                    <a:pt x="3288" y="1286"/>
                  </a:lnTo>
                  <a:lnTo>
                    <a:pt x="3281" y="1293"/>
                  </a:lnTo>
                  <a:lnTo>
                    <a:pt x="3274" y="1296"/>
                  </a:lnTo>
                  <a:lnTo>
                    <a:pt x="3274" y="1296"/>
                  </a:lnTo>
                  <a:lnTo>
                    <a:pt x="3269" y="1296"/>
                  </a:lnTo>
                  <a:lnTo>
                    <a:pt x="3264" y="1295"/>
                  </a:lnTo>
                  <a:lnTo>
                    <a:pt x="3261" y="1291"/>
                  </a:lnTo>
                  <a:lnTo>
                    <a:pt x="3259" y="1288"/>
                  </a:lnTo>
                  <a:lnTo>
                    <a:pt x="3259" y="1288"/>
                  </a:lnTo>
                  <a:lnTo>
                    <a:pt x="3259" y="1278"/>
                  </a:lnTo>
                  <a:lnTo>
                    <a:pt x="3259" y="1273"/>
                  </a:lnTo>
                  <a:lnTo>
                    <a:pt x="3256" y="1270"/>
                  </a:lnTo>
                  <a:lnTo>
                    <a:pt x="3256" y="1270"/>
                  </a:lnTo>
                  <a:lnTo>
                    <a:pt x="3241" y="1265"/>
                  </a:lnTo>
                  <a:lnTo>
                    <a:pt x="3235" y="1262"/>
                  </a:lnTo>
                  <a:lnTo>
                    <a:pt x="3233" y="1260"/>
                  </a:lnTo>
                  <a:lnTo>
                    <a:pt x="3233" y="1257"/>
                  </a:lnTo>
                  <a:lnTo>
                    <a:pt x="3233" y="1257"/>
                  </a:lnTo>
                  <a:lnTo>
                    <a:pt x="3236" y="1250"/>
                  </a:lnTo>
                  <a:lnTo>
                    <a:pt x="3245" y="1240"/>
                  </a:lnTo>
                  <a:lnTo>
                    <a:pt x="3253" y="1229"/>
                  </a:lnTo>
                  <a:lnTo>
                    <a:pt x="3258" y="1220"/>
                  </a:lnTo>
                  <a:lnTo>
                    <a:pt x="3258" y="1220"/>
                  </a:lnTo>
                  <a:lnTo>
                    <a:pt x="3263" y="1210"/>
                  </a:lnTo>
                  <a:lnTo>
                    <a:pt x="3271" y="1199"/>
                  </a:lnTo>
                  <a:lnTo>
                    <a:pt x="3279" y="1186"/>
                  </a:lnTo>
                  <a:lnTo>
                    <a:pt x="3283" y="1179"/>
                  </a:lnTo>
                  <a:lnTo>
                    <a:pt x="3283" y="1174"/>
                  </a:lnTo>
                  <a:lnTo>
                    <a:pt x="3283" y="1174"/>
                  </a:lnTo>
                  <a:lnTo>
                    <a:pt x="3283" y="1164"/>
                  </a:lnTo>
                  <a:lnTo>
                    <a:pt x="3279" y="1151"/>
                  </a:lnTo>
                  <a:lnTo>
                    <a:pt x="3279" y="1151"/>
                  </a:lnTo>
                  <a:lnTo>
                    <a:pt x="3271" y="1131"/>
                  </a:lnTo>
                  <a:lnTo>
                    <a:pt x="3266" y="1123"/>
                  </a:lnTo>
                  <a:lnTo>
                    <a:pt x="3264" y="1120"/>
                  </a:lnTo>
                  <a:lnTo>
                    <a:pt x="3259" y="1118"/>
                  </a:lnTo>
                  <a:lnTo>
                    <a:pt x="3259" y="1118"/>
                  </a:lnTo>
                  <a:lnTo>
                    <a:pt x="3256" y="1118"/>
                  </a:lnTo>
                  <a:lnTo>
                    <a:pt x="3255" y="1120"/>
                  </a:lnTo>
                  <a:lnTo>
                    <a:pt x="3251" y="1123"/>
                  </a:lnTo>
                  <a:lnTo>
                    <a:pt x="3248" y="1128"/>
                  </a:lnTo>
                  <a:lnTo>
                    <a:pt x="3246" y="1130"/>
                  </a:lnTo>
                  <a:lnTo>
                    <a:pt x="3243" y="1131"/>
                  </a:lnTo>
                  <a:lnTo>
                    <a:pt x="3243" y="1131"/>
                  </a:lnTo>
                  <a:lnTo>
                    <a:pt x="3227" y="1131"/>
                  </a:lnTo>
                  <a:lnTo>
                    <a:pt x="3218" y="1131"/>
                  </a:lnTo>
                  <a:lnTo>
                    <a:pt x="3212" y="1135"/>
                  </a:lnTo>
                  <a:lnTo>
                    <a:pt x="3212" y="1135"/>
                  </a:lnTo>
                  <a:lnTo>
                    <a:pt x="3207" y="1141"/>
                  </a:lnTo>
                  <a:lnTo>
                    <a:pt x="3198" y="1154"/>
                  </a:lnTo>
                  <a:lnTo>
                    <a:pt x="3190" y="1171"/>
                  </a:lnTo>
                  <a:lnTo>
                    <a:pt x="3190" y="1171"/>
                  </a:lnTo>
                  <a:lnTo>
                    <a:pt x="3182" y="1181"/>
                  </a:lnTo>
                  <a:lnTo>
                    <a:pt x="3167" y="1197"/>
                  </a:lnTo>
                  <a:lnTo>
                    <a:pt x="3167" y="1197"/>
                  </a:lnTo>
                  <a:lnTo>
                    <a:pt x="3147" y="1214"/>
                  </a:lnTo>
                  <a:lnTo>
                    <a:pt x="3124" y="1230"/>
                  </a:lnTo>
                  <a:lnTo>
                    <a:pt x="3124" y="1230"/>
                  </a:lnTo>
                  <a:lnTo>
                    <a:pt x="3118" y="1237"/>
                  </a:lnTo>
                  <a:lnTo>
                    <a:pt x="3111" y="1243"/>
                  </a:lnTo>
                  <a:lnTo>
                    <a:pt x="3108" y="1252"/>
                  </a:lnTo>
                  <a:lnTo>
                    <a:pt x="3106" y="1258"/>
                  </a:lnTo>
                  <a:lnTo>
                    <a:pt x="3106" y="1258"/>
                  </a:lnTo>
                  <a:lnTo>
                    <a:pt x="3103" y="1275"/>
                  </a:lnTo>
                  <a:lnTo>
                    <a:pt x="3103" y="1283"/>
                  </a:lnTo>
                  <a:lnTo>
                    <a:pt x="3099" y="1290"/>
                  </a:lnTo>
                  <a:lnTo>
                    <a:pt x="3099" y="1290"/>
                  </a:lnTo>
                  <a:lnTo>
                    <a:pt x="3096" y="1295"/>
                  </a:lnTo>
                  <a:lnTo>
                    <a:pt x="3091" y="1298"/>
                  </a:lnTo>
                  <a:lnTo>
                    <a:pt x="3085" y="1301"/>
                  </a:lnTo>
                  <a:lnTo>
                    <a:pt x="3078" y="1303"/>
                  </a:lnTo>
                  <a:lnTo>
                    <a:pt x="3078" y="1303"/>
                  </a:lnTo>
                  <a:lnTo>
                    <a:pt x="3065" y="1300"/>
                  </a:lnTo>
                  <a:lnTo>
                    <a:pt x="3060" y="1300"/>
                  </a:lnTo>
                  <a:lnTo>
                    <a:pt x="3053" y="1303"/>
                  </a:lnTo>
                  <a:lnTo>
                    <a:pt x="3053" y="1303"/>
                  </a:lnTo>
                  <a:lnTo>
                    <a:pt x="3048" y="1308"/>
                  </a:lnTo>
                  <a:lnTo>
                    <a:pt x="3042" y="1313"/>
                  </a:lnTo>
                  <a:lnTo>
                    <a:pt x="3037" y="1316"/>
                  </a:lnTo>
                  <a:lnTo>
                    <a:pt x="3034" y="1318"/>
                  </a:lnTo>
                  <a:lnTo>
                    <a:pt x="3029" y="1316"/>
                  </a:lnTo>
                  <a:lnTo>
                    <a:pt x="3029" y="1316"/>
                  </a:lnTo>
                  <a:lnTo>
                    <a:pt x="3025" y="1314"/>
                  </a:lnTo>
                  <a:lnTo>
                    <a:pt x="3022" y="1311"/>
                  </a:lnTo>
                  <a:lnTo>
                    <a:pt x="3019" y="1304"/>
                  </a:lnTo>
                  <a:lnTo>
                    <a:pt x="3019" y="1301"/>
                  </a:lnTo>
                  <a:lnTo>
                    <a:pt x="3015" y="1298"/>
                  </a:lnTo>
                  <a:lnTo>
                    <a:pt x="3012" y="1296"/>
                  </a:lnTo>
                  <a:lnTo>
                    <a:pt x="3007" y="1296"/>
                  </a:lnTo>
                  <a:lnTo>
                    <a:pt x="3007" y="1296"/>
                  </a:lnTo>
                  <a:lnTo>
                    <a:pt x="3005" y="1296"/>
                  </a:lnTo>
                  <a:lnTo>
                    <a:pt x="3004" y="1298"/>
                  </a:lnTo>
                  <a:lnTo>
                    <a:pt x="3001" y="1304"/>
                  </a:lnTo>
                  <a:lnTo>
                    <a:pt x="2999" y="1313"/>
                  </a:lnTo>
                  <a:lnTo>
                    <a:pt x="2996" y="1319"/>
                  </a:lnTo>
                  <a:lnTo>
                    <a:pt x="2996" y="1319"/>
                  </a:lnTo>
                  <a:lnTo>
                    <a:pt x="2992" y="1324"/>
                  </a:lnTo>
                  <a:lnTo>
                    <a:pt x="2991" y="1333"/>
                  </a:lnTo>
                  <a:lnTo>
                    <a:pt x="2989" y="1349"/>
                  </a:lnTo>
                  <a:lnTo>
                    <a:pt x="2989" y="1349"/>
                  </a:lnTo>
                  <a:lnTo>
                    <a:pt x="2989" y="1362"/>
                  </a:lnTo>
                  <a:lnTo>
                    <a:pt x="2991" y="1369"/>
                  </a:lnTo>
                  <a:lnTo>
                    <a:pt x="2994" y="1375"/>
                  </a:lnTo>
                  <a:lnTo>
                    <a:pt x="2994" y="1375"/>
                  </a:lnTo>
                  <a:lnTo>
                    <a:pt x="2997" y="1380"/>
                  </a:lnTo>
                  <a:lnTo>
                    <a:pt x="3001" y="1387"/>
                  </a:lnTo>
                  <a:lnTo>
                    <a:pt x="3005" y="1395"/>
                  </a:lnTo>
                  <a:lnTo>
                    <a:pt x="3005" y="1395"/>
                  </a:lnTo>
                  <a:lnTo>
                    <a:pt x="3009" y="1399"/>
                  </a:lnTo>
                  <a:lnTo>
                    <a:pt x="3014" y="1402"/>
                  </a:lnTo>
                  <a:lnTo>
                    <a:pt x="3025" y="1408"/>
                  </a:lnTo>
                  <a:lnTo>
                    <a:pt x="3025" y="1408"/>
                  </a:lnTo>
                  <a:lnTo>
                    <a:pt x="3035" y="1415"/>
                  </a:lnTo>
                  <a:lnTo>
                    <a:pt x="3040" y="1417"/>
                  </a:lnTo>
                  <a:lnTo>
                    <a:pt x="3045" y="1417"/>
                  </a:lnTo>
                  <a:lnTo>
                    <a:pt x="3045" y="1417"/>
                  </a:lnTo>
                  <a:lnTo>
                    <a:pt x="3055" y="1412"/>
                  </a:lnTo>
                  <a:lnTo>
                    <a:pt x="3062" y="1407"/>
                  </a:lnTo>
                  <a:lnTo>
                    <a:pt x="3062" y="1407"/>
                  </a:lnTo>
                  <a:lnTo>
                    <a:pt x="3063" y="1405"/>
                  </a:lnTo>
                  <a:lnTo>
                    <a:pt x="3068" y="1400"/>
                  </a:lnTo>
                  <a:lnTo>
                    <a:pt x="3070" y="1399"/>
                  </a:lnTo>
                  <a:lnTo>
                    <a:pt x="3073" y="1397"/>
                  </a:lnTo>
                  <a:lnTo>
                    <a:pt x="3076" y="1397"/>
                  </a:lnTo>
                  <a:lnTo>
                    <a:pt x="3081" y="1400"/>
                  </a:lnTo>
                  <a:lnTo>
                    <a:pt x="3081" y="1400"/>
                  </a:lnTo>
                  <a:lnTo>
                    <a:pt x="3086" y="1407"/>
                  </a:lnTo>
                  <a:lnTo>
                    <a:pt x="3088" y="1413"/>
                  </a:lnTo>
                  <a:lnTo>
                    <a:pt x="3090" y="1420"/>
                  </a:lnTo>
                  <a:lnTo>
                    <a:pt x="3091" y="1428"/>
                  </a:lnTo>
                  <a:lnTo>
                    <a:pt x="3091" y="1428"/>
                  </a:lnTo>
                  <a:lnTo>
                    <a:pt x="3095" y="1435"/>
                  </a:lnTo>
                  <a:lnTo>
                    <a:pt x="3095" y="1440"/>
                  </a:lnTo>
                  <a:lnTo>
                    <a:pt x="3093" y="1445"/>
                  </a:lnTo>
                  <a:lnTo>
                    <a:pt x="3091" y="1448"/>
                  </a:lnTo>
                  <a:lnTo>
                    <a:pt x="3091" y="1448"/>
                  </a:lnTo>
                  <a:lnTo>
                    <a:pt x="3088" y="1455"/>
                  </a:lnTo>
                  <a:lnTo>
                    <a:pt x="3088" y="1461"/>
                  </a:lnTo>
                  <a:lnTo>
                    <a:pt x="3088" y="1468"/>
                  </a:lnTo>
                  <a:lnTo>
                    <a:pt x="3090" y="1474"/>
                  </a:lnTo>
                  <a:lnTo>
                    <a:pt x="3090" y="1474"/>
                  </a:lnTo>
                  <a:lnTo>
                    <a:pt x="3095" y="1479"/>
                  </a:lnTo>
                  <a:lnTo>
                    <a:pt x="3103" y="1484"/>
                  </a:lnTo>
                  <a:lnTo>
                    <a:pt x="3113" y="1488"/>
                  </a:lnTo>
                  <a:lnTo>
                    <a:pt x="3121" y="1488"/>
                  </a:lnTo>
                  <a:lnTo>
                    <a:pt x="3121" y="1488"/>
                  </a:lnTo>
                  <a:lnTo>
                    <a:pt x="3128" y="1488"/>
                  </a:lnTo>
                  <a:lnTo>
                    <a:pt x="3132" y="1486"/>
                  </a:lnTo>
                  <a:lnTo>
                    <a:pt x="3141" y="1481"/>
                  </a:lnTo>
                  <a:lnTo>
                    <a:pt x="3141" y="1481"/>
                  </a:lnTo>
                  <a:lnTo>
                    <a:pt x="3147" y="1476"/>
                  </a:lnTo>
                  <a:lnTo>
                    <a:pt x="3152" y="1468"/>
                  </a:lnTo>
                  <a:lnTo>
                    <a:pt x="3159" y="1456"/>
                  </a:lnTo>
                  <a:lnTo>
                    <a:pt x="3159" y="1456"/>
                  </a:lnTo>
                  <a:lnTo>
                    <a:pt x="3162" y="1451"/>
                  </a:lnTo>
                  <a:lnTo>
                    <a:pt x="3174" y="1441"/>
                  </a:lnTo>
                  <a:lnTo>
                    <a:pt x="3174" y="1441"/>
                  </a:lnTo>
                  <a:lnTo>
                    <a:pt x="3187" y="1431"/>
                  </a:lnTo>
                  <a:lnTo>
                    <a:pt x="3194" y="1423"/>
                  </a:lnTo>
                  <a:lnTo>
                    <a:pt x="3194" y="1423"/>
                  </a:lnTo>
                  <a:lnTo>
                    <a:pt x="3197" y="1418"/>
                  </a:lnTo>
                  <a:lnTo>
                    <a:pt x="3198" y="1413"/>
                  </a:lnTo>
                  <a:lnTo>
                    <a:pt x="3202" y="1408"/>
                  </a:lnTo>
                  <a:lnTo>
                    <a:pt x="3203" y="1407"/>
                  </a:lnTo>
                  <a:lnTo>
                    <a:pt x="3207" y="1407"/>
                  </a:lnTo>
                  <a:lnTo>
                    <a:pt x="3207" y="1407"/>
                  </a:lnTo>
                  <a:lnTo>
                    <a:pt x="3215" y="1408"/>
                  </a:lnTo>
                  <a:lnTo>
                    <a:pt x="3222" y="1412"/>
                  </a:lnTo>
                  <a:lnTo>
                    <a:pt x="3233" y="1420"/>
                  </a:lnTo>
                  <a:lnTo>
                    <a:pt x="3233" y="1420"/>
                  </a:lnTo>
                  <a:lnTo>
                    <a:pt x="3248" y="1428"/>
                  </a:lnTo>
                  <a:lnTo>
                    <a:pt x="3259" y="1435"/>
                  </a:lnTo>
                  <a:lnTo>
                    <a:pt x="3259" y="1435"/>
                  </a:lnTo>
                  <a:lnTo>
                    <a:pt x="3273" y="1438"/>
                  </a:lnTo>
                  <a:lnTo>
                    <a:pt x="3283" y="1440"/>
                  </a:lnTo>
                  <a:lnTo>
                    <a:pt x="3292" y="1438"/>
                  </a:lnTo>
                  <a:lnTo>
                    <a:pt x="3292" y="1438"/>
                  </a:lnTo>
                  <a:lnTo>
                    <a:pt x="3294" y="1436"/>
                  </a:lnTo>
                  <a:lnTo>
                    <a:pt x="3297" y="1433"/>
                  </a:lnTo>
                  <a:lnTo>
                    <a:pt x="3301" y="1427"/>
                  </a:lnTo>
                  <a:lnTo>
                    <a:pt x="3304" y="1422"/>
                  </a:lnTo>
                  <a:lnTo>
                    <a:pt x="3307" y="1422"/>
                  </a:lnTo>
                  <a:lnTo>
                    <a:pt x="3311" y="1422"/>
                  </a:lnTo>
                  <a:lnTo>
                    <a:pt x="3311" y="1422"/>
                  </a:lnTo>
                  <a:lnTo>
                    <a:pt x="3314" y="1425"/>
                  </a:lnTo>
                  <a:lnTo>
                    <a:pt x="3316" y="1427"/>
                  </a:lnTo>
                  <a:lnTo>
                    <a:pt x="3317" y="1431"/>
                  </a:lnTo>
                  <a:lnTo>
                    <a:pt x="3319" y="1433"/>
                  </a:lnTo>
                  <a:lnTo>
                    <a:pt x="3321" y="1435"/>
                  </a:lnTo>
                  <a:lnTo>
                    <a:pt x="3324" y="1436"/>
                  </a:lnTo>
                  <a:lnTo>
                    <a:pt x="3329" y="1436"/>
                  </a:lnTo>
                  <a:lnTo>
                    <a:pt x="3329" y="1436"/>
                  </a:lnTo>
                  <a:lnTo>
                    <a:pt x="3339" y="1435"/>
                  </a:lnTo>
                  <a:lnTo>
                    <a:pt x="3345" y="1433"/>
                  </a:lnTo>
                  <a:lnTo>
                    <a:pt x="3349" y="1433"/>
                  </a:lnTo>
                  <a:lnTo>
                    <a:pt x="3349" y="1438"/>
                  </a:lnTo>
                  <a:lnTo>
                    <a:pt x="3349" y="1438"/>
                  </a:lnTo>
                  <a:lnTo>
                    <a:pt x="3349" y="1460"/>
                  </a:lnTo>
                  <a:lnTo>
                    <a:pt x="3347" y="1469"/>
                  </a:lnTo>
                  <a:lnTo>
                    <a:pt x="3344" y="1478"/>
                  </a:lnTo>
                  <a:lnTo>
                    <a:pt x="3344" y="1478"/>
                  </a:lnTo>
                  <a:lnTo>
                    <a:pt x="3339" y="1481"/>
                  </a:lnTo>
                  <a:lnTo>
                    <a:pt x="3334" y="1481"/>
                  </a:lnTo>
                  <a:lnTo>
                    <a:pt x="3329" y="1481"/>
                  </a:lnTo>
                  <a:lnTo>
                    <a:pt x="3325" y="1479"/>
                  </a:lnTo>
                  <a:lnTo>
                    <a:pt x="3325" y="1479"/>
                  </a:lnTo>
                  <a:lnTo>
                    <a:pt x="3321" y="1478"/>
                  </a:lnTo>
                  <a:lnTo>
                    <a:pt x="3316" y="1476"/>
                  </a:lnTo>
                  <a:lnTo>
                    <a:pt x="3309" y="1476"/>
                  </a:lnTo>
                  <a:lnTo>
                    <a:pt x="3306" y="1476"/>
                  </a:lnTo>
                  <a:lnTo>
                    <a:pt x="3304" y="1478"/>
                  </a:lnTo>
                  <a:lnTo>
                    <a:pt x="3304" y="1478"/>
                  </a:lnTo>
                  <a:lnTo>
                    <a:pt x="3299" y="1481"/>
                  </a:lnTo>
                  <a:lnTo>
                    <a:pt x="3294" y="1484"/>
                  </a:lnTo>
                  <a:lnTo>
                    <a:pt x="3289" y="1486"/>
                  </a:lnTo>
                  <a:lnTo>
                    <a:pt x="3286" y="1488"/>
                  </a:lnTo>
                  <a:lnTo>
                    <a:pt x="3286" y="1488"/>
                  </a:lnTo>
                  <a:lnTo>
                    <a:pt x="3276" y="1496"/>
                  </a:lnTo>
                  <a:lnTo>
                    <a:pt x="3271" y="1499"/>
                  </a:lnTo>
                  <a:lnTo>
                    <a:pt x="3263" y="1501"/>
                  </a:lnTo>
                  <a:lnTo>
                    <a:pt x="3263" y="1501"/>
                  </a:lnTo>
                  <a:lnTo>
                    <a:pt x="3250" y="1506"/>
                  </a:lnTo>
                  <a:lnTo>
                    <a:pt x="3243" y="1509"/>
                  </a:lnTo>
                  <a:lnTo>
                    <a:pt x="3240" y="1514"/>
                  </a:lnTo>
                  <a:lnTo>
                    <a:pt x="3240" y="1514"/>
                  </a:lnTo>
                  <a:lnTo>
                    <a:pt x="3233" y="1521"/>
                  </a:lnTo>
                  <a:lnTo>
                    <a:pt x="3230" y="1529"/>
                  </a:lnTo>
                  <a:lnTo>
                    <a:pt x="3230" y="1529"/>
                  </a:lnTo>
                  <a:lnTo>
                    <a:pt x="3218" y="1557"/>
                  </a:lnTo>
                  <a:lnTo>
                    <a:pt x="3218" y="1557"/>
                  </a:lnTo>
                  <a:lnTo>
                    <a:pt x="3213" y="1565"/>
                  </a:lnTo>
                  <a:lnTo>
                    <a:pt x="3210" y="1568"/>
                  </a:lnTo>
                  <a:lnTo>
                    <a:pt x="3208" y="1568"/>
                  </a:lnTo>
                  <a:lnTo>
                    <a:pt x="3207" y="1567"/>
                  </a:lnTo>
                  <a:lnTo>
                    <a:pt x="3207" y="1567"/>
                  </a:lnTo>
                  <a:lnTo>
                    <a:pt x="3202" y="1555"/>
                  </a:lnTo>
                  <a:lnTo>
                    <a:pt x="3198" y="1550"/>
                  </a:lnTo>
                  <a:lnTo>
                    <a:pt x="3197" y="1550"/>
                  </a:lnTo>
                  <a:lnTo>
                    <a:pt x="3197" y="1550"/>
                  </a:lnTo>
                  <a:lnTo>
                    <a:pt x="3192" y="1550"/>
                  </a:lnTo>
                  <a:lnTo>
                    <a:pt x="3187" y="1554"/>
                  </a:lnTo>
                  <a:lnTo>
                    <a:pt x="3184" y="1557"/>
                  </a:lnTo>
                  <a:lnTo>
                    <a:pt x="3184" y="1560"/>
                  </a:lnTo>
                  <a:lnTo>
                    <a:pt x="3184" y="1563"/>
                  </a:lnTo>
                  <a:lnTo>
                    <a:pt x="3184" y="1563"/>
                  </a:lnTo>
                  <a:lnTo>
                    <a:pt x="3189" y="1568"/>
                  </a:lnTo>
                  <a:lnTo>
                    <a:pt x="3194" y="1570"/>
                  </a:lnTo>
                  <a:lnTo>
                    <a:pt x="3197" y="1572"/>
                  </a:lnTo>
                  <a:lnTo>
                    <a:pt x="3198" y="1573"/>
                  </a:lnTo>
                  <a:lnTo>
                    <a:pt x="3198" y="1573"/>
                  </a:lnTo>
                  <a:lnTo>
                    <a:pt x="3195" y="1578"/>
                  </a:lnTo>
                  <a:lnTo>
                    <a:pt x="3187" y="1588"/>
                  </a:lnTo>
                  <a:lnTo>
                    <a:pt x="3187" y="1588"/>
                  </a:lnTo>
                  <a:lnTo>
                    <a:pt x="3164" y="1613"/>
                  </a:lnTo>
                  <a:lnTo>
                    <a:pt x="3164" y="1613"/>
                  </a:lnTo>
                  <a:lnTo>
                    <a:pt x="3154" y="1623"/>
                  </a:lnTo>
                  <a:lnTo>
                    <a:pt x="3149" y="1628"/>
                  </a:lnTo>
                  <a:lnTo>
                    <a:pt x="3146" y="1633"/>
                  </a:lnTo>
                  <a:lnTo>
                    <a:pt x="3146" y="1633"/>
                  </a:lnTo>
                  <a:lnTo>
                    <a:pt x="3141" y="1644"/>
                  </a:lnTo>
                  <a:lnTo>
                    <a:pt x="3136" y="1652"/>
                  </a:lnTo>
                  <a:lnTo>
                    <a:pt x="3136" y="1652"/>
                  </a:lnTo>
                  <a:lnTo>
                    <a:pt x="3132" y="1656"/>
                  </a:lnTo>
                  <a:lnTo>
                    <a:pt x="3129" y="1659"/>
                  </a:lnTo>
                  <a:lnTo>
                    <a:pt x="3126" y="1662"/>
                  </a:lnTo>
                  <a:lnTo>
                    <a:pt x="3126" y="1667"/>
                  </a:lnTo>
                  <a:lnTo>
                    <a:pt x="3126" y="1667"/>
                  </a:lnTo>
                  <a:lnTo>
                    <a:pt x="3126" y="1674"/>
                  </a:lnTo>
                  <a:lnTo>
                    <a:pt x="3126" y="1679"/>
                  </a:lnTo>
                  <a:lnTo>
                    <a:pt x="3128" y="1682"/>
                  </a:lnTo>
                  <a:lnTo>
                    <a:pt x="3134" y="1687"/>
                  </a:lnTo>
                  <a:lnTo>
                    <a:pt x="3134" y="1687"/>
                  </a:lnTo>
                  <a:lnTo>
                    <a:pt x="3161" y="1704"/>
                  </a:lnTo>
                  <a:lnTo>
                    <a:pt x="3177" y="1713"/>
                  </a:lnTo>
                  <a:lnTo>
                    <a:pt x="3185" y="1717"/>
                  </a:lnTo>
                  <a:lnTo>
                    <a:pt x="3194" y="1718"/>
                  </a:lnTo>
                  <a:lnTo>
                    <a:pt x="3194" y="1718"/>
                  </a:lnTo>
                  <a:lnTo>
                    <a:pt x="3207" y="1720"/>
                  </a:lnTo>
                  <a:lnTo>
                    <a:pt x="3217" y="1725"/>
                  </a:lnTo>
                  <a:lnTo>
                    <a:pt x="3225" y="1732"/>
                  </a:lnTo>
                  <a:lnTo>
                    <a:pt x="3228" y="1737"/>
                  </a:lnTo>
                  <a:lnTo>
                    <a:pt x="3230" y="1742"/>
                  </a:lnTo>
                  <a:lnTo>
                    <a:pt x="3230" y="1742"/>
                  </a:lnTo>
                  <a:lnTo>
                    <a:pt x="3246" y="1784"/>
                  </a:lnTo>
                  <a:lnTo>
                    <a:pt x="3246" y="1784"/>
                  </a:lnTo>
                  <a:lnTo>
                    <a:pt x="3253" y="1801"/>
                  </a:lnTo>
                  <a:lnTo>
                    <a:pt x="3256" y="1807"/>
                  </a:lnTo>
                  <a:lnTo>
                    <a:pt x="3259" y="1812"/>
                  </a:lnTo>
                  <a:lnTo>
                    <a:pt x="3259" y="1812"/>
                  </a:lnTo>
                  <a:lnTo>
                    <a:pt x="3263" y="1816"/>
                  </a:lnTo>
                  <a:lnTo>
                    <a:pt x="3266" y="1822"/>
                  </a:lnTo>
                  <a:lnTo>
                    <a:pt x="3269" y="1836"/>
                  </a:lnTo>
                  <a:lnTo>
                    <a:pt x="3269" y="1836"/>
                  </a:lnTo>
                  <a:lnTo>
                    <a:pt x="3276" y="1855"/>
                  </a:lnTo>
                  <a:lnTo>
                    <a:pt x="3281" y="1867"/>
                  </a:lnTo>
                  <a:lnTo>
                    <a:pt x="3283" y="1870"/>
                  </a:lnTo>
                  <a:lnTo>
                    <a:pt x="3284" y="1870"/>
                  </a:lnTo>
                  <a:lnTo>
                    <a:pt x="3284" y="1870"/>
                  </a:lnTo>
                  <a:lnTo>
                    <a:pt x="3299" y="1875"/>
                  </a:lnTo>
                  <a:lnTo>
                    <a:pt x="3309" y="1878"/>
                  </a:lnTo>
                  <a:lnTo>
                    <a:pt x="3314" y="1883"/>
                  </a:lnTo>
                  <a:lnTo>
                    <a:pt x="3314" y="1883"/>
                  </a:lnTo>
                  <a:lnTo>
                    <a:pt x="3325" y="1897"/>
                  </a:lnTo>
                  <a:lnTo>
                    <a:pt x="3332" y="1905"/>
                  </a:lnTo>
                  <a:lnTo>
                    <a:pt x="3339" y="1908"/>
                  </a:lnTo>
                  <a:lnTo>
                    <a:pt x="3339" y="1908"/>
                  </a:lnTo>
                  <a:lnTo>
                    <a:pt x="3347" y="1913"/>
                  </a:lnTo>
                  <a:lnTo>
                    <a:pt x="3354" y="1921"/>
                  </a:lnTo>
                  <a:lnTo>
                    <a:pt x="3360" y="1931"/>
                  </a:lnTo>
                  <a:lnTo>
                    <a:pt x="3363" y="1934"/>
                  </a:lnTo>
                  <a:lnTo>
                    <a:pt x="3363" y="1939"/>
                  </a:lnTo>
                  <a:lnTo>
                    <a:pt x="3363" y="1939"/>
                  </a:lnTo>
                  <a:lnTo>
                    <a:pt x="3363" y="1959"/>
                  </a:lnTo>
                  <a:lnTo>
                    <a:pt x="3363" y="1959"/>
                  </a:lnTo>
                  <a:lnTo>
                    <a:pt x="3367" y="1972"/>
                  </a:lnTo>
                  <a:lnTo>
                    <a:pt x="3368" y="1982"/>
                  </a:lnTo>
                  <a:lnTo>
                    <a:pt x="3368" y="1982"/>
                  </a:lnTo>
                  <a:lnTo>
                    <a:pt x="3372" y="1991"/>
                  </a:lnTo>
                  <a:lnTo>
                    <a:pt x="3372" y="1999"/>
                  </a:lnTo>
                  <a:lnTo>
                    <a:pt x="3370" y="2002"/>
                  </a:lnTo>
                  <a:lnTo>
                    <a:pt x="3368" y="2004"/>
                  </a:lnTo>
                  <a:lnTo>
                    <a:pt x="3368" y="2004"/>
                  </a:lnTo>
                  <a:lnTo>
                    <a:pt x="3367" y="2005"/>
                  </a:lnTo>
                  <a:lnTo>
                    <a:pt x="3367" y="2009"/>
                  </a:lnTo>
                  <a:lnTo>
                    <a:pt x="3367" y="2014"/>
                  </a:lnTo>
                  <a:lnTo>
                    <a:pt x="3367" y="2019"/>
                  </a:lnTo>
                  <a:lnTo>
                    <a:pt x="3367" y="2020"/>
                  </a:lnTo>
                  <a:lnTo>
                    <a:pt x="3363" y="2022"/>
                  </a:lnTo>
                  <a:lnTo>
                    <a:pt x="3363" y="2022"/>
                  </a:lnTo>
                  <a:lnTo>
                    <a:pt x="3357" y="2024"/>
                  </a:lnTo>
                  <a:lnTo>
                    <a:pt x="3350" y="2022"/>
                  </a:lnTo>
                  <a:lnTo>
                    <a:pt x="3344" y="2022"/>
                  </a:lnTo>
                  <a:lnTo>
                    <a:pt x="3337" y="2022"/>
                  </a:lnTo>
                  <a:lnTo>
                    <a:pt x="3337" y="2022"/>
                  </a:lnTo>
                  <a:lnTo>
                    <a:pt x="3330" y="2025"/>
                  </a:lnTo>
                  <a:lnTo>
                    <a:pt x="3325" y="2030"/>
                  </a:lnTo>
                  <a:lnTo>
                    <a:pt x="3321" y="2035"/>
                  </a:lnTo>
                  <a:lnTo>
                    <a:pt x="3319" y="2038"/>
                  </a:lnTo>
                  <a:lnTo>
                    <a:pt x="3319" y="2038"/>
                  </a:lnTo>
                  <a:lnTo>
                    <a:pt x="3319" y="2045"/>
                  </a:lnTo>
                  <a:lnTo>
                    <a:pt x="3317" y="2048"/>
                  </a:lnTo>
                  <a:lnTo>
                    <a:pt x="3311" y="2050"/>
                  </a:lnTo>
                  <a:lnTo>
                    <a:pt x="3311" y="2050"/>
                  </a:lnTo>
                  <a:lnTo>
                    <a:pt x="3304" y="2052"/>
                  </a:lnTo>
                  <a:lnTo>
                    <a:pt x="3299" y="2057"/>
                  </a:lnTo>
                  <a:lnTo>
                    <a:pt x="3294" y="2060"/>
                  </a:lnTo>
                  <a:lnTo>
                    <a:pt x="3289" y="2063"/>
                  </a:lnTo>
                  <a:lnTo>
                    <a:pt x="3289" y="2063"/>
                  </a:lnTo>
                  <a:lnTo>
                    <a:pt x="3286" y="2066"/>
                  </a:lnTo>
                  <a:lnTo>
                    <a:pt x="3283" y="2070"/>
                  </a:lnTo>
                  <a:lnTo>
                    <a:pt x="3283" y="2073"/>
                  </a:lnTo>
                  <a:lnTo>
                    <a:pt x="3286" y="2078"/>
                  </a:lnTo>
                  <a:lnTo>
                    <a:pt x="3286" y="2078"/>
                  </a:lnTo>
                  <a:lnTo>
                    <a:pt x="3292" y="2083"/>
                  </a:lnTo>
                  <a:lnTo>
                    <a:pt x="3297" y="2086"/>
                  </a:lnTo>
                  <a:lnTo>
                    <a:pt x="3304" y="2088"/>
                  </a:lnTo>
                  <a:lnTo>
                    <a:pt x="3306" y="2088"/>
                  </a:lnTo>
                  <a:lnTo>
                    <a:pt x="3306" y="2086"/>
                  </a:lnTo>
                  <a:lnTo>
                    <a:pt x="3306" y="2086"/>
                  </a:lnTo>
                  <a:lnTo>
                    <a:pt x="3307" y="2081"/>
                  </a:lnTo>
                  <a:lnTo>
                    <a:pt x="3309" y="2075"/>
                  </a:lnTo>
                  <a:lnTo>
                    <a:pt x="3311" y="2073"/>
                  </a:lnTo>
                  <a:lnTo>
                    <a:pt x="3314" y="2071"/>
                  </a:lnTo>
                  <a:lnTo>
                    <a:pt x="3317" y="2071"/>
                  </a:lnTo>
                  <a:lnTo>
                    <a:pt x="3322" y="2071"/>
                  </a:lnTo>
                  <a:lnTo>
                    <a:pt x="3322" y="2071"/>
                  </a:lnTo>
                  <a:lnTo>
                    <a:pt x="3332" y="2075"/>
                  </a:lnTo>
                  <a:lnTo>
                    <a:pt x="3342" y="2076"/>
                  </a:lnTo>
                  <a:lnTo>
                    <a:pt x="3350" y="2076"/>
                  </a:lnTo>
                  <a:lnTo>
                    <a:pt x="3354" y="2078"/>
                  </a:lnTo>
                  <a:lnTo>
                    <a:pt x="3355" y="2080"/>
                  </a:lnTo>
                  <a:lnTo>
                    <a:pt x="3355" y="2080"/>
                  </a:lnTo>
                  <a:lnTo>
                    <a:pt x="3360" y="2085"/>
                  </a:lnTo>
                  <a:lnTo>
                    <a:pt x="3365" y="2088"/>
                  </a:lnTo>
                  <a:lnTo>
                    <a:pt x="3372" y="2090"/>
                  </a:lnTo>
                  <a:lnTo>
                    <a:pt x="3375" y="2090"/>
                  </a:lnTo>
                  <a:lnTo>
                    <a:pt x="3378" y="2088"/>
                  </a:lnTo>
                  <a:lnTo>
                    <a:pt x="3378" y="2088"/>
                  </a:lnTo>
                  <a:lnTo>
                    <a:pt x="3382" y="2083"/>
                  </a:lnTo>
                  <a:lnTo>
                    <a:pt x="3382" y="2078"/>
                  </a:lnTo>
                  <a:lnTo>
                    <a:pt x="3383" y="2073"/>
                  </a:lnTo>
                  <a:lnTo>
                    <a:pt x="3388" y="2068"/>
                  </a:lnTo>
                  <a:lnTo>
                    <a:pt x="3388" y="2068"/>
                  </a:lnTo>
                  <a:lnTo>
                    <a:pt x="3393" y="2068"/>
                  </a:lnTo>
                  <a:lnTo>
                    <a:pt x="3396" y="2068"/>
                  </a:lnTo>
                  <a:lnTo>
                    <a:pt x="3401" y="2071"/>
                  </a:lnTo>
                  <a:lnTo>
                    <a:pt x="3405" y="2078"/>
                  </a:lnTo>
                  <a:lnTo>
                    <a:pt x="3406" y="2081"/>
                  </a:lnTo>
                  <a:lnTo>
                    <a:pt x="3406" y="2081"/>
                  </a:lnTo>
                  <a:lnTo>
                    <a:pt x="3406" y="2093"/>
                  </a:lnTo>
                  <a:lnTo>
                    <a:pt x="3405" y="2099"/>
                  </a:lnTo>
                  <a:lnTo>
                    <a:pt x="3403" y="2103"/>
                  </a:lnTo>
                  <a:lnTo>
                    <a:pt x="3401" y="2104"/>
                  </a:lnTo>
                  <a:lnTo>
                    <a:pt x="3401" y="2104"/>
                  </a:lnTo>
                  <a:lnTo>
                    <a:pt x="3395" y="2109"/>
                  </a:lnTo>
                  <a:lnTo>
                    <a:pt x="3391" y="2114"/>
                  </a:lnTo>
                  <a:lnTo>
                    <a:pt x="3383" y="2124"/>
                  </a:lnTo>
                  <a:lnTo>
                    <a:pt x="3383" y="2124"/>
                  </a:lnTo>
                  <a:lnTo>
                    <a:pt x="3380" y="2131"/>
                  </a:lnTo>
                  <a:lnTo>
                    <a:pt x="3378" y="2137"/>
                  </a:lnTo>
                  <a:lnTo>
                    <a:pt x="3378" y="2151"/>
                  </a:lnTo>
                  <a:lnTo>
                    <a:pt x="3378" y="2151"/>
                  </a:lnTo>
                  <a:lnTo>
                    <a:pt x="3382" y="2164"/>
                  </a:lnTo>
                  <a:lnTo>
                    <a:pt x="3382" y="2170"/>
                  </a:lnTo>
                  <a:lnTo>
                    <a:pt x="3380" y="2175"/>
                  </a:lnTo>
                  <a:lnTo>
                    <a:pt x="3380" y="2175"/>
                  </a:lnTo>
                  <a:lnTo>
                    <a:pt x="3377" y="2179"/>
                  </a:lnTo>
                  <a:lnTo>
                    <a:pt x="3372" y="2185"/>
                  </a:lnTo>
                  <a:lnTo>
                    <a:pt x="3368" y="2192"/>
                  </a:lnTo>
                  <a:lnTo>
                    <a:pt x="3368" y="2200"/>
                  </a:lnTo>
                  <a:lnTo>
                    <a:pt x="3368" y="2200"/>
                  </a:lnTo>
                  <a:lnTo>
                    <a:pt x="3372" y="2223"/>
                  </a:lnTo>
                  <a:lnTo>
                    <a:pt x="3372" y="2223"/>
                  </a:lnTo>
                  <a:lnTo>
                    <a:pt x="3370" y="2230"/>
                  </a:lnTo>
                  <a:lnTo>
                    <a:pt x="3365" y="2240"/>
                  </a:lnTo>
                  <a:lnTo>
                    <a:pt x="3358" y="2249"/>
                  </a:lnTo>
                  <a:lnTo>
                    <a:pt x="3355" y="2254"/>
                  </a:lnTo>
                  <a:lnTo>
                    <a:pt x="3355" y="2254"/>
                  </a:lnTo>
                  <a:lnTo>
                    <a:pt x="3349" y="2254"/>
                  </a:lnTo>
                  <a:lnTo>
                    <a:pt x="3342" y="2254"/>
                  </a:lnTo>
                  <a:lnTo>
                    <a:pt x="3342" y="2254"/>
                  </a:lnTo>
                  <a:lnTo>
                    <a:pt x="3339" y="2256"/>
                  </a:lnTo>
                  <a:lnTo>
                    <a:pt x="3337" y="2258"/>
                  </a:lnTo>
                  <a:lnTo>
                    <a:pt x="3332" y="2268"/>
                  </a:lnTo>
                  <a:lnTo>
                    <a:pt x="3332" y="2268"/>
                  </a:lnTo>
                  <a:lnTo>
                    <a:pt x="3329" y="2273"/>
                  </a:lnTo>
                  <a:lnTo>
                    <a:pt x="3325" y="2276"/>
                  </a:lnTo>
                  <a:lnTo>
                    <a:pt x="3319" y="2279"/>
                  </a:lnTo>
                  <a:lnTo>
                    <a:pt x="3319" y="2279"/>
                  </a:lnTo>
                  <a:lnTo>
                    <a:pt x="3314" y="2291"/>
                  </a:lnTo>
                  <a:lnTo>
                    <a:pt x="3311" y="2299"/>
                  </a:lnTo>
                  <a:lnTo>
                    <a:pt x="3309" y="2307"/>
                  </a:lnTo>
                  <a:lnTo>
                    <a:pt x="3309" y="2307"/>
                  </a:lnTo>
                  <a:lnTo>
                    <a:pt x="3304" y="2335"/>
                  </a:lnTo>
                  <a:lnTo>
                    <a:pt x="3304" y="2335"/>
                  </a:lnTo>
                  <a:lnTo>
                    <a:pt x="3297" y="2345"/>
                  </a:lnTo>
                  <a:lnTo>
                    <a:pt x="3284" y="2358"/>
                  </a:lnTo>
                  <a:lnTo>
                    <a:pt x="3284" y="2358"/>
                  </a:lnTo>
                  <a:lnTo>
                    <a:pt x="3281" y="2362"/>
                  </a:lnTo>
                  <a:lnTo>
                    <a:pt x="3279" y="2365"/>
                  </a:lnTo>
                  <a:lnTo>
                    <a:pt x="3276" y="2373"/>
                  </a:lnTo>
                  <a:lnTo>
                    <a:pt x="3274" y="2380"/>
                  </a:lnTo>
                  <a:lnTo>
                    <a:pt x="3271" y="2383"/>
                  </a:lnTo>
                  <a:lnTo>
                    <a:pt x="3268" y="2385"/>
                  </a:lnTo>
                  <a:lnTo>
                    <a:pt x="3268" y="2385"/>
                  </a:lnTo>
                  <a:lnTo>
                    <a:pt x="3261" y="2390"/>
                  </a:lnTo>
                  <a:lnTo>
                    <a:pt x="3256" y="2396"/>
                  </a:lnTo>
                  <a:lnTo>
                    <a:pt x="3251" y="2401"/>
                  </a:lnTo>
                  <a:lnTo>
                    <a:pt x="3248" y="2403"/>
                  </a:lnTo>
                  <a:lnTo>
                    <a:pt x="3248" y="2403"/>
                  </a:lnTo>
                  <a:lnTo>
                    <a:pt x="3243" y="2401"/>
                  </a:lnTo>
                  <a:lnTo>
                    <a:pt x="3238" y="2400"/>
                  </a:lnTo>
                  <a:lnTo>
                    <a:pt x="3235" y="2398"/>
                  </a:lnTo>
                  <a:lnTo>
                    <a:pt x="3236" y="2403"/>
                  </a:lnTo>
                  <a:lnTo>
                    <a:pt x="3236" y="2403"/>
                  </a:lnTo>
                  <a:lnTo>
                    <a:pt x="3245" y="2416"/>
                  </a:lnTo>
                  <a:lnTo>
                    <a:pt x="3250" y="2421"/>
                  </a:lnTo>
                  <a:lnTo>
                    <a:pt x="3250" y="2424"/>
                  </a:lnTo>
                  <a:lnTo>
                    <a:pt x="3250" y="2424"/>
                  </a:lnTo>
                  <a:lnTo>
                    <a:pt x="3250" y="2428"/>
                  </a:lnTo>
                  <a:lnTo>
                    <a:pt x="3248" y="2431"/>
                  </a:lnTo>
                  <a:lnTo>
                    <a:pt x="3246" y="2437"/>
                  </a:lnTo>
                  <a:lnTo>
                    <a:pt x="3246" y="2437"/>
                  </a:lnTo>
                  <a:lnTo>
                    <a:pt x="3241" y="2447"/>
                  </a:lnTo>
                  <a:lnTo>
                    <a:pt x="3240" y="2452"/>
                  </a:lnTo>
                  <a:lnTo>
                    <a:pt x="3241" y="2457"/>
                  </a:lnTo>
                  <a:lnTo>
                    <a:pt x="3241" y="2457"/>
                  </a:lnTo>
                  <a:lnTo>
                    <a:pt x="3250" y="2477"/>
                  </a:lnTo>
                  <a:lnTo>
                    <a:pt x="3250" y="2477"/>
                  </a:lnTo>
                  <a:lnTo>
                    <a:pt x="3251" y="2482"/>
                  </a:lnTo>
                  <a:lnTo>
                    <a:pt x="3253" y="2485"/>
                  </a:lnTo>
                  <a:lnTo>
                    <a:pt x="3253" y="2490"/>
                  </a:lnTo>
                  <a:lnTo>
                    <a:pt x="3251" y="2494"/>
                  </a:lnTo>
                  <a:lnTo>
                    <a:pt x="3251" y="2494"/>
                  </a:lnTo>
                  <a:lnTo>
                    <a:pt x="3245" y="2500"/>
                  </a:lnTo>
                  <a:lnTo>
                    <a:pt x="3241" y="2503"/>
                  </a:lnTo>
                  <a:lnTo>
                    <a:pt x="3238" y="2505"/>
                  </a:lnTo>
                  <a:lnTo>
                    <a:pt x="3238" y="2505"/>
                  </a:lnTo>
                  <a:lnTo>
                    <a:pt x="3233" y="2505"/>
                  </a:lnTo>
                  <a:lnTo>
                    <a:pt x="3228" y="2502"/>
                  </a:lnTo>
                  <a:lnTo>
                    <a:pt x="3223" y="2502"/>
                  </a:lnTo>
                  <a:lnTo>
                    <a:pt x="3222" y="2503"/>
                  </a:lnTo>
                  <a:lnTo>
                    <a:pt x="3222" y="2505"/>
                  </a:lnTo>
                  <a:lnTo>
                    <a:pt x="3222" y="2505"/>
                  </a:lnTo>
                  <a:lnTo>
                    <a:pt x="3220" y="2520"/>
                  </a:lnTo>
                  <a:lnTo>
                    <a:pt x="3218" y="2527"/>
                  </a:lnTo>
                  <a:lnTo>
                    <a:pt x="3215" y="2530"/>
                  </a:lnTo>
                  <a:lnTo>
                    <a:pt x="3215" y="2530"/>
                  </a:lnTo>
                  <a:lnTo>
                    <a:pt x="3205" y="2536"/>
                  </a:lnTo>
                  <a:lnTo>
                    <a:pt x="3202" y="2541"/>
                  </a:lnTo>
                  <a:lnTo>
                    <a:pt x="3200" y="2546"/>
                  </a:lnTo>
                  <a:lnTo>
                    <a:pt x="3200" y="2546"/>
                  </a:lnTo>
                  <a:lnTo>
                    <a:pt x="3198" y="2553"/>
                  </a:lnTo>
                  <a:lnTo>
                    <a:pt x="3197" y="2558"/>
                  </a:lnTo>
                  <a:lnTo>
                    <a:pt x="3194" y="2561"/>
                  </a:lnTo>
                  <a:lnTo>
                    <a:pt x="3189" y="2563"/>
                  </a:lnTo>
                  <a:lnTo>
                    <a:pt x="3189" y="2563"/>
                  </a:lnTo>
                  <a:lnTo>
                    <a:pt x="3184" y="2563"/>
                  </a:lnTo>
                  <a:lnTo>
                    <a:pt x="3179" y="2564"/>
                  </a:lnTo>
                  <a:lnTo>
                    <a:pt x="3174" y="2566"/>
                  </a:lnTo>
                  <a:lnTo>
                    <a:pt x="3172" y="2573"/>
                  </a:lnTo>
                  <a:lnTo>
                    <a:pt x="3172" y="2573"/>
                  </a:lnTo>
                  <a:lnTo>
                    <a:pt x="3170" y="2583"/>
                  </a:lnTo>
                  <a:lnTo>
                    <a:pt x="3167" y="2591"/>
                  </a:lnTo>
                  <a:lnTo>
                    <a:pt x="3162" y="2596"/>
                  </a:lnTo>
                  <a:lnTo>
                    <a:pt x="3161" y="2597"/>
                  </a:lnTo>
                  <a:lnTo>
                    <a:pt x="3157" y="2599"/>
                  </a:lnTo>
                  <a:lnTo>
                    <a:pt x="3157" y="2599"/>
                  </a:lnTo>
                  <a:lnTo>
                    <a:pt x="3151" y="2597"/>
                  </a:lnTo>
                  <a:lnTo>
                    <a:pt x="3142" y="2594"/>
                  </a:lnTo>
                  <a:lnTo>
                    <a:pt x="3141" y="2594"/>
                  </a:lnTo>
                  <a:lnTo>
                    <a:pt x="3137" y="2594"/>
                  </a:lnTo>
                  <a:lnTo>
                    <a:pt x="3136" y="2596"/>
                  </a:lnTo>
                  <a:lnTo>
                    <a:pt x="3134" y="2599"/>
                  </a:lnTo>
                  <a:lnTo>
                    <a:pt x="3134" y="2599"/>
                  </a:lnTo>
                  <a:lnTo>
                    <a:pt x="3131" y="2607"/>
                  </a:lnTo>
                  <a:lnTo>
                    <a:pt x="3126" y="2617"/>
                  </a:lnTo>
                  <a:lnTo>
                    <a:pt x="3119" y="2629"/>
                  </a:lnTo>
                  <a:lnTo>
                    <a:pt x="3119" y="2629"/>
                  </a:lnTo>
                  <a:lnTo>
                    <a:pt x="3108" y="2645"/>
                  </a:lnTo>
                  <a:lnTo>
                    <a:pt x="3096" y="2662"/>
                  </a:lnTo>
                  <a:lnTo>
                    <a:pt x="3096" y="2662"/>
                  </a:lnTo>
                  <a:lnTo>
                    <a:pt x="3088" y="2672"/>
                  </a:lnTo>
                  <a:lnTo>
                    <a:pt x="3083" y="2677"/>
                  </a:lnTo>
                  <a:lnTo>
                    <a:pt x="3075" y="2680"/>
                  </a:lnTo>
                  <a:lnTo>
                    <a:pt x="3075" y="2680"/>
                  </a:lnTo>
                  <a:lnTo>
                    <a:pt x="3068" y="2682"/>
                  </a:lnTo>
                  <a:lnTo>
                    <a:pt x="3060" y="2683"/>
                  </a:lnTo>
                  <a:lnTo>
                    <a:pt x="3055" y="2685"/>
                  </a:lnTo>
                  <a:lnTo>
                    <a:pt x="3050" y="2688"/>
                  </a:lnTo>
                  <a:lnTo>
                    <a:pt x="3050" y="2688"/>
                  </a:lnTo>
                  <a:lnTo>
                    <a:pt x="3042" y="2698"/>
                  </a:lnTo>
                  <a:lnTo>
                    <a:pt x="3037" y="2701"/>
                  </a:lnTo>
                  <a:lnTo>
                    <a:pt x="3034" y="2706"/>
                  </a:lnTo>
                  <a:lnTo>
                    <a:pt x="3034" y="2706"/>
                  </a:lnTo>
                  <a:lnTo>
                    <a:pt x="3030" y="2716"/>
                  </a:lnTo>
                  <a:lnTo>
                    <a:pt x="3027" y="2721"/>
                  </a:lnTo>
                  <a:lnTo>
                    <a:pt x="3022" y="2724"/>
                  </a:lnTo>
                  <a:lnTo>
                    <a:pt x="3022" y="2724"/>
                  </a:lnTo>
                  <a:lnTo>
                    <a:pt x="3017" y="2729"/>
                  </a:lnTo>
                  <a:lnTo>
                    <a:pt x="3012" y="2733"/>
                  </a:lnTo>
                  <a:lnTo>
                    <a:pt x="3007" y="2739"/>
                  </a:lnTo>
                  <a:lnTo>
                    <a:pt x="3005" y="2743"/>
                  </a:lnTo>
                  <a:lnTo>
                    <a:pt x="3005" y="2746"/>
                  </a:lnTo>
                  <a:lnTo>
                    <a:pt x="3005" y="2746"/>
                  </a:lnTo>
                  <a:lnTo>
                    <a:pt x="3007" y="2752"/>
                  </a:lnTo>
                  <a:lnTo>
                    <a:pt x="3005" y="2759"/>
                  </a:lnTo>
                  <a:lnTo>
                    <a:pt x="3002" y="2762"/>
                  </a:lnTo>
                  <a:lnTo>
                    <a:pt x="2999" y="2764"/>
                  </a:lnTo>
                  <a:lnTo>
                    <a:pt x="2999" y="2764"/>
                  </a:lnTo>
                  <a:lnTo>
                    <a:pt x="2992" y="2762"/>
                  </a:lnTo>
                  <a:lnTo>
                    <a:pt x="2987" y="2761"/>
                  </a:lnTo>
                  <a:lnTo>
                    <a:pt x="2982" y="2761"/>
                  </a:lnTo>
                  <a:lnTo>
                    <a:pt x="2981" y="2762"/>
                  </a:lnTo>
                  <a:lnTo>
                    <a:pt x="2979" y="2764"/>
                  </a:lnTo>
                  <a:lnTo>
                    <a:pt x="2979" y="2764"/>
                  </a:lnTo>
                  <a:lnTo>
                    <a:pt x="2977" y="2769"/>
                  </a:lnTo>
                  <a:lnTo>
                    <a:pt x="2974" y="2772"/>
                  </a:lnTo>
                  <a:lnTo>
                    <a:pt x="2971" y="2776"/>
                  </a:lnTo>
                  <a:lnTo>
                    <a:pt x="2966" y="2776"/>
                  </a:lnTo>
                  <a:lnTo>
                    <a:pt x="2966" y="2776"/>
                  </a:lnTo>
                  <a:lnTo>
                    <a:pt x="2953" y="2771"/>
                  </a:lnTo>
                  <a:lnTo>
                    <a:pt x="2944" y="2767"/>
                  </a:lnTo>
                  <a:lnTo>
                    <a:pt x="2941" y="2767"/>
                  </a:lnTo>
                  <a:lnTo>
                    <a:pt x="2939" y="2769"/>
                  </a:lnTo>
                  <a:lnTo>
                    <a:pt x="2939" y="2769"/>
                  </a:lnTo>
                  <a:lnTo>
                    <a:pt x="2936" y="2774"/>
                  </a:lnTo>
                  <a:lnTo>
                    <a:pt x="2931" y="2781"/>
                  </a:lnTo>
                  <a:lnTo>
                    <a:pt x="2926" y="2787"/>
                  </a:lnTo>
                  <a:lnTo>
                    <a:pt x="2923" y="2789"/>
                  </a:lnTo>
                  <a:lnTo>
                    <a:pt x="2920" y="2789"/>
                  </a:lnTo>
                  <a:lnTo>
                    <a:pt x="2920" y="2789"/>
                  </a:lnTo>
                  <a:lnTo>
                    <a:pt x="2910" y="2787"/>
                  </a:lnTo>
                  <a:lnTo>
                    <a:pt x="2902" y="2784"/>
                  </a:lnTo>
                  <a:lnTo>
                    <a:pt x="2895" y="2782"/>
                  </a:lnTo>
                  <a:lnTo>
                    <a:pt x="2893" y="2782"/>
                  </a:lnTo>
                  <a:lnTo>
                    <a:pt x="2892" y="2784"/>
                  </a:lnTo>
                  <a:lnTo>
                    <a:pt x="2892" y="2784"/>
                  </a:lnTo>
                  <a:lnTo>
                    <a:pt x="2888" y="2794"/>
                  </a:lnTo>
                  <a:lnTo>
                    <a:pt x="2883" y="2799"/>
                  </a:lnTo>
                  <a:lnTo>
                    <a:pt x="2882" y="2800"/>
                  </a:lnTo>
                  <a:lnTo>
                    <a:pt x="2877" y="2800"/>
                  </a:lnTo>
                  <a:lnTo>
                    <a:pt x="2877" y="2800"/>
                  </a:lnTo>
                  <a:lnTo>
                    <a:pt x="2870" y="2797"/>
                  </a:lnTo>
                  <a:lnTo>
                    <a:pt x="2867" y="2794"/>
                  </a:lnTo>
                  <a:lnTo>
                    <a:pt x="2864" y="2790"/>
                  </a:lnTo>
                  <a:lnTo>
                    <a:pt x="2859" y="2787"/>
                  </a:lnTo>
                  <a:lnTo>
                    <a:pt x="2859" y="2787"/>
                  </a:lnTo>
                  <a:lnTo>
                    <a:pt x="2854" y="2789"/>
                  </a:lnTo>
                  <a:lnTo>
                    <a:pt x="2849" y="2792"/>
                  </a:lnTo>
                  <a:lnTo>
                    <a:pt x="2845" y="2797"/>
                  </a:lnTo>
                  <a:lnTo>
                    <a:pt x="2844" y="2800"/>
                  </a:lnTo>
                  <a:lnTo>
                    <a:pt x="2844" y="2800"/>
                  </a:lnTo>
                  <a:lnTo>
                    <a:pt x="2839" y="2809"/>
                  </a:lnTo>
                  <a:lnTo>
                    <a:pt x="2836" y="2812"/>
                  </a:lnTo>
                  <a:lnTo>
                    <a:pt x="2832" y="2812"/>
                  </a:lnTo>
                  <a:lnTo>
                    <a:pt x="2831" y="2812"/>
                  </a:lnTo>
                  <a:lnTo>
                    <a:pt x="2831" y="2812"/>
                  </a:lnTo>
                  <a:lnTo>
                    <a:pt x="2822" y="2807"/>
                  </a:lnTo>
                  <a:lnTo>
                    <a:pt x="2817" y="2805"/>
                  </a:lnTo>
                  <a:lnTo>
                    <a:pt x="2816" y="2805"/>
                  </a:lnTo>
                  <a:lnTo>
                    <a:pt x="2814" y="2807"/>
                  </a:lnTo>
                  <a:lnTo>
                    <a:pt x="2814" y="2807"/>
                  </a:lnTo>
                  <a:lnTo>
                    <a:pt x="2811" y="2810"/>
                  </a:lnTo>
                  <a:lnTo>
                    <a:pt x="2806" y="2815"/>
                  </a:lnTo>
                  <a:lnTo>
                    <a:pt x="2804" y="2817"/>
                  </a:lnTo>
                  <a:lnTo>
                    <a:pt x="2801" y="2817"/>
                  </a:lnTo>
                  <a:lnTo>
                    <a:pt x="2799" y="2815"/>
                  </a:lnTo>
                  <a:lnTo>
                    <a:pt x="2796" y="2812"/>
                  </a:lnTo>
                  <a:lnTo>
                    <a:pt x="2796" y="2812"/>
                  </a:lnTo>
                  <a:lnTo>
                    <a:pt x="2786" y="2799"/>
                  </a:lnTo>
                  <a:lnTo>
                    <a:pt x="2781" y="2795"/>
                  </a:lnTo>
                  <a:lnTo>
                    <a:pt x="2778" y="2794"/>
                  </a:lnTo>
                  <a:lnTo>
                    <a:pt x="2778" y="2794"/>
                  </a:lnTo>
                  <a:lnTo>
                    <a:pt x="2768" y="2792"/>
                  </a:lnTo>
                  <a:lnTo>
                    <a:pt x="2763" y="2794"/>
                  </a:lnTo>
                  <a:lnTo>
                    <a:pt x="2763" y="2795"/>
                  </a:lnTo>
                  <a:lnTo>
                    <a:pt x="2761" y="2799"/>
                  </a:lnTo>
                  <a:lnTo>
                    <a:pt x="2761" y="2799"/>
                  </a:lnTo>
                  <a:lnTo>
                    <a:pt x="2761" y="2805"/>
                  </a:lnTo>
                  <a:lnTo>
                    <a:pt x="2758" y="2812"/>
                  </a:lnTo>
                  <a:lnTo>
                    <a:pt x="2756" y="2818"/>
                  </a:lnTo>
                  <a:lnTo>
                    <a:pt x="2756" y="2822"/>
                  </a:lnTo>
                  <a:lnTo>
                    <a:pt x="2758" y="2825"/>
                  </a:lnTo>
                  <a:lnTo>
                    <a:pt x="2758" y="2825"/>
                  </a:lnTo>
                  <a:lnTo>
                    <a:pt x="2763" y="2835"/>
                  </a:lnTo>
                  <a:lnTo>
                    <a:pt x="2765" y="2838"/>
                  </a:lnTo>
                  <a:lnTo>
                    <a:pt x="2763" y="2840"/>
                  </a:lnTo>
                  <a:lnTo>
                    <a:pt x="2763" y="2840"/>
                  </a:lnTo>
                  <a:lnTo>
                    <a:pt x="2758" y="2843"/>
                  </a:lnTo>
                  <a:lnTo>
                    <a:pt x="2751" y="2848"/>
                  </a:lnTo>
                  <a:lnTo>
                    <a:pt x="2743" y="2851"/>
                  </a:lnTo>
                  <a:lnTo>
                    <a:pt x="2740" y="2855"/>
                  </a:lnTo>
                  <a:lnTo>
                    <a:pt x="2740" y="2855"/>
                  </a:lnTo>
                  <a:lnTo>
                    <a:pt x="2737" y="2858"/>
                  </a:lnTo>
                  <a:lnTo>
                    <a:pt x="2732" y="2863"/>
                  </a:lnTo>
                  <a:lnTo>
                    <a:pt x="2725" y="2866"/>
                  </a:lnTo>
                  <a:lnTo>
                    <a:pt x="2717" y="2870"/>
                  </a:lnTo>
                  <a:lnTo>
                    <a:pt x="2717" y="2870"/>
                  </a:lnTo>
                  <a:lnTo>
                    <a:pt x="2709" y="2868"/>
                  </a:lnTo>
                  <a:lnTo>
                    <a:pt x="2702" y="2868"/>
                  </a:lnTo>
                  <a:lnTo>
                    <a:pt x="2697" y="2868"/>
                  </a:lnTo>
                  <a:lnTo>
                    <a:pt x="2697" y="2870"/>
                  </a:lnTo>
                  <a:lnTo>
                    <a:pt x="2695" y="2873"/>
                  </a:lnTo>
                  <a:lnTo>
                    <a:pt x="2695" y="2873"/>
                  </a:lnTo>
                  <a:lnTo>
                    <a:pt x="2697" y="2881"/>
                  </a:lnTo>
                  <a:lnTo>
                    <a:pt x="2699" y="2886"/>
                  </a:lnTo>
                  <a:lnTo>
                    <a:pt x="2697" y="2891"/>
                  </a:lnTo>
                  <a:lnTo>
                    <a:pt x="2692" y="2893"/>
                  </a:lnTo>
                  <a:lnTo>
                    <a:pt x="2692" y="2893"/>
                  </a:lnTo>
                  <a:lnTo>
                    <a:pt x="2685" y="2891"/>
                  </a:lnTo>
                  <a:lnTo>
                    <a:pt x="2681" y="2889"/>
                  </a:lnTo>
                  <a:lnTo>
                    <a:pt x="2672" y="2883"/>
                  </a:lnTo>
                  <a:lnTo>
                    <a:pt x="2672" y="2883"/>
                  </a:lnTo>
                  <a:lnTo>
                    <a:pt x="2669" y="2881"/>
                  </a:lnTo>
                  <a:lnTo>
                    <a:pt x="2664" y="2881"/>
                  </a:lnTo>
                  <a:lnTo>
                    <a:pt x="2661" y="2881"/>
                  </a:lnTo>
                  <a:lnTo>
                    <a:pt x="2657" y="2883"/>
                  </a:lnTo>
                  <a:lnTo>
                    <a:pt x="2657" y="2883"/>
                  </a:lnTo>
                  <a:lnTo>
                    <a:pt x="2654" y="2884"/>
                  </a:lnTo>
                  <a:lnTo>
                    <a:pt x="2651" y="2884"/>
                  </a:lnTo>
                  <a:lnTo>
                    <a:pt x="2639" y="2883"/>
                  </a:lnTo>
                  <a:lnTo>
                    <a:pt x="2639" y="2883"/>
                  </a:lnTo>
                  <a:lnTo>
                    <a:pt x="2633" y="2883"/>
                  </a:lnTo>
                  <a:lnTo>
                    <a:pt x="2626" y="2883"/>
                  </a:lnTo>
                  <a:lnTo>
                    <a:pt x="2621" y="2884"/>
                  </a:lnTo>
                  <a:lnTo>
                    <a:pt x="2616" y="2888"/>
                  </a:lnTo>
                  <a:lnTo>
                    <a:pt x="2616" y="2888"/>
                  </a:lnTo>
                  <a:lnTo>
                    <a:pt x="2613" y="2893"/>
                  </a:lnTo>
                  <a:lnTo>
                    <a:pt x="2608" y="2898"/>
                  </a:lnTo>
                  <a:lnTo>
                    <a:pt x="2603" y="2901"/>
                  </a:lnTo>
                  <a:lnTo>
                    <a:pt x="2598" y="2904"/>
                  </a:lnTo>
                  <a:lnTo>
                    <a:pt x="2598" y="2904"/>
                  </a:lnTo>
                  <a:lnTo>
                    <a:pt x="2582" y="2907"/>
                  </a:lnTo>
                  <a:lnTo>
                    <a:pt x="2567" y="2909"/>
                  </a:lnTo>
                  <a:lnTo>
                    <a:pt x="2567" y="2909"/>
                  </a:lnTo>
                  <a:lnTo>
                    <a:pt x="2553" y="2911"/>
                  </a:lnTo>
                  <a:lnTo>
                    <a:pt x="2542" y="2909"/>
                  </a:lnTo>
                  <a:lnTo>
                    <a:pt x="2524" y="2922"/>
                  </a:lnTo>
                  <a:lnTo>
                    <a:pt x="2514" y="2922"/>
                  </a:lnTo>
                  <a:lnTo>
                    <a:pt x="2514" y="2922"/>
                  </a:lnTo>
                  <a:lnTo>
                    <a:pt x="2507" y="2927"/>
                  </a:lnTo>
                  <a:lnTo>
                    <a:pt x="2502" y="2931"/>
                  </a:lnTo>
                  <a:lnTo>
                    <a:pt x="2501" y="2934"/>
                  </a:lnTo>
                  <a:lnTo>
                    <a:pt x="2501" y="2934"/>
                  </a:lnTo>
                  <a:lnTo>
                    <a:pt x="2496" y="2944"/>
                  </a:lnTo>
                  <a:lnTo>
                    <a:pt x="2491" y="2949"/>
                  </a:lnTo>
                  <a:lnTo>
                    <a:pt x="2491" y="2949"/>
                  </a:lnTo>
                  <a:lnTo>
                    <a:pt x="2486" y="2954"/>
                  </a:lnTo>
                  <a:lnTo>
                    <a:pt x="2483" y="2957"/>
                  </a:lnTo>
                  <a:lnTo>
                    <a:pt x="2481" y="2960"/>
                  </a:lnTo>
                  <a:lnTo>
                    <a:pt x="2481" y="2960"/>
                  </a:lnTo>
                  <a:lnTo>
                    <a:pt x="2484" y="2970"/>
                  </a:lnTo>
                  <a:lnTo>
                    <a:pt x="2489" y="2978"/>
                  </a:lnTo>
                  <a:lnTo>
                    <a:pt x="2489" y="2978"/>
                  </a:lnTo>
                  <a:lnTo>
                    <a:pt x="2497" y="2990"/>
                  </a:lnTo>
                  <a:lnTo>
                    <a:pt x="2501" y="2998"/>
                  </a:lnTo>
                  <a:lnTo>
                    <a:pt x="2504" y="3005"/>
                  </a:lnTo>
                  <a:lnTo>
                    <a:pt x="2504" y="3005"/>
                  </a:lnTo>
                  <a:lnTo>
                    <a:pt x="2502" y="3011"/>
                  </a:lnTo>
                  <a:lnTo>
                    <a:pt x="2499" y="3018"/>
                  </a:lnTo>
                  <a:lnTo>
                    <a:pt x="2496" y="3023"/>
                  </a:lnTo>
                  <a:lnTo>
                    <a:pt x="2489" y="3026"/>
                  </a:lnTo>
                  <a:lnTo>
                    <a:pt x="2489" y="3026"/>
                  </a:lnTo>
                  <a:lnTo>
                    <a:pt x="2476" y="3026"/>
                  </a:lnTo>
                  <a:lnTo>
                    <a:pt x="2468" y="3026"/>
                  </a:lnTo>
                  <a:lnTo>
                    <a:pt x="2468" y="3026"/>
                  </a:lnTo>
                  <a:lnTo>
                    <a:pt x="2466" y="3026"/>
                  </a:lnTo>
                  <a:lnTo>
                    <a:pt x="2463" y="3025"/>
                  </a:lnTo>
                  <a:lnTo>
                    <a:pt x="2458" y="3015"/>
                  </a:lnTo>
                  <a:lnTo>
                    <a:pt x="2458" y="3015"/>
                  </a:lnTo>
                  <a:lnTo>
                    <a:pt x="2453" y="3005"/>
                  </a:lnTo>
                  <a:lnTo>
                    <a:pt x="2451" y="3002"/>
                  </a:lnTo>
                  <a:lnTo>
                    <a:pt x="2448" y="2998"/>
                  </a:lnTo>
                  <a:lnTo>
                    <a:pt x="2448" y="2998"/>
                  </a:lnTo>
                  <a:lnTo>
                    <a:pt x="2440" y="2990"/>
                  </a:lnTo>
                  <a:lnTo>
                    <a:pt x="2435" y="2983"/>
                  </a:lnTo>
                  <a:lnTo>
                    <a:pt x="2435" y="2983"/>
                  </a:lnTo>
                  <a:lnTo>
                    <a:pt x="2431" y="2965"/>
                  </a:lnTo>
                  <a:lnTo>
                    <a:pt x="2430" y="2954"/>
                  </a:lnTo>
                  <a:lnTo>
                    <a:pt x="2430" y="2949"/>
                  </a:lnTo>
                  <a:lnTo>
                    <a:pt x="2431" y="2945"/>
                  </a:lnTo>
                  <a:lnTo>
                    <a:pt x="2431" y="2945"/>
                  </a:lnTo>
                  <a:lnTo>
                    <a:pt x="2443" y="2932"/>
                  </a:lnTo>
                  <a:lnTo>
                    <a:pt x="2446" y="2926"/>
                  </a:lnTo>
                  <a:lnTo>
                    <a:pt x="2448" y="2922"/>
                  </a:lnTo>
                  <a:lnTo>
                    <a:pt x="2448" y="2922"/>
                  </a:lnTo>
                  <a:lnTo>
                    <a:pt x="2448" y="2921"/>
                  </a:lnTo>
                  <a:lnTo>
                    <a:pt x="2448" y="2921"/>
                  </a:lnTo>
                  <a:lnTo>
                    <a:pt x="2446" y="2919"/>
                  </a:lnTo>
                  <a:lnTo>
                    <a:pt x="2446" y="2919"/>
                  </a:lnTo>
                  <a:lnTo>
                    <a:pt x="2443" y="2914"/>
                  </a:lnTo>
                  <a:lnTo>
                    <a:pt x="2440" y="2911"/>
                  </a:lnTo>
                  <a:lnTo>
                    <a:pt x="2431" y="2906"/>
                  </a:lnTo>
                  <a:lnTo>
                    <a:pt x="2431" y="2906"/>
                  </a:lnTo>
                  <a:lnTo>
                    <a:pt x="2430" y="2901"/>
                  </a:lnTo>
                  <a:lnTo>
                    <a:pt x="2426" y="2896"/>
                  </a:lnTo>
                  <a:lnTo>
                    <a:pt x="2425" y="2893"/>
                  </a:lnTo>
                  <a:lnTo>
                    <a:pt x="2423" y="2893"/>
                  </a:lnTo>
                  <a:lnTo>
                    <a:pt x="2422" y="2896"/>
                  </a:lnTo>
                  <a:lnTo>
                    <a:pt x="2422" y="2896"/>
                  </a:lnTo>
                  <a:lnTo>
                    <a:pt x="2420" y="2903"/>
                  </a:lnTo>
                  <a:lnTo>
                    <a:pt x="2418" y="2907"/>
                  </a:lnTo>
                  <a:lnTo>
                    <a:pt x="2417" y="2912"/>
                  </a:lnTo>
                  <a:lnTo>
                    <a:pt x="2417" y="2914"/>
                  </a:lnTo>
                  <a:lnTo>
                    <a:pt x="2415" y="2914"/>
                  </a:lnTo>
                  <a:lnTo>
                    <a:pt x="2415" y="2914"/>
                  </a:lnTo>
                  <a:lnTo>
                    <a:pt x="2387" y="2914"/>
                  </a:lnTo>
                  <a:lnTo>
                    <a:pt x="2387" y="2914"/>
                  </a:lnTo>
                  <a:lnTo>
                    <a:pt x="2385" y="2912"/>
                  </a:lnTo>
                  <a:lnTo>
                    <a:pt x="2387" y="2911"/>
                  </a:lnTo>
                  <a:lnTo>
                    <a:pt x="2385" y="2907"/>
                  </a:lnTo>
                  <a:lnTo>
                    <a:pt x="2382" y="2903"/>
                  </a:lnTo>
                  <a:lnTo>
                    <a:pt x="2382" y="2903"/>
                  </a:lnTo>
                  <a:lnTo>
                    <a:pt x="2374" y="2899"/>
                  </a:lnTo>
                  <a:lnTo>
                    <a:pt x="2367" y="2898"/>
                  </a:lnTo>
                  <a:lnTo>
                    <a:pt x="2360" y="2898"/>
                  </a:lnTo>
                  <a:lnTo>
                    <a:pt x="2360" y="2898"/>
                  </a:lnTo>
                  <a:lnTo>
                    <a:pt x="2347" y="2889"/>
                  </a:lnTo>
                  <a:lnTo>
                    <a:pt x="2347" y="2889"/>
                  </a:lnTo>
                  <a:lnTo>
                    <a:pt x="2341" y="2886"/>
                  </a:lnTo>
                  <a:lnTo>
                    <a:pt x="2337" y="2883"/>
                  </a:lnTo>
                  <a:lnTo>
                    <a:pt x="2337" y="2883"/>
                  </a:lnTo>
                  <a:lnTo>
                    <a:pt x="2334" y="2888"/>
                  </a:lnTo>
                  <a:lnTo>
                    <a:pt x="2329" y="2896"/>
                  </a:lnTo>
                  <a:lnTo>
                    <a:pt x="2329" y="2896"/>
                  </a:lnTo>
                  <a:lnTo>
                    <a:pt x="2319" y="2898"/>
                  </a:lnTo>
                  <a:lnTo>
                    <a:pt x="2309" y="2899"/>
                  </a:lnTo>
                  <a:lnTo>
                    <a:pt x="2309" y="2899"/>
                  </a:lnTo>
                  <a:lnTo>
                    <a:pt x="2298" y="2899"/>
                  </a:lnTo>
                  <a:lnTo>
                    <a:pt x="2291" y="2901"/>
                  </a:lnTo>
                  <a:lnTo>
                    <a:pt x="2286" y="2899"/>
                  </a:lnTo>
                  <a:lnTo>
                    <a:pt x="2286" y="2899"/>
                  </a:lnTo>
                  <a:lnTo>
                    <a:pt x="2281" y="2896"/>
                  </a:lnTo>
                  <a:lnTo>
                    <a:pt x="2275" y="2894"/>
                  </a:lnTo>
                  <a:lnTo>
                    <a:pt x="2263" y="2893"/>
                  </a:lnTo>
                  <a:lnTo>
                    <a:pt x="2263" y="2893"/>
                  </a:lnTo>
                  <a:lnTo>
                    <a:pt x="2252" y="2894"/>
                  </a:lnTo>
                  <a:lnTo>
                    <a:pt x="2245" y="2894"/>
                  </a:lnTo>
                  <a:lnTo>
                    <a:pt x="2233" y="2893"/>
                  </a:lnTo>
                  <a:lnTo>
                    <a:pt x="2233" y="2893"/>
                  </a:lnTo>
                  <a:lnTo>
                    <a:pt x="2224" y="2888"/>
                  </a:lnTo>
                  <a:lnTo>
                    <a:pt x="2214" y="2883"/>
                  </a:lnTo>
                  <a:lnTo>
                    <a:pt x="2207" y="2878"/>
                  </a:lnTo>
                  <a:lnTo>
                    <a:pt x="2205" y="2873"/>
                  </a:lnTo>
                  <a:lnTo>
                    <a:pt x="2205" y="2873"/>
                  </a:lnTo>
                  <a:lnTo>
                    <a:pt x="2204" y="2871"/>
                  </a:lnTo>
                  <a:lnTo>
                    <a:pt x="2202" y="2868"/>
                  </a:lnTo>
                  <a:lnTo>
                    <a:pt x="2192" y="2861"/>
                  </a:lnTo>
                  <a:lnTo>
                    <a:pt x="2192" y="2861"/>
                  </a:lnTo>
                  <a:lnTo>
                    <a:pt x="2187" y="2858"/>
                  </a:lnTo>
                  <a:lnTo>
                    <a:pt x="2182" y="2853"/>
                  </a:lnTo>
                  <a:lnTo>
                    <a:pt x="2176" y="2843"/>
                  </a:lnTo>
                  <a:lnTo>
                    <a:pt x="2176" y="2843"/>
                  </a:lnTo>
                  <a:lnTo>
                    <a:pt x="2171" y="2833"/>
                  </a:lnTo>
                  <a:lnTo>
                    <a:pt x="2167" y="2828"/>
                  </a:lnTo>
                  <a:lnTo>
                    <a:pt x="2167" y="2825"/>
                  </a:lnTo>
                  <a:lnTo>
                    <a:pt x="2167" y="2825"/>
                  </a:lnTo>
                  <a:lnTo>
                    <a:pt x="2169" y="2820"/>
                  </a:lnTo>
                  <a:lnTo>
                    <a:pt x="2172" y="2815"/>
                  </a:lnTo>
                  <a:lnTo>
                    <a:pt x="2179" y="2807"/>
                  </a:lnTo>
                  <a:lnTo>
                    <a:pt x="2179" y="2807"/>
                  </a:lnTo>
                  <a:lnTo>
                    <a:pt x="2182" y="2802"/>
                  </a:lnTo>
                  <a:lnTo>
                    <a:pt x="2184" y="2795"/>
                  </a:lnTo>
                  <a:lnTo>
                    <a:pt x="2187" y="2787"/>
                  </a:lnTo>
                  <a:lnTo>
                    <a:pt x="2161" y="2774"/>
                  </a:lnTo>
                  <a:lnTo>
                    <a:pt x="2161" y="2774"/>
                  </a:lnTo>
                  <a:lnTo>
                    <a:pt x="2149" y="2777"/>
                  </a:lnTo>
                  <a:lnTo>
                    <a:pt x="2141" y="2779"/>
                  </a:lnTo>
                  <a:lnTo>
                    <a:pt x="2139" y="2779"/>
                  </a:lnTo>
                  <a:lnTo>
                    <a:pt x="2138" y="2777"/>
                  </a:lnTo>
                  <a:lnTo>
                    <a:pt x="2138" y="2777"/>
                  </a:lnTo>
                  <a:lnTo>
                    <a:pt x="2138" y="2776"/>
                  </a:lnTo>
                  <a:lnTo>
                    <a:pt x="2135" y="2774"/>
                  </a:lnTo>
                  <a:lnTo>
                    <a:pt x="2126" y="2772"/>
                  </a:lnTo>
                  <a:lnTo>
                    <a:pt x="2115" y="2771"/>
                  </a:lnTo>
                  <a:lnTo>
                    <a:pt x="2115" y="2771"/>
                  </a:lnTo>
                  <a:lnTo>
                    <a:pt x="2105" y="2767"/>
                  </a:lnTo>
                  <a:lnTo>
                    <a:pt x="2097" y="2762"/>
                  </a:lnTo>
                  <a:lnTo>
                    <a:pt x="2093" y="2761"/>
                  </a:lnTo>
                  <a:lnTo>
                    <a:pt x="2092" y="2757"/>
                  </a:lnTo>
                  <a:lnTo>
                    <a:pt x="2092" y="2757"/>
                  </a:lnTo>
                  <a:lnTo>
                    <a:pt x="2087" y="2749"/>
                  </a:lnTo>
                  <a:lnTo>
                    <a:pt x="2082" y="2739"/>
                  </a:lnTo>
                  <a:lnTo>
                    <a:pt x="2075" y="2733"/>
                  </a:lnTo>
                  <a:lnTo>
                    <a:pt x="2072" y="2731"/>
                  </a:lnTo>
                  <a:lnTo>
                    <a:pt x="2069" y="2729"/>
                  </a:lnTo>
                  <a:lnTo>
                    <a:pt x="2069" y="2729"/>
                  </a:lnTo>
                  <a:lnTo>
                    <a:pt x="2055" y="2731"/>
                  </a:lnTo>
                  <a:lnTo>
                    <a:pt x="2049" y="2733"/>
                  </a:lnTo>
                  <a:lnTo>
                    <a:pt x="2044" y="2736"/>
                  </a:lnTo>
                  <a:lnTo>
                    <a:pt x="2044" y="2736"/>
                  </a:lnTo>
                  <a:lnTo>
                    <a:pt x="2036" y="2746"/>
                  </a:lnTo>
                  <a:lnTo>
                    <a:pt x="2029" y="2754"/>
                  </a:lnTo>
                  <a:lnTo>
                    <a:pt x="2029" y="2754"/>
                  </a:lnTo>
                  <a:lnTo>
                    <a:pt x="2024" y="2764"/>
                  </a:lnTo>
                  <a:lnTo>
                    <a:pt x="2019" y="2772"/>
                  </a:lnTo>
                  <a:lnTo>
                    <a:pt x="2019" y="2772"/>
                  </a:lnTo>
                  <a:lnTo>
                    <a:pt x="2009" y="2779"/>
                  </a:lnTo>
                  <a:lnTo>
                    <a:pt x="2003" y="2782"/>
                  </a:lnTo>
                  <a:lnTo>
                    <a:pt x="1999" y="2784"/>
                  </a:lnTo>
                  <a:lnTo>
                    <a:pt x="1999" y="2784"/>
                  </a:lnTo>
                  <a:lnTo>
                    <a:pt x="1988" y="2781"/>
                  </a:lnTo>
                  <a:lnTo>
                    <a:pt x="1981" y="2779"/>
                  </a:lnTo>
                  <a:lnTo>
                    <a:pt x="1979" y="2776"/>
                  </a:lnTo>
                  <a:lnTo>
                    <a:pt x="1979" y="2776"/>
                  </a:lnTo>
                  <a:lnTo>
                    <a:pt x="1978" y="2774"/>
                  </a:lnTo>
                  <a:lnTo>
                    <a:pt x="1975" y="2772"/>
                  </a:lnTo>
                  <a:lnTo>
                    <a:pt x="1970" y="2772"/>
                  </a:lnTo>
                  <a:lnTo>
                    <a:pt x="1966" y="2774"/>
                  </a:lnTo>
                  <a:lnTo>
                    <a:pt x="1966" y="2774"/>
                  </a:lnTo>
                  <a:lnTo>
                    <a:pt x="1960" y="2789"/>
                  </a:lnTo>
                  <a:lnTo>
                    <a:pt x="1955" y="2800"/>
                  </a:lnTo>
                  <a:lnTo>
                    <a:pt x="1955" y="2800"/>
                  </a:lnTo>
                  <a:lnTo>
                    <a:pt x="1945" y="2787"/>
                  </a:lnTo>
                  <a:lnTo>
                    <a:pt x="1938" y="2779"/>
                  </a:lnTo>
                  <a:lnTo>
                    <a:pt x="1933" y="2776"/>
                  </a:lnTo>
                  <a:lnTo>
                    <a:pt x="1933" y="2776"/>
                  </a:lnTo>
                  <a:lnTo>
                    <a:pt x="1930" y="2777"/>
                  </a:lnTo>
                  <a:lnTo>
                    <a:pt x="1925" y="2779"/>
                  </a:lnTo>
                  <a:lnTo>
                    <a:pt x="1920" y="2782"/>
                  </a:lnTo>
                  <a:lnTo>
                    <a:pt x="1917" y="2784"/>
                  </a:lnTo>
                  <a:lnTo>
                    <a:pt x="1917" y="2784"/>
                  </a:lnTo>
                  <a:lnTo>
                    <a:pt x="1915" y="2784"/>
                  </a:lnTo>
                  <a:lnTo>
                    <a:pt x="1913" y="2782"/>
                  </a:lnTo>
                  <a:lnTo>
                    <a:pt x="1912" y="2777"/>
                  </a:lnTo>
                  <a:lnTo>
                    <a:pt x="1909" y="2774"/>
                  </a:lnTo>
                  <a:lnTo>
                    <a:pt x="1905" y="2774"/>
                  </a:lnTo>
                  <a:lnTo>
                    <a:pt x="1902" y="2774"/>
                  </a:lnTo>
                  <a:lnTo>
                    <a:pt x="1902" y="2774"/>
                  </a:lnTo>
                  <a:lnTo>
                    <a:pt x="1899" y="2776"/>
                  </a:lnTo>
                  <a:lnTo>
                    <a:pt x="1899" y="2777"/>
                  </a:lnTo>
                  <a:lnTo>
                    <a:pt x="1899" y="2784"/>
                  </a:lnTo>
                  <a:lnTo>
                    <a:pt x="1899" y="2787"/>
                  </a:lnTo>
                  <a:lnTo>
                    <a:pt x="1897" y="2790"/>
                  </a:lnTo>
                  <a:lnTo>
                    <a:pt x="1894" y="2792"/>
                  </a:lnTo>
                  <a:lnTo>
                    <a:pt x="1887" y="2794"/>
                  </a:lnTo>
                  <a:lnTo>
                    <a:pt x="1887" y="2794"/>
                  </a:lnTo>
                  <a:lnTo>
                    <a:pt x="1874" y="2795"/>
                  </a:lnTo>
                  <a:lnTo>
                    <a:pt x="1866" y="2795"/>
                  </a:lnTo>
                  <a:lnTo>
                    <a:pt x="1862" y="2794"/>
                  </a:lnTo>
                  <a:lnTo>
                    <a:pt x="1859" y="2792"/>
                  </a:lnTo>
                  <a:lnTo>
                    <a:pt x="1854" y="2784"/>
                  </a:lnTo>
                  <a:lnTo>
                    <a:pt x="1854" y="2784"/>
                  </a:lnTo>
                  <a:lnTo>
                    <a:pt x="1849" y="2776"/>
                  </a:lnTo>
                  <a:lnTo>
                    <a:pt x="1844" y="2772"/>
                  </a:lnTo>
                  <a:lnTo>
                    <a:pt x="1838" y="2769"/>
                  </a:lnTo>
                  <a:lnTo>
                    <a:pt x="1831" y="2771"/>
                  </a:lnTo>
                  <a:lnTo>
                    <a:pt x="1831" y="2771"/>
                  </a:lnTo>
                  <a:lnTo>
                    <a:pt x="1829" y="2772"/>
                  </a:lnTo>
                  <a:lnTo>
                    <a:pt x="1828" y="2774"/>
                  </a:lnTo>
                  <a:lnTo>
                    <a:pt x="1824" y="2781"/>
                  </a:lnTo>
                  <a:lnTo>
                    <a:pt x="1823" y="2782"/>
                  </a:lnTo>
                  <a:lnTo>
                    <a:pt x="1819" y="2785"/>
                  </a:lnTo>
                  <a:lnTo>
                    <a:pt x="1816" y="2787"/>
                  </a:lnTo>
                  <a:lnTo>
                    <a:pt x="1811" y="2789"/>
                  </a:lnTo>
                  <a:lnTo>
                    <a:pt x="1811" y="2789"/>
                  </a:lnTo>
                  <a:lnTo>
                    <a:pt x="1798" y="2789"/>
                  </a:lnTo>
                  <a:lnTo>
                    <a:pt x="1788" y="2787"/>
                  </a:lnTo>
                  <a:lnTo>
                    <a:pt x="1780" y="2789"/>
                  </a:lnTo>
                  <a:lnTo>
                    <a:pt x="1775" y="2789"/>
                  </a:lnTo>
                  <a:lnTo>
                    <a:pt x="1772" y="2792"/>
                  </a:lnTo>
                  <a:lnTo>
                    <a:pt x="1772" y="2792"/>
                  </a:lnTo>
                  <a:lnTo>
                    <a:pt x="1760" y="2807"/>
                  </a:lnTo>
                  <a:lnTo>
                    <a:pt x="1755" y="2813"/>
                  </a:lnTo>
                  <a:lnTo>
                    <a:pt x="1755" y="2820"/>
                  </a:lnTo>
                  <a:lnTo>
                    <a:pt x="1755" y="2820"/>
                  </a:lnTo>
                  <a:lnTo>
                    <a:pt x="1757" y="2825"/>
                  </a:lnTo>
                  <a:lnTo>
                    <a:pt x="1762" y="2833"/>
                  </a:lnTo>
                  <a:lnTo>
                    <a:pt x="1767" y="2842"/>
                  </a:lnTo>
                  <a:lnTo>
                    <a:pt x="1770" y="2846"/>
                  </a:lnTo>
                  <a:lnTo>
                    <a:pt x="1770" y="2846"/>
                  </a:lnTo>
                  <a:lnTo>
                    <a:pt x="1770" y="2858"/>
                  </a:lnTo>
                  <a:lnTo>
                    <a:pt x="1770" y="2865"/>
                  </a:lnTo>
                  <a:lnTo>
                    <a:pt x="1768" y="2868"/>
                  </a:lnTo>
                  <a:lnTo>
                    <a:pt x="1768" y="2868"/>
                  </a:lnTo>
                  <a:lnTo>
                    <a:pt x="1765" y="2871"/>
                  </a:lnTo>
                  <a:lnTo>
                    <a:pt x="1762" y="2878"/>
                  </a:lnTo>
                  <a:lnTo>
                    <a:pt x="1762" y="2884"/>
                  </a:lnTo>
                  <a:lnTo>
                    <a:pt x="1762" y="2891"/>
                  </a:lnTo>
                  <a:lnTo>
                    <a:pt x="1762" y="2891"/>
                  </a:lnTo>
                  <a:lnTo>
                    <a:pt x="1767" y="2901"/>
                  </a:lnTo>
                  <a:lnTo>
                    <a:pt x="1767" y="2904"/>
                  </a:lnTo>
                  <a:lnTo>
                    <a:pt x="1763" y="2906"/>
                  </a:lnTo>
                  <a:lnTo>
                    <a:pt x="1763" y="2906"/>
                  </a:lnTo>
                  <a:lnTo>
                    <a:pt x="1757" y="2904"/>
                  </a:lnTo>
                  <a:lnTo>
                    <a:pt x="1749" y="2901"/>
                  </a:lnTo>
                  <a:lnTo>
                    <a:pt x="1742" y="2898"/>
                  </a:lnTo>
                  <a:lnTo>
                    <a:pt x="1735" y="2896"/>
                  </a:lnTo>
                  <a:lnTo>
                    <a:pt x="1735" y="2896"/>
                  </a:lnTo>
                  <a:lnTo>
                    <a:pt x="1732" y="2898"/>
                  </a:lnTo>
                  <a:lnTo>
                    <a:pt x="1729" y="2901"/>
                  </a:lnTo>
                  <a:lnTo>
                    <a:pt x="1725" y="2901"/>
                  </a:lnTo>
                  <a:lnTo>
                    <a:pt x="1724" y="2901"/>
                  </a:lnTo>
                  <a:lnTo>
                    <a:pt x="1720" y="2899"/>
                  </a:lnTo>
                  <a:lnTo>
                    <a:pt x="1717" y="2896"/>
                  </a:lnTo>
                  <a:lnTo>
                    <a:pt x="1717" y="2896"/>
                  </a:lnTo>
                  <a:lnTo>
                    <a:pt x="1716" y="2893"/>
                  </a:lnTo>
                  <a:lnTo>
                    <a:pt x="1714" y="2889"/>
                  </a:lnTo>
                  <a:lnTo>
                    <a:pt x="1714" y="2881"/>
                  </a:lnTo>
                  <a:lnTo>
                    <a:pt x="1714" y="2875"/>
                  </a:lnTo>
                  <a:lnTo>
                    <a:pt x="1712" y="2871"/>
                  </a:lnTo>
                  <a:lnTo>
                    <a:pt x="1709" y="2866"/>
                  </a:lnTo>
                  <a:lnTo>
                    <a:pt x="1709" y="2866"/>
                  </a:lnTo>
                  <a:lnTo>
                    <a:pt x="1702" y="2860"/>
                  </a:lnTo>
                  <a:lnTo>
                    <a:pt x="1696" y="2856"/>
                  </a:lnTo>
                  <a:lnTo>
                    <a:pt x="1694" y="2855"/>
                  </a:lnTo>
                  <a:lnTo>
                    <a:pt x="1692" y="2855"/>
                  </a:lnTo>
                  <a:lnTo>
                    <a:pt x="1687" y="2860"/>
                  </a:lnTo>
                  <a:lnTo>
                    <a:pt x="1687" y="2860"/>
                  </a:lnTo>
                  <a:lnTo>
                    <a:pt x="1684" y="2865"/>
                  </a:lnTo>
                  <a:lnTo>
                    <a:pt x="1683" y="2868"/>
                  </a:lnTo>
                  <a:lnTo>
                    <a:pt x="1676" y="2870"/>
                  </a:lnTo>
                  <a:lnTo>
                    <a:pt x="1663" y="2870"/>
                  </a:lnTo>
                  <a:lnTo>
                    <a:pt x="1663" y="2870"/>
                  </a:lnTo>
                  <a:lnTo>
                    <a:pt x="1638" y="2870"/>
                  </a:lnTo>
                  <a:lnTo>
                    <a:pt x="1633" y="2870"/>
                  </a:lnTo>
                  <a:lnTo>
                    <a:pt x="1630" y="2866"/>
                  </a:lnTo>
                  <a:lnTo>
                    <a:pt x="1630" y="2866"/>
                  </a:lnTo>
                  <a:lnTo>
                    <a:pt x="1623" y="2855"/>
                  </a:lnTo>
                  <a:lnTo>
                    <a:pt x="1617" y="2843"/>
                  </a:lnTo>
                  <a:lnTo>
                    <a:pt x="1617" y="2843"/>
                  </a:lnTo>
                  <a:lnTo>
                    <a:pt x="1607" y="2823"/>
                  </a:lnTo>
                  <a:lnTo>
                    <a:pt x="1607" y="2823"/>
                  </a:lnTo>
                  <a:lnTo>
                    <a:pt x="1602" y="2818"/>
                  </a:lnTo>
                  <a:lnTo>
                    <a:pt x="1595" y="2815"/>
                  </a:lnTo>
                  <a:lnTo>
                    <a:pt x="1587" y="2810"/>
                  </a:lnTo>
                  <a:lnTo>
                    <a:pt x="1577" y="2807"/>
                  </a:lnTo>
                  <a:lnTo>
                    <a:pt x="1577" y="2807"/>
                  </a:lnTo>
                  <a:lnTo>
                    <a:pt x="1567" y="2804"/>
                  </a:lnTo>
                  <a:lnTo>
                    <a:pt x="1559" y="2800"/>
                  </a:lnTo>
                  <a:lnTo>
                    <a:pt x="1552" y="2794"/>
                  </a:lnTo>
                  <a:lnTo>
                    <a:pt x="1552" y="2792"/>
                  </a:lnTo>
                  <a:lnTo>
                    <a:pt x="1552" y="2789"/>
                  </a:lnTo>
                  <a:lnTo>
                    <a:pt x="1552" y="2789"/>
                  </a:lnTo>
                  <a:lnTo>
                    <a:pt x="1559" y="2777"/>
                  </a:lnTo>
                  <a:lnTo>
                    <a:pt x="1564" y="2769"/>
                  </a:lnTo>
                  <a:lnTo>
                    <a:pt x="1564" y="2769"/>
                  </a:lnTo>
                  <a:lnTo>
                    <a:pt x="1565" y="2756"/>
                  </a:lnTo>
                  <a:lnTo>
                    <a:pt x="1567" y="2749"/>
                  </a:lnTo>
                  <a:lnTo>
                    <a:pt x="1569" y="2746"/>
                  </a:lnTo>
                  <a:lnTo>
                    <a:pt x="1570" y="2744"/>
                  </a:lnTo>
                  <a:lnTo>
                    <a:pt x="1570" y="2744"/>
                  </a:lnTo>
                  <a:lnTo>
                    <a:pt x="1577" y="2741"/>
                  </a:lnTo>
                  <a:lnTo>
                    <a:pt x="1582" y="2736"/>
                  </a:lnTo>
                  <a:lnTo>
                    <a:pt x="1587" y="2729"/>
                  </a:lnTo>
                  <a:lnTo>
                    <a:pt x="1587" y="2724"/>
                  </a:lnTo>
                  <a:lnTo>
                    <a:pt x="1587" y="2724"/>
                  </a:lnTo>
                  <a:lnTo>
                    <a:pt x="1585" y="2721"/>
                  </a:lnTo>
                  <a:lnTo>
                    <a:pt x="1582" y="2719"/>
                  </a:lnTo>
                  <a:lnTo>
                    <a:pt x="1574" y="2718"/>
                  </a:lnTo>
                  <a:lnTo>
                    <a:pt x="1574" y="2718"/>
                  </a:lnTo>
                  <a:lnTo>
                    <a:pt x="1557" y="2713"/>
                  </a:lnTo>
                  <a:lnTo>
                    <a:pt x="1547" y="2710"/>
                  </a:lnTo>
                  <a:lnTo>
                    <a:pt x="1541" y="2706"/>
                  </a:lnTo>
                  <a:lnTo>
                    <a:pt x="1541" y="2706"/>
                  </a:lnTo>
                  <a:lnTo>
                    <a:pt x="1539" y="2700"/>
                  </a:lnTo>
                  <a:lnTo>
                    <a:pt x="1536" y="2687"/>
                  </a:lnTo>
                  <a:lnTo>
                    <a:pt x="1536" y="2675"/>
                  </a:lnTo>
                  <a:lnTo>
                    <a:pt x="1536" y="2668"/>
                  </a:lnTo>
                  <a:lnTo>
                    <a:pt x="1536" y="2668"/>
                  </a:lnTo>
                  <a:lnTo>
                    <a:pt x="1537" y="2665"/>
                  </a:lnTo>
                  <a:lnTo>
                    <a:pt x="1539" y="2658"/>
                  </a:lnTo>
                  <a:lnTo>
                    <a:pt x="1539" y="2658"/>
                  </a:lnTo>
                  <a:lnTo>
                    <a:pt x="1537" y="2654"/>
                  </a:lnTo>
                  <a:lnTo>
                    <a:pt x="1532" y="2649"/>
                  </a:lnTo>
                  <a:lnTo>
                    <a:pt x="1529" y="2644"/>
                  </a:lnTo>
                  <a:lnTo>
                    <a:pt x="1527" y="2642"/>
                  </a:lnTo>
                  <a:lnTo>
                    <a:pt x="1529" y="2639"/>
                  </a:lnTo>
                  <a:lnTo>
                    <a:pt x="1529" y="2639"/>
                  </a:lnTo>
                  <a:lnTo>
                    <a:pt x="1537" y="2629"/>
                  </a:lnTo>
                  <a:lnTo>
                    <a:pt x="1541" y="2624"/>
                  </a:lnTo>
                  <a:lnTo>
                    <a:pt x="1542" y="2621"/>
                  </a:lnTo>
                  <a:lnTo>
                    <a:pt x="1542" y="2621"/>
                  </a:lnTo>
                  <a:lnTo>
                    <a:pt x="1541" y="2619"/>
                  </a:lnTo>
                  <a:lnTo>
                    <a:pt x="1536" y="2619"/>
                  </a:lnTo>
                  <a:lnTo>
                    <a:pt x="1523" y="2617"/>
                  </a:lnTo>
                  <a:lnTo>
                    <a:pt x="1503" y="2617"/>
                  </a:lnTo>
                  <a:lnTo>
                    <a:pt x="1503" y="2617"/>
                  </a:lnTo>
                  <a:lnTo>
                    <a:pt x="1475" y="2616"/>
                  </a:lnTo>
                  <a:lnTo>
                    <a:pt x="1475" y="2616"/>
                  </a:lnTo>
                  <a:lnTo>
                    <a:pt x="1468" y="2621"/>
                  </a:lnTo>
                  <a:lnTo>
                    <a:pt x="1461" y="2625"/>
                  </a:lnTo>
                  <a:lnTo>
                    <a:pt x="1455" y="2629"/>
                  </a:lnTo>
                  <a:lnTo>
                    <a:pt x="1455" y="2629"/>
                  </a:lnTo>
                  <a:lnTo>
                    <a:pt x="1447" y="2629"/>
                  </a:lnTo>
                  <a:lnTo>
                    <a:pt x="1438" y="2629"/>
                  </a:lnTo>
                  <a:lnTo>
                    <a:pt x="1435" y="2627"/>
                  </a:lnTo>
                  <a:lnTo>
                    <a:pt x="1433" y="2625"/>
                  </a:lnTo>
                  <a:lnTo>
                    <a:pt x="1433" y="2622"/>
                  </a:lnTo>
                  <a:lnTo>
                    <a:pt x="1435" y="2621"/>
                  </a:lnTo>
                  <a:lnTo>
                    <a:pt x="1435" y="2621"/>
                  </a:lnTo>
                  <a:lnTo>
                    <a:pt x="1447" y="2607"/>
                  </a:lnTo>
                  <a:lnTo>
                    <a:pt x="1455" y="2599"/>
                  </a:lnTo>
                  <a:lnTo>
                    <a:pt x="1455" y="2599"/>
                  </a:lnTo>
                  <a:lnTo>
                    <a:pt x="1453" y="2596"/>
                  </a:lnTo>
                  <a:lnTo>
                    <a:pt x="1448" y="2579"/>
                  </a:lnTo>
                  <a:lnTo>
                    <a:pt x="1448" y="2579"/>
                  </a:lnTo>
                  <a:lnTo>
                    <a:pt x="1447" y="2573"/>
                  </a:lnTo>
                  <a:lnTo>
                    <a:pt x="1445" y="2569"/>
                  </a:lnTo>
                  <a:lnTo>
                    <a:pt x="1440" y="2563"/>
                  </a:lnTo>
                  <a:lnTo>
                    <a:pt x="1438" y="2561"/>
                  </a:lnTo>
                  <a:lnTo>
                    <a:pt x="1440" y="2560"/>
                  </a:lnTo>
                  <a:lnTo>
                    <a:pt x="1447" y="2556"/>
                  </a:lnTo>
                  <a:lnTo>
                    <a:pt x="1447" y="2556"/>
                  </a:lnTo>
                  <a:lnTo>
                    <a:pt x="1458" y="2550"/>
                  </a:lnTo>
                  <a:lnTo>
                    <a:pt x="1466" y="2545"/>
                  </a:lnTo>
                  <a:lnTo>
                    <a:pt x="1470" y="2540"/>
                  </a:lnTo>
                  <a:lnTo>
                    <a:pt x="1471" y="2538"/>
                  </a:lnTo>
                  <a:lnTo>
                    <a:pt x="1471" y="2535"/>
                  </a:lnTo>
                  <a:lnTo>
                    <a:pt x="1471" y="2535"/>
                  </a:lnTo>
                  <a:lnTo>
                    <a:pt x="1470" y="2528"/>
                  </a:lnTo>
                  <a:lnTo>
                    <a:pt x="1470" y="2518"/>
                  </a:lnTo>
                  <a:lnTo>
                    <a:pt x="1471" y="2515"/>
                  </a:lnTo>
                  <a:lnTo>
                    <a:pt x="1473" y="2510"/>
                  </a:lnTo>
                  <a:lnTo>
                    <a:pt x="1476" y="2508"/>
                  </a:lnTo>
                  <a:lnTo>
                    <a:pt x="1481" y="2507"/>
                  </a:lnTo>
                  <a:lnTo>
                    <a:pt x="1481" y="2507"/>
                  </a:lnTo>
                  <a:lnTo>
                    <a:pt x="1488" y="2505"/>
                  </a:lnTo>
                  <a:lnTo>
                    <a:pt x="1494" y="2502"/>
                  </a:lnTo>
                  <a:lnTo>
                    <a:pt x="1498" y="2500"/>
                  </a:lnTo>
                  <a:lnTo>
                    <a:pt x="1499" y="2497"/>
                  </a:lnTo>
                  <a:lnTo>
                    <a:pt x="1499" y="2497"/>
                  </a:lnTo>
                  <a:lnTo>
                    <a:pt x="1501" y="2494"/>
                  </a:lnTo>
                  <a:lnTo>
                    <a:pt x="1501" y="2487"/>
                  </a:lnTo>
                  <a:lnTo>
                    <a:pt x="1504" y="2480"/>
                  </a:lnTo>
                  <a:lnTo>
                    <a:pt x="1506" y="2479"/>
                  </a:lnTo>
                  <a:lnTo>
                    <a:pt x="1508" y="2479"/>
                  </a:lnTo>
                  <a:lnTo>
                    <a:pt x="1508" y="2479"/>
                  </a:lnTo>
                  <a:lnTo>
                    <a:pt x="1516" y="2477"/>
                  </a:lnTo>
                  <a:lnTo>
                    <a:pt x="1524" y="2475"/>
                  </a:lnTo>
                  <a:lnTo>
                    <a:pt x="1534" y="2470"/>
                  </a:lnTo>
                  <a:lnTo>
                    <a:pt x="1534" y="2470"/>
                  </a:lnTo>
                  <a:lnTo>
                    <a:pt x="1542" y="2469"/>
                  </a:lnTo>
                  <a:lnTo>
                    <a:pt x="1547" y="2464"/>
                  </a:lnTo>
                  <a:lnTo>
                    <a:pt x="1549" y="2462"/>
                  </a:lnTo>
                  <a:lnTo>
                    <a:pt x="1551" y="2457"/>
                  </a:lnTo>
                  <a:lnTo>
                    <a:pt x="1551" y="2457"/>
                  </a:lnTo>
                  <a:lnTo>
                    <a:pt x="1559" y="2429"/>
                  </a:lnTo>
                  <a:lnTo>
                    <a:pt x="1564" y="2411"/>
                  </a:lnTo>
                  <a:lnTo>
                    <a:pt x="1565" y="2398"/>
                  </a:lnTo>
                  <a:lnTo>
                    <a:pt x="1565" y="2398"/>
                  </a:lnTo>
                  <a:lnTo>
                    <a:pt x="1567" y="2332"/>
                  </a:lnTo>
                  <a:lnTo>
                    <a:pt x="1567" y="2332"/>
                  </a:lnTo>
                  <a:lnTo>
                    <a:pt x="1565" y="2322"/>
                  </a:lnTo>
                  <a:lnTo>
                    <a:pt x="1562" y="2315"/>
                  </a:lnTo>
                  <a:lnTo>
                    <a:pt x="1557" y="2310"/>
                  </a:lnTo>
                  <a:lnTo>
                    <a:pt x="1552" y="2309"/>
                  </a:lnTo>
                  <a:lnTo>
                    <a:pt x="1552" y="2309"/>
                  </a:lnTo>
                  <a:lnTo>
                    <a:pt x="1546" y="2309"/>
                  </a:lnTo>
                  <a:lnTo>
                    <a:pt x="1539" y="2307"/>
                  </a:lnTo>
                  <a:lnTo>
                    <a:pt x="1532" y="2304"/>
                  </a:lnTo>
                  <a:lnTo>
                    <a:pt x="1531" y="2302"/>
                  </a:lnTo>
                  <a:lnTo>
                    <a:pt x="1531" y="2299"/>
                  </a:lnTo>
                  <a:lnTo>
                    <a:pt x="1531" y="2299"/>
                  </a:lnTo>
                  <a:lnTo>
                    <a:pt x="1531" y="2269"/>
                  </a:lnTo>
                  <a:lnTo>
                    <a:pt x="1531" y="2269"/>
                  </a:lnTo>
                  <a:lnTo>
                    <a:pt x="1532" y="2268"/>
                  </a:lnTo>
                  <a:lnTo>
                    <a:pt x="1534" y="2264"/>
                  </a:lnTo>
                  <a:lnTo>
                    <a:pt x="1534" y="2261"/>
                  </a:lnTo>
                  <a:lnTo>
                    <a:pt x="1531" y="2256"/>
                  </a:lnTo>
                  <a:lnTo>
                    <a:pt x="1531" y="2256"/>
                  </a:lnTo>
                  <a:lnTo>
                    <a:pt x="1514" y="2246"/>
                  </a:lnTo>
                  <a:lnTo>
                    <a:pt x="1508" y="2240"/>
                  </a:lnTo>
                  <a:lnTo>
                    <a:pt x="1504" y="2236"/>
                  </a:lnTo>
                  <a:lnTo>
                    <a:pt x="1504" y="2236"/>
                  </a:lnTo>
                  <a:lnTo>
                    <a:pt x="1499" y="2223"/>
                  </a:lnTo>
                  <a:lnTo>
                    <a:pt x="1496" y="2215"/>
                  </a:lnTo>
                  <a:lnTo>
                    <a:pt x="1494" y="2213"/>
                  </a:lnTo>
                  <a:lnTo>
                    <a:pt x="1493" y="2213"/>
                  </a:lnTo>
                  <a:lnTo>
                    <a:pt x="1493" y="2213"/>
                  </a:lnTo>
                  <a:lnTo>
                    <a:pt x="1486" y="2220"/>
                  </a:lnTo>
                  <a:lnTo>
                    <a:pt x="1480" y="2231"/>
                  </a:lnTo>
                  <a:lnTo>
                    <a:pt x="1480" y="2231"/>
                  </a:lnTo>
                  <a:lnTo>
                    <a:pt x="1471" y="2241"/>
                  </a:lnTo>
                  <a:lnTo>
                    <a:pt x="1468" y="2246"/>
                  </a:lnTo>
                  <a:lnTo>
                    <a:pt x="1468" y="2246"/>
                  </a:lnTo>
                  <a:lnTo>
                    <a:pt x="1466" y="2266"/>
                  </a:lnTo>
                  <a:lnTo>
                    <a:pt x="1466" y="2266"/>
                  </a:lnTo>
                  <a:lnTo>
                    <a:pt x="1465" y="2271"/>
                  </a:lnTo>
                  <a:lnTo>
                    <a:pt x="1460" y="2276"/>
                  </a:lnTo>
                  <a:lnTo>
                    <a:pt x="1455" y="2279"/>
                  </a:lnTo>
                  <a:lnTo>
                    <a:pt x="1452" y="2282"/>
                  </a:lnTo>
                  <a:lnTo>
                    <a:pt x="1452" y="2282"/>
                  </a:lnTo>
                  <a:lnTo>
                    <a:pt x="1445" y="2281"/>
                  </a:lnTo>
                  <a:lnTo>
                    <a:pt x="1438" y="2279"/>
                  </a:lnTo>
                  <a:lnTo>
                    <a:pt x="1430" y="2274"/>
                  </a:lnTo>
                  <a:lnTo>
                    <a:pt x="1422" y="2269"/>
                  </a:lnTo>
                  <a:lnTo>
                    <a:pt x="1422" y="2269"/>
                  </a:lnTo>
                  <a:lnTo>
                    <a:pt x="1415" y="2261"/>
                  </a:lnTo>
                  <a:lnTo>
                    <a:pt x="1405" y="2253"/>
                  </a:lnTo>
                  <a:lnTo>
                    <a:pt x="1389" y="2241"/>
                  </a:lnTo>
                  <a:lnTo>
                    <a:pt x="1389" y="2241"/>
                  </a:lnTo>
                  <a:lnTo>
                    <a:pt x="1384" y="2238"/>
                  </a:lnTo>
                  <a:lnTo>
                    <a:pt x="1376" y="2233"/>
                  </a:lnTo>
                  <a:lnTo>
                    <a:pt x="1367" y="2230"/>
                  </a:lnTo>
                  <a:lnTo>
                    <a:pt x="1359" y="2226"/>
                  </a:lnTo>
                  <a:lnTo>
                    <a:pt x="1359" y="2226"/>
                  </a:lnTo>
                  <a:lnTo>
                    <a:pt x="1341" y="2225"/>
                  </a:lnTo>
                  <a:lnTo>
                    <a:pt x="1331" y="2225"/>
                  </a:lnTo>
                  <a:lnTo>
                    <a:pt x="1326" y="2225"/>
                  </a:lnTo>
                  <a:lnTo>
                    <a:pt x="1323" y="2226"/>
                  </a:lnTo>
                  <a:lnTo>
                    <a:pt x="1323" y="2226"/>
                  </a:lnTo>
                  <a:lnTo>
                    <a:pt x="1301" y="2241"/>
                  </a:lnTo>
                  <a:lnTo>
                    <a:pt x="1287" y="2249"/>
                  </a:lnTo>
                  <a:lnTo>
                    <a:pt x="1273" y="2256"/>
                  </a:lnTo>
                  <a:lnTo>
                    <a:pt x="1273" y="2256"/>
                  </a:lnTo>
                  <a:lnTo>
                    <a:pt x="1224" y="2266"/>
                  </a:lnTo>
                  <a:lnTo>
                    <a:pt x="1224" y="2266"/>
                  </a:lnTo>
                  <a:lnTo>
                    <a:pt x="1211" y="2269"/>
                  </a:lnTo>
                  <a:lnTo>
                    <a:pt x="1199" y="2276"/>
                  </a:lnTo>
                  <a:lnTo>
                    <a:pt x="1191" y="2282"/>
                  </a:lnTo>
                  <a:lnTo>
                    <a:pt x="1184" y="2289"/>
                  </a:lnTo>
                  <a:lnTo>
                    <a:pt x="1184" y="2289"/>
                  </a:lnTo>
                  <a:lnTo>
                    <a:pt x="1174" y="2304"/>
                  </a:lnTo>
                  <a:lnTo>
                    <a:pt x="1168" y="2309"/>
                  </a:lnTo>
                  <a:lnTo>
                    <a:pt x="1165" y="2310"/>
                  </a:lnTo>
                  <a:lnTo>
                    <a:pt x="1160" y="2312"/>
                  </a:lnTo>
                  <a:lnTo>
                    <a:pt x="1160" y="2312"/>
                  </a:lnTo>
                  <a:lnTo>
                    <a:pt x="1143" y="2314"/>
                  </a:lnTo>
                  <a:lnTo>
                    <a:pt x="1135" y="2314"/>
                  </a:lnTo>
                  <a:lnTo>
                    <a:pt x="1125" y="2312"/>
                  </a:lnTo>
                  <a:lnTo>
                    <a:pt x="1125" y="2312"/>
                  </a:lnTo>
                  <a:lnTo>
                    <a:pt x="1112" y="2310"/>
                  </a:lnTo>
                  <a:lnTo>
                    <a:pt x="1099" y="2307"/>
                  </a:lnTo>
                  <a:lnTo>
                    <a:pt x="1089" y="2304"/>
                  </a:lnTo>
                  <a:lnTo>
                    <a:pt x="1079" y="2302"/>
                  </a:lnTo>
                  <a:lnTo>
                    <a:pt x="1079" y="2302"/>
                  </a:lnTo>
                  <a:lnTo>
                    <a:pt x="1056" y="2301"/>
                  </a:lnTo>
                  <a:lnTo>
                    <a:pt x="1039" y="2301"/>
                  </a:lnTo>
                  <a:lnTo>
                    <a:pt x="1039" y="2301"/>
                  </a:lnTo>
                  <a:lnTo>
                    <a:pt x="1034" y="2291"/>
                  </a:lnTo>
                  <a:lnTo>
                    <a:pt x="1031" y="2284"/>
                  </a:lnTo>
                  <a:lnTo>
                    <a:pt x="1029" y="2281"/>
                  </a:lnTo>
                  <a:lnTo>
                    <a:pt x="1029" y="2279"/>
                  </a:lnTo>
                  <a:lnTo>
                    <a:pt x="1029" y="2279"/>
                  </a:lnTo>
                  <a:lnTo>
                    <a:pt x="1039" y="2269"/>
                  </a:lnTo>
                  <a:lnTo>
                    <a:pt x="1043" y="2263"/>
                  </a:lnTo>
                  <a:lnTo>
                    <a:pt x="1044" y="2259"/>
                  </a:lnTo>
                  <a:lnTo>
                    <a:pt x="1043" y="2256"/>
                  </a:lnTo>
                  <a:lnTo>
                    <a:pt x="1043" y="2256"/>
                  </a:lnTo>
                  <a:lnTo>
                    <a:pt x="1041" y="2253"/>
                  </a:lnTo>
                  <a:lnTo>
                    <a:pt x="1036" y="2249"/>
                  </a:lnTo>
                  <a:lnTo>
                    <a:pt x="1024" y="2246"/>
                  </a:lnTo>
                  <a:lnTo>
                    <a:pt x="1014" y="2241"/>
                  </a:lnTo>
                  <a:lnTo>
                    <a:pt x="1010" y="2240"/>
                  </a:lnTo>
                  <a:lnTo>
                    <a:pt x="1010" y="2236"/>
                  </a:lnTo>
                  <a:lnTo>
                    <a:pt x="1010" y="2236"/>
                  </a:lnTo>
                  <a:lnTo>
                    <a:pt x="1010" y="2230"/>
                  </a:lnTo>
                  <a:lnTo>
                    <a:pt x="1013" y="2220"/>
                  </a:lnTo>
                  <a:lnTo>
                    <a:pt x="1014" y="2210"/>
                  </a:lnTo>
                  <a:lnTo>
                    <a:pt x="1014" y="2207"/>
                  </a:lnTo>
                  <a:lnTo>
                    <a:pt x="1014" y="2205"/>
                  </a:lnTo>
                  <a:lnTo>
                    <a:pt x="1014" y="2205"/>
                  </a:lnTo>
                  <a:lnTo>
                    <a:pt x="1008" y="2193"/>
                  </a:lnTo>
                  <a:lnTo>
                    <a:pt x="1005" y="2187"/>
                  </a:lnTo>
                  <a:lnTo>
                    <a:pt x="1003" y="2185"/>
                  </a:lnTo>
                  <a:lnTo>
                    <a:pt x="1001" y="2184"/>
                  </a:lnTo>
                  <a:lnTo>
                    <a:pt x="1001" y="2184"/>
                  </a:lnTo>
                  <a:lnTo>
                    <a:pt x="991" y="2185"/>
                  </a:lnTo>
                  <a:lnTo>
                    <a:pt x="977" y="2188"/>
                  </a:lnTo>
                  <a:lnTo>
                    <a:pt x="977" y="2188"/>
                  </a:lnTo>
                  <a:lnTo>
                    <a:pt x="972" y="2188"/>
                  </a:lnTo>
                  <a:lnTo>
                    <a:pt x="967" y="2187"/>
                  </a:lnTo>
                  <a:lnTo>
                    <a:pt x="955" y="2180"/>
                  </a:lnTo>
                  <a:lnTo>
                    <a:pt x="940" y="2167"/>
                  </a:lnTo>
                  <a:lnTo>
                    <a:pt x="940" y="2167"/>
                  </a:lnTo>
                  <a:lnTo>
                    <a:pt x="909" y="2154"/>
                  </a:lnTo>
                  <a:lnTo>
                    <a:pt x="909" y="2154"/>
                  </a:lnTo>
                  <a:lnTo>
                    <a:pt x="902" y="2149"/>
                  </a:lnTo>
                  <a:lnTo>
                    <a:pt x="896" y="2146"/>
                  </a:lnTo>
                  <a:lnTo>
                    <a:pt x="889" y="2144"/>
                  </a:lnTo>
                  <a:lnTo>
                    <a:pt x="878" y="2144"/>
                  </a:lnTo>
                  <a:lnTo>
                    <a:pt x="878" y="2144"/>
                  </a:lnTo>
                  <a:lnTo>
                    <a:pt x="856" y="2151"/>
                  </a:lnTo>
                  <a:lnTo>
                    <a:pt x="848" y="2154"/>
                  </a:lnTo>
                  <a:lnTo>
                    <a:pt x="841" y="2157"/>
                  </a:lnTo>
                  <a:lnTo>
                    <a:pt x="841" y="2157"/>
                  </a:lnTo>
                  <a:lnTo>
                    <a:pt x="835" y="2164"/>
                  </a:lnTo>
                  <a:lnTo>
                    <a:pt x="830" y="2169"/>
                  </a:lnTo>
                  <a:lnTo>
                    <a:pt x="825" y="2175"/>
                  </a:lnTo>
                  <a:lnTo>
                    <a:pt x="823" y="2180"/>
                  </a:lnTo>
                  <a:lnTo>
                    <a:pt x="823" y="2180"/>
                  </a:lnTo>
                  <a:lnTo>
                    <a:pt x="820" y="2195"/>
                  </a:lnTo>
                  <a:lnTo>
                    <a:pt x="817" y="2203"/>
                  </a:lnTo>
                  <a:lnTo>
                    <a:pt x="813" y="2210"/>
                  </a:lnTo>
                  <a:lnTo>
                    <a:pt x="813" y="2210"/>
                  </a:lnTo>
                  <a:lnTo>
                    <a:pt x="807" y="2213"/>
                  </a:lnTo>
                  <a:lnTo>
                    <a:pt x="798" y="2213"/>
                  </a:lnTo>
                  <a:lnTo>
                    <a:pt x="792" y="2213"/>
                  </a:lnTo>
                  <a:lnTo>
                    <a:pt x="788" y="2210"/>
                  </a:lnTo>
                  <a:lnTo>
                    <a:pt x="788" y="2210"/>
                  </a:lnTo>
                  <a:lnTo>
                    <a:pt x="785" y="2205"/>
                  </a:lnTo>
                  <a:lnTo>
                    <a:pt x="784" y="2198"/>
                  </a:lnTo>
                  <a:lnTo>
                    <a:pt x="782" y="2190"/>
                  </a:lnTo>
                  <a:lnTo>
                    <a:pt x="784" y="2187"/>
                  </a:lnTo>
                  <a:lnTo>
                    <a:pt x="785" y="2184"/>
                  </a:lnTo>
                  <a:lnTo>
                    <a:pt x="785" y="2184"/>
                  </a:lnTo>
                  <a:lnTo>
                    <a:pt x="790" y="2177"/>
                  </a:lnTo>
                  <a:lnTo>
                    <a:pt x="793" y="2169"/>
                  </a:lnTo>
                  <a:lnTo>
                    <a:pt x="797" y="2162"/>
                  </a:lnTo>
                  <a:lnTo>
                    <a:pt x="797" y="2157"/>
                  </a:lnTo>
                  <a:lnTo>
                    <a:pt x="797" y="2157"/>
                  </a:lnTo>
                  <a:lnTo>
                    <a:pt x="797" y="2152"/>
                  </a:lnTo>
                  <a:lnTo>
                    <a:pt x="798" y="2146"/>
                  </a:lnTo>
                  <a:lnTo>
                    <a:pt x="798" y="2142"/>
                  </a:lnTo>
                  <a:lnTo>
                    <a:pt x="798" y="2141"/>
                  </a:lnTo>
                  <a:lnTo>
                    <a:pt x="795" y="2137"/>
                  </a:lnTo>
                  <a:lnTo>
                    <a:pt x="792" y="2137"/>
                  </a:lnTo>
                  <a:lnTo>
                    <a:pt x="792" y="2137"/>
                  </a:lnTo>
                  <a:lnTo>
                    <a:pt x="785" y="2136"/>
                  </a:lnTo>
                  <a:lnTo>
                    <a:pt x="782" y="2137"/>
                  </a:lnTo>
                  <a:lnTo>
                    <a:pt x="775" y="2139"/>
                  </a:lnTo>
                  <a:lnTo>
                    <a:pt x="757" y="2141"/>
                  </a:lnTo>
                  <a:lnTo>
                    <a:pt x="757" y="2141"/>
                  </a:lnTo>
                  <a:lnTo>
                    <a:pt x="739" y="2141"/>
                  </a:lnTo>
                  <a:lnTo>
                    <a:pt x="737" y="2141"/>
                  </a:lnTo>
                  <a:lnTo>
                    <a:pt x="736" y="2139"/>
                  </a:lnTo>
                  <a:lnTo>
                    <a:pt x="734" y="2136"/>
                  </a:lnTo>
                  <a:lnTo>
                    <a:pt x="731" y="2136"/>
                  </a:lnTo>
                  <a:lnTo>
                    <a:pt x="726" y="2134"/>
                  </a:lnTo>
                  <a:lnTo>
                    <a:pt x="726" y="2134"/>
                  </a:lnTo>
                  <a:lnTo>
                    <a:pt x="713" y="2136"/>
                  </a:lnTo>
                  <a:lnTo>
                    <a:pt x="706" y="2139"/>
                  </a:lnTo>
                  <a:lnTo>
                    <a:pt x="699" y="2141"/>
                  </a:lnTo>
                  <a:lnTo>
                    <a:pt x="698" y="2141"/>
                  </a:lnTo>
                  <a:lnTo>
                    <a:pt x="693" y="2139"/>
                  </a:lnTo>
                  <a:lnTo>
                    <a:pt x="693" y="2139"/>
                  </a:lnTo>
                  <a:lnTo>
                    <a:pt x="685" y="2136"/>
                  </a:lnTo>
                  <a:lnTo>
                    <a:pt x="675" y="2132"/>
                  </a:lnTo>
                  <a:lnTo>
                    <a:pt x="668" y="2129"/>
                  </a:lnTo>
                  <a:lnTo>
                    <a:pt x="665" y="2127"/>
                  </a:lnTo>
                  <a:lnTo>
                    <a:pt x="663" y="2124"/>
                  </a:lnTo>
                  <a:lnTo>
                    <a:pt x="663" y="2124"/>
                  </a:lnTo>
                  <a:lnTo>
                    <a:pt x="657" y="2118"/>
                  </a:lnTo>
                  <a:lnTo>
                    <a:pt x="648" y="2109"/>
                  </a:lnTo>
                  <a:lnTo>
                    <a:pt x="640" y="2101"/>
                  </a:lnTo>
                  <a:lnTo>
                    <a:pt x="635" y="2099"/>
                  </a:lnTo>
                  <a:lnTo>
                    <a:pt x="632" y="2099"/>
                  </a:lnTo>
                  <a:lnTo>
                    <a:pt x="632" y="2099"/>
                  </a:lnTo>
                  <a:lnTo>
                    <a:pt x="627" y="2103"/>
                  </a:lnTo>
                  <a:lnTo>
                    <a:pt x="622" y="2106"/>
                  </a:lnTo>
                  <a:lnTo>
                    <a:pt x="619" y="2109"/>
                  </a:lnTo>
                  <a:lnTo>
                    <a:pt x="617" y="2111"/>
                  </a:lnTo>
                  <a:lnTo>
                    <a:pt x="614" y="2111"/>
                  </a:lnTo>
                  <a:lnTo>
                    <a:pt x="614" y="2111"/>
                  </a:lnTo>
                  <a:lnTo>
                    <a:pt x="609" y="2106"/>
                  </a:lnTo>
                  <a:lnTo>
                    <a:pt x="602" y="2101"/>
                  </a:lnTo>
                  <a:lnTo>
                    <a:pt x="595" y="2091"/>
                  </a:lnTo>
                  <a:lnTo>
                    <a:pt x="595" y="2091"/>
                  </a:lnTo>
                  <a:lnTo>
                    <a:pt x="587" y="2098"/>
                  </a:lnTo>
                  <a:lnTo>
                    <a:pt x="581" y="2099"/>
                  </a:lnTo>
                  <a:lnTo>
                    <a:pt x="577" y="2099"/>
                  </a:lnTo>
                  <a:lnTo>
                    <a:pt x="576" y="2098"/>
                  </a:lnTo>
                  <a:lnTo>
                    <a:pt x="576" y="2098"/>
                  </a:lnTo>
                  <a:lnTo>
                    <a:pt x="576" y="2091"/>
                  </a:lnTo>
                  <a:lnTo>
                    <a:pt x="576" y="2083"/>
                  </a:lnTo>
                  <a:lnTo>
                    <a:pt x="576" y="2078"/>
                  </a:lnTo>
                  <a:lnTo>
                    <a:pt x="574" y="2073"/>
                  </a:lnTo>
                  <a:lnTo>
                    <a:pt x="572" y="2070"/>
                  </a:lnTo>
                  <a:lnTo>
                    <a:pt x="567" y="2066"/>
                  </a:lnTo>
                  <a:lnTo>
                    <a:pt x="567" y="2066"/>
                  </a:lnTo>
                  <a:lnTo>
                    <a:pt x="559" y="2061"/>
                  </a:lnTo>
                  <a:lnTo>
                    <a:pt x="551" y="2060"/>
                  </a:lnTo>
                  <a:lnTo>
                    <a:pt x="533" y="2058"/>
                  </a:lnTo>
                  <a:lnTo>
                    <a:pt x="533" y="2058"/>
                  </a:lnTo>
                  <a:lnTo>
                    <a:pt x="523" y="2057"/>
                  </a:lnTo>
                  <a:lnTo>
                    <a:pt x="516" y="2055"/>
                  </a:lnTo>
                  <a:lnTo>
                    <a:pt x="515" y="2053"/>
                  </a:lnTo>
                  <a:lnTo>
                    <a:pt x="513" y="2052"/>
                  </a:lnTo>
                  <a:lnTo>
                    <a:pt x="515" y="2048"/>
                  </a:lnTo>
                  <a:lnTo>
                    <a:pt x="518" y="2045"/>
                  </a:lnTo>
                  <a:lnTo>
                    <a:pt x="518" y="2045"/>
                  </a:lnTo>
                  <a:lnTo>
                    <a:pt x="531" y="2030"/>
                  </a:lnTo>
                  <a:lnTo>
                    <a:pt x="534" y="2024"/>
                  </a:lnTo>
                  <a:lnTo>
                    <a:pt x="534" y="2022"/>
                  </a:lnTo>
                  <a:lnTo>
                    <a:pt x="534" y="2020"/>
                  </a:lnTo>
                  <a:lnTo>
                    <a:pt x="534" y="2020"/>
                  </a:lnTo>
                  <a:lnTo>
                    <a:pt x="530" y="2020"/>
                  </a:lnTo>
                  <a:lnTo>
                    <a:pt x="523" y="2020"/>
                  </a:lnTo>
                  <a:lnTo>
                    <a:pt x="515" y="2020"/>
                  </a:lnTo>
                  <a:lnTo>
                    <a:pt x="510" y="2019"/>
                  </a:lnTo>
                  <a:lnTo>
                    <a:pt x="505" y="2017"/>
                  </a:lnTo>
                  <a:lnTo>
                    <a:pt x="505" y="2017"/>
                  </a:lnTo>
                  <a:lnTo>
                    <a:pt x="492" y="2009"/>
                  </a:lnTo>
                  <a:lnTo>
                    <a:pt x="478" y="1999"/>
                  </a:lnTo>
                  <a:lnTo>
                    <a:pt x="467" y="1987"/>
                  </a:lnTo>
                  <a:lnTo>
                    <a:pt x="464" y="1984"/>
                  </a:lnTo>
                  <a:lnTo>
                    <a:pt x="464" y="1979"/>
                  </a:lnTo>
                  <a:lnTo>
                    <a:pt x="464" y="1979"/>
                  </a:lnTo>
                  <a:lnTo>
                    <a:pt x="467" y="1971"/>
                  </a:lnTo>
                  <a:lnTo>
                    <a:pt x="468" y="1961"/>
                  </a:lnTo>
                  <a:lnTo>
                    <a:pt x="470" y="1956"/>
                  </a:lnTo>
                  <a:lnTo>
                    <a:pt x="470" y="1951"/>
                  </a:lnTo>
                  <a:lnTo>
                    <a:pt x="467" y="1948"/>
                  </a:lnTo>
                  <a:lnTo>
                    <a:pt x="464" y="1944"/>
                  </a:lnTo>
                  <a:lnTo>
                    <a:pt x="464" y="1944"/>
                  </a:lnTo>
                  <a:lnTo>
                    <a:pt x="454" y="1941"/>
                  </a:lnTo>
                  <a:lnTo>
                    <a:pt x="444" y="1939"/>
                  </a:lnTo>
                  <a:lnTo>
                    <a:pt x="435" y="1938"/>
                  </a:lnTo>
                  <a:lnTo>
                    <a:pt x="429" y="1939"/>
                  </a:lnTo>
                  <a:lnTo>
                    <a:pt x="429" y="1939"/>
                  </a:lnTo>
                  <a:lnTo>
                    <a:pt x="424" y="1941"/>
                  </a:lnTo>
                  <a:lnTo>
                    <a:pt x="419" y="1939"/>
                  </a:lnTo>
                  <a:lnTo>
                    <a:pt x="416" y="1934"/>
                  </a:lnTo>
                  <a:lnTo>
                    <a:pt x="412" y="1926"/>
                  </a:lnTo>
                  <a:lnTo>
                    <a:pt x="412" y="1926"/>
                  </a:lnTo>
                  <a:lnTo>
                    <a:pt x="412" y="1918"/>
                  </a:lnTo>
                  <a:lnTo>
                    <a:pt x="411" y="1910"/>
                  </a:lnTo>
                  <a:lnTo>
                    <a:pt x="406" y="1903"/>
                  </a:lnTo>
                  <a:lnTo>
                    <a:pt x="402" y="1900"/>
                  </a:lnTo>
                  <a:lnTo>
                    <a:pt x="398" y="1897"/>
                  </a:lnTo>
                  <a:lnTo>
                    <a:pt x="398" y="1897"/>
                  </a:lnTo>
                  <a:lnTo>
                    <a:pt x="393" y="1892"/>
                  </a:lnTo>
                  <a:lnTo>
                    <a:pt x="388" y="1888"/>
                  </a:lnTo>
                  <a:lnTo>
                    <a:pt x="378" y="1877"/>
                  </a:lnTo>
                  <a:lnTo>
                    <a:pt x="371" y="1865"/>
                  </a:lnTo>
                  <a:lnTo>
                    <a:pt x="366" y="1859"/>
                  </a:lnTo>
                  <a:lnTo>
                    <a:pt x="366" y="1859"/>
                  </a:lnTo>
                  <a:lnTo>
                    <a:pt x="361" y="1854"/>
                  </a:lnTo>
                  <a:lnTo>
                    <a:pt x="356" y="1847"/>
                  </a:lnTo>
                  <a:lnTo>
                    <a:pt x="351" y="1840"/>
                  </a:lnTo>
                  <a:lnTo>
                    <a:pt x="348" y="1837"/>
                  </a:lnTo>
                  <a:lnTo>
                    <a:pt x="348" y="1837"/>
                  </a:lnTo>
                  <a:lnTo>
                    <a:pt x="345" y="1834"/>
                  </a:lnTo>
                  <a:lnTo>
                    <a:pt x="343" y="1827"/>
                  </a:lnTo>
                  <a:lnTo>
                    <a:pt x="340" y="1819"/>
                  </a:lnTo>
                  <a:lnTo>
                    <a:pt x="335" y="1811"/>
                  </a:lnTo>
                  <a:lnTo>
                    <a:pt x="335" y="1811"/>
                  </a:lnTo>
                  <a:lnTo>
                    <a:pt x="328" y="1804"/>
                  </a:lnTo>
                  <a:lnTo>
                    <a:pt x="320" y="1798"/>
                  </a:lnTo>
                  <a:lnTo>
                    <a:pt x="312" y="1791"/>
                  </a:lnTo>
                  <a:lnTo>
                    <a:pt x="308" y="1791"/>
                  </a:lnTo>
                  <a:lnTo>
                    <a:pt x="304" y="1791"/>
                  </a:lnTo>
                  <a:lnTo>
                    <a:pt x="304" y="1791"/>
                  </a:lnTo>
                  <a:lnTo>
                    <a:pt x="300" y="1793"/>
                  </a:lnTo>
                  <a:lnTo>
                    <a:pt x="297" y="1796"/>
                  </a:lnTo>
                  <a:lnTo>
                    <a:pt x="289" y="1806"/>
                  </a:lnTo>
                  <a:lnTo>
                    <a:pt x="280" y="1814"/>
                  </a:lnTo>
                  <a:lnTo>
                    <a:pt x="277" y="1817"/>
                  </a:lnTo>
                  <a:lnTo>
                    <a:pt x="272" y="1819"/>
                  </a:lnTo>
                  <a:lnTo>
                    <a:pt x="272" y="1819"/>
                  </a:lnTo>
                  <a:lnTo>
                    <a:pt x="267" y="1819"/>
                  </a:lnTo>
                  <a:lnTo>
                    <a:pt x="264" y="1817"/>
                  </a:lnTo>
                  <a:lnTo>
                    <a:pt x="261" y="1814"/>
                  </a:lnTo>
                  <a:lnTo>
                    <a:pt x="257" y="1809"/>
                  </a:lnTo>
                  <a:lnTo>
                    <a:pt x="257" y="1803"/>
                  </a:lnTo>
                  <a:lnTo>
                    <a:pt x="257" y="1803"/>
                  </a:lnTo>
                  <a:lnTo>
                    <a:pt x="256" y="1799"/>
                  </a:lnTo>
                  <a:lnTo>
                    <a:pt x="254" y="1796"/>
                  </a:lnTo>
                  <a:lnTo>
                    <a:pt x="247" y="1788"/>
                  </a:lnTo>
                  <a:lnTo>
                    <a:pt x="231" y="1770"/>
                  </a:lnTo>
                  <a:lnTo>
                    <a:pt x="231" y="1770"/>
                  </a:lnTo>
                  <a:lnTo>
                    <a:pt x="211" y="1753"/>
                  </a:lnTo>
                  <a:lnTo>
                    <a:pt x="203" y="1745"/>
                  </a:lnTo>
                  <a:lnTo>
                    <a:pt x="198" y="1742"/>
                  </a:lnTo>
                  <a:lnTo>
                    <a:pt x="198" y="1742"/>
                  </a:lnTo>
                  <a:lnTo>
                    <a:pt x="196" y="1730"/>
                  </a:lnTo>
                  <a:lnTo>
                    <a:pt x="193" y="1722"/>
                  </a:lnTo>
                  <a:lnTo>
                    <a:pt x="188" y="1713"/>
                  </a:lnTo>
                  <a:lnTo>
                    <a:pt x="188" y="1713"/>
                  </a:lnTo>
                  <a:lnTo>
                    <a:pt x="165" y="1692"/>
                  </a:lnTo>
                  <a:lnTo>
                    <a:pt x="165" y="1692"/>
                  </a:lnTo>
                  <a:lnTo>
                    <a:pt x="155" y="1692"/>
                  </a:lnTo>
                  <a:lnTo>
                    <a:pt x="147" y="1690"/>
                  </a:lnTo>
                  <a:lnTo>
                    <a:pt x="139" y="1687"/>
                  </a:lnTo>
                  <a:lnTo>
                    <a:pt x="139" y="1687"/>
                  </a:lnTo>
                  <a:lnTo>
                    <a:pt x="134" y="1679"/>
                  </a:lnTo>
                  <a:lnTo>
                    <a:pt x="127" y="1669"/>
                  </a:lnTo>
                  <a:lnTo>
                    <a:pt x="124" y="1657"/>
                  </a:lnTo>
                  <a:lnTo>
                    <a:pt x="122" y="1649"/>
                  </a:lnTo>
                  <a:lnTo>
                    <a:pt x="122" y="1649"/>
                  </a:lnTo>
                  <a:lnTo>
                    <a:pt x="127" y="1636"/>
                  </a:lnTo>
                  <a:lnTo>
                    <a:pt x="132" y="1623"/>
                  </a:lnTo>
                  <a:lnTo>
                    <a:pt x="132" y="1623"/>
                  </a:lnTo>
                  <a:lnTo>
                    <a:pt x="135" y="1613"/>
                  </a:lnTo>
                  <a:lnTo>
                    <a:pt x="135" y="1608"/>
                  </a:lnTo>
                  <a:lnTo>
                    <a:pt x="134" y="1603"/>
                  </a:lnTo>
                  <a:lnTo>
                    <a:pt x="134" y="1603"/>
                  </a:lnTo>
                  <a:lnTo>
                    <a:pt x="125" y="1588"/>
                  </a:lnTo>
                  <a:lnTo>
                    <a:pt x="124" y="1580"/>
                  </a:lnTo>
                  <a:lnTo>
                    <a:pt x="122" y="1568"/>
                  </a:lnTo>
                  <a:lnTo>
                    <a:pt x="122" y="1568"/>
                  </a:lnTo>
                  <a:lnTo>
                    <a:pt x="124" y="1555"/>
                  </a:lnTo>
                  <a:lnTo>
                    <a:pt x="127" y="1545"/>
                  </a:lnTo>
                  <a:lnTo>
                    <a:pt x="129" y="1540"/>
                  </a:lnTo>
                  <a:lnTo>
                    <a:pt x="132" y="1537"/>
                  </a:lnTo>
                  <a:lnTo>
                    <a:pt x="135" y="1535"/>
                  </a:lnTo>
                  <a:lnTo>
                    <a:pt x="140" y="1534"/>
                  </a:lnTo>
                  <a:lnTo>
                    <a:pt x="140" y="1534"/>
                  </a:lnTo>
                  <a:lnTo>
                    <a:pt x="148" y="1537"/>
                  </a:lnTo>
                  <a:lnTo>
                    <a:pt x="155" y="1540"/>
                  </a:lnTo>
                  <a:lnTo>
                    <a:pt x="160" y="1545"/>
                  </a:lnTo>
                  <a:lnTo>
                    <a:pt x="163" y="1550"/>
                  </a:lnTo>
                  <a:lnTo>
                    <a:pt x="163" y="1550"/>
                  </a:lnTo>
                  <a:lnTo>
                    <a:pt x="165" y="1555"/>
                  </a:lnTo>
                  <a:lnTo>
                    <a:pt x="165" y="1560"/>
                  </a:lnTo>
                  <a:lnTo>
                    <a:pt x="167" y="1562"/>
                  </a:lnTo>
                  <a:lnTo>
                    <a:pt x="168" y="1563"/>
                  </a:lnTo>
                  <a:lnTo>
                    <a:pt x="178" y="1567"/>
                  </a:lnTo>
                  <a:lnTo>
                    <a:pt x="178" y="1567"/>
                  </a:lnTo>
                  <a:lnTo>
                    <a:pt x="191" y="1567"/>
                  </a:lnTo>
                  <a:lnTo>
                    <a:pt x="195" y="1565"/>
                  </a:lnTo>
                  <a:lnTo>
                    <a:pt x="198" y="1563"/>
                  </a:lnTo>
                  <a:lnTo>
                    <a:pt x="201" y="1562"/>
                  </a:lnTo>
                  <a:lnTo>
                    <a:pt x="203" y="1558"/>
                  </a:lnTo>
                  <a:lnTo>
                    <a:pt x="205" y="1549"/>
                  </a:lnTo>
                  <a:lnTo>
                    <a:pt x="205" y="1549"/>
                  </a:lnTo>
                  <a:lnTo>
                    <a:pt x="206" y="1524"/>
                  </a:lnTo>
                  <a:lnTo>
                    <a:pt x="206" y="1512"/>
                  </a:lnTo>
                  <a:lnTo>
                    <a:pt x="205" y="1507"/>
                  </a:lnTo>
                  <a:lnTo>
                    <a:pt x="201" y="1501"/>
                  </a:lnTo>
                  <a:lnTo>
                    <a:pt x="201" y="1501"/>
                  </a:lnTo>
                  <a:lnTo>
                    <a:pt x="190" y="1484"/>
                  </a:lnTo>
                  <a:lnTo>
                    <a:pt x="186" y="1476"/>
                  </a:lnTo>
                  <a:lnTo>
                    <a:pt x="185" y="1468"/>
                  </a:lnTo>
                  <a:lnTo>
                    <a:pt x="185" y="1468"/>
                  </a:lnTo>
                  <a:lnTo>
                    <a:pt x="186" y="1456"/>
                  </a:lnTo>
                  <a:lnTo>
                    <a:pt x="190" y="1438"/>
                  </a:lnTo>
                  <a:lnTo>
                    <a:pt x="195" y="1417"/>
                  </a:lnTo>
                  <a:lnTo>
                    <a:pt x="195" y="1417"/>
                  </a:lnTo>
                  <a:lnTo>
                    <a:pt x="206" y="1413"/>
                  </a:lnTo>
                  <a:lnTo>
                    <a:pt x="214" y="1410"/>
                  </a:lnTo>
                  <a:lnTo>
                    <a:pt x="219" y="1407"/>
                  </a:lnTo>
                  <a:lnTo>
                    <a:pt x="219" y="1407"/>
                  </a:lnTo>
                  <a:lnTo>
                    <a:pt x="221" y="1403"/>
                  </a:lnTo>
                  <a:lnTo>
                    <a:pt x="221" y="1399"/>
                  </a:lnTo>
                  <a:lnTo>
                    <a:pt x="218" y="1389"/>
                  </a:lnTo>
                  <a:lnTo>
                    <a:pt x="218" y="1389"/>
                  </a:lnTo>
                  <a:lnTo>
                    <a:pt x="201" y="1366"/>
                  </a:lnTo>
                  <a:lnTo>
                    <a:pt x="193" y="1351"/>
                  </a:lnTo>
                  <a:lnTo>
                    <a:pt x="190" y="1346"/>
                  </a:lnTo>
                  <a:lnTo>
                    <a:pt x="188" y="1341"/>
                  </a:lnTo>
                  <a:lnTo>
                    <a:pt x="188" y="1341"/>
                  </a:lnTo>
                  <a:lnTo>
                    <a:pt x="186" y="1319"/>
                  </a:lnTo>
                  <a:lnTo>
                    <a:pt x="185" y="1308"/>
                  </a:lnTo>
                  <a:lnTo>
                    <a:pt x="185" y="1300"/>
                  </a:lnTo>
                  <a:lnTo>
                    <a:pt x="185" y="1300"/>
                  </a:lnTo>
                  <a:lnTo>
                    <a:pt x="186" y="1291"/>
                  </a:lnTo>
                  <a:lnTo>
                    <a:pt x="183" y="1285"/>
                  </a:lnTo>
                  <a:lnTo>
                    <a:pt x="181" y="1281"/>
                  </a:lnTo>
                  <a:lnTo>
                    <a:pt x="178" y="1280"/>
                  </a:lnTo>
                  <a:lnTo>
                    <a:pt x="173" y="1276"/>
                  </a:lnTo>
                  <a:lnTo>
                    <a:pt x="168" y="1276"/>
                  </a:lnTo>
                  <a:lnTo>
                    <a:pt x="168" y="1276"/>
                  </a:lnTo>
                  <a:lnTo>
                    <a:pt x="163" y="1275"/>
                  </a:lnTo>
                  <a:lnTo>
                    <a:pt x="157" y="1272"/>
                  </a:lnTo>
                  <a:lnTo>
                    <a:pt x="145" y="1262"/>
                  </a:lnTo>
                  <a:lnTo>
                    <a:pt x="127" y="1247"/>
                  </a:lnTo>
                  <a:lnTo>
                    <a:pt x="127" y="1247"/>
                  </a:lnTo>
                  <a:lnTo>
                    <a:pt x="115" y="1239"/>
                  </a:lnTo>
                  <a:lnTo>
                    <a:pt x="111" y="1232"/>
                  </a:lnTo>
                  <a:lnTo>
                    <a:pt x="107" y="1224"/>
                  </a:lnTo>
                  <a:lnTo>
                    <a:pt x="107" y="1224"/>
                  </a:lnTo>
                  <a:lnTo>
                    <a:pt x="106" y="1219"/>
                  </a:lnTo>
                  <a:lnTo>
                    <a:pt x="102" y="1215"/>
                  </a:lnTo>
                  <a:lnTo>
                    <a:pt x="99" y="1214"/>
                  </a:lnTo>
                  <a:lnTo>
                    <a:pt x="96" y="1212"/>
                  </a:lnTo>
                  <a:lnTo>
                    <a:pt x="82" y="1214"/>
                  </a:lnTo>
                  <a:lnTo>
                    <a:pt x="82" y="1214"/>
                  </a:lnTo>
                  <a:lnTo>
                    <a:pt x="79" y="1212"/>
                  </a:lnTo>
                  <a:lnTo>
                    <a:pt x="78" y="1209"/>
                  </a:lnTo>
                  <a:lnTo>
                    <a:pt x="73" y="1201"/>
                  </a:lnTo>
                  <a:lnTo>
                    <a:pt x="69" y="1191"/>
                  </a:lnTo>
                  <a:lnTo>
                    <a:pt x="69" y="1182"/>
                  </a:lnTo>
                  <a:lnTo>
                    <a:pt x="69" y="1182"/>
                  </a:lnTo>
                  <a:lnTo>
                    <a:pt x="73" y="1176"/>
                  </a:lnTo>
                  <a:lnTo>
                    <a:pt x="81" y="1164"/>
                  </a:lnTo>
                  <a:lnTo>
                    <a:pt x="82" y="1159"/>
                  </a:lnTo>
                  <a:lnTo>
                    <a:pt x="86" y="1153"/>
                  </a:lnTo>
                  <a:lnTo>
                    <a:pt x="86" y="1148"/>
                  </a:lnTo>
                  <a:lnTo>
                    <a:pt x="84" y="1141"/>
                  </a:lnTo>
                  <a:lnTo>
                    <a:pt x="84" y="1141"/>
                  </a:lnTo>
                  <a:lnTo>
                    <a:pt x="78" y="1131"/>
                  </a:lnTo>
                  <a:lnTo>
                    <a:pt x="68" y="1121"/>
                  </a:lnTo>
                  <a:lnTo>
                    <a:pt x="61" y="1113"/>
                  </a:lnTo>
                  <a:lnTo>
                    <a:pt x="56" y="1107"/>
                  </a:lnTo>
                  <a:lnTo>
                    <a:pt x="56" y="1107"/>
                  </a:lnTo>
                  <a:lnTo>
                    <a:pt x="53" y="1100"/>
                  </a:lnTo>
                  <a:lnTo>
                    <a:pt x="48" y="1095"/>
                  </a:lnTo>
                  <a:lnTo>
                    <a:pt x="41" y="1092"/>
                  </a:lnTo>
                  <a:lnTo>
                    <a:pt x="33" y="1088"/>
                  </a:lnTo>
                  <a:lnTo>
                    <a:pt x="33" y="1088"/>
                  </a:lnTo>
                  <a:lnTo>
                    <a:pt x="25" y="1082"/>
                  </a:lnTo>
                  <a:lnTo>
                    <a:pt x="13" y="1074"/>
                  </a:lnTo>
                  <a:lnTo>
                    <a:pt x="3" y="1065"/>
                  </a:lnTo>
                  <a:lnTo>
                    <a:pt x="2" y="1060"/>
                  </a:lnTo>
                  <a:lnTo>
                    <a:pt x="2" y="1059"/>
                  </a:lnTo>
                  <a:lnTo>
                    <a:pt x="2" y="1059"/>
                  </a:lnTo>
                  <a:lnTo>
                    <a:pt x="7" y="1054"/>
                  </a:lnTo>
                  <a:lnTo>
                    <a:pt x="12" y="1051"/>
                  </a:lnTo>
                  <a:lnTo>
                    <a:pt x="18" y="1049"/>
                  </a:lnTo>
                  <a:lnTo>
                    <a:pt x="21" y="1051"/>
                  </a:lnTo>
                  <a:lnTo>
                    <a:pt x="23" y="1052"/>
                  </a:lnTo>
                  <a:lnTo>
                    <a:pt x="23" y="1052"/>
                  </a:lnTo>
                  <a:lnTo>
                    <a:pt x="28" y="1057"/>
                  </a:lnTo>
                  <a:lnTo>
                    <a:pt x="31" y="1062"/>
                  </a:lnTo>
                  <a:lnTo>
                    <a:pt x="36" y="1064"/>
                  </a:lnTo>
                  <a:lnTo>
                    <a:pt x="41" y="1065"/>
                  </a:lnTo>
                  <a:lnTo>
                    <a:pt x="41" y="1065"/>
                  </a:lnTo>
                  <a:lnTo>
                    <a:pt x="45" y="1064"/>
                  </a:lnTo>
                  <a:lnTo>
                    <a:pt x="46" y="1062"/>
                  </a:lnTo>
                  <a:lnTo>
                    <a:pt x="51" y="1055"/>
                  </a:lnTo>
                  <a:lnTo>
                    <a:pt x="53" y="1046"/>
                  </a:lnTo>
                  <a:lnTo>
                    <a:pt x="53" y="1039"/>
                  </a:lnTo>
                  <a:lnTo>
                    <a:pt x="53" y="1039"/>
                  </a:lnTo>
                  <a:lnTo>
                    <a:pt x="51" y="1032"/>
                  </a:lnTo>
                  <a:lnTo>
                    <a:pt x="48" y="1027"/>
                  </a:lnTo>
                  <a:lnTo>
                    <a:pt x="46" y="1026"/>
                  </a:lnTo>
                  <a:lnTo>
                    <a:pt x="48" y="1022"/>
                  </a:lnTo>
                  <a:lnTo>
                    <a:pt x="49" y="1019"/>
                  </a:lnTo>
                  <a:lnTo>
                    <a:pt x="53" y="1016"/>
                  </a:lnTo>
                  <a:lnTo>
                    <a:pt x="53" y="1016"/>
                  </a:lnTo>
                  <a:lnTo>
                    <a:pt x="56" y="1011"/>
                  </a:lnTo>
                  <a:lnTo>
                    <a:pt x="58" y="1006"/>
                  </a:lnTo>
                  <a:lnTo>
                    <a:pt x="61" y="996"/>
                  </a:lnTo>
                  <a:lnTo>
                    <a:pt x="61" y="986"/>
                  </a:lnTo>
                  <a:lnTo>
                    <a:pt x="59" y="981"/>
                  </a:lnTo>
                  <a:lnTo>
                    <a:pt x="59" y="981"/>
                  </a:lnTo>
                  <a:lnTo>
                    <a:pt x="64" y="970"/>
                  </a:lnTo>
                  <a:lnTo>
                    <a:pt x="66" y="960"/>
                  </a:lnTo>
                  <a:lnTo>
                    <a:pt x="66" y="952"/>
                  </a:lnTo>
                  <a:lnTo>
                    <a:pt x="66" y="952"/>
                  </a:lnTo>
                  <a:lnTo>
                    <a:pt x="64" y="943"/>
                  </a:lnTo>
                  <a:lnTo>
                    <a:pt x="58" y="937"/>
                  </a:lnTo>
                  <a:lnTo>
                    <a:pt x="51" y="932"/>
                  </a:lnTo>
                  <a:lnTo>
                    <a:pt x="48" y="930"/>
                  </a:lnTo>
                  <a:lnTo>
                    <a:pt x="43" y="930"/>
                  </a:lnTo>
                  <a:lnTo>
                    <a:pt x="43" y="930"/>
                  </a:lnTo>
                  <a:lnTo>
                    <a:pt x="36" y="933"/>
                  </a:lnTo>
                  <a:lnTo>
                    <a:pt x="30" y="935"/>
                  </a:lnTo>
                  <a:lnTo>
                    <a:pt x="23" y="937"/>
                  </a:lnTo>
                  <a:lnTo>
                    <a:pt x="20" y="935"/>
                  </a:lnTo>
                  <a:lnTo>
                    <a:pt x="16" y="933"/>
                  </a:lnTo>
                  <a:lnTo>
                    <a:pt x="16" y="933"/>
                  </a:lnTo>
                  <a:lnTo>
                    <a:pt x="3" y="922"/>
                  </a:lnTo>
                  <a:lnTo>
                    <a:pt x="0" y="917"/>
                  </a:lnTo>
                  <a:lnTo>
                    <a:pt x="0" y="914"/>
                  </a:lnTo>
                  <a:lnTo>
                    <a:pt x="2" y="910"/>
                  </a:lnTo>
                  <a:lnTo>
                    <a:pt x="2" y="910"/>
                  </a:lnTo>
                  <a:lnTo>
                    <a:pt x="5" y="904"/>
                  </a:lnTo>
                  <a:lnTo>
                    <a:pt x="10" y="899"/>
                  </a:lnTo>
                  <a:lnTo>
                    <a:pt x="18" y="887"/>
                  </a:lnTo>
                  <a:lnTo>
                    <a:pt x="18" y="887"/>
                  </a:lnTo>
                  <a:lnTo>
                    <a:pt x="18" y="884"/>
                  </a:lnTo>
                  <a:lnTo>
                    <a:pt x="18" y="881"/>
                  </a:lnTo>
                  <a:lnTo>
                    <a:pt x="16" y="874"/>
                  </a:lnTo>
                  <a:lnTo>
                    <a:pt x="13" y="867"/>
                  </a:lnTo>
                  <a:lnTo>
                    <a:pt x="12" y="863"/>
                  </a:lnTo>
                  <a:lnTo>
                    <a:pt x="12" y="863"/>
                  </a:lnTo>
                  <a:lnTo>
                    <a:pt x="12" y="858"/>
                  </a:lnTo>
                  <a:lnTo>
                    <a:pt x="12" y="854"/>
                  </a:lnTo>
                  <a:lnTo>
                    <a:pt x="13" y="851"/>
                  </a:lnTo>
                  <a:lnTo>
                    <a:pt x="18" y="848"/>
                  </a:lnTo>
                  <a:lnTo>
                    <a:pt x="18" y="848"/>
                  </a:lnTo>
                  <a:lnTo>
                    <a:pt x="25" y="848"/>
                  </a:lnTo>
                  <a:lnTo>
                    <a:pt x="31" y="851"/>
                  </a:lnTo>
                  <a:lnTo>
                    <a:pt x="38" y="851"/>
                  </a:lnTo>
                  <a:lnTo>
                    <a:pt x="40" y="849"/>
                  </a:lnTo>
                  <a:lnTo>
                    <a:pt x="43" y="848"/>
                  </a:lnTo>
                  <a:lnTo>
                    <a:pt x="43" y="848"/>
                  </a:lnTo>
                  <a:lnTo>
                    <a:pt x="46" y="834"/>
                  </a:lnTo>
                  <a:lnTo>
                    <a:pt x="49" y="830"/>
                  </a:lnTo>
                  <a:lnTo>
                    <a:pt x="54" y="825"/>
                  </a:lnTo>
                  <a:lnTo>
                    <a:pt x="54" y="825"/>
                  </a:lnTo>
                  <a:lnTo>
                    <a:pt x="63" y="818"/>
                  </a:lnTo>
                  <a:lnTo>
                    <a:pt x="71" y="813"/>
                  </a:lnTo>
                  <a:lnTo>
                    <a:pt x="81" y="811"/>
                  </a:lnTo>
                  <a:lnTo>
                    <a:pt x="87" y="811"/>
                  </a:lnTo>
                  <a:lnTo>
                    <a:pt x="87" y="811"/>
                  </a:lnTo>
                  <a:lnTo>
                    <a:pt x="92" y="811"/>
                  </a:lnTo>
                  <a:lnTo>
                    <a:pt x="97" y="810"/>
                  </a:lnTo>
                  <a:lnTo>
                    <a:pt x="114" y="806"/>
                  </a:lnTo>
                  <a:lnTo>
                    <a:pt x="129" y="802"/>
                  </a:lnTo>
                  <a:lnTo>
                    <a:pt x="135" y="797"/>
                  </a:lnTo>
                  <a:lnTo>
                    <a:pt x="135" y="797"/>
                  </a:lnTo>
                  <a:lnTo>
                    <a:pt x="137" y="797"/>
                  </a:lnTo>
                  <a:lnTo>
                    <a:pt x="139" y="797"/>
                  </a:lnTo>
                  <a:lnTo>
                    <a:pt x="144" y="802"/>
                  </a:lnTo>
                  <a:lnTo>
                    <a:pt x="150" y="806"/>
                  </a:lnTo>
                  <a:lnTo>
                    <a:pt x="155" y="808"/>
                  </a:lnTo>
                  <a:lnTo>
                    <a:pt x="158" y="810"/>
                  </a:lnTo>
                  <a:lnTo>
                    <a:pt x="158" y="810"/>
                  </a:lnTo>
                  <a:lnTo>
                    <a:pt x="163" y="810"/>
                  </a:lnTo>
                  <a:lnTo>
                    <a:pt x="168" y="806"/>
                  </a:lnTo>
                  <a:lnTo>
                    <a:pt x="178" y="800"/>
                  </a:lnTo>
                  <a:lnTo>
                    <a:pt x="186" y="795"/>
                  </a:lnTo>
                  <a:lnTo>
                    <a:pt x="188" y="795"/>
                  </a:lnTo>
                  <a:lnTo>
                    <a:pt x="191" y="797"/>
                  </a:lnTo>
                  <a:lnTo>
                    <a:pt x="191" y="797"/>
                  </a:lnTo>
                  <a:lnTo>
                    <a:pt x="191" y="800"/>
                  </a:lnTo>
                  <a:lnTo>
                    <a:pt x="191" y="805"/>
                  </a:lnTo>
                  <a:lnTo>
                    <a:pt x="190" y="816"/>
                  </a:lnTo>
                  <a:lnTo>
                    <a:pt x="190" y="826"/>
                  </a:lnTo>
                  <a:lnTo>
                    <a:pt x="191" y="830"/>
                  </a:lnTo>
                  <a:lnTo>
                    <a:pt x="195" y="833"/>
                  </a:lnTo>
                  <a:lnTo>
                    <a:pt x="195" y="833"/>
                  </a:lnTo>
                  <a:lnTo>
                    <a:pt x="203" y="836"/>
                  </a:lnTo>
                  <a:lnTo>
                    <a:pt x="211" y="838"/>
                  </a:lnTo>
                  <a:lnTo>
                    <a:pt x="219" y="839"/>
                  </a:lnTo>
                  <a:lnTo>
                    <a:pt x="224" y="841"/>
                  </a:lnTo>
                  <a:lnTo>
                    <a:pt x="224" y="841"/>
                  </a:lnTo>
                  <a:lnTo>
                    <a:pt x="229" y="844"/>
                  </a:lnTo>
                  <a:lnTo>
                    <a:pt x="234" y="844"/>
                  </a:lnTo>
                  <a:lnTo>
                    <a:pt x="241" y="841"/>
                  </a:lnTo>
                  <a:lnTo>
                    <a:pt x="247" y="834"/>
                  </a:lnTo>
                  <a:lnTo>
                    <a:pt x="247" y="834"/>
                  </a:lnTo>
                  <a:lnTo>
                    <a:pt x="252" y="825"/>
                  </a:lnTo>
                  <a:lnTo>
                    <a:pt x="261" y="811"/>
                  </a:lnTo>
                  <a:lnTo>
                    <a:pt x="264" y="806"/>
                  </a:lnTo>
                  <a:lnTo>
                    <a:pt x="269" y="802"/>
                  </a:lnTo>
                  <a:lnTo>
                    <a:pt x="275" y="797"/>
                  </a:lnTo>
                  <a:lnTo>
                    <a:pt x="280" y="795"/>
                  </a:lnTo>
                  <a:lnTo>
                    <a:pt x="280" y="795"/>
                  </a:lnTo>
                  <a:lnTo>
                    <a:pt x="287" y="795"/>
                  </a:lnTo>
                  <a:lnTo>
                    <a:pt x="294" y="797"/>
                  </a:lnTo>
                  <a:lnTo>
                    <a:pt x="304" y="802"/>
                  </a:lnTo>
                  <a:lnTo>
                    <a:pt x="313" y="806"/>
                  </a:lnTo>
                  <a:lnTo>
                    <a:pt x="320" y="811"/>
                  </a:lnTo>
                  <a:lnTo>
                    <a:pt x="320" y="811"/>
                  </a:lnTo>
                  <a:lnTo>
                    <a:pt x="327" y="813"/>
                  </a:lnTo>
                  <a:lnTo>
                    <a:pt x="335" y="815"/>
                  </a:lnTo>
                  <a:lnTo>
                    <a:pt x="341" y="815"/>
                  </a:lnTo>
                  <a:lnTo>
                    <a:pt x="351" y="811"/>
                  </a:lnTo>
                  <a:lnTo>
                    <a:pt x="351" y="811"/>
                  </a:lnTo>
                  <a:lnTo>
                    <a:pt x="360" y="806"/>
                  </a:lnTo>
                  <a:lnTo>
                    <a:pt x="365" y="802"/>
                  </a:lnTo>
                  <a:lnTo>
                    <a:pt x="369" y="797"/>
                  </a:lnTo>
                  <a:lnTo>
                    <a:pt x="373" y="795"/>
                  </a:lnTo>
                  <a:lnTo>
                    <a:pt x="373" y="795"/>
                  </a:lnTo>
                  <a:lnTo>
                    <a:pt x="378" y="795"/>
                  </a:lnTo>
                  <a:lnTo>
                    <a:pt x="383" y="797"/>
                  </a:lnTo>
                  <a:lnTo>
                    <a:pt x="391" y="798"/>
                  </a:lnTo>
                  <a:lnTo>
                    <a:pt x="402" y="800"/>
                  </a:lnTo>
                  <a:lnTo>
                    <a:pt x="402" y="800"/>
                  </a:lnTo>
                  <a:lnTo>
                    <a:pt x="416" y="800"/>
                  </a:lnTo>
                  <a:lnTo>
                    <a:pt x="426" y="798"/>
                  </a:lnTo>
                  <a:lnTo>
                    <a:pt x="435" y="795"/>
                  </a:lnTo>
                  <a:lnTo>
                    <a:pt x="435" y="7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76" name="Freeform 8"/>
            <p:cNvSpPr>
              <a:spLocks/>
            </p:cNvSpPr>
            <p:nvPr/>
          </p:nvSpPr>
          <p:spPr bwMode="auto">
            <a:xfrm>
              <a:off x="5003800" y="6010276"/>
              <a:ext cx="325438" cy="258763"/>
            </a:xfrm>
            <a:custGeom>
              <a:avLst/>
              <a:gdLst>
                <a:gd name="T0" fmla="*/ 2 w 205"/>
                <a:gd name="T1" fmla="*/ 127 h 163"/>
                <a:gd name="T2" fmla="*/ 0 w 205"/>
                <a:gd name="T3" fmla="*/ 74 h 163"/>
                <a:gd name="T4" fmla="*/ 5 w 205"/>
                <a:gd name="T5" fmla="*/ 61 h 163"/>
                <a:gd name="T6" fmla="*/ 18 w 205"/>
                <a:gd name="T7" fmla="*/ 48 h 163"/>
                <a:gd name="T8" fmla="*/ 38 w 205"/>
                <a:gd name="T9" fmla="*/ 34 h 163"/>
                <a:gd name="T10" fmla="*/ 43 w 205"/>
                <a:gd name="T11" fmla="*/ 33 h 163"/>
                <a:gd name="T12" fmla="*/ 48 w 205"/>
                <a:gd name="T13" fmla="*/ 31 h 163"/>
                <a:gd name="T14" fmla="*/ 50 w 205"/>
                <a:gd name="T15" fmla="*/ 23 h 163"/>
                <a:gd name="T16" fmla="*/ 56 w 205"/>
                <a:gd name="T17" fmla="*/ 16 h 163"/>
                <a:gd name="T18" fmla="*/ 63 w 205"/>
                <a:gd name="T19" fmla="*/ 13 h 163"/>
                <a:gd name="T20" fmla="*/ 80 w 205"/>
                <a:gd name="T21" fmla="*/ 6 h 163"/>
                <a:gd name="T22" fmla="*/ 103 w 205"/>
                <a:gd name="T23" fmla="*/ 5 h 163"/>
                <a:gd name="T24" fmla="*/ 122 w 205"/>
                <a:gd name="T25" fmla="*/ 5 h 163"/>
                <a:gd name="T26" fmla="*/ 137 w 205"/>
                <a:gd name="T27" fmla="*/ 8 h 163"/>
                <a:gd name="T28" fmla="*/ 146 w 205"/>
                <a:gd name="T29" fmla="*/ 5 h 163"/>
                <a:gd name="T30" fmla="*/ 159 w 205"/>
                <a:gd name="T31" fmla="*/ 0 h 163"/>
                <a:gd name="T32" fmla="*/ 188 w 205"/>
                <a:gd name="T33" fmla="*/ 3 h 163"/>
                <a:gd name="T34" fmla="*/ 193 w 205"/>
                <a:gd name="T35" fmla="*/ 5 h 163"/>
                <a:gd name="T36" fmla="*/ 203 w 205"/>
                <a:gd name="T37" fmla="*/ 21 h 163"/>
                <a:gd name="T38" fmla="*/ 205 w 205"/>
                <a:gd name="T39" fmla="*/ 31 h 163"/>
                <a:gd name="T40" fmla="*/ 200 w 205"/>
                <a:gd name="T41" fmla="*/ 39 h 163"/>
                <a:gd name="T42" fmla="*/ 183 w 205"/>
                <a:gd name="T43" fmla="*/ 59 h 163"/>
                <a:gd name="T44" fmla="*/ 178 w 205"/>
                <a:gd name="T45" fmla="*/ 64 h 163"/>
                <a:gd name="T46" fmla="*/ 170 w 205"/>
                <a:gd name="T47" fmla="*/ 71 h 163"/>
                <a:gd name="T48" fmla="*/ 165 w 205"/>
                <a:gd name="T49" fmla="*/ 90 h 163"/>
                <a:gd name="T50" fmla="*/ 165 w 205"/>
                <a:gd name="T51" fmla="*/ 115 h 163"/>
                <a:gd name="T52" fmla="*/ 164 w 205"/>
                <a:gd name="T53" fmla="*/ 123 h 163"/>
                <a:gd name="T54" fmla="*/ 159 w 205"/>
                <a:gd name="T55" fmla="*/ 127 h 163"/>
                <a:gd name="T56" fmla="*/ 150 w 205"/>
                <a:gd name="T57" fmla="*/ 127 h 163"/>
                <a:gd name="T58" fmla="*/ 139 w 205"/>
                <a:gd name="T59" fmla="*/ 125 h 163"/>
                <a:gd name="T60" fmla="*/ 132 w 205"/>
                <a:gd name="T61" fmla="*/ 127 h 163"/>
                <a:gd name="T62" fmla="*/ 127 w 205"/>
                <a:gd name="T63" fmla="*/ 132 h 163"/>
                <a:gd name="T64" fmla="*/ 129 w 205"/>
                <a:gd name="T65" fmla="*/ 142 h 163"/>
                <a:gd name="T66" fmla="*/ 126 w 205"/>
                <a:gd name="T67" fmla="*/ 148 h 163"/>
                <a:gd name="T68" fmla="*/ 121 w 205"/>
                <a:gd name="T69" fmla="*/ 151 h 163"/>
                <a:gd name="T70" fmla="*/ 119 w 205"/>
                <a:gd name="T71" fmla="*/ 151 h 163"/>
                <a:gd name="T72" fmla="*/ 117 w 205"/>
                <a:gd name="T73" fmla="*/ 148 h 163"/>
                <a:gd name="T74" fmla="*/ 106 w 205"/>
                <a:gd name="T75" fmla="*/ 151 h 163"/>
                <a:gd name="T76" fmla="*/ 103 w 205"/>
                <a:gd name="T77" fmla="*/ 155 h 163"/>
                <a:gd name="T78" fmla="*/ 103 w 205"/>
                <a:gd name="T79" fmla="*/ 160 h 163"/>
                <a:gd name="T80" fmla="*/ 104 w 205"/>
                <a:gd name="T81" fmla="*/ 161 h 163"/>
                <a:gd name="T82" fmla="*/ 89 w 205"/>
                <a:gd name="T83" fmla="*/ 163 h 163"/>
                <a:gd name="T84" fmla="*/ 70 w 205"/>
                <a:gd name="T85" fmla="*/ 161 h 163"/>
                <a:gd name="T86" fmla="*/ 47 w 205"/>
                <a:gd name="T87" fmla="*/ 156 h 163"/>
                <a:gd name="T88" fmla="*/ 37 w 205"/>
                <a:gd name="T89" fmla="*/ 151 h 163"/>
                <a:gd name="T90" fmla="*/ 7 w 205"/>
                <a:gd name="T91" fmla="*/ 137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05" h="163">
                  <a:moveTo>
                    <a:pt x="2" y="127"/>
                  </a:moveTo>
                  <a:lnTo>
                    <a:pt x="2" y="127"/>
                  </a:lnTo>
                  <a:lnTo>
                    <a:pt x="0" y="74"/>
                  </a:lnTo>
                  <a:lnTo>
                    <a:pt x="0" y="74"/>
                  </a:lnTo>
                  <a:lnTo>
                    <a:pt x="2" y="69"/>
                  </a:lnTo>
                  <a:lnTo>
                    <a:pt x="5" y="61"/>
                  </a:lnTo>
                  <a:lnTo>
                    <a:pt x="12" y="54"/>
                  </a:lnTo>
                  <a:lnTo>
                    <a:pt x="18" y="48"/>
                  </a:lnTo>
                  <a:lnTo>
                    <a:pt x="32" y="38"/>
                  </a:lnTo>
                  <a:lnTo>
                    <a:pt x="38" y="34"/>
                  </a:lnTo>
                  <a:lnTo>
                    <a:pt x="43" y="33"/>
                  </a:lnTo>
                  <a:lnTo>
                    <a:pt x="43" y="33"/>
                  </a:lnTo>
                  <a:lnTo>
                    <a:pt x="47" y="33"/>
                  </a:lnTo>
                  <a:lnTo>
                    <a:pt x="48" y="31"/>
                  </a:lnTo>
                  <a:lnTo>
                    <a:pt x="50" y="26"/>
                  </a:lnTo>
                  <a:lnTo>
                    <a:pt x="50" y="23"/>
                  </a:lnTo>
                  <a:lnTo>
                    <a:pt x="53" y="20"/>
                  </a:lnTo>
                  <a:lnTo>
                    <a:pt x="56" y="16"/>
                  </a:lnTo>
                  <a:lnTo>
                    <a:pt x="63" y="13"/>
                  </a:lnTo>
                  <a:lnTo>
                    <a:pt x="63" y="13"/>
                  </a:lnTo>
                  <a:lnTo>
                    <a:pt x="75" y="8"/>
                  </a:lnTo>
                  <a:lnTo>
                    <a:pt x="80" y="6"/>
                  </a:lnTo>
                  <a:lnTo>
                    <a:pt x="86" y="5"/>
                  </a:lnTo>
                  <a:lnTo>
                    <a:pt x="103" y="5"/>
                  </a:lnTo>
                  <a:lnTo>
                    <a:pt x="103" y="5"/>
                  </a:lnTo>
                  <a:lnTo>
                    <a:pt x="122" y="5"/>
                  </a:lnTo>
                  <a:lnTo>
                    <a:pt x="132" y="8"/>
                  </a:lnTo>
                  <a:lnTo>
                    <a:pt x="137" y="8"/>
                  </a:lnTo>
                  <a:lnTo>
                    <a:pt x="146" y="5"/>
                  </a:lnTo>
                  <a:lnTo>
                    <a:pt x="146" y="5"/>
                  </a:lnTo>
                  <a:lnTo>
                    <a:pt x="150" y="1"/>
                  </a:lnTo>
                  <a:lnTo>
                    <a:pt x="159" y="0"/>
                  </a:lnTo>
                  <a:lnTo>
                    <a:pt x="174" y="1"/>
                  </a:lnTo>
                  <a:lnTo>
                    <a:pt x="188" y="3"/>
                  </a:lnTo>
                  <a:lnTo>
                    <a:pt x="193" y="5"/>
                  </a:lnTo>
                  <a:lnTo>
                    <a:pt x="193" y="5"/>
                  </a:lnTo>
                  <a:lnTo>
                    <a:pt x="200" y="13"/>
                  </a:lnTo>
                  <a:lnTo>
                    <a:pt x="203" y="21"/>
                  </a:lnTo>
                  <a:lnTo>
                    <a:pt x="205" y="26"/>
                  </a:lnTo>
                  <a:lnTo>
                    <a:pt x="205" y="31"/>
                  </a:lnTo>
                  <a:lnTo>
                    <a:pt x="205" y="31"/>
                  </a:lnTo>
                  <a:lnTo>
                    <a:pt x="200" y="39"/>
                  </a:lnTo>
                  <a:lnTo>
                    <a:pt x="192" y="51"/>
                  </a:lnTo>
                  <a:lnTo>
                    <a:pt x="183" y="59"/>
                  </a:lnTo>
                  <a:lnTo>
                    <a:pt x="178" y="64"/>
                  </a:lnTo>
                  <a:lnTo>
                    <a:pt x="178" y="64"/>
                  </a:lnTo>
                  <a:lnTo>
                    <a:pt x="174" y="66"/>
                  </a:lnTo>
                  <a:lnTo>
                    <a:pt x="170" y="71"/>
                  </a:lnTo>
                  <a:lnTo>
                    <a:pt x="167" y="79"/>
                  </a:lnTo>
                  <a:lnTo>
                    <a:pt x="165" y="90"/>
                  </a:lnTo>
                  <a:lnTo>
                    <a:pt x="165" y="90"/>
                  </a:lnTo>
                  <a:lnTo>
                    <a:pt x="165" y="115"/>
                  </a:lnTo>
                  <a:lnTo>
                    <a:pt x="165" y="120"/>
                  </a:lnTo>
                  <a:lnTo>
                    <a:pt x="164" y="123"/>
                  </a:lnTo>
                  <a:lnTo>
                    <a:pt x="162" y="127"/>
                  </a:lnTo>
                  <a:lnTo>
                    <a:pt x="159" y="127"/>
                  </a:lnTo>
                  <a:lnTo>
                    <a:pt x="159" y="127"/>
                  </a:lnTo>
                  <a:lnTo>
                    <a:pt x="150" y="127"/>
                  </a:lnTo>
                  <a:lnTo>
                    <a:pt x="146" y="125"/>
                  </a:lnTo>
                  <a:lnTo>
                    <a:pt x="139" y="125"/>
                  </a:lnTo>
                  <a:lnTo>
                    <a:pt x="132" y="127"/>
                  </a:lnTo>
                  <a:lnTo>
                    <a:pt x="132" y="127"/>
                  </a:lnTo>
                  <a:lnTo>
                    <a:pt x="127" y="130"/>
                  </a:lnTo>
                  <a:lnTo>
                    <a:pt x="127" y="132"/>
                  </a:lnTo>
                  <a:lnTo>
                    <a:pt x="129" y="138"/>
                  </a:lnTo>
                  <a:lnTo>
                    <a:pt x="129" y="142"/>
                  </a:lnTo>
                  <a:lnTo>
                    <a:pt x="129" y="145"/>
                  </a:lnTo>
                  <a:lnTo>
                    <a:pt x="126" y="148"/>
                  </a:lnTo>
                  <a:lnTo>
                    <a:pt x="121" y="151"/>
                  </a:lnTo>
                  <a:lnTo>
                    <a:pt x="121" y="151"/>
                  </a:lnTo>
                  <a:lnTo>
                    <a:pt x="119" y="151"/>
                  </a:lnTo>
                  <a:lnTo>
                    <a:pt x="119" y="151"/>
                  </a:lnTo>
                  <a:lnTo>
                    <a:pt x="117" y="148"/>
                  </a:lnTo>
                  <a:lnTo>
                    <a:pt x="117" y="148"/>
                  </a:lnTo>
                  <a:lnTo>
                    <a:pt x="116" y="147"/>
                  </a:lnTo>
                  <a:lnTo>
                    <a:pt x="106" y="151"/>
                  </a:lnTo>
                  <a:lnTo>
                    <a:pt x="106" y="151"/>
                  </a:lnTo>
                  <a:lnTo>
                    <a:pt x="103" y="155"/>
                  </a:lnTo>
                  <a:lnTo>
                    <a:pt x="101" y="158"/>
                  </a:lnTo>
                  <a:lnTo>
                    <a:pt x="103" y="160"/>
                  </a:lnTo>
                  <a:lnTo>
                    <a:pt x="104" y="161"/>
                  </a:lnTo>
                  <a:lnTo>
                    <a:pt x="104" y="161"/>
                  </a:lnTo>
                  <a:lnTo>
                    <a:pt x="103" y="163"/>
                  </a:lnTo>
                  <a:lnTo>
                    <a:pt x="89" y="163"/>
                  </a:lnTo>
                  <a:lnTo>
                    <a:pt x="89" y="163"/>
                  </a:lnTo>
                  <a:lnTo>
                    <a:pt x="70" y="161"/>
                  </a:lnTo>
                  <a:lnTo>
                    <a:pt x="56" y="160"/>
                  </a:lnTo>
                  <a:lnTo>
                    <a:pt x="47" y="156"/>
                  </a:lnTo>
                  <a:lnTo>
                    <a:pt x="37" y="151"/>
                  </a:lnTo>
                  <a:lnTo>
                    <a:pt x="37" y="151"/>
                  </a:lnTo>
                  <a:lnTo>
                    <a:pt x="18" y="142"/>
                  </a:lnTo>
                  <a:lnTo>
                    <a:pt x="7" y="137"/>
                  </a:lnTo>
                  <a:lnTo>
                    <a:pt x="2" y="1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77" name="Freeform 9"/>
            <p:cNvSpPr>
              <a:spLocks/>
            </p:cNvSpPr>
            <p:nvPr/>
          </p:nvSpPr>
          <p:spPr bwMode="auto">
            <a:xfrm>
              <a:off x="6511925" y="5167313"/>
              <a:ext cx="261938" cy="485775"/>
            </a:xfrm>
            <a:custGeom>
              <a:avLst/>
              <a:gdLst>
                <a:gd name="T0" fmla="*/ 71 w 165"/>
                <a:gd name="T1" fmla="*/ 306 h 306"/>
                <a:gd name="T2" fmla="*/ 65 w 165"/>
                <a:gd name="T3" fmla="*/ 303 h 306"/>
                <a:gd name="T4" fmla="*/ 57 w 165"/>
                <a:gd name="T5" fmla="*/ 280 h 306"/>
                <a:gd name="T6" fmla="*/ 47 w 165"/>
                <a:gd name="T7" fmla="*/ 269 h 306"/>
                <a:gd name="T8" fmla="*/ 35 w 165"/>
                <a:gd name="T9" fmla="*/ 259 h 306"/>
                <a:gd name="T10" fmla="*/ 20 w 165"/>
                <a:gd name="T11" fmla="*/ 242 h 306"/>
                <a:gd name="T12" fmla="*/ 19 w 165"/>
                <a:gd name="T13" fmla="*/ 237 h 306"/>
                <a:gd name="T14" fmla="*/ 17 w 165"/>
                <a:gd name="T15" fmla="*/ 219 h 306"/>
                <a:gd name="T16" fmla="*/ 14 w 165"/>
                <a:gd name="T17" fmla="*/ 212 h 306"/>
                <a:gd name="T18" fmla="*/ 4 w 165"/>
                <a:gd name="T19" fmla="*/ 204 h 306"/>
                <a:gd name="T20" fmla="*/ 0 w 165"/>
                <a:gd name="T21" fmla="*/ 198 h 306"/>
                <a:gd name="T22" fmla="*/ 0 w 165"/>
                <a:gd name="T23" fmla="*/ 193 h 306"/>
                <a:gd name="T24" fmla="*/ 7 w 165"/>
                <a:gd name="T25" fmla="*/ 171 h 306"/>
                <a:gd name="T26" fmla="*/ 7 w 165"/>
                <a:gd name="T27" fmla="*/ 165 h 306"/>
                <a:gd name="T28" fmla="*/ 12 w 165"/>
                <a:gd name="T29" fmla="*/ 140 h 306"/>
                <a:gd name="T30" fmla="*/ 17 w 165"/>
                <a:gd name="T31" fmla="*/ 130 h 306"/>
                <a:gd name="T32" fmla="*/ 37 w 165"/>
                <a:gd name="T33" fmla="*/ 94 h 306"/>
                <a:gd name="T34" fmla="*/ 55 w 165"/>
                <a:gd name="T35" fmla="*/ 64 h 306"/>
                <a:gd name="T36" fmla="*/ 60 w 165"/>
                <a:gd name="T37" fmla="*/ 61 h 306"/>
                <a:gd name="T38" fmla="*/ 68 w 165"/>
                <a:gd name="T39" fmla="*/ 51 h 306"/>
                <a:gd name="T40" fmla="*/ 71 w 165"/>
                <a:gd name="T41" fmla="*/ 41 h 306"/>
                <a:gd name="T42" fmla="*/ 76 w 165"/>
                <a:gd name="T43" fmla="*/ 36 h 306"/>
                <a:gd name="T44" fmla="*/ 86 w 165"/>
                <a:gd name="T45" fmla="*/ 24 h 306"/>
                <a:gd name="T46" fmla="*/ 90 w 165"/>
                <a:gd name="T47" fmla="*/ 23 h 306"/>
                <a:gd name="T48" fmla="*/ 99 w 165"/>
                <a:gd name="T49" fmla="*/ 18 h 306"/>
                <a:gd name="T50" fmla="*/ 109 w 165"/>
                <a:gd name="T51" fmla="*/ 11 h 306"/>
                <a:gd name="T52" fmla="*/ 113 w 165"/>
                <a:gd name="T53" fmla="*/ 10 h 306"/>
                <a:gd name="T54" fmla="*/ 118 w 165"/>
                <a:gd name="T55" fmla="*/ 0 h 306"/>
                <a:gd name="T56" fmla="*/ 123 w 165"/>
                <a:gd name="T57" fmla="*/ 0 h 306"/>
                <a:gd name="T58" fmla="*/ 124 w 165"/>
                <a:gd name="T59" fmla="*/ 3 h 306"/>
                <a:gd name="T60" fmla="*/ 127 w 165"/>
                <a:gd name="T61" fmla="*/ 10 h 306"/>
                <a:gd name="T62" fmla="*/ 136 w 165"/>
                <a:gd name="T63" fmla="*/ 13 h 306"/>
                <a:gd name="T64" fmla="*/ 142 w 165"/>
                <a:gd name="T65" fmla="*/ 15 h 306"/>
                <a:gd name="T66" fmla="*/ 162 w 165"/>
                <a:gd name="T67" fmla="*/ 16 h 306"/>
                <a:gd name="T68" fmla="*/ 165 w 165"/>
                <a:gd name="T69" fmla="*/ 18 h 306"/>
                <a:gd name="T70" fmla="*/ 162 w 165"/>
                <a:gd name="T71" fmla="*/ 23 h 306"/>
                <a:gd name="T72" fmla="*/ 154 w 165"/>
                <a:gd name="T73" fmla="*/ 33 h 306"/>
                <a:gd name="T74" fmla="*/ 151 w 165"/>
                <a:gd name="T75" fmla="*/ 36 h 306"/>
                <a:gd name="T76" fmla="*/ 152 w 165"/>
                <a:gd name="T77" fmla="*/ 51 h 306"/>
                <a:gd name="T78" fmla="*/ 156 w 165"/>
                <a:gd name="T79" fmla="*/ 64 h 306"/>
                <a:gd name="T80" fmla="*/ 154 w 165"/>
                <a:gd name="T81" fmla="*/ 74 h 306"/>
                <a:gd name="T82" fmla="*/ 149 w 165"/>
                <a:gd name="T83" fmla="*/ 87 h 306"/>
                <a:gd name="T84" fmla="*/ 139 w 165"/>
                <a:gd name="T85" fmla="*/ 100 h 306"/>
                <a:gd name="T86" fmla="*/ 137 w 165"/>
                <a:gd name="T87" fmla="*/ 107 h 306"/>
                <a:gd name="T88" fmla="*/ 132 w 165"/>
                <a:gd name="T89" fmla="*/ 148 h 306"/>
                <a:gd name="T90" fmla="*/ 129 w 165"/>
                <a:gd name="T91" fmla="*/ 160 h 306"/>
                <a:gd name="T92" fmla="*/ 113 w 165"/>
                <a:gd name="T93" fmla="*/ 206 h 306"/>
                <a:gd name="T94" fmla="*/ 106 w 165"/>
                <a:gd name="T95" fmla="*/ 217 h 306"/>
                <a:gd name="T96" fmla="*/ 91 w 165"/>
                <a:gd name="T97" fmla="*/ 239 h 306"/>
                <a:gd name="T98" fmla="*/ 83 w 165"/>
                <a:gd name="T99" fmla="*/ 254 h 306"/>
                <a:gd name="T100" fmla="*/ 83 w 165"/>
                <a:gd name="T101" fmla="*/ 257 h 306"/>
                <a:gd name="T102" fmla="*/ 83 w 165"/>
                <a:gd name="T103" fmla="*/ 295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65" h="306">
                  <a:moveTo>
                    <a:pt x="71" y="306"/>
                  </a:moveTo>
                  <a:lnTo>
                    <a:pt x="71" y="306"/>
                  </a:lnTo>
                  <a:lnTo>
                    <a:pt x="68" y="306"/>
                  </a:lnTo>
                  <a:lnTo>
                    <a:pt x="65" y="303"/>
                  </a:lnTo>
                  <a:lnTo>
                    <a:pt x="60" y="293"/>
                  </a:lnTo>
                  <a:lnTo>
                    <a:pt x="57" y="280"/>
                  </a:lnTo>
                  <a:lnTo>
                    <a:pt x="53" y="275"/>
                  </a:lnTo>
                  <a:lnTo>
                    <a:pt x="47" y="269"/>
                  </a:lnTo>
                  <a:lnTo>
                    <a:pt x="47" y="269"/>
                  </a:lnTo>
                  <a:lnTo>
                    <a:pt x="35" y="259"/>
                  </a:lnTo>
                  <a:lnTo>
                    <a:pt x="27" y="250"/>
                  </a:lnTo>
                  <a:lnTo>
                    <a:pt x="20" y="242"/>
                  </a:lnTo>
                  <a:lnTo>
                    <a:pt x="19" y="237"/>
                  </a:lnTo>
                  <a:lnTo>
                    <a:pt x="19" y="237"/>
                  </a:lnTo>
                  <a:lnTo>
                    <a:pt x="19" y="226"/>
                  </a:lnTo>
                  <a:lnTo>
                    <a:pt x="17" y="219"/>
                  </a:lnTo>
                  <a:lnTo>
                    <a:pt x="14" y="212"/>
                  </a:lnTo>
                  <a:lnTo>
                    <a:pt x="14" y="212"/>
                  </a:lnTo>
                  <a:lnTo>
                    <a:pt x="9" y="207"/>
                  </a:lnTo>
                  <a:lnTo>
                    <a:pt x="4" y="204"/>
                  </a:lnTo>
                  <a:lnTo>
                    <a:pt x="0" y="199"/>
                  </a:lnTo>
                  <a:lnTo>
                    <a:pt x="0" y="198"/>
                  </a:lnTo>
                  <a:lnTo>
                    <a:pt x="0" y="193"/>
                  </a:lnTo>
                  <a:lnTo>
                    <a:pt x="0" y="193"/>
                  </a:lnTo>
                  <a:lnTo>
                    <a:pt x="5" y="178"/>
                  </a:lnTo>
                  <a:lnTo>
                    <a:pt x="7" y="171"/>
                  </a:lnTo>
                  <a:lnTo>
                    <a:pt x="7" y="165"/>
                  </a:lnTo>
                  <a:lnTo>
                    <a:pt x="7" y="165"/>
                  </a:lnTo>
                  <a:lnTo>
                    <a:pt x="9" y="150"/>
                  </a:lnTo>
                  <a:lnTo>
                    <a:pt x="12" y="140"/>
                  </a:lnTo>
                  <a:lnTo>
                    <a:pt x="17" y="130"/>
                  </a:lnTo>
                  <a:lnTo>
                    <a:pt x="17" y="130"/>
                  </a:lnTo>
                  <a:lnTo>
                    <a:pt x="25" y="115"/>
                  </a:lnTo>
                  <a:lnTo>
                    <a:pt x="37" y="94"/>
                  </a:lnTo>
                  <a:lnTo>
                    <a:pt x="50" y="72"/>
                  </a:lnTo>
                  <a:lnTo>
                    <a:pt x="55" y="64"/>
                  </a:lnTo>
                  <a:lnTo>
                    <a:pt x="60" y="61"/>
                  </a:lnTo>
                  <a:lnTo>
                    <a:pt x="60" y="61"/>
                  </a:lnTo>
                  <a:lnTo>
                    <a:pt x="66" y="54"/>
                  </a:lnTo>
                  <a:lnTo>
                    <a:pt x="68" y="51"/>
                  </a:lnTo>
                  <a:lnTo>
                    <a:pt x="68" y="46"/>
                  </a:lnTo>
                  <a:lnTo>
                    <a:pt x="71" y="41"/>
                  </a:lnTo>
                  <a:lnTo>
                    <a:pt x="71" y="41"/>
                  </a:lnTo>
                  <a:lnTo>
                    <a:pt x="76" y="36"/>
                  </a:lnTo>
                  <a:lnTo>
                    <a:pt x="81" y="29"/>
                  </a:lnTo>
                  <a:lnTo>
                    <a:pt x="86" y="24"/>
                  </a:lnTo>
                  <a:lnTo>
                    <a:pt x="90" y="23"/>
                  </a:lnTo>
                  <a:lnTo>
                    <a:pt x="90" y="23"/>
                  </a:lnTo>
                  <a:lnTo>
                    <a:pt x="95" y="21"/>
                  </a:lnTo>
                  <a:lnTo>
                    <a:pt x="99" y="18"/>
                  </a:lnTo>
                  <a:lnTo>
                    <a:pt x="104" y="15"/>
                  </a:lnTo>
                  <a:lnTo>
                    <a:pt x="109" y="11"/>
                  </a:lnTo>
                  <a:lnTo>
                    <a:pt x="109" y="11"/>
                  </a:lnTo>
                  <a:lnTo>
                    <a:pt x="113" y="10"/>
                  </a:lnTo>
                  <a:lnTo>
                    <a:pt x="114" y="5"/>
                  </a:lnTo>
                  <a:lnTo>
                    <a:pt x="118" y="0"/>
                  </a:lnTo>
                  <a:lnTo>
                    <a:pt x="119" y="0"/>
                  </a:lnTo>
                  <a:lnTo>
                    <a:pt x="123" y="0"/>
                  </a:lnTo>
                  <a:lnTo>
                    <a:pt x="123" y="0"/>
                  </a:lnTo>
                  <a:lnTo>
                    <a:pt x="124" y="3"/>
                  </a:lnTo>
                  <a:lnTo>
                    <a:pt x="126" y="8"/>
                  </a:lnTo>
                  <a:lnTo>
                    <a:pt x="127" y="10"/>
                  </a:lnTo>
                  <a:lnTo>
                    <a:pt x="131" y="11"/>
                  </a:lnTo>
                  <a:lnTo>
                    <a:pt x="136" y="13"/>
                  </a:lnTo>
                  <a:lnTo>
                    <a:pt x="142" y="15"/>
                  </a:lnTo>
                  <a:lnTo>
                    <a:pt x="142" y="15"/>
                  </a:lnTo>
                  <a:lnTo>
                    <a:pt x="156" y="16"/>
                  </a:lnTo>
                  <a:lnTo>
                    <a:pt x="162" y="16"/>
                  </a:lnTo>
                  <a:lnTo>
                    <a:pt x="164" y="16"/>
                  </a:lnTo>
                  <a:lnTo>
                    <a:pt x="165" y="18"/>
                  </a:lnTo>
                  <a:lnTo>
                    <a:pt x="165" y="18"/>
                  </a:lnTo>
                  <a:lnTo>
                    <a:pt x="162" y="23"/>
                  </a:lnTo>
                  <a:lnTo>
                    <a:pt x="159" y="28"/>
                  </a:lnTo>
                  <a:lnTo>
                    <a:pt x="154" y="33"/>
                  </a:lnTo>
                  <a:lnTo>
                    <a:pt x="151" y="36"/>
                  </a:lnTo>
                  <a:lnTo>
                    <a:pt x="151" y="36"/>
                  </a:lnTo>
                  <a:lnTo>
                    <a:pt x="151" y="41"/>
                  </a:lnTo>
                  <a:lnTo>
                    <a:pt x="152" y="51"/>
                  </a:lnTo>
                  <a:lnTo>
                    <a:pt x="156" y="64"/>
                  </a:lnTo>
                  <a:lnTo>
                    <a:pt x="156" y="64"/>
                  </a:lnTo>
                  <a:lnTo>
                    <a:pt x="156" y="67"/>
                  </a:lnTo>
                  <a:lnTo>
                    <a:pt x="154" y="74"/>
                  </a:lnTo>
                  <a:lnTo>
                    <a:pt x="149" y="87"/>
                  </a:lnTo>
                  <a:lnTo>
                    <a:pt x="149" y="87"/>
                  </a:lnTo>
                  <a:lnTo>
                    <a:pt x="142" y="95"/>
                  </a:lnTo>
                  <a:lnTo>
                    <a:pt x="139" y="100"/>
                  </a:lnTo>
                  <a:lnTo>
                    <a:pt x="137" y="107"/>
                  </a:lnTo>
                  <a:lnTo>
                    <a:pt x="137" y="107"/>
                  </a:lnTo>
                  <a:lnTo>
                    <a:pt x="134" y="133"/>
                  </a:lnTo>
                  <a:lnTo>
                    <a:pt x="132" y="148"/>
                  </a:lnTo>
                  <a:lnTo>
                    <a:pt x="129" y="160"/>
                  </a:lnTo>
                  <a:lnTo>
                    <a:pt x="129" y="160"/>
                  </a:lnTo>
                  <a:lnTo>
                    <a:pt x="119" y="189"/>
                  </a:lnTo>
                  <a:lnTo>
                    <a:pt x="113" y="206"/>
                  </a:lnTo>
                  <a:lnTo>
                    <a:pt x="109" y="212"/>
                  </a:lnTo>
                  <a:lnTo>
                    <a:pt x="106" y="217"/>
                  </a:lnTo>
                  <a:lnTo>
                    <a:pt x="106" y="217"/>
                  </a:lnTo>
                  <a:lnTo>
                    <a:pt x="91" y="239"/>
                  </a:lnTo>
                  <a:lnTo>
                    <a:pt x="85" y="249"/>
                  </a:lnTo>
                  <a:lnTo>
                    <a:pt x="83" y="254"/>
                  </a:lnTo>
                  <a:lnTo>
                    <a:pt x="83" y="257"/>
                  </a:lnTo>
                  <a:lnTo>
                    <a:pt x="83" y="257"/>
                  </a:lnTo>
                  <a:lnTo>
                    <a:pt x="83" y="278"/>
                  </a:lnTo>
                  <a:lnTo>
                    <a:pt x="83" y="295"/>
                  </a:lnTo>
                  <a:lnTo>
                    <a:pt x="71" y="3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sp>
        <p:nvSpPr>
          <p:cNvPr id="2" name="Title 1"/>
          <p:cNvSpPr>
            <a:spLocks noGrp="1"/>
          </p:cNvSpPr>
          <p:nvPr>
            <p:ph type="title"/>
          </p:nvPr>
        </p:nvSpPr>
        <p:spPr>
          <a:xfrm>
            <a:off x="522287" y="484770"/>
            <a:ext cx="8278269" cy="332399"/>
          </a:xfrm>
        </p:spPr>
        <p:txBody>
          <a:bodyPr/>
          <a:lstStyle/>
          <a:p>
            <a:r>
              <a:rPr lang="ru-RU" b="1" dirty="0" smtClean="0"/>
              <a:t>КЛЮЧЕВЫЕ РЫНКИ </a:t>
            </a:r>
            <a:r>
              <a:rPr lang="ru-RU" dirty="0" smtClean="0"/>
              <a:t>ВЛИЯНИЕ КОТОРЫХ БУДЕТ РАСТИ…</a:t>
            </a:r>
            <a:endParaRPr lang="en-GB" dirty="0"/>
          </a:p>
        </p:txBody>
      </p:sp>
      <p:sp>
        <p:nvSpPr>
          <p:cNvPr id="13" name="Titel 1"/>
          <p:cNvSpPr txBox="1">
            <a:spLocks/>
          </p:cNvSpPr>
          <p:nvPr/>
        </p:nvSpPr>
        <p:spPr>
          <a:xfrm>
            <a:off x="6192180" y="1560917"/>
            <a:ext cx="2340260" cy="2541003"/>
          </a:xfrm>
          <a:prstGeom prst="rect">
            <a:avLst/>
          </a:prstGeom>
        </p:spPr>
        <p:txBody>
          <a:bodyPr vert="horz" wrap="square" lIns="0" tIns="0" rIns="0" bIns="0" rtlCol="0" anchor="b" anchorCtr="0">
            <a:noAutofit/>
          </a:bodyPr>
          <a:lstStyle>
            <a:lvl1pPr algn="l" defTabSz="457200" rtl="0" eaLnBrk="1" latinLnBrk="0" hangingPunct="1">
              <a:lnSpc>
                <a:spcPct val="75000"/>
              </a:lnSpc>
              <a:spcBef>
                <a:spcPct val="0"/>
              </a:spcBef>
              <a:buNone/>
              <a:defRPr sz="3000" kern="1200" cap="all" baseline="0">
                <a:solidFill>
                  <a:srgbClr val="009DD9"/>
                </a:solidFill>
                <a:latin typeface="+mj-lt"/>
                <a:ea typeface="+mj-ea"/>
                <a:cs typeface="+mj-cs"/>
              </a:defRPr>
            </a:lvl1pPr>
          </a:lstStyle>
          <a:p>
            <a:pPr>
              <a:lnSpc>
                <a:spcPts val="2300"/>
              </a:lnSpc>
            </a:pPr>
            <a:r>
              <a:rPr lang="de-DE" sz="4000" dirty="0" smtClean="0">
                <a:solidFill>
                  <a:srgbClr val="FFFFFF"/>
                </a:solidFill>
              </a:rPr>
              <a:t>...</a:t>
            </a:r>
            <a:r>
              <a:rPr lang="de-DE" sz="5000" dirty="0" smtClean="0">
                <a:solidFill>
                  <a:srgbClr val="FFFFFF"/>
                </a:solidFill>
              </a:rPr>
              <a:t> </a:t>
            </a:r>
          </a:p>
          <a:p>
            <a:pPr>
              <a:lnSpc>
                <a:spcPts val="2300"/>
              </a:lnSpc>
            </a:pPr>
            <a:r>
              <a:rPr lang="ru-RU" sz="1800" dirty="0" smtClean="0">
                <a:solidFill>
                  <a:srgbClr val="FFFFFF"/>
                </a:solidFill>
              </a:rPr>
              <a:t>а также страны среднего востока</a:t>
            </a:r>
            <a:r>
              <a:rPr lang="de-DE" sz="1800" dirty="0" smtClean="0">
                <a:solidFill>
                  <a:srgbClr val="FFFFFF"/>
                </a:solidFill>
              </a:rPr>
              <a:t>,</a:t>
            </a:r>
            <a:r>
              <a:rPr lang="ru-RU" sz="1800" dirty="0" smtClean="0">
                <a:solidFill>
                  <a:srgbClr val="FFFFFF"/>
                </a:solidFill>
              </a:rPr>
              <a:t> плюс растущие и развивающиеся спортивные рынки в  </a:t>
            </a:r>
            <a:r>
              <a:rPr lang="ru-RU" sz="1800" b="1" dirty="0" err="1" smtClean="0">
                <a:solidFill>
                  <a:srgbClr val="FFFFFF"/>
                </a:solidFill>
              </a:rPr>
              <a:t>индонезии</a:t>
            </a:r>
            <a:r>
              <a:rPr lang="ru-RU" sz="1800" dirty="0" smtClean="0">
                <a:solidFill>
                  <a:srgbClr val="FFFFFF"/>
                </a:solidFill>
              </a:rPr>
              <a:t> и </a:t>
            </a:r>
            <a:r>
              <a:rPr lang="ru-RU" sz="1800" b="1" dirty="0" err="1" smtClean="0">
                <a:solidFill>
                  <a:srgbClr val="FFFFFF"/>
                </a:solidFill>
              </a:rPr>
              <a:t>турции</a:t>
            </a:r>
            <a:endParaRPr lang="ru-RU" sz="1800" dirty="0">
              <a:solidFill>
                <a:srgbClr val="FFFFFF"/>
              </a:solidFill>
            </a:endParaRPr>
          </a:p>
          <a:p>
            <a:pPr>
              <a:lnSpc>
                <a:spcPts val="2300"/>
              </a:lnSpc>
            </a:pPr>
            <a:endParaRPr lang="de-DE" sz="1800" dirty="0">
              <a:solidFill>
                <a:srgbClr val="FFFFFF"/>
              </a:solidFill>
            </a:endParaRPr>
          </a:p>
        </p:txBody>
      </p:sp>
      <p:sp>
        <p:nvSpPr>
          <p:cNvPr id="65" name="Rechteck 64"/>
          <p:cNvSpPr/>
          <p:nvPr/>
        </p:nvSpPr>
        <p:spPr>
          <a:xfrm>
            <a:off x="4687070" y="2960270"/>
            <a:ext cx="590870" cy="184666"/>
          </a:xfrm>
          <a:prstGeom prst="rect">
            <a:avLst/>
          </a:prstGeom>
          <a:solidFill>
            <a:schemeClr val="accent2"/>
          </a:solidFill>
          <a:ln>
            <a:solidFill>
              <a:srgbClr val="FFFFFF"/>
            </a:solidFill>
          </a:ln>
        </p:spPr>
        <p:txBody>
          <a:bodyPr wrap="square" lIns="0" tIns="0" rIns="0" bIns="0">
            <a:spAutoFit/>
          </a:bodyPr>
          <a:lstStyle/>
          <a:p>
            <a:pPr algn="ctr"/>
            <a:r>
              <a:rPr lang="de-DE" sz="1200" b="1" dirty="0" smtClean="0">
                <a:solidFill>
                  <a:srgbClr val="FFFFFF"/>
                </a:solidFill>
              </a:rPr>
              <a:t> </a:t>
            </a:r>
            <a:r>
              <a:rPr lang="ru-RU" sz="1200" b="1" dirty="0" smtClean="0">
                <a:solidFill>
                  <a:srgbClr val="FFFFFF"/>
                </a:solidFill>
              </a:rPr>
              <a:t>КИТАЙ</a:t>
            </a:r>
            <a:r>
              <a:rPr lang="de-DE" sz="1200" b="1" dirty="0" smtClean="0">
                <a:solidFill>
                  <a:srgbClr val="FFFFFF"/>
                </a:solidFill>
              </a:rPr>
              <a:t> </a:t>
            </a:r>
            <a:endParaRPr lang="de-DE" sz="1200" b="1" dirty="0">
              <a:solidFill>
                <a:srgbClr val="FFFFFF"/>
              </a:solidFill>
            </a:endParaRPr>
          </a:p>
        </p:txBody>
      </p:sp>
      <p:grpSp>
        <p:nvGrpSpPr>
          <p:cNvPr id="262" name="Gruppieren 261"/>
          <p:cNvGrpSpPr>
            <a:grpSpLocks noChangeAspect="1"/>
          </p:cNvGrpSpPr>
          <p:nvPr/>
        </p:nvGrpSpPr>
        <p:grpSpPr>
          <a:xfrm>
            <a:off x="539748" y="4876006"/>
            <a:ext cx="719884" cy="215444"/>
            <a:chOff x="539748" y="4876006"/>
            <a:chExt cx="719884" cy="215444"/>
          </a:xfrm>
        </p:grpSpPr>
        <p:sp>
          <p:nvSpPr>
            <p:cNvPr id="264" name="Textfeld 263"/>
            <p:cNvSpPr txBox="1"/>
            <p:nvPr userDrawn="1"/>
          </p:nvSpPr>
          <p:spPr>
            <a:xfrm>
              <a:off x="539750" y="4876006"/>
              <a:ext cx="719882" cy="215444"/>
            </a:xfrm>
            <a:prstGeom prst="rect">
              <a:avLst/>
            </a:prstGeom>
            <a:noFill/>
          </p:spPr>
          <p:txBody>
            <a:bodyPr wrap="square" rtlCol="0">
              <a:spAutoFit/>
            </a:bodyPr>
            <a:lstStyle/>
            <a:p>
              <a:pPr algn="ctr"/>
              <a:r>
                <a:rPr lang="ru-RU" sz="800" kern="1300" spc="80" dirty="0" smtClean="0"/>
                <a:t>ТРЕНД</a:t>
              </a:r>
              <a:r>
                <a:rPr lang="de-DE" sz="800" kern="1300" spc="80" baseline="0" dirty="0" smtClean="0"/>
                <a:t> </a:t>
              </a:r>
              <a:r>
                <a:rPr lang="de-DE" sz="800" b="1" kern="1300" spc="80" baseline="0" dirty="0" smtClean="0"/>
                <a:t>01</a:t>
              </a:r>
            </a:p>
          </p:txBody>
        </p:sp>
        <p:sp>
          <p:nvSpPr>
            <p:cNvPr id="265" name="Gleichschenkliges Dreieck 264"/>
            <p:cNvSpPr/>
            <p:nvPr userDrawn="1"/>
          </p:nvSpPr>
          <p:spPr>
            <a:xfrm rot="16200000" flipH="1" flipV="1">
              <a:off x="534004" y="4938683"/>
              <a:ext cx="83300" cy="71811"/>
            </a:xfrm>
            <a:prstGeom prst="triangl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sp>
          <p:nvSpPr>
            <p:cNvPr id="267" name="Gleichschenkliges Dreieck 266"/>
            <p:cNvSpPr/>
            <p:nvPr userDrawn="1"/>
          </p:nvSpPr>
          <p:spPr>
            <a:xfrm rot="5400000" flipV="1">
              <a:off x="1182077" y="4938684"/>
              <a:ext cx="83300" cy="71811"/>
            </a:xfrm>
            <a:prstGeom prst="triangl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grpSp>
      <p:sp>
        <p:nvSpPr>
          <p:cNvPr id="164" name="Oval 53"/>
          <p:cNvSpPr>
            <a:spLocks noChangeAspect="1"/>
          </p:cNvSpPr>
          <p:nvPr/>
        </p:nvSpPr>
        <p:spPr>
          <a:xfrm>
            <a:off x="4639797" y="3647442"/>
            <a:ext cx="821606" cy="821604"/>
          </a:xfrm>
          <a:prstGeom prst="ellipse">
            <a:avLst/>
          </a:prstGeom>
          <a:solidFill>
            <a:srgbClr val="FFFFFF"/>
          </a:solidFill>
          <a:ln w="19050">
            <a:solidFill>
              <a:srgbClr val="FF8300"/>
            </a:solidFill>
            <a:prstDash val="sys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80" name="Freeform 240"/>
          <p:cNvSpPr>
            <a:spLocks noChangeAspect="1"/>
          </p:cNvSpPr>
          <p:nvPr/>
        </p:nvSpPr>
        <p:spPr bwMode="auto">
          <a:xfrm>
            <a:off x="4859137" y="3890907"/>
            <a:ext cx="461430" cy="306455"/>
          </a:xfrm>
          <a:custGeom>
            <a:avLst/>
            <a:gdLst>
              <a:gd name="T0" fmla="*/ 535 w 904"/>
              <a:gd name="T1" fmla="*/ 246 h 600"/>
              <a:gd name="T2" fmla="*/ 520 w 904"/>
              <a:gd name="T3" fmla="*/ 283 h 600"/>
              <a:gd name="T4" fmla="*/ 520 w 904"/>
              <a:gd name="T5" fmla="*/ 342 h 600"/>
              <a:gd name="T6" fmla="*/ 535 w 904"/>
              <a:gd name="T7" fmla="*/ 394 h 600"/>
              <a:gd name="T8" fmla="*/ 572 w 904"/>
              <a:gd name="T9" fmla="*/ 432 h 600"/>
              <a:gd name="T10" fmla="*/ 624 w 904"/>
              <a:gd name="T11" fmla="*/ 461 h 600"/>
              <a:gd name="T12" fmla="*/ 669 w 904"/>
              <a:gd name="T13" fmla="*/ 439 h 600"/>
              <a:gd name="T14" fmla="*/ 721 w 904"/>
              <a:gd name="T15" fmla="*/ 432 h 600"/>
              <a:gd name="T16" fmla="*/ 743 w 904"/>
              <a:gd name="T17" fmla="*/ 394 h 600"/>
              <a:gd name="T18" fmla="*/ 788 w 904"/>
              <a:gd name="T19" fmla="*/ 357 h 600"/>
              <a:gd name="T20" fmla="*/ 833 w 904"/>
              <a:gd name="T21" fmla="*/ 342 h 600"/>
              <a:gd name="T22" fmla="*/ 803 w 904"/>
              <a:gd name="T23" fmla="*/ 402 h 600"/>
              <a:gd name="T24" fmla="*/ 795 w 904"/>
              <a:gd name="T25" fmla="*/ 454 h 600"/>
              <a:gd name="T26" fmla="*/ 721 w 904"/>
              <a:gd name="T27" fmla="*/ 446 h 600"/>
              <a:gd name="T28" fmla="*/ 714 w 904"/>
              <a:gd name="T29" fmla="*/ 491 h 600"/>
              <a:gd name="T30" fmla="*/ 728 w 904"/>
              <a:gd name="T31" fmla="*/ 513 h 600"/>
              <a:gd name="T32" fmla="*/ 691 w 904"/>
              <a:gd name="T33" fmla="*/ 513 h 600"/>
              <a:gd name="T34" fmla="*/ 684 w 904"/>
              <a:gd name="T35" fmla="*/ 543 h 600"/>
              <a:gd name="T36" fmla="*/ 654 w 904"/>
              <a:gd name="T37" fmla="*/ 551 h 600"/>
              <a:gd name="T38" fmla="*/ 639 w 904"/>
              <a:gd name="T39" fmla="*/ 521 h 600"/>
              <a:gd name="T40" fmla="*/ 602 w 904"/>
              <a:gd name="T41" fmla="*/ 513 h 600"/>
              <a:gd name="T42" fmla="*/ 565 w 904"/>
              <a:gd name="T43" fmla="*/ 536 h 600"/>
              <a:gd name="T44" fmla="*/ 498 w 904"/>
              <a:gd name="T45" fmla="*/ 528 h 600"/>
              <a:gd name="T46" fmla="*/ 424 w 904"/>
              <a:gd name="T47" fmla="*/ 476 h 600"/>
              <a:gd name="T48" fmla="*/ 364 w 904"/>
              <a:gd name="T49" fmla="*/ 469 h 600"/>
              <a:gd name="T50" fmla="*/ 282 w 904"/>
              <a:gd name="T51" fmla="*/ 409 h 600"/>
              <a:gd name="T52" fmla="*/ 253 w 904"/>
              <a:gd name="T53" fmla="*/ 305 h 600"/>
              <a:gd name="T54" fmla="*/ 201 w 904"/>
              <a:gd name="T55" fmla="*/ 260 h 600"/>
              <a:gd name="T56" fmla="*/ 156 w 904"/>
              <a:gd name="T57" fmla="*/ 171 h 600"/>
              <a:gd name="T58" fmla="*/ 104 w 904"/>
              <a:gd name="T59" fmla="*/ 82 h 600"/>
              <a:gd name="T60" fmla="*/ 59 w 904"/>
              <a:gd name="T61" fmla="*/ 52 h 600"/>
              <a:gd name="T62" fmla="*/ 82 w 904"/>
              <a:gd name="T63" fmla="*/ 156 h 600"/>
              <a:gd name="T64" fmla="*/ 126 w 904"/>
              <a:gd name="T65" fmla="*/ 231 h 600"/>
              <a:gd name="T66" fmla="*/ 171 w 904"/>
              <a:gd name="T67" fmla="*/ 327 h 600"/>
              <a:gd name="T68" fmla="*/ 126 w 904"/>
              <a:gd name="T69" fmla="*/ 283 h 600"/>
              <a:gd name="T70" fmla="*/ 97 w 904"/>
              <a:gd name="T71" fmla="*/ 231 h 600"/>
              <a:gd name="T72" fmla="*/ 82 w 904"/>
              <a:gd name="T73" fmla="*/ 186 h 600"/>
              <a:gd name="T74" fmla="*/ 52 w 904"/>
              <a:gd name="T75" fmla="*/ 164 h 600"/>
              <a:gd name="T76" fmla="*/ 52 w 904"/>
              <a:gd name="T77" fmla="*/ 119 h 600"/>
              <a:gd name="T78" fmla="*/ 15 w 904"/>
              <a:gd name="T79" fmla="*/ 67 h 600"/>
              <a:gd name="T80" fmla="*/ 0 w 904"/>
              <a:gd name="T81" fmla="*/ 0 h 600"/>
              <a:gd name="T82" fmla="*/ 134 w 904"/>
              <a:gd name="T83" fmla="*/ 52 h 600"/>
              <a:gd name="T84" fmla="*/ 223 w 904"/>
              <a:gd name="T85" fmla="*/ 67 h 600"/>
              <a:gd name="T86" fmla="*/ 312 w 904"/>
              <a:gd name="T87" fmla="*/ 74 h 600"/>
              <a:gd name="T88" fmla="*/ 342 w 904"/>
              <a:gd name="T89" fmla="*/ 141 h 600"/>
              <a:gd name="T90" fmla="*/ 387 w 904"/>
              <a:gd name="T91" fmla="*/ 119 h 600"/>
              <a:gd name="T92" fmla="*/ 453 w 904"/>
              <a:gd name="T93" fmla="*/ 164 h 600"/>
              <a:gd name="T94" fmla="*/ 505 w 904"/>
              <a:gd name="T95" fmla="*/ 238 h 60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904" h="600">
                <a:moveTo>
                  <a:pt x="568" y="256"/>
                </a:moveTo>
                <a:lnTo>
                  <a:pt x="576" y="264"/>
                </a:lnTo>
                <a:lnTo>
                  <a:pt x="576" y="280"/>
                </a:lnTo>
                <a:lnTo>
                  <a:pt x="560" y="304"/>
                </a:lnTo>
                <a:lnTo>
                  <a:pt x="552" y="344"/>
                </a:lnTo>
                <a:lnTo>
                  <a:pt x="560" y="368"/>
                </a:lnTo>
                <a:lnTo>
                  <a:pt x="560" y="400"/>
                </a:lnTo>
                <a:lnTo>
                  <a:pt x="576" y="424"/>
                </a:lnTo>
                <a:lnTo>
                  <a:pt x="584" y="456"/>
                </a:lnTo>
                <a:lnTo>
                  <a:pt x="616" y="464"/>
                </a:lnTo>
                <a:lnTo>
                  <a:pt x="640" y="488"/>
                </a:lnTo>
                <a:lnTo>
                  <a:pt x="672" y="496"/>
                </a:lnTo>
                <a:lnTo>
                  <a:pt x="696" y="472"/>
                </a:lnTo>
                <a:lnTo>
                  <a:pt x="720" y="472"/>
                </a:lnTo>
                <a:lnTo>
                  <a:pt x="752" y="480"/>
                </a:lnTo>
                <a:lnTo>
                  <a:pt x="776" y="464"/>
                </a:lnTo>
                <a:lnTo>
                  <a:pt x="792" y="448"/>
                </a:lnTo>
                <a:lnTo>
                  <a:pt x="800" y="424"/>
                </a:lnTo>
                <a:lnTo>
                  <a:pt x="800" y="384"/>
                </a:lnTo>
                <a:lnTo>
                  <a:pt x="848" y="384"/>
                </a:lnTo>
                <a:lnTo>
                  <a:pt x="880" y="368"/>
                </a:lnTo>
                <a:lnTo>
                  <a:pt x="896" y="368"/>
                </a:lnTo>
                <a:lnTo>
                  <a:pt x="904" y="392"/>
                </a:lnTo>
                <a:lnTo>
                  <a:pt x="864" y="432"/>
                </a:lnTo>
                <a:lnTo>
                  <a:pt x="864" y="472"/>
                </a:lnTo>
                <a:lnTo>
                  <a:pt x="856" y="488"/>
                </a:lnTo>
                <a:lnTo>
                  <a:pt x="816" y="480"/>
                </a:lnTo>
                <a:lnTo>
                  <a:pt x="776" y="480"/>
                </a:lnTo>
                <a:lnTo>
                  <a:pt x="768" y="504"/>
                </a:lnTo>
                <a:lnTo>
                  <a:pt x="768" y="528"/>
                </a:lnTo>
                <a:lnTo>
                  <a:pt x="792" y="536"/>
                </a:lnTo>
                <a:lnTo>
                  <a:pt x="784" y="552"/>
                </a:lnTo>
                <a:lnTo>
                  <a:pt x="760" y="552"/>
                </a:lnTo>
                <a:lnTo>
                  <a:pt x="744" y="552"/>
                </a:lnTo>
                <a:lnTo>
                  <a:pt x="736" y="560"/>
                </a:lnTo>
                <a:lnTo>
                  <a:pt x="736" y="584"/>
                </a:lnTo>
                <a:lnTo>
                  <a:pt x="744" y="600"/>
                </a:lnTo>
                <a:lnTo>
                  <a:pt x="704" y="592"/>
                </a:lnTo>
                <a:lnTo>
                  <a:pt x="696" y="576"/>
                </a:lnTo>
                <a:lnTo>
                  <a:pt x="688" y="560"/>
                </a:lnTo>
                <a:lnTo>
                  <a:pt x="672" y="552"/>
                </a:lnTo>
                <a:lnTo>
                  <a:pt x="648" y="552"/>
                </a:lnTo>
                <a:lnTo>
                  <a:pt x="632" y="568"/>
                </a:lnTo>
                <a:lnTo>
                  <a:pt x="608" y="576"/>
                </a:lnTo>
                <a:lnTo>
                  <a:pt x="576" y="568"/>
                </a:lnTo>
                <a:lnTo>
                  <a:pt x="536" y="568"/>
                </a:lnTo>
                <a:lnTo>
                  <a:pt x="496" y="536"/>
                </a:lnTo>
                <a:lnTo>
                  <a:pt x="456" y="512"/>
                </a:lnTo>
                <a:lnTo>
                  <a:pt x="416" y="504"/>
                </a:lnTo>
                <a:lnTo>
                  <a:pt x="392" y="504"/>
                </a:lnTo>
                <a:lnTo>
                  <a:pt x="336" y="480"/>
                </a:lnTo>
                <a:lnTo>
                  <a:pt x="304" y="440"/>
                </a:lnTo>
                <a:lnTo>
                  <a:pt x="296" y="368"/>
                </a:lnTo>
                <a:lnTo>
                  <a:pt x="272" y="328"/>
                </a:lnTo>
                <a:lnTo>
                  <a:pt x="248" y="304"/>
                </a:lnTo>
                <a:lnTo>
                  <a:pt x="216" y="280"/>
                </a:lnTo>
                <a:lnTo>
                  <a:pt x="200" y="224"/>
                </a:lnTo>
                <a:lnTo>
                  <a:pt x="168" y="184"/>
                </a:lnTo>
                <a:lnTo>
                  <a:pt x="136" y="152"/>
                </a:lnTo>
                <a:lnTo>
                  <a:pt x="112" y="88"/>
                </a:lnTo>
                <a:lnTo>
                  <a:pt x="96" y="72"/>
                </a:lnTo>
                <a:lnTo>
                  <a:pt x="64" y="56"/>
                </a:lnTo>
                <a:lnTo>
                  <a:pt x="80" y="120"/>
                </a:lnTo>
                <a:lnTo>
                  <a:pt x="88" y="168"/>
                </a:lnTo>
                <a:lnTo>
                  <a:pt x="112" y="200"/>
                </a:lnTo>
                <a:lnTo>
                  <a:pt x="136" y="248"/>
                </a:lnTo>
                <a:lnTo>
                  <a:pt x="160" y="296"/>
                </a:lnTo>
                <a:lnTo>
                  <a:pt x="184" y="352"/>
                </a:lnTo>
                <a:lnTo>
                  <a:pt x="168" y="352"/>
                </a:lnTo>
                <a:lnTo>
                  <a:pt x="136" y="304"/>
                </a:lnTo>
                <a:lnTo>
                  <a:pt x="112" y="288"/>
                </a:lnTo>
                <a:lnTo>
                  <a:pt x="104" y="248"/>
                </a:lnTo>
                <a:lnTo>
                  <a:pt x="88" y="232"/>
                </a:lnTo>
                <a:lnTo>
                  <a:pt x="88" y="200"/>
                </a:lnTo>
                <a:lnTo>
                  <a:pt x="72" y="176"/>
                </a:lnTo>
                <a:lnTo>
                  <a:pt x="56" y="176"/>
                </a:lnTo>
                <a:lnTo>
                  <a:pt x="40" y="152"/>
                </a:lnTo>
                <a:lnTo>
                  <a:pt x="56" y="128"/>
                </a:lnTo>
                <a:lnTo>
                  <a:pt x="32" y="96"/>
                </a:lnTo>
                <a:lnTo>
                  <a:pt x="16" y="72"/>
                </a:lnTo>
                <a:lnTo>
                  <a:pt x="8" y="40"/>
                </a:lnTo>
                <a:lnTo>
                  <a:pt x="0" y="0"/>
                </a:lnTo>
                <a:lnTo>
                  <a:pt x="80" y="24"/>
                </a:lnTo>
                <a:lnTo>
                  <a:pt x="144" y="56"/>
                </a:lnTo>
                <a:lnTo>
                  <a:pt x="168" y="80"/>
                </a:lnTo>
                <a:lnTo>
                  <a:pt x="240" y="72"/>
                </a:lnTo>
                <a:lnTo>
                  <a:pt x="256" y="88"/>
                </a:lnTo>
                <a:lnTo>
                  <a:pt x="336" y="80"/>
                </a:lnTo>
                <a:lnTo>
                  <a:pt x="352" y="104"/>
                </a:lnTo>
                <a:lnTo>
                  <a:pt x="368" y="152"/>
                </a:lnTo>
                <a:lnTo>
                  <a:pt x="408" y="152"/>
                </a:lnTo>
                <a:lnTo>
                  <a:pt x="416" y="128"/>
                </a:lnTo>
                <a:lnTo>
                  <a:pt x="456" y="128"/>
                </a:lnTo>
                <a:lnTo>
                  <a:pt x="488" y="176"/>
                </a:lnTo>
                <a:lnTo>
                  <a:pt x="512" y="240"/>
                </a:lnTo>
                <a:lnTo>
                  <a:pt x="544" y="256"/>
                </a:lnTo>
                <a:lnTo>
                  <a:pt x="568" y="256"/>
                </a:lnTo>
                <a:close/>
              </a:path>
            </a:pathLst>
          </a:custGeom>
          <a:solidFill>
            <a:schemeClr val="accent2"/>
          </a:solidFill>
          <a:ln w="6350" cmpd="sng">
            <a:noFill/>
            <a:prstDash val="solid"/>
            <a:round/>
            <a:headEnd/>
            <a:tailEnd/>
          </a:ln>
        </p:spPr>
        <p:txBody>
          <a:bodyPr/>
          <a:lstStyle/>
          <a:p>
            <a:endParaRPr lang="en-GB"/>
          </a:p>
        </p:txBody>
      </p:sp>
      <p:sp>
        <p:nvSpPr>
          <p:cNvPr id="169" name="Oval 53"/>
          <p:cNvSpPr>
            <a:spLocks noChangeAspect="1"/>
          </p:cNvSpPr>
          <p:nvPr/>
        </p:nvSpPr>
        <p:spPr>
          <a:xfrm>
            <a:off x="3414527" y="3268036"/>
            <a:ext cx="821606" cy="821604"/>
          </a:xfrm>
          <a:prstGeom prst="ellipse">
            <a:avLst/>
          </a:prstGeom>
          <a:solidFill>
            <a:srgbClr val="FFFFFF"/>
          </a:solidFill>
          <a:ln w="19050">
            <a:solidFill>
              <a:srgbClr val="FF8300"/>
            </a:solidFill>
            <a:prstDash val="sys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nvGrpSpPr>
          <p:cNvPr id="432" name="Gruppieren 431"/>
          <p:cNvGrpSpPr>
            <a:grpSpLocks noChangeAspect="1"/>
          </p:cNvGrpSpPr>
          <p:nvPr/>
        </p:nvGrpSpPr>
        <p:grpSpPr>
          <a:xfrm>
            <a:off x="3548929" y="3581085"/>
            <a:ext cx="578053" cy="300649"/>
            <a:chOff x="674688" y="1754188"/>
            <a:chExt cx="7737476" cy="4024312"/>
          </a:xfrm>
          <a:solidFill>
            <a:schemeClr val="accent2"/>
          </a:solidFill>
        </p:grpSpPr>
        <p:sp>
          <p:nvSpPr>
            <p:cNvPr id="433" name="Freeform 10"/>
            <p:cNvSpPr>
              <a:spLocks/>
            </p:cNvSpPr>
            <p:nvPr/>
          </p:nvSpPr>
          <p:spPr bwMode="auto">
            <a:xfrm>
              <a:off x="3151188" y="5468938"/>
              <a:ext cx="833438" cy="309562"/>
            </a:xfrm>
            <a:custGeom>
              <a:avLst/>
              <a:gdLst>
                <a:gd name="T0" fmla="*/ 455 w 525"/>
                <a:gd name="T1" fmla="*/ 61 h 195"/>
                <a:gd name="T2" fmla="*/ 427 w 525"/>
                <a:gd name="T3" fmla="*/ 44 h 195"/>
                <a:gd name="T4" fmla="*/ 406 w 525"/>
                <a:gd name="T5" fmla="*/ 36 h 195"/>
                <a:gd name="T6" fmla="*/ 372 w 525"/>
                <a:gd name="T7" fmla="*/ 29 h 195"/>
                <a:gd name="T8" fmla="*/ 351 w 525"/>
                <a:gd name="T9" fmla="*/ 36 h 195"/>
                <a:gd name="T10" fmla="*/ 338 w 525"/>
                <a:gd name="T11" fmla="*/ 57 h 195"/>
                <a:gd name="T12" fmla="*/ 338 w 525"/>
                <a:gd name="T13" fmla="*/ 12 h 195"/>
                <a:gd name="T14" fmla="*/ 327 w 525"/>
                <a:gd name="T15" fmla="*/ 2 h 195"/>
                <a:gd name="T16" fmla="*/ 312 w 525"/>
                <a:gd name="T17" fmla="*/ 2 h 195"/>
                <a:gd name="T18" fmla="*/ 272 w 525"/>
                <a:gd name="T19" fmla="*/ 25 h 195"/>
                <a:gd name="T20" fmla="*/ 259 w 525"/>
                <a:gd name="T21" fmla="*/ 38 h 195"/>
                <a:gd name="T22" fmla="*/ 202 w 525"/>
                <a:gd name="T23" fmla="*/ 59 h 195"/>
                <a:gd name="T24" fmla="*/ 185 w 525"/>
                <a:gd name="T25" fmla="*/ 61 h 195"/>
                <a:gd name="T26" fmla="*/ 157 w 525"/>
                <a:gd name="T27" fmla="*/ 46 h 195"/>
                <a:gd name="T28" fmla="*/ 147 w 525"/>
                <a:gd name="T29" fmla="*/ 32 h 195"/>
                <a:gd name="T30" fmla="*/ 145 w 525"/>
                <a:gd name="T31" fmla="*/ 6 h 195"/>
                <a:gd name="T32" fmla="*/ 126 w 525"/>
                <a:gd name="T33" fmla="*/ 4 h 195"/>
                <a:gd name="T34" fmla="*/ 96 w 525"/>
                <a:gd name="T35" fmla="*/ 12 h 195"/>
                <a:gd name="T36" fmla="*/ 75 w 525"/>
                <a:gd name="T37" fmla="*/ 29 h 195"/>
                <a:gd name="T38" fmla="*/ 58 w 525"/>
                <a:gd name="T39" fmla="*/ 53 h 195"/>
                <a:gd name="T40" fmla="*/ 43 w 525"/>
                <a:gd name="T41" fmla="*/ 55 h 195"/>
                <a:gd name="T42" fmla="*/ 19 w 525"/>
                <a:gd name="T43" fmla="*/ 29 h 195"/>
                <a:gd name="T44" fmla="*/ 11 w 525"/>
                <a:gd name="T45" fmla="*/ 27 h 195"/>
                <a:gd name="T46" fmla="*/ 0 w 525"/>
                <a:gd name="T47" fmla="*/ 51 h 195"/>
                <a:gd name="T48" fmla="*/ 5 w 525"/>
                <a:gd name="T49" fmla="*/ 61 h 195"/>
                <a:gd name="T50" fmla="*/ 19 w 525"/>
                <a:gd name="T51" fmla="*/ 78 h 195"/>
                <a:gd name="T52" fmla="*/ 24 w 525"/>
                <a:gd name="T53" fmla="*/ 97 h 195"/>
                <a:gd name="T54" fmla="*/ 30 w 525"/>
                <a:gd name="T55" fmla="*/ 131 h 195"/>
                <a:gd name="T56" fmla="*/ 43 w 525"/>
                <a:gd name="T57" fmla="*/ 150 h 195"/>
                <a:gd name="T58" fmla="*/ 62 w 525"/>
                <a:gd name="T59" fmla="*/ 167 h 195"/>
                <a:gd name="T60" fmla="*/ 94 w 525"/>
                <a:gd name="T61" fmla="*/ 191 h 195"/>
                <a:gd name="T62" fmla="*/ 151 w 525"/>
                <a:gd name="T63" fmla="*/ 195 h 195"/>
                <a:gd name="T64" fmla="*/ 206 w 525"/>
                <a:gd name="T65" fmla="*/ 195 h 195"/>
                <a:gd name="T66" fmla="*/ 270 w 525"/>
                <a:gd name="T67" fmla="*/ 180 h 195"/>
                <a:gd name="T68" fmla="*/ 331 w 525"/>
                <a:gd name="T69" fmla="*/ 172 h 195"/>
                <a:gd name="T70" fmla="*/ 359 w 525"/>
                <a:gd name="T71" fmla="*/ 153 h 195"/>
                <a:gd name="T72" fmla="*/ 391 w 525"/>
                <a:gd name="T73" fmla="*/ 129 h 195"/>
                <a:gd name="T74" fmla="*/ 406 w 525"/>
                <a:gd name="T75" fmla="*/ 104 h 195"/>
                <a:gd name="T76" fmla="*/ 425 w 525"/>
                <a:gd name="T77" fmla="*/ 80 h 195"/>
                <a:gd name="T78" fmla="*/ 440 w 525"/>
                <a:gd name="T79" fmla="*/ 76 h 195"/>
                <a:gd name="T80" fmla="*/ 450 w 525"/>
                <a:gd name="T81" fmla="*/ 87 h 195"/>
                <a:gd name="T82" fmla="*/ 457 w 525"/>
                <a:gd name="T83" fmla="*/ 91 h 195"/>
                <a:gd name="T84" fmla="*/ 472 w 525"/>
                <a:gd name="T85" fmla="*/ 87 h 195"/>
                <a:gd name="T86" fmla="*/ 478 w 525"/>
                <a:gd name="T87" fmla="*/ 78 h 195"/>
                <a:gd name="T88" fmla="*/ 514 w 525"/>
                <a:gd name="T89" fmla="*/ 82 h 195"/>
                <a:gd name="T90" fmla="*/ 525 w 525"/>
                <a:gd name="T91" fmla="*/ 82 h 195"/>
                <a:gd name="T92" fmla="*/ 520 w 525"/>
                <a:gd name="T93" fmla="*/ 68 h 195"/>
                <a:gd name="T94" fmla="*/ 510 w 525"/>
                <a:gd name="T95" fmla="*/ 57 h 195"/>
                <a:gd name="T96" fmla="*/ 499 w 525"/>
                <a:gd name="T97" fmla="*/ 42 h 195"/>
                <a:gd name="T98" fmla="*/ 474 w 525"/>
                <a:gd name="T99" fmla="*/ 51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25" h="195">
                  <a:moveTo>
                    <a:pt x="459" y="61"/>
                  </a:moveTo>
                  <a:lnTo>
                    <a:pt x="459" y="61"/>
                  </a:lnTo>
                  <a:lnTo>
                    <a:pt x="455" y="61"/>
                  </a:lnTo>
                  <a:lnTo>
                    <a:pt x="450" y="61"/>
                  </a:lnTo>
                  <a:lnTo>
                    <a:pt x="440" y="57"/>
                  </a:lnTo>
                  <a:lnTo>
                    <a:pt x="427" y="44"/>
                  </a:lnTo>
                  <a:lnTo>
                    <a:pt x="427" y="44"/>
                  </a:lnTo>
                  <a:lnTo>
                    <a:pt x="418" y="40"/>
                  </a:lnTo>
                  <a:lnTo>
                    <a:pt x="406" y="36"/>
                  </a:lnTo>
                  <a:lnTo>
                    <a:pt x="391" y="32"/>
                  </a:lnTo>
                  <a:lnTo>
                    <a:pt x="372" y="29"/>
                  </a:lnTo>
                  <a:lnTo>
                    <a:pt x="372" y="29"/>
                  </a:lnTo>
                  <a:lnTo>
                    <a:pt x="363" y="29"/>
                  </a:lnTo>
                  <a:lnTo>
                    <a:pt x="355" y="32"/>
                  </a:lnTo>
                  <a:lnTo>
                    <a:pt x="351" y="36"/>
                  </a:lnTo>
                  <a:lnTo>
                    <a:pt x="344" y="42"/>
                  </a:lnTo>
                  <a:lnTo>
                    <a:pt x="340" y="51"/>
                  </a:lnTo>
                  <a:lnTo>
                    <a:pt x="338" y="57"/>
                  </a:lnTo>
                  <a:lnTo>
                    <a:pt x="338" y="57"/>
                  </a:lnTo>
                  <a:lnTo>
                    <a:pt x="338" y="38"/>
                  </a:lnTo>
                  <a:lnTo>
                    <a:pt x="338" y="12"/>
                  </a:lnTo>
                  <a:lnTo>
                    <a:pt x="338" y="12"/>
                  </a:lnTo>
                  <a:lnTo>
                    <a:pt x="334" y="6"/>
                  </a:lnTo>
                  <a:lnTo>
                    <a:pt x="327" y="2"/>
                  </a:lnTo>
                  <a:lnTo>
                    <a:pt x="321" y="0"/>
                  </a:lnTo>
                  <a:lnTo>
                    <a:pt x="312" y="2"/>
                  </a:lnTo>
                  <a:lnTo>
                    <a:pt x="312" y="2"/>
                  </a:lnTo>
                  <a:lnTo>
                    <a:pt x="302" y="6"/>
                  </a:lnTo>
                  <a:lnTo>
                    <a:pt x="287" y="15"/>
                  </a:lnTo>
                  <a:lnTo>
                    <a:pt x="272" y="25"/>
                  </a:lnTo>
                  <a:lnTo>
                    <a:pt x="264" y="34"/>
                  </a:lnTo>
                  <a:lnTo>
                    <a:pt x="264" y="34"/>
                  </a:lnTo>
                  <a:lnTo>
                    <a:pt x="259" y="38"/>
                  </a:lnTo>
                  <a:lnTo>
                    <a:pt x="253" y="40"/>
                  </a:lnTo>
                  <a:lnTo>
                    <a:pt x="236" y="46"/>
                  </a:lnTo>
                  <a:lnTo>
                    <a:pt x="202" y="59"/>
                  </a:lnTo>
                  <a:lnTo>
                    <a:pt x="202" y="59"/>
                  </a:lnTo>
                  <a:lnTo>
                    <a:pt x="193" y="61"/>
                  </a:lnTo>
                  <a:lnTo>
                    <a:pt x="185" y="61"/>
                  </a:lnTo>
                  <a:lnTo>
                    <a:pt x="176" y="59"/>
                  </a:lnTo>
                  <a:lnTo>
                    <a:pt x="170" y="55"/>
                  </a:lnTo>
                  <a:lnTo>
                    <a:pt x="157" y="46"/>
                  </a:lnTo>
                  <a:lnTo>
                    <a:pt x="151" y="38"/>
                  </a:lnTo>
                  <a:lnTo>
                    <a:pt x="151" y="38"/>
                  </a:lnTo>
                  <a:lnTo>
                    <a:pt x="147" y="32"/>
                  </a:lnTo>
                  <a:lnTo>
                    <a:pt x="147" y="25"/>
                  </a:lnTo>
                  <a:lnTo>
                    <a:pt x="145" y="6"/>
                  </a:lnTo>
                  <a:lnTo>
                    <a:pt x="145" y="6"/>
                  </a:lnTo>
                  <a:lnTo>
                    <a:pt x="136" y="6"/>
                  </a:lnTo>
                  <a:lnTo>
                    <a:pt x="136" y="6"/>
                  </a:lnTo>
                  <a:lnTo>
                    <a:pt x="126" y="4"/>
                  </a:lnTo>
                  <a:lnTo>
                    <a:pt x="117" y="4"/>
                  </a:lnTo>
                  <a:lnTo>
                    <a:pt x="96" y="12"/>
                  </a:lnTo>
                  <a:lnTo>
                    <a:pt x="96" y="12"/>
                  </a:lnTo>
                  <a:lnTo>
                    <a:pt x="87" y="17"/>
                  </a:lnTo>
                  <a:lnTo>
                    <a:pt x="83" y="19"/>
                  </a:lnTo>
                  <a:lnTo>
                    <a:pt x="75" y="29"/>
                  </a:lnTo>
                  <a:lnTo>
                    <a:pt x="68" y="42"/>
                  </a:lnTo>
                  <a:lnTo>
                    <a:pt x="64" y="46"/>
                  </a:lnTo>
                  <a:lnTo>
                    <a:pt x="58" y="53"/>
                  </a:lnTo>
                  <a:lnTo>
                    <a:pt x="58" y="53"/>
                  </a:lnTo>
                  <a:lnTo>
                    <a:pt x="49" y="55"/>
                  </a:lnTo>
                  <a:lnTo>
                    <a:pt x="43" y="55"/>
                  </a:lnTo>
                  <a:lnTo>
                    <a:pt x="36" y="49"/>
                  </a:lnTo>
                  <a:lnTo>
                    <a:pt x="30" y="42"/>
                  </a:lnTo>
                  <a:lnTo>
                    <a:pt x="19" y="29"/>
                  </a:lnTo>
                  <a:lnTo>
                    <a:pt x="15" y="27"/>
                  </a:lnTo>
                  <a:lnTo>
                    <a:pt x="11" y="27"/>
                  </a:lnTo>
                  <a:lnTo>
                    <a:pt x="11" y="27"/>
                  </a:lnTo>
                  <a:lnTo>
                    <a:pt x="7" y="32"/>
                  </a:lnTo>
                  <a:lnTo>
                    <a:pt x="2" y="38"/>
                  </a:lnTo>
                  <a:lnTo>
                    <a:pt x="0" y="51"/>
                  </a:lnTo>
                  <a:lnTo>
                    <a:pt x="0" y="51"/>
                  </a:lnTo>
                  <a:lnTo>
                    <a:pt x="0" y="57"/>
                  </a:lnTo>
                  <a:lnTo>
                    <a:pt x="5" y="61"/>
                  </a:lnTo>
                  <a:lnTo>
                    <a:pt x="11" y="70"/>
                  </a:lnTo>
                  <a:lnTo>
                    <a:pt x="11" y="70"/>
                  </a:lnTo>
                  <a:lnTo>
                    <a:pt x="19" y="78"/>
                  </a:lnTo>
                  <a:lnTo>
                    <a:pt x="22" y="87"/>
                  </a:lnTo>
                  <a:lnTo>
                    <a:pt x="24" y="97"/>
                  </a:lnTo>
                  <a:lnTo>
                    <a:pt x="24" y="97"/>
                  </a:lnTo>
                  <a:lnTo>
                    <a:pt x="26" y="114"/>
                  </a:lnTo>
                  <a:lnTo>
                    <a:pt x="30" y="131"/>
                  </a:lnTo>
                  <a:lnTo>
                    <a:pt x="30" y="131"/>
                  </a:lnTo>
                  <a:lnTo>
                    <a:pt x="30" y="136"/>
                  </a:lnTo>
                  <a:lnTo>
                    <a:pt x="34" y="140"/>
                  </a:lnTo>
                  <a:lnTo>
                    <a:pt x="43" y="150"/>
                  </a:lnTo>
                  <a:lnTo>
                    <a:pt x="53" y="159"/>
                  </a:lnTo>
                  <a:lnTo>
                    <a:pt x="62" y="167"/>
                  </a:lnTo>
                  <a:lnTo>
                    <a:pt x="62" y="167"/>
                  </a:lnTo>
                  <a:lnTo>
                    <a:pt x="68" y="174"/>
                  </a:lnTo>
                  <a:lnTo>
                    <a:pt x="81" y="184"/>
                  </a:lnTo>
                  <a:lnTo>
                    <a:pt x="94" y="191"/>
                  </a:lnTo>
                  <a:lnTo>
                    <a:pt x="102" y="195"/>
                  </a:lnTo>
                  <a:lnTo>
                    <a:pt x="102" y="195"/>
                  </a:lnTo>
                  <a:lnTo>
                    <a:pt x="151" y="195"/>
                  </a:lnTo>
                  <a:lnTo>
                    <a:pt x="185" y="195"/>
                  </a:lnTo>
                  <a:lnTo>
                    <a:pt x="206" y="195"/>
                  </a:lnTo>
                  <a:lnTo>
                    <a:pt x="206" y="195"/>
                  </a:lnTo>
                  <a:lnTo>
                    <a:pt x="234" y="187"/>
                  </a:lnTo>
                  <a:lnTo>
                    <a:pt x="270" y="180"/>
                  </a:lnTo>
                  <a:lnTo>
                    <a:pt x="270" y="180"/>
                  </a:lnTo>
                  <a:lnTo>
                    <a:pt x="302" y="176"/>
                  </a:lnTo>
                  <a:lnTo>
                    <a:pt x="331" y="172"/>
                  </a:lnTo>
                  <a:lnTo>
                    <a:pt x="331" y="172"/>
                  </a:lnTo>
                  <a:lnTo>
                    <a:pt x="338" y="170"/>
                  </a:lnTo>
                  <a:lnTo>
                    <a:pt x="344" y="165"/>
                  </a:lnTo>
                  <a:lnTo>
                    <a:pt x="359" y="153"/>
                  </a:lnTo>
                  <a:lnTo>
                    <a:pt x="374" y="140"/>
                  </a:lnTo>
                  <a:lnTo>
                    <a:pt x="391" y="129"/>
                  </a:lnTo>
                  <a:lnTo>
                    <a:pt x="391" y="129"/>
                  </a:lnTo>
                  <a:lnTo>
                    <a:pt x="395" y="123"/>
                  </a:lnTo>
                  <a:lnTo>
                    <a:pt x="399" y="116"/>
                  </a:lnTo>
                  <a:lnTo>
                    <a:pt x="406" y="104"/>
                  </a:lnTo>
                  <a:lnTo>
                    <a:pt x="412" y="91"/>
                  </a:lnTo>
                  <a:lnTo>
                    <a:pt x="416" y="85"/>
                  </a:lnTo>
                  <a:lnTo>
                    <a:pt x="425" y="80"/>
                  </a:lnTo>
                  <a:lnTo>
                    <a:pt x="425" y="80"/>
                  </a:lnTo>
                  <a:lnTo>
                    <a:pt x="433" y="78"/>
                  </a:lnTo>
                  <a:lnTo>
                    <a:pt x="440" y="76"/>
                  </a:lnTo>
                  <a:lnTo>
                    <a:pt x="444" y="78"/>
                  </a:lnTo>
                  <a:lnTo>
                    <a:pt x="446" y="80"/>
                  </a:lnTo>
                  <a:lnTo>
                    <a:pt x="450" y="87"/>
                  </a:lnTo>
                  <a:lnTo>
                    <a:pt x="452" y="89"/>
                  </a:lnTo>
                  <a:lnTo>
                    <a:pt x="457" y="91"/>
                  </a:lnTo>
                  <a:lnTo>
                    <a:pt x="457" y="91"/>
                  </a:lnTo>
                  <a:lnTo>
                    <a:pt x="461" y="91"/>
                  </a:lnTo>
                  <a:lnTo>
                    <a:pt x="467" y="91"/>
                  </a:lnTo>
                  <a:lnTo>
                    <a:pt x="472" y="87"/>
                  </a:lnTo>
                  <a:lnTo>
                    <a:pt x="476" y="82"/>
                  </a:lnTo>
                  <a:lnTo>
                    <a:pt x="476" y="82"/>
                  </a:lnTo>
                  <a:lnTo>
                    <a:pt x="478" y="78"/>
                  </a:lnTo>
                  <a:lnTo>
                    <a:pt x="484" y="78"/>
                  </a:lnTo>
                  <a:lnTo>
                    <a:pt x="499" y="80"/>
                  </a:lnTo>
                  <a:lnTo>
                    <a:pt x="514" y="82"/>
                  </a:lnTo>
                  <a:lnTo>
                    <a:pt x="520" y="82"/>
                  </a:lnTo>
                  <a:lnTo>
                    <a:pt x="525" y="82"/>
                  </a:lnTo>
                  <a:lnTo>
                    <a:pt x="525" y="82"/>
                  </a:lnTo>
                  <a:lnTo>
                    <a:pt x="525" y="78"/>
                  </a:lnTo>
                  <a:lnTo>
                    <a:pt x="525" y="76"/>
                  </a:lnTo>
                  <a:lnTo>
                    <a:pt x="520" y="68"/>
                  </a:lnTo>
                  <a:lnTo>
                    <a:pt x="514" y="59"/>
                  </a:lnTo>
                  <a:lnTo>
                    <a:pt x="510" y="57"/>
                  </a:lnTo>
                  <a:lnTo>
                    <a:pt x="510" y="57"/>
                  </a:lnTo>
                  <a:lnTo>
                    <a:pt x="506" y="53"/>
                  </a:lnTo>
                  <a:lnTo>
                    <a:pt x="499" y="42"/>
                  </a:lnTo>
                  <a:lnTo>
                    <a:pt x="499" y="42"/>
                  </a:lnTo>
                  <a:lnTo>
                    <a:pt x="486" y="44"/>
                  </a:lnTo>
                  <a:lnTo>
                    <a:pt x="486" y="44"/>
                  </a:lnTo>
                  <a:lnTo>
                    <a:pt x="474" y="51"/>
                  </a:lnTo>
                  <a:lnTo>
                    <a:pt x="459" y="61"/>
                  </a:lnTo>
                  <a:lnTo>
                    <a:pt x="459" y="61"/>
                  </a:lnTo>
                  <a:close/>
                </a:path>
              </a:pathLst>
            </a:custGeom>
            <a:grpFill/>
            <a:ln>
              <a:noFill/>
            </a:ln>
            <a:extLst/>
          </p:spPr>
          <p:txBody>
            <a:bodyPr vert="horz" wrap="square" lIns="91440" tIns="45720" rIns="91440" bIns="45720" numCol="1" anchor="t" anchorCtr="0" compatLnSpc="1">
              <a:prstTxWarp prst="textNoShape">
                <a:avLst/>
              </a:prstTxWarp>
            </a:bodyPr>
            <a:lstStyle/>
            <a:p>
              <a:endParaRPr lang="de-DE"/>
            </a:p>
          </p:txBody>
        </p:sp>
        <p:grpSp>
          <p:nvGrpSpPr>
            <p:cNvPr id="434" name="Gruppieren 433"/>
            <p:cNvGrpSpPr/>
            <p:nvPr/>
          </p:nvGrpSpPr>
          <p:grpSpPr>
            <a:xfrm>
              <a:off x="674688" y="1754188"/>
              <a:ext cx="7737476" cy="3811587"/>
              <a:chOff x="674688" y="1754188"/>
              <a:chExt cx="7737476" cy="3811587"/>
            </a:xfrm>
            <a:grpFill/>
          </p:grpSpPr>
          <p:sp>
            <p:nvSpPr>
              <p:cNvPr id="435" name="Freeform 7"/>
              <p:cNvSpPr>
                <a:spLocks/>
              </p:cNvSpPr>
              <p:nvPr/>
            </p:nvSpPr>
            <p:spPr bwMode="auto">
              <a:xfrm>
                <a:off x="674688" y="2728913"/>
                <a:ext cx="128588" cy="103187"/>
              </a:xfrm>
              <a:custGeom>
                <a:avLst/>
                <a:gdLst>
                  <a:gd name="T0" fmla="*/ 79 w 81"/>
                  <a:gd name="T1" fmla="*/ 32 h 65"/>
                  <a:gd name="T2" fmla="*/ 79 w 81"/>
                  <a:gd name="T3" fmla="*/ 32 h 65"/>
                  <a:gd name="T4" fmla="*/ 81 w 81"/>
                  <a:gd name="T5" fmla="*/ 27 h 65"/>
                  <a:gd name="T6" fmla="*/ 79 w 81"/>
                  <a:gd name="T7" fmla="*/ 23 h 65"/>
                  <a:gd name="T8" fmla="*/ 72 w 81"/>
                  <a:gd name="T9" fmla="*/ 15 h 65"/>
                  <a:gd name="T10" fmla="*/ 55 w 81"/>
                  <a:gd name="T11" fmla="*/ 0 h 65"/>
                  <a:gd name="T12" fmla="*/ 55 w 81"/>
                  <a:gd name="T13" fmla="*/ 0 h 65"/>
                  <a:gd name="T14" fmla="*/ 51 w 81"/>
                  <a:gd name="T15" fmla="*/ 0 h 65"/>
                  <a:gd name="T16" fmla="*/ 45 w 81"/>
                  <a:gd name="T17" fmla="*/ 2 h 65"/>
                  <a:gd name="T18" fmla="*/ 25 w 81"/>
                  <a:gd name="T19" fmla="*/ 10 h 65"/>
                  <a:gd name="T20" fmla="*/ 6 w 81"/>
                  <a:gd name="T21" fmla="*/ 21 h 65"/>
                  <a:gd name="T22" fmla="*/ 2 w 81"/>
                  <a:gd name="T23" fmla="*/ 25 h 65"/>
                  <a:gd name="T24" fmla="*/ 0 w 81"/>
                  <a:gd name="T25" fmla="*/ 32 h 65"/>
                  <a:gd name="T26" fmla="*/ 0 w 81"/>
                  <a:gd name="T27" fmla="*/ 32 h 65"/>
                  <a:gd name="T28" fmla="*/ 4 w 81"/>
                  <a:gd name="T29" fmla="*/ 44 h 65"/>
                  <a:gd name="T30" fmla="*/ 11 w 81"/>
                  <a:gd name="T31" fmla="*/ 53 h 65"/>
                  <a:gd name="T32" fmla="*/ 21 w 81"/>
                  <a:gd name="T33" fmla="*/ 59 h 65"/>
                  <a:gd name="T34" fmla="*/ 32 w 81"/>
                  <a:gd name="T35" fmla="*/ 65 h 65"/>
                  <a:gd name="T36" fmla="*/ 32 w 81"/>
                  <a:gd name="T37" fmla="*/ 65 h 65"/>
                  <a:gd name="T38" fmla="*/ 38 w 81"/>
                  <a:gd name="T39" fmla="*/ 65 h 65"/>
                  <a:gd name="T40" fmla="*/ 45 w 81"/>
                  <a:gd name="T41" fmla="*/ 61 h 65"/>
                  <a:gd name="T42" fmla="*/ 59 w 81"/>
                  <a:gd name="T43" fmla="*/ 53 h 65"/>
                  <a:gd name="T44" fmla="*/ 72 w 81"/>
                  <a:gd name="T45" fmla="*/ 40 h 65"/>
                  <a:gd name="T46" fmla="*/ 79 w 81"/>
                  <a:gd name="T47" fmla="*/ 32 h 65"/>
                  <a:gd name="T48" fmla="*/ 79 w 81"/>
                  <a:gd name="T49" fmla="*/ 32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1" h="65">
                    <a:moveTo>
                      <a:pt x="79" y="32"/>
                    </a:moveTo>
                    <a:lnTo>
                      <a:pt x="79" y="32"/>
                    </a:lnTo>
                    <a:lnTo>
                      <a:pt x="81" y="27"/>
                    </a:lnTo>
                    <a:lnTo>
                      <a:pt x="79" y="23"/>
                    </a:lnTo>
                    <a:lnTo>
                      <a:pt x="72" y="15"/>
                    </a:lnTo>
                    <a:lnTo>
                      <a:pt x="55" y="0"/>
                    </a:lnTo>
                    <a:lnTo>
                      <a:pt x="55" y="0"/>
                    </a:lnTo>
                    <a:lnTo>
                      <a:pt x="51" y="0"/>
                    </a:lnTo>
                    <a:lnTo>
                      <a:pt x="45" y="2"/>
                    </a:lnTo>
                    <a:lnTo>
                      <a:pt x="25" y="10"/>
                    </a:lnTo>
                    <a:lnTo>
                      <a:pt x="6" y="21"/>
                    </a:lnTo>
                    <a:lnTo>
                      <a:pt x="2" y="25"/>
                    </a:lnTo>
                    <a:lnTo>
                      <a:pt x="0" y="32"/>
                    </a:lnTo>
                    <a:lnTo>
                      <a:pt x="0" y="32"/>
                    </a:lnTo>
                    <a:lnTo>
                      <a:pt x="4" y="44"/>
                    </a:lnTo>
                    <a:lnTo>
                      <a:pt x="11" y="53"/>
                    </a:lnTo>
                    <a:lnTo>
                      <a:pt x="21" y="59"/>
                    </a:lnTo>
                    <a:lnTo>
                      <a:pt x="32" y="65"/>
                    </a:lnTo>
                    <a:lnTo>
                      <a:pt x="32" y="65"/>
                    </a:lnTo>
                    <a:lnTo>
                      <a:pt x="38" y="65"/>
                    </a:lnTo>
                    <a:lnTo>
                      <a:pt x="45" y="61"/>
                    </a:lnTo>
                    <a:lnTo>
                      <a:pt x="59" y="53"/>
                    </a:lnTo>
                    <a:lnTo>
                      <a:pt x="72" y="40"/>
                    </a:lnTo>
                    <a:lnTo>
                      <a:pt x="79" y="32"/>
                    </a:lnTo>
                    <a:lnTo>
                      <a:pt x="79" y="32"/>
                    </a:lnTo>
                    <a:close/>
                  </a:path>
                </a:pathLst>
              </a:custGeom>
              <a:grpFill/>
              <a:ln w="9525">
                <a:noFill/>
                <a:round/>
                <a:headEnd/>
                <a:tailEnd/>
              </a:ln>
              <a:extLst/>
            </p:spPr>
            <p:txBody>
              <a:bodyPr vert="horz" wrap="square" lIns="91440" tIns="45720" rIns="91440" bIns="45720" numCol="1" anchor="t" anchorCtr="0" compatLnSpc="1">
                <a:prstTxWarp prst="textNoShape">
                  <a:avLst/>
                </a:prstTxWarp>
              </a:bodyPr>
              <a:lstStyle/>
              <a:p>
                <a:endParaRPr lang="de-DE"/>
              </a:p>
            </p:txBody>
          </p:sp>
          <p:sp>
            <p:nvSpPr>
              <p:cNvPr id="436" name="Freeform 8"/>
              <p:cNvSpPr>
                <a:spLocks/>
              </p:cNvSpPr>
              <p:nvPr/>
            </p:nvSpPr>
            <p:spPr bwMode="auto">
              <a:xfrm>
                <a:off x="719138" y="2927350"/>
                <a:ext cx="84138" cy="87312"/>
              </a:xfrm>
              <a:custGeom>
                <a:avLst/>
                <a:gdLst>
                  <a:gd name="T0" fmla="*/ 48 w 53"/>
                  <a:gd name="T1" fmla="*/ 34 h 55"/>
                  <a:gd name="T2" fmla="*/ 48 w 53"/>
                  <a:gd name="T3" fmla="*/ 34 h 55"/>
                  <a:gd name="T4" fmla="*/ 51 w 53"/>
                  <a:gd name="T5" fmla="*/ 30 h 55"/>
                  <a:gd name="T6" fmla="*/ 53 w 53"/>
                  <a:gd name="T7" fmla="*/ 28 h 55"/>
                  <a:gd name="T8" fmla="*/ 53 w 53"/>
                  <a:gd name="T9" fmla="*/ 21 h 55"/>
                  <a:gd name="T10" fmla="*/ 51 w 53"/>
                  <a:gd name="T11" fmla="*/ 15 h 55"/>
                  <a:gd name="T12" fmla="*/ 48 w 53"/>
                  <a:gd name="T13" fmla="*/ 8 h 55"/>
                  <a:gd name="T14" fmla="*/ 48 w 53"/>
                  <a:gd name="T15" fmla="*/ 8 h 55"/>
                  <a:gd name="T16" fmla="*/ 46 w 53"/>
                  <a:gd name="T17" fmla="*/ 4 h 55"/>
                  <a:gd name="T18" fmla="*/ 44 w 53"/>
                  <a:gd name="T19" fmla="*/ 2 h 55"/>
                  <a:gd name="T20" fmla="*/ 31 w 53"/>
                  <a:gd name="T21" fmla="*/ 0 h 55"/>
                  <a:gd name="T22" fmla="*/ 19 w 53"/>
                  <a:gd name="T23" fmla="*/ 2 h 55"/>
                  <a:gd name="T24" fmla="*/ 14 w 53"/>
                  <a:gd name="T25" fmla="*/ 4 h 55"/>
                  <a:gd name="T26" fmla="*/ 12 w 53"/>
                  <a:gd name="T27" fmla="*/ 8 h 55"/>
                  <a:gd name="T28" fmla="*/ 12 w 53"/>
                  <a:gd name="T29" fmla="*/ 8 h 55"/>
                  <a:gd name="T30" fmla="*/ 8 w 53"/>
                  <a:gd name="T31" fmla="*/ 15 h 55"/>
                  <a:gd name="T32" fmla="*/ 4 w 53"/>
                  <a:gd name="T33" fmla="*/ 21 h 55"/>
                  <a:gd name="T34" fmla="*/ 2 w 53"/>
                  <a:gd name="T35" fmla="*/ 23 h 55"/>
                  <a:gd name="T36" fmla="*/ 0 w 53"/>
                  <a:gd name="T37" fmla="*/ 28 h 55"/>
                  <a:gd name="T38" fmla="*/ 0 w 53"/>
                  <a:gd name="T39" fmla="*/ 28 h 55"/>
                  <a:gd name="T40" fmla="*/ 2 w 53"/>
                  <a:gd name="T41" fmla="*/ 34 h 55"/>
                  <a:gd name="T42" fmla="*/ 4 w 53"/>
                  <a:gd name="T43" fmla="*/ 42 h 55"/>
                  <a:gd name="T44" fmla="*/ 10 w 53"/>
                  <a:gd name="T45" fmla="*/ 49 h 55"/>
                  <a:gd name="T46" fmla="*/ 19 w 53"/>
                  <a:gd name="T47" fmla="*/ 55 h 55"/>
                  <a:gd name="T48" fmla="*/ 19 w 53"/>
                  <a:gd name="T49" fmla="*/ 55 h 55"/>
                  <a:gd name="T50" fmla="*/ 23 w 53"/>
                  <a:gd name="T51" fmla="*/ 55 h 55"/>
                  <a:gd name="T52" fmla="*/ 27 w 53"/>
                  <a:gd name="T53" fmla="*/ 55 h 55"/>
                  <a:gd name="T54" fmla="*/ 36 w 53"/>
                  <a:gd name="T55" fmla="*/ 49 h 55"/>
                  <a:gd name="T56" fmla="*/ 42 w 53"/>
                  <a:gd name="T57" fmla="*/ 40 h 55"/>
                  <a:gd name="T58" fmla="*/ 48 w 53"/>
                  <a:gd name="T59" fmla="*/ 34 h 55"/>
                  <a:gd name="T60" fmla="*/ 48 w 53"/>
                  <a:gd name="T61" fmla="*/ 34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53" h="55">
                    <a:moveTo>
                      <a:pt x="48" y="34"/>
                    </a:moveTo>
                    <a:lnTo>
                      <a:pt x="48" y="34"/>
                    </a:lnTo>
                    <a:lnTo>
                      <a:pt x="51" y="30"/>
                    </a:lnTo>
                    <a:lnTo>
                      <a:pt x="53" y="28"/>
                    </a:lnTo>
                    <a:lnTo>
                      <a:pt x="53" y="21"/>
                    </a:lnTo>
                    <a:lnTo>
                      <a:pt x="51" y="15"/>
                    </a:lnTo>
                    <a:lnTo>
                      <a:pt x="48" y="8"/>
                    </a:lnTo>
                    <a:lnTo>
                      <a:pt x="48" y="8"/>
                    </a:lnTo>
                    <a:lnTo>
                      <a:pt x="46" y="4"/>
                    </a:lnTo>
                    <a:lnTo>
                      <a:pt x="44" y="2"/>
                    </a:lnTo>
                    <a:lnTo>
                      <a:pt x="31" y="0"/>
                    </a:lnTo>
                    <a:lnTo>
                      <a:pt x="19" y="2"/>
                    </a:lnTo>
                    <a:lnTo>
                      <a:pt x="14" y="4"/>
                    </a:lnTo>
                    <a:lnTo>
                      <a:pt x="12" y="8"/>
                    </a:lnTo>
                    <a:lnTo>
                      <a:pt x="12" y="8"/>
                    </a:lnTo>
                    <a:lnTo>
                      <a:pt x="8" y="15"/>
                    </a:lnTo>
                    <a:lnTo>
                      <a:pt x="4" y="21"/>
                    </a:lnTo>
                    <a:lnTo>
                      <a:pt x="2" y="23"/>
                    </a:lnTo>
                    <a:lnTo>
                      <a:pt x="0" y="28"/>
                    </a:lnTo>
                    <a:lnTo>
                      <a:pt x="0" y="28"/>
                    </a:lnTo>
                    <a:lnTo>
                      <a:pt x="2" y="34"/>
                    </a:lnTo>
                    <a:lnTo>
                      <a:pt x="4" y="42"/>
                    </a:lnTo>
                    <a:lnTo>
                      <a:pt x="10" y="49"/>
                    </a:lnTo>
                    <a:lnTo>
                      <a:pt x="19" y="55"/>
                    </a:lnTo>
                    <a:lnTo>
                      <a:pt x="19" y="55"/>
                    </a:lnTo>
                    <a:lnTo>
                      <a:pt x="23" y="55"/>
                    </a:lnTo>
                    <a:lnTo>
                      <a:pt x="27" y="55"/>
                    </a:lnTo>
                    <a:lnTo>
                      <a:pt x="36" y="49"/>
                    </a:lnTo>
                    <a:lnTo>
                      <a:pt x="42" y="40"/>
                    </a:lnTo>
                    <a:lnTo>
                      <a:pt x="48" y="34"/>
                    </a:lnTo>
                    <a:lnTo>
                      <a:pt x="48" y="34"/>
                    </a:lnTo>
                    <a:close/>
                  </a:path>
                </a:pathLst>
              </a:custGeom>
              <a:grpFill/>
              <a:ln w="9525">
                <a:noFill/>
                <a:round/>
                <a:headEnd/>
                <a:tailEnd/>
              </a:ln>
              <a:extLst/>
            </p:spPr>
            <p:txBody>
              <a:bodyPr vert="horz" wrap="square" lIns="91440" tIns="45720" rIns="91440" bIns="45720" numCol="1" anchor="t" anchorCtr="0" compatLnSpc="1">
                <a:prstTxWarp prst="textNoShape">
                  <a:avLst/>
                </a:prstTxWarp>
              </a:bodyPr>
              <a:lstStyle/>
              <a:p>
                <a:endParaRPr lang="de-DE"/>
              </a:p>
            </p:txBody>
          </p:sp>
          <p:sp>
            <p:nvSpPr>
              <p:cNvPr id="437" name="Freeform 9"/>
              <p:cNvSpPr>
                <a:spLocks/>
              </p:cNvSpPr>
              <p:nvPr/>
            </p:nvSpPr>
            <p:spPr bwMode="auto">
              <a:xfrm>
                <a:off x="1365251" y="2546350"/>
                <a:ext cx="101600" cy="101600"/>
              </a:xfrm>
              <a:custGeom>
                <a:avLst/>
                <a:gdLst>
                  <a:gd name="T0" fmla="*/ 4 w 64"/>
                  <a:gd name="T1" fmla="*/ 53 h 64"/>
                  <a:gd name="T2" fmla="*/ 4 w 64"/>
                  <a:gd name="T3" fmla="*/ 53 h 64"/>
                  <a:gd name="T4" fmla="*/ 2 w 64"/>
                  <a:gd name="T5" fmla="*/ 42 h 64"/>
                  <a:gd name="T6" fmla="*/ 0 w 64"/>
                  <a:gd name="T7" fmla="*/ 30 h 64"/>
                  <a:gd name="T8" fmla="*/ 4 w 64"/>
                  <a:gd name="T9" fmla="*/ 15 h 64"/>
                  <a:gd name="T10" fmla="*/ 7 w 64"/>
                  <a:gd name="T11" fmla="*/ 11 h 64"/>
                  <a:gd name="T12" fmla="*/ 11 w 64"/>
                  <a:gd name="T13" fmla="*/ 9 h 64"/>
                  <a:gd name="T14" fmla="*/ 11 w 64"/>
                  <a:gd name="T15" fmla="*/ 9 h 64"/>
                  <a:gd name="T16" fmla="*/ 26 w 64"/>
                  <a:gd name="T17" fmla="*/ 4 h 64"/>
                  <a:gd name="T18" fmla="*/ 41 w 64"/>
                  <a:gd name="T19" fmla="*/ 2 h 64"/>
                  <a:gd name="T20" fmla="*/ 60 w 64"/>
                  <a:gd name="T21" fmla="*/ 0 h 64"/>
                  <a:gd name="T22" fmla="*/ 60 w 64"/>
                  <a:gd name="T23" fmla="*/ 0 h 64"/>
                  <a:gd name="T24" fmla="*/ 64 w 64"/>
                  <a:gd name="T25" fmla="*/ 9 h 64"/>
                  <a:gd name="T26" fmla="*/ 64 w 64"/>
                  <a:gd name="T27" fmla="*/ 15 h 64"/>
                  <a:gd name="T28" fmla="*/ 64 w 64"/>
                  <a:gd name="T29" fmla="*/ 17 h 64"/>
                  <a:gd name="T30" fmla="*/ 60 w 64"/>
                  <a:gd name="T31" fmla="*/ 21 h 64"/>
                  <a:gd name="T32" fmla="*/ 60 w 64"/>
                  <a:gd name="T33" fmla="*/ 21 h 64"/>
                  <a:gd name="T34" fmla="*/ 53 w 64"/>
                  <a:gd name="T35" fmla="*/ 26 h 64"/>
                  <a:gd name="T36" fmla="*/ 45 w 64"/>
                  <a:gd name="T37" fmla="*/ 32 h 64"/>
                  <a:gd name="T38" fmla="*/ 38 w 64"/>
                  <a:gd name="T39" fmla="*/ 38 h 64"/>
                  <a:gd name="T40" fmla="*/ 34 w 64"/>
                  <a:gd name="T41" fmla="*/ 45 h 64"/>
                  <a:gd name="T42" fmla="*/ 34 w 64"/>
                  <a:gd name="T43" fmla="*/ 45 h 64"/>
                  <a:gd name="T44" fmla="*/ 34 w 64"/>
                  <a:gd name="T45" fmla="*/ 57 h 64"/>
                  <a:gd name="T46" fmla="*/ 32 w 64"/>
                  <a:gd name="T47" fmla="*/ 62 h 64"/>
                  <a:gd name="T48" fmla="*/ 24 w 64"/>
                  <a:gd name="T49" fmla="*/ 64 h 64"/>
                  <a:gd name="T50" fmla="*/ 24 w 64"/>
                  <a:gd name="T51" fmla="*/ 64 h 64"/>
                  <a:gd name="T52" fmla="*/ 17 w 64"/>
                  <a:gd name="T53" fmla="*/ 64 h 64"/>
                  <a:gd name="T54" fmla="*/ 13 w 64"/>
                  <a:gd name="T55" fmla="*/ 64 h 64"/>
                  <a:gd name="T56" fmla="*/ 11 w 64"/>
                  <a:gd name="T57" fmla="*/ 59 h 64"/>
                  <a:gd name="T58" fmla="*/ 4 w 64"/>
                  <a:gd name="T59" fmla="*/ 53 h 64"/>
                  <a:gd name="T60" fmla="*/ 4 w 64"/>
                  <a:gd name="T61"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64" h="64">
                    <a:moveTo>
                      <a:pt x="4" y="53"/>
                    </a:moveTo>
                    <a:lnTo>
                      <a:pt x="4" y="53"/>
                    </a:lnTo>
                    <a:lnTo>
                      <a:pt x="2" y="42"/>
                    </a:lnTo>
                    <a:lnTo>
                      <a:pt x="0" y="30"/>
                    </a:lnTo>
                    <a:lnTo>
                      <a:pt x="4" y="15"/>
                    </a:lnTo>
                    <a:lnTo>
                      <a:pt x="7" y="11"/>
                    </a:lnTo>
                    <a:lnTo>
                      <a:pt x="11" y="9"/>
                    </a:lnTo>
                    <a:lnTo>
                      <a:pt x="11" y="9"/>
                    </a:lnTo>
                    <a:lnTo>
                      <a:pt x="26" y="4"/>
                    </a:lnTo>
                    <a:lnTo>
                      <a:pt x="41" y="2"/>
                    </a:lnTo>
                    <a:lnTo>
                      <a:pt x="60" y="0"/>
                    </a:lnTo>
                    <a:lnTo>
                      <a:pt x="60" y="0"/>
                    </a:lnTo>
                    <a:lnTo>
                      <a:pt x="64" y="9"/>
                    </a:lnTo>
                    <a:lnTo>
                      <a:pt x="64" y="15"/>
                    </a:lnTo>
                    <a:lnTo>
                      <a:pt x="64" y="17"/>
                    </a:lnTo>
                    <a:lnTo>
                      <a:pt x="60" y="21"/>
                    </a:lnTo>
                    <a:lnTo>
                      <a:pt x="60" y="21"/>
                    </a:lnTo>
                    <a:lnTo>
                      <a:pt x="53" y="26"/>
                    </a:lnTo>
                    <a:lnTo>
                      <a:pt x="45" y="32"/>
                    </a:lnTo>
                    <a:lnTo>
                      <a:pt x="38" y="38"/>
                    </a:lnTo>
                    <a:lnTo>
                      <a:pt x="34" y="45"/>
                    </a:lnTo>
                    <a:lnTo>
                      <a:pt x="34" y="45"/>
                    </a:lnTo>
                    <a:lnTo>
                      <a:pt x="34" y="57"/>
                    </a:lnTo>
                    <a:lnTo>
                      <a:pt x="32" y="62"/>
                    </a:lnTo>
                    <a:lnTo>
                      <a:pt x="24" y="64"/>
                    </a:lnTo>
                    <a:lnTo>
                      <a:pt x="24" y="64"/>
                    </a:lnTo>
                    <a:lnTo>
                      <a:pt x="17" y="64"/>
                    </a:lnTo>
                    <a:lnTo>
                      <a:pt x="13" y="64"/>
                    </a:lnTo>
                    <a:lnTo>
                      <a:pt x="11" y="59"/>
                    </a:lnTo>
                    <a:lnTo>
                      <a:pt x="4" y="53"/>
                    </a:lnTo>
                    <a:lnTo>
                      <a:pt x="4" y="53"/>
                    </a:lnTo>
                    <a:close/>
                  </a:path>
                </a:pathLst>
              </a:custGeom>
              <a:grpFill/>
              <a:ln w="9525">
                <a:noFill/>
                <a:round/>
                <a:headEnd/>
                <a:tailEnd/>
              </a:ln>
              <a:extLst/>
            </p:spPr>
            <p:txBody>
              <a:bodyPr vert="horz" wrap="square" lIns="91440" tIns="45720" rIns="91440" bIns="45720" numCol="1" anchor="t" anchorCtr="0" compatLnSpc="1">
                <a:prstTxWarp prst="textNoShape">
                  <a:avLst/>
                </a:prstTxWarp>
              </a:bodyPr>
              <a:lstStyle/>
              <a:p>
                <a:endParaRPr lang="de-DE"/>
              </a:p>
            </p:txBody>
          </p:sp>
          <p:sp>
            <p:nvSpPr>
              <p:cNvPr id="438" name="Freeform 11"/>
              <p:cNvSpPr>
                <a:spLocks/>
              </p:cNvSpPr>
              <p:nvPr/>
            </p:nvSpPr>
            <p:spPr bwMode="auto">
              <a:xfrm>
                <a:off x="3381376" y="5199063"/>
                <a:ext cx="841375" cy="366712"/>
              </a:xfrm>
              <a:custGeom>
                <a:avLst/>
                <a:gdLst>
                  <a:gd name="T0" fmla="*/ 511 w 530"/>
                  <a:gd name="T1" fmla="*/ 0 h 231"/>
                  <a:gd name="T2" fmla="*/ 441 w 530"/>
                  <a:gd name="T3" fmla="*/ 30 h 231"/>
                  <a:gd name="T4" fmla="*/ 390 w 530"/>
                  <a:gd name="T5" fmla="*/ 47 h 231"/>
                  <a:gd name="T6" fmla="*/ 327 w 530"/>
                  <a:gd name="T7" fmla="*/ 83 h 231"/>
                  <a:gd name="T8" fmla="*/ 278 w 530"/>
                  <a:gd name="T9" fmla="*/ 104 h 231"/>
                  <a:gd name="T10" fmla="*/ 218 w 530"/>
                  <a:gd name="T11" fmla="*/ 117 h 231"/>
                  <a:gd name="T12" fmla="*/ 99 w 530"/>
                  <a:gd name="T13" fmla="*/ 108 h 231"/>
                  <a:gd name="T14" fmla="*/ 68 w 530"/>
                  <a:gd name="T15" fmla="*/ 95 h 231"/>
                  <a:gd name="T16" fmla="*/ 57 w 530"/>
                  <a:gd name="T17" fmla="*/ 98 h 231"/>
                  <a:gd name="T18" fmla="*/ 59 w 530"/>
                  <a:gd name="T19" fmla="*/ 127 h 231"/>
                  <a:gd name="T20" fmla="*/ 65 w 530"/>
                  <a:gd name="T21" fmla="*/ 151 h 231"/>
                  <a:gd name="T22" fmla="*/ 57 w 530"/>
                  <a:gd name="T23" fmla="*/ 165 h 231"/>
                  <a:gd name="T24" fmla="*/ 31 w 530"/>
                  <a:gd name="T25" fmla="*/ 174 h 231"/>
                  <a:gd name="T26" fmla="*/ 0 w 530"/>
                  <a:gd name="T27" fmla="*/ 176 h 231"/>
                  <a:gd name="T28" fmla="*/ 2 w 530"/>
                  <a:gd name="T29" fmla="*/ 202 h 231"/>
                  <a:gd name="T30" fmla="*/ 12 w 530"/>
                  <a:gd name="T31" fmla="*/ 216 h 231"/>
                  <a:gd name="T32" fmla="*/ 40 w 530"/>
                  <a:gd name="T33" fmla="*/ 231 h 231"/>
                  <a:gd name="T34" fmla="*/ 57 w 530"/>
                  <a:gd name="T35" fmla="*/ 229 h 231"/>
                  <a:gd name="T36" fmla="*/ 114 w 530"/>
                  <a:gd name="T37" fmla="*/ 208 h 231"/>
                  <a:gd name="T38" fmla="*/ 127 w 530"/>
                  <a:gd name="T39" fmla="*/ 195 h 231"/>
                  <a:gd name="T40" fmla="*/ 167 w 530"/>
                  <a:gd name="T41" fmla="*/ 172 h 231"/>
                  <a:gd name="T42" fmla="*/ 182 w 530"/>
                  <a:gd name="T43" fmla="*/ 172 h 231"/>
                  <a:gd name="T44" fmla="*/ 193 w 530"/>
                  <a:gd name="T45" fmla="*/ 182 h 231"/>
                  <a:gd name="T46" fmla="*/ 193 w 530"/>
                  <a:gd name="T47" fmla="*/ 227 h 231"/>
                  <a:gd name="T48" fmla="*/ 206 w 530"/>
                  <a:gd name="T49" fmla="*/ 206 h 231"/>
                  <a:gd name="T50" fmla="*/ 227 w 530"/>
                  <a:gd name="T51" fmla="*/ 199 h 231"/>
                  <a:gd name="T52" fmla="*/ 261 w 530"/>
                  <a:gd name="T53" fmla="*/ 206 h 231"/>
                  <a:gd name="T54" fmla="*/ 282 w 530"/>
                  <a:gd name="T55" fmla="*/ 214 h 231"/>
                  <a:gd name="T56" fmla="*/ 310 w 530"/>
                  <a:gd name="T57" fmla="*/ 231 h 231"/>
                  <a:gd name="T58" fmla="*/ 329 w 530"/>
                  <a:gd name="T59" fmla="*/ 221 h 231"/>
                  <a:gd name="T60" fmla="*/ 354 w 530"/>
                  <a:gd name="T61" fmla="*/ 212 h 231"/>
                  <a:gd name="T62" fmla="*/ 337 w 530"/>
                  <a:gd name="T63" fmla="*/ 180 h 231"/>
                  <a:gd name="T64" fmla="*/ 341 w 530"/>
                  <a:gd name="T65" fmla="*/ 153 h 231"/>
                  <a:gd name="T66" fmla="*/ 365 w 530"/>
                  <a:gd name="T67" fmla="*/ 136 h 231"/>
                  <a:gd name="T68" fmla="*/ 388 w 530"/>
                  <a:gd name="T69" fmla="*/ 121 h 231"/>
                  <a:gd name="T70" fmla="*/ 397 w 530"/>
                  <a:gd name="T71" fmla="*/ 104 h 231"/>
                  <a:gd name="T72" fmla="*/ 414 w 530"/>
                  <a:gd name="T73" fmla="*/ 93 h 231"/>
                  <a:gd name="T74" fmla="*/ 437 w 530"/>
                  <a:gd name="T75" fmla="*/ 89 h 231"/>
                  <a:gd name="T76" fmla="*/ 465 w 530"/>
                  <a:gd name="T77" fmla="*/ 64 h 231"/>
                  <a:gd name="T78" fmla="*/ 477 w 530"/>
                  <a:gd name="T79" fmla="*/ 47 h 231"/>
                  <a:gd name="T80" fmla="*/ 518 w 530"/>
                  <a:gd name="T81" fmla="*/ 25 h 231"/>
                  <a:gd name="T82" fmla="*/ 528 w 530"/>
                  <a:gd name="T83" fmla="*/ 19 h 231"/>
                  <a:gd name="T84" fmla="*/ 522 w 530"/>
                  <a:gd name="T85" fmla="*/ 4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30" h="231">
                    <a:moveTo>
                      <a:pt x="518" y="0"/>
                    </a:moveTo>
                    <a:lnTo>
                      <a:pt x="518" y="0"/>
                    </a:lnTo>
                    <a:lnTo>
                      <a:pt x="511" y="0"/>
                    </a:lnTo>
                    <a:lnTo>
                      <a:pt x="503" y="4"/>
                    </a:lnTo>
                    <a:lnTo>
                      <a:pt x="475" y="15"/>
                    </a:lnTo>
                    <a:lnTo>
                      <a:pt x="441" y="30"/>
                    </a:lnTo>
                    <a:lnTo>
                      <a:pt x="407" y="42"/>
                    </a:lnTo>
                    <a:lnTo>
                      <a:pt x="407" y="42"/>
                    </a:lnTo>
                    <a:lnTo>
                      <a:pt x="390" y="47"/>
                    </a:lnTo>
                    <a:lnTo>
                      <a:pt x="377" y="53"/>
                    </a:lnTo>
                    <a:lnTo>
                      <a:pt x="352" y="68"/>
                    </a:lnTo>
                    <a:lnTo>
                      <a:pt x="327" y="83"/>
                    </a:lnTo>
                    <a:lnTo>
                      <a:pt x="303" y="95"/>
                    </a:lnTo>
                    <a:lnTo>
                      <a:pt x="303" y="95"/>
                    </a:lnTo>
                    <a:lnTo>
                      <a:pt x="278" y="104"/>
                    </a:lnTo>
                    <a:lnTo>
                      <a:pt x="252" y="110"/>
                    </a:lnTo>
                    <a:lnTo>
                      <a:pt x="218" y="117"/>
                    </a:lnTo>
                    <a:lnTo>
                      <a:pt x="218" y="117"/>
                    </a:lnTo>
                    <a:lnTo>
                      <a:pt x="159" y="114"/>
                    </a:lnTo>
                    <a:lnTo>
                      <a:pt x="121" y="110"/>
                    </a:lnTo>
                    <a:lnTo>
                      <a:pt x="99" y="108"/>
                    </a:lnTo>
                    <a:lnTo>
                      <a:pt x="99" y="108"/>
                    </a:lnTo>
                    <a:lnTo>
                      <a:pt x="76" y="100"/>
                    </a:lnTo>
                    <a:lnTo>
                      <a:pt x="68" y="95"/>
                    </a:lnTo>
                    <a:lnTo>
                      <a:pt x="61" y="95"/>
                    </a:lnTo>
                    <a:lnTo>
                      <a:pt x="61" y="95"/>
                    </a:lnTo>
                    <a:lnTo>
                      <a:pt x="57" y="98"/>
                    </a:lnTo>
                    <a:lnTo>
                      <a:pt x="57" y="100"/>
                    </a:lnTo>
                    <a:lnTo>
                      <a:pt x="57" y="112"/>
                    </a:lnTo>
                    <a:lnTo>
                      <a:pt x="59" y="127"/>
                    </a:lnTo>
                    <a:lnTo>
                      <a:pt x="65" y="144"/>
                    </a:lnTo>
                    <a:lnTo>
                      <a:pt x="65" y="144"/>
                    </a:lnTo>
                    <a:lnTo>
                      <a:pt x="65" y="151"/>
                    </a:lnTo>
                    <a:lnTo>
                      <a:pt x="65" y="157"/>
                    </a:lnTo>
                    <a:lnTo>
                      <a:pt x="61" y="161"/>
                    </a:lnTo>
                    <a:lnTo>
                      <a:pt x="57" y="165"/>
                    </a:lnTo>
                    <a:lnTo>
                      <a:pt x="44" y="170"/>
                    </a:lnTo>
                    <a:lnTo>
                      <a:pt x="31" y="174"/>
                    </a:lnTo>
                    <a:lnTo>
                      <a:pt x="31" y="174"/>
                    </a:lnTo>
                    <a:lnTo>
                      <a:pt x="12" y="178"/>
                    </a:lnTo>
                    <a:lnTo>
                      <a:pt x="6" y="178"/>
                    </a:lnTo>
                    <a:lnTo>
                      <a:pt x="0" y="176"/>
                    </a:lnTo>
                    <a:lnTo>
                      <a:pt x="0" y="176"/>
                    </a:lnTo>
                    <a:lnTo>
                      <a:pt x="2" y="195"/>
                    </a:lnTo>
                    <a:lnTo>
                      <a:pt x="2" y="202"/>
                    </a:lnTo>
                    <a:lnTo>
                      <a:pt x="6" y="208"/>
                    </a:lnTo>
                    <a:lnTo>
                      <a:pt x="6" y="208"/>
                    </a:lnTo>
                    <a:lnTo>
                      <a:pt x="12" y="216"/>
                    </a:lnTo>
                    <a:lnTo>
                      <a:pt x="25" y="225"/>
                    </a:lnTo>
                    <a:lnTo>
                      <a:pt x="31" y="229"/>
                    </a:lnTo>
                    <a:lnTo>
                      <a:pt x="40" y="231"/>
                    </a:lnTo>
                    <a:lnTo>
                      <a:pt x="48" y="231"/>
                    </a:lnTo>
                    <a:lnTo>
                      <a:pt x="57" y="229"/>
                    </a:lnTo>
                    <a:lnTo>
                      <a:pt x="57" y="229"/>
                    </a:lnTo>
                    <a:lnTo>
                      <a:pt x="91" y="216"/>
                    </a:lnTo>
                    <a:lnTo>
                      <a:pt x="108" y="210"/>
                    </a:lnTo>
                    <a:lnTo>
                      <a:pt x="114" y="208"/>
                    </a:lnTo>
                    <a:lnTo>
                      <a:pt x="119" y="204"/>
                    </a:lnTo>
                    <a:lnTo>
                      <a:pt x="119" y="204"/>
                    </a:lnTo>
                    <a:lnTo>
                      <a:pt x="127" y="195"/>
                    </a:lnTo>
                    <a:lnTo>
                      <a:pt x="142" y="185"/>
                    </a:lnTo>
                    <a:lnTo>
                      <a:pt x="157" y="176"/>
                    </a:lnTo>
                    <a:lnTo>
                      <a:pt x="167" y="172"/>
                    </a:lnTo>
                    <a:lnTo>
                      <a:pt x="167" y="172"/>
                    </a:lnTo>
                    <a:lnTo>
                      <a:pt x="176" y="170"/>
                    </a:lnTo>
                    <a:lnTo>
                      <a:pt x="182" y="172"/>
                    </a:lnTo>
                    <a:lnTo>
                      <a:pt x="189" y="176"/>
                    </a:lnTo>
                    <a:lnTo>
                      <a:pt x="193" y="182"/>
                    </a:lnTo>
                    <a:lnTo>
                      <a:pt x="193" y="182"/>
                    </a:lnTo>
                    <a:lnTo>
                      <a:pt x="193" y="208"/>
                    </a:lnTo>
                    <a:lnTo>
                      <a:pt x="193" y="227"/>
                    </a:lnTo>
                    <a:lnTo>
                      <a:pt x="193" y="227"/>
                    </a:lnTo>
                    <a:lnTo>
                      <a:pt x="195" y="221"/>
                    </a:lnTo>
                    <a:lnTo>
                      <a:pt x="199" y="212"/>
                    </a:lnTo>
                    <a:lnTo>
                      <a:pt x="206" y="206"/>
                    </a:lnTo>
                    <a:lnTo>
                      <a:pt x="210" y="202"/>
                    </a:lnTo>
                    <a:lnTo>
                      <a:pt x="218" y="199"/>
                    </a:lnTo>
                    <a:lnTo>
                      <a:pt x="227" y="199"/>
                    </a:lnTo>
                    <a:lnTo>
                      <a:pt x="227" y="199"/>
                    </a:lnTo>
                    <a:lnTo>
                      <a:pt x="246" y="202"/>
                    </a:lnTo>
                    <a:lnTo>
                      <a:pt x="261" y="206"/>
                    </a:lnTo>
                    <a:lnTo>
                      <a:pt x="273" y="210"/>
                    </a:lnTo>
                    <a:lnTo>
                      <a:pt x="282" y="214"/>
                    </a:lnTo>
                    <a:lnTo>
                      <a:pt x="282" y="214"/>
                    </a:lnTo>
                    <a:lnTo>
                      <a:pt x="295" y="227"/>
                    </a:lnTo>
                    <a:lnTo>
                      <a:pt x="305" y="231"/>
                    </a:lnTo>
                    <a:lnTo>
                      <a:pt x="310" y="231"/>
                    </a:lnTo>
                    <a:lnTo>
                      <a:pt x="314" y="231"/>
                    </a:lnTo>
                    <a:lnTo>
                      <a:pt x="314" y="231"/>
                    </a:lnTo>
                    <a:lnTo>
                      <a:pt x="329" y="221"/>
                    </a:lnTo>
                    <a:lnTo>
                      <a:pt x="341" y="214"/>
                    </a:lnTo>
                    <a:lnTo>
                      <a:pt x="341" y="214"/>
                    </a:lnTo>
                    <a:lnTo>
                      <a:pt x="354" y="212"/>
                    </a:lnTo>
                    <a:lnTo>
                      <a:pt x="354" y="212"/>
                    </a:lnTo>
                    <a:lnTo>
                      <a:pt x="337" y="180"/>
                    </a:lnTo>
                    <a:lnTo>
                      <a:pt x="337" y="180"/>
                    </a:lnTo>
                    <a:lnTo>
                      <a:pt x="335" y="172"/>
                    </a:lnTo>
                    <a:lnTo>
                      <a:pt x="339" y="159"/>
                    </a:lnTo>
                    <a:lnTo>
                      <a:pt x="341" y="153"/>
                    </a:lnTo>
                    <a:lnTo>
                      <a:pt x="348" y="146"/>
                    </a:lnTo>
                    <a:lnTo>
                      <a:pt x="354" y="140"/>
                    </a:lnTo>
                    <a:lnTo>
                      <a:pt x="365" y="136"/>
                    </a:lnTo>
                    <a:lnTo>
                      <a:pt x="365" y="136"/>
                    </a:lnTo>
                    <a:lnTo>
                      <a:pt x="380" y="129"/>
                    </a:lnTo>
                    <a:lnTo>
                      <a:pt x="388" y="121"/>
                    </a:lnTo>
                    <a:lnTo>
                      <a:pt x="392" y="112"/>
                    </a:lnTo>
                    <a:lnTo>
                      <a:pt x="397" y="104"/>
                    </a:lnTo>
                    <a:lnTo>
                      <a:pt x="397" y="104"/>
                    </a:lnTo>
                    <a:lnTo>
                      <a:pt x="399" y="100"/>
                    </a:lnTo>
                    <a:lnTo>
                      <a:pt x="403" y="95"/>
                    </a:lnTo>
                    <a:lnTo>
                      <a:pt x="414" y="93"/>
                    </a:lnTo>
                    <a:lnTo>
                      <a:pt x="433" y="91"/>
                    </a:lnTo>
                    <a:lnTo>
                      <a:pt x="433" y="91"/>
                    </a:lnTo>
                    <a:lnTo>
                      <a:pt x="437" y="89"/>
                    </a:lnTo>
                    <a:lnTo>
                      <a:pt x="443" y="85"/>
                    </a:lnTo>
                    <a:lnTo>
                      <a:pt x="454" y="76"/>
                    </a:lnTo>
                    <a:lnTo>
                      <a:pt x="465" y="64"/>
                    </a:lnTo>
                    <a:lnTo>
                      <a:pt x="473" y="55"/>
                    </a:lnTo>
                    <a:lnTo>
                      <a:pt x="473" y="55"/>
                    </a:lnTo>
                    <a:lnTo>
                      <a:pt x="477" y="47"/>
                    </a:lnTo>
                    <a:lnTo>
                      <a:pt x="486" y="38"/>
                    </a:lnTo>
                    <a:lnTo>
                      <a:pt x="498" y="30"/>
                    </a:lnTo>
                    <a:lnTo>
                      <a:pt x="518" y="25"/>
                    </a:lnTo>
                    <a:lnTo>
                      <a:pt x="518" y="25"/>
                    </a:lnTo>
                    <a:lnTo>
                      <a:pt x="524" y="21"/>
                    </a:lnTo>
                    <a:lnTo>
                      <a:pt x="528" y="19"/>
                    </a:lnTo>
                    <a:lnTo>
                      <a:pt x="530" y="15"/>
                    </a:lnTo>
                    <a:lnTo>
                      <a:pt x="528" y="10"/>
                    </a:lnTo>
                    <a:lnTo>
                      <a:pt x="522" y="4"/>
                    </a:lnTo>
                    <a:lnTo>
                      <a:pt x="518" y="0"/>
                    </a:lnTo>
                    <a:lnTo>
                      <a:pt x="518" y="0"/>
                    </a:lnTo>
                    <a:close/>
                  </a:path>
                </a:pathLst>
              </a:custGeom>
              <a:grpFill/>
              <a:ln w="9525">
                <a:noFill/>
                <a:round/>
                <a:headEnd/>
                <a:tailEnd/>
              </a:ln>
              <a:extLst/>
            </p:spPr>
            <p:txBody>
              <a:bodyPr vert="horz" wrap="square" lIns="91440" tIns="45720" rIns="91440" bIns="45720" numCol="1" anchor="t" anchorCtr="0" compatLnSpc="1">
                <a:prstTxWarp prst="textNoShape">
                  <a:avLst/>
                </a:prstTxWarp>
              </a:bodyPr>
              <a:lstStyle/>
              <a:p>
                <a:endParaRPr lang="de-DE"/>
              </a:p>
            </p:txBody>
          </p:sp>
          <p:sp>
            <p:nvSpPr>
              <p:cNvPr id="439" name="Freeform 12"/>
              <p:cNvSpPr>
                <a:spLocks noEditPoints="1"/>
              </p:cNvSpPr>
              <p:nvPr/>
            </p:nvSpPr>
            <p:spPr bwMode="auto">
              <a:xfrm>
                <a:off x="762001" y="1754188"/>
                <a:ext cx="7650163" cy="3454400"/>
              </a:xfrm>
              <a:custGeom>
                <a:avLst/>
                <a:gdLst>
                  <a:gd name="T0" fmla="*/ 4632 w 4819"/>
                  <a:gd name="T1" fmla="*/ 1372 h 2176"/>
                  <a:gd name="T2" fmla="*/ 4630 w 4819"/>
                  <a:gd name="T3" fmla="*/ 1121 h 2176"/>
                  <a:gd name="T4" fmla="*/ 4639 w 4819"/>
                  <a:gd name="T5" fmla="*/ 875 h 2176"/>
                  <a:gd name="T6" fmla="*/ 4496 w 4819"/>
                  <a:gd name="T7" fmla="*/ 682 h 2176"/>
                  <a:gd name="T8" fmla="*/ 4405 w 4819"/>
                  <a:gd name="T9" fmla="*/ 501 h 2176"/>
                  <a:gd name="T10" fmla="*/ 4246 w 4819"/>
                  <a:gd name="T11" fmla="*/ 302 h 2176"/>
                  <a:gd name="T12" fmla="*/ 4053 w 4819"/>
                  <a:gd name="T13" fmla="*/ 257 h 2176"/>
                  <a:gd name="T14" fmla="*/ 3764 w 4819"/>
                  <a:gd name="T15" fmla="*/ 325 h 2176"/>
                  <a:gd name="T16" fmla="*/ 3382 w 4819"/>
                  <a:gd name="T17" fmla="*/ 444 h 2176"/>
                  <a:gd name="T18" fmla="*/ 2917 w 4819"/>
                  <a:gd name="T19" fmla="*/ 461 h 2176"/>
                  <a:gd name="T20" fmla="*/ 2609 w 4819"/>
                  <a:gd name="T21" fmla="*/ 359 h 2176"/>
                  <a:gd name="T22" fmla="*/ 2384 w 4819"/>
                  <a:gd name="T23" fmla="*/ 268 h 2176"/>
                  <a:gd name="T24" fmla="*/ 2231 w 4819"/>
                  <a:gd name="T25" fmla="*/ 151 h 2176"/>
                  <a:gd name="T26" fmla="*/ 1722 w 4819"/>
                  <a:gd name="T27" fmla="*/ 178 h 2176"/>
                  <a:gd name="T28" fmla="*/ 1274 w 4819"/>
                  <a:gd name="T29" fmla="*/ 414 h 2176"/>
                  <a:gd name="T30" fmla="*/ 955 w 4819"/>
                  <a:gd name="T31" fmla="*/ 367 h 2176"/>
                  <a:gd name="T32" fmla="*/ 582 w 4819"/>
                  <a:gd name="T33" fmla="*/ 77 h 2176"/>
                  <a:gd name="T34" fmla="*/ 306 w 4819"/>
                  <a:gd name="T35" fmla="*/ 40 h 2176"/>
                  <a:gd name="T36" fmla="*/ 140 w 4819"/>
                  <a:gd name="T37" fmla="*/ 270 h 2176"/>
                  <a:gd name="T38" fmla="*/ 212 w 4819"/>
                  <a:gd name="T39" fmla="*/ 522 h 2176"/>
                  <a:gd name="T40" fmla="*/ 96 w 4819"/>
                  <a:gd name="T41" fmla="*/ 654 h 2176"/>
                  <a:gd name="T42" fmla="*/ 425 w 4819"/>
                  <a:gd name="T43" fmla="*/ 403 h 2176"/>
                  <a:gd name="T44" fmla="*/ 769 w 4819"/>
                  <a:gd name="T45" fmla="*/ 431 h 2176"/>
                  <a:gd name="T46" fmla="*/ 1030 w 4819"/>
                  <a:gd name="T47" fmla="*/ 501 h 2176"/>
                  <a:gd name="T48" fmla="*/ 743 w 4819"/>
                  <a:gd name="T49" fmla="*/ 552 h 2176"/>
                  <a:gd name="T50" fmla="*/ 561 w 4819"/>
                  <a:gd name="T51" fmla="*/ 588 h 2176"/>
                  <a:gd name="T52" fmla="*/ 486 w 4819"/>
                  <a:gd name="T53" fmla="*/ 599 h 2176"/>
                  <a:gd name="T54" fmla="*/ 293 w 4819"/>
                  <a:gd name="T55" fmla="*/ 558 h 2176"/>
                  <a:gd name="T56" fmla="*/ 34 w 4819"/>
                  <a:gd name="T57" fmla="*/ 800 h 2176"/>
                  <a:gd name="T58" fmla="*/ 162 w 4819"/>
                  <a:gd name="T59" fmla="*/ 898 h 2176"/>
                  <a:gd name="T60" fmla="*/ 240 w 4819"/>
                  <a:gd name="T61" fmla="*/ 1055 h 2176"/>
                  <a:gd name="T62" fmla="*/ 162 w 4819"/>
                  <a:gd name="T63" fmla="*/ 1219 h 2176"/>
                  <a:gd name="T64" fmla="*/ 74 w 4819"/>
                  <a:gd name="T65" fmla="*/ 1108 h 2176"/>
                  <a:gd name="T66" fmla="*/ 89 w 4819"/>
                  <a:gd name="T67" fmla="*/ 1306 h 2176"/>
                  <a:gd name="T68" fmla="*/ 268 w 4819"/>
                  <a:gd name="T69" fmla="*/ 1425 h 2176"/>
                  <a:gd name="T70" fmla="*/ 238 w 4819"/>
                  <a:gd name="T71" fmla="*/ 1563 h 2176"/>
                  <a:gd name="T72" fmla="*/ 242 w 4819"/>
                  <a:gd name="T73" fmla="*/ 1675 h 2176"/>
                  <a:gd name="T74" fmla="*/ 431 w 4819"/>
                  <a:gd name="T75" fmla="*/ 1752 h 2176"/>
                  <a:gd name="T76" fmla="*/ 431 w 4819"/>
                  <a:gd name="T77" fmla="*/ 1792 h 2176"/>
                  <a:gd name="T78" fmla="*/ 558 w 4819"/>
                  <a:gd name="T79" fmla="*/ 1743 h 2176"/>
                  <a:gd name="T80" fmla="*/ 703 w 4819"/>
                  <a:gd name="T81" fmla="*/ 1847 h 2176"/>
                  <a:gd name="T82" fmla="*/ 943 w 4819"/>
                  <a:gd name="T83" fmla="*/ 1983 h 2176"/>
                  <a:gd name="T84" fmla="*/ 1132 w 4819"/>
                  <a:gd name="T85" fmla="*/ 1826 h 2176"/>
                  <a:gd name="T86" fmla="*/ 1580 w 4819"/>
                  <a:gd name="T87" fmla="*/ 2015 h 2176"/>
                  <a:gd name="T88" fmla="*/ 1892 w 4819"/>
                  <a:gd name="T89" fmla="*/ 2034 h 2176"/>
                  <a:gd name="T90" fmla="*/ 2042 w 4819"/>
                  <a:gd name="T91" fmla="*/ 2004 h 2176"/>
                  <a:gd name="T92" fmla="*/ 2416 w 4819"/>
                  <a:gd name="T93" fmla="*/ 1883 h 2176"/>
                  <a:gd name="T94" fmla="*/ 2454 w 4819"/>
                  <a:gd name="T95" fmla="*/ 2002 h 2176"/>
                  <a:gd name="T96" fmla="*/ 2586 w 4819"/>
                  <a:gd name="T97" fmla="*/ 2055 h 2176"/>
                  <a:gd name="T98" fmla="*/ 2673 w 4819"/>
                  <a:gd name="T99" fmla="*/ 1847 h 2176"/>
                  <a:gd name="T100" fmla="*/ 3000 w 4819"/>
                  <a:gd name="T101" fmla="*/ 1834 h 2176"/>
                  <a:gd name="T102" fmla="*/ 3611 w 4819"/>
                  <a:gd name="T103" fmla="*/ 1777 h 2176"/>
                  <a:gd name="T104" fmla="*/ 4106 w 4819"/>
                  <a:gd name="T105" fmla="*/ 1635 h 2176"/>
                  <a:gd name="T106" fmla="*/ 4329 w 4819"/>
                  <a:gd name="T107" fmla="*/ 1586 h 2176"/>
                  <a:gd name="T108" fmla="*/ 4509 w 4819"/>
                  <a:gd name="T109" fmla="*/ 1618 h 2176"/>
                  <a:gd name="T110" fmla="*/ 4687 w 4819"/>
                  <a:gd name="T111" fmla="*/ 1654 h 2176"/>
                  <a:gd name="T112" fmla="*/ 1928 w 4819"/>
                  <a:gd name="T113" fmla="*/ 1236 h 2176"/>
                  <a:gd name="T114" fmla="*/ 1868 w 4819"/>
                  <a:gd name="T115" fmla="*/ 1091 h 2176"/>
                  <a:gd name="T116" fmla="*/ 1947 w 4819"/>
                  <a:gd name="T117" fmla="*/ 1200 h 2176"/>
                  <a:gd name="T118" fmla="*/ 4269 w 4819"/>
                  <a:gd name="T119" fmla="*/ 1263 h 2176"/>
                  <a:gd name="T120" fmla="*/ 4144 w 4819"/>
                  <a:gd name="T121" fmla="*/ 1166 h 2176"/>
                  <a:gd name="T122" fmla="*/ 4273 w 4819"/>
                  <a:gd name="T123" fmla="*/ 1049 h 2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819" h="2176">
                    <a:moveTo>
                      <a:pt x="4755" y="1514"/>
                    </a:moveTo>
                    <a:lnTo>
                      <a:pt x="4755" y="1514"/>
                    </a:lnTo>
                    <a:lnTo>
                      <a:pt x="4751" y="1507"/>
                    </a:lnTo>
                    <a:lnTo>
                      <a:pt x="4749" y="1501"/>
                    </a:lnTo>
                    <a:lnTo>
                      <a:pt x="4749" y="1493"/>
                    </a:lnTo>
                    <a:lnTo>
                      <a:pt x="4753" y="1484"/>
                    </a:lnTo>
                    <a:lnTo>
                      <a:pt x="4753" y="1484"/>
                    </a:lnTo>
                    <a:lnTo>
                      <a:pt x="4755" y="1480"/>
                    </a:lnTo>
                    <a:lnTo>
                      <a:pt x="4755" y="1476"/>
                    </a:lnTo>
                    <a:lnTo>
                      <a:pt x="4749" y="1467"/>
                    </a:lnTo>
                    <a:lnTo>
                      <a:pt x="4740" y="1459"/>
                    </a:lnTo>
                    <a:lnTo>
                      <a:pt x="4732" y="1448"/>
                    </a:lnTo>
                    <a:lnTo>
                      <a:pt x="4732" y="1448"/>
                    </a:lnTo>
                    <a:lnTo>
                      <a:pt x="4730" y="1444"/>
                    </a:lnTo>
                    <a:lnTo>
                      <a:pt x="4730" y="1440"/>
                    </a:lnTo>
                    <a:lnTo>
                      <a:pt x="4732" y="1435"/>
                    </a:lnTo>
                    <a:lnTo>
                      <a:pt x="4734" y="1431"/>
                    </a:lnTo>
                    <a:lnTo>
                      <a:pt x="4740" y="1427"/>
                    </a:lnTo>
                    <a:lnTo>
                      <a:pt x="4743" y="1423"/>
                    </a:lnTo>
                    <a:lnTo>
                      <a:pt x="4743" y="1420"/>
                    </a:lnTo>
                    <a:lnTo>
                      <a:pt x="4743" y="1420"/>
                    </a:lnTo>
                    <a:lnTo>
                      <a:pt x="4740" y="1416"/>
                    </a:lnTo>
                    <a:lnTo>
                      <a:pt x="4738" y="1414"/>
                    </a:lnTo>
                    <a:lnTo>
                      <a:pt x="4732" y="1410"/>
                    </a:lnTo>
                    <a:lnTo>
                      <a:pt x="4721" y="1408"/>
                    </a:lnTo>
                    <a:lnTo>
                      <a:pt x="4713" y="1408"/>
                    </a:lnTo>
                    <a:lnTo>
                      <a:pt x="4713" y="1408"/>
                    </a:lnTo>
                    <a:lnTo>
                      <a:pt x="4704" y="1408"/>
                    </a:lnTo>
                    <a:lnTo>
                      <a:pt x="4694" y="1403"/>
                    </a:lnTo>
                    <a:lnTo>
                      <a:pt x="4685" y="1399"/>
                    </a:lnTo>
                    <a:lnTo>
                      <a:pt x="4679" y="1393"/>
                    </a:lnTo>
                    <a:lnTo>
                      <a:pt x="4679" y="1393"/>
                    </a:lnTo>
                    <a:lnTo>
                      <a:pt x="4673" y="1389"/>
                    </a:lnTo>
                    <a:lnTo>
                      <a:pt x="4664" y="1384"/>
                    </a:lnTo>
                    <a:lnTo>
                      <a:pt x="4641" y="1378"/>
                    </a:lnTo>
                    <a:lnTo>
                      <a:pt x="4641" y="1378"/>
                    </a:lnTo>
                    <a:lnTo>
                      <a:pt x="4636" y="1376"/>
                    </a:lnTo>
                    <a:lnTo>
                      <a:pt x="4632" y="1372"/>
                    </a:lnTo>
                    <a:lnTo>
                      <a:pt x="4632" y="1367"/>
                    </a:lnTo>
                    <a:lnTo>
                      <a:pt x="4632" y="1363"/>
                    </a:lnTo>
                    <a:lnTo>
                      <a:pt x="4634" y="1346"/>
                    </a:lnTo>
                    <a:lnTo>
                      <a:pt x="4634" y="1346"/>
                    </a:lnTo>
                    <a:lnTo>
                      <a:pt x="4639" y="1338"/>
                    </a:lnTo>
                    <a:lnTo>
                      <a:pt x="4649" y="1325"/>
                    </a:lnTo>
                    <a:lnTo>
                      <a:pt x="4668" y="1304"/>
                    </a:lnTo>
                    <a:lnTo>
                      <a:pt x="4668" y="1304"/>
                    </a:lnTo>
                    <a:lnTo>
                      <a:pt x="4670" y="1299"/>
                    </a:lnTo>
                    <a:lnTo>
                      <a:pt x="4670" y="1295"/>
                    </a:lnTo>
                    <a:lnTo>
                      <a:pt x="4670" y="1280"/>
                    </a:lnTo>
                    <a:lnTo>
                      <a:pt x="4670" y="1268"/>
                    </a:lnTo>
                    <a:lnTo>
                      <a:pt x="4670" y="1261"/>
                    </a:lnTo>
                    <a:lnTo>
                      <a:pt x="4673" y="1257"/>
                    </a:lnTo>
                    <a:lnTo>
                      <a:pt x="4673" y="1257"/>
                    </a:lnTo>
                    <a:lnTo>
                      <a:pt x="4683" y="1242"/>
                    </a:lnTo>
                    <a:lnTo>
                      <a:pt x="4687" y="1234"/>
                    </a:lnTo>
                    <a:lnTo>
                      <a:pt x="4690" y="1225"/>
                    </a:lnTo>
                    <a:lnTo>
                      <a:pt x="4690" y="1225"/>
                    </a:lnTo>
                    <a:lnTo>
                      <a:pt x="4687" y="1219"/>
                    </a:lnTo>
                    <a:lnTo>
                      <a:pt x="4685" y="1214"/>
                    </a:lnTo>
                    <a:lnTo>
                      <a:pt x="4681" y="1214"/>
                    </a:lnTo>
                    <a:lnTo>
                      <a:pt x="4675" y="1214"/>
                    </a:lnTo>
                    <a:lnTo>
                      <a:pt x="4675" y="1214"/>
                    </a:lnTo>
                    <a:lnTo>
                      <a:pt x="4666" y="1214"/>
                    </a:lnTo>
                    <a:lnTo>
                      <a:pt x="4658" y="1214"/>
                    </a:lnTo>
                    <a:lnTo>
                      <a:pt x="4647" y="1214"/>
                    </a:lnTo>
                    <a:lnTo>
                      <a:pt x="4639" y="1214"/>
                    </a:lnTo>
                    <a:lnTo>
                      <a:pt x="4639" y="1214"/>
                    </a:lnTo>
                    <a:lnTo>
                      <a:pt x="4636" y="1214"/>
                    </a:lnTo>
                    <a:lnTo>
                      <a:pt x="4636" y="1212"/>
                    </a:lnTo>
                    <a:lnTo>
                      <a:pt x="4634" y="1202"/>
                    </a:lnTo>
                    <a:lnTo>
                      <a:pt x="4634" y="1174"/>
                    </a:lnTo>
                    <a:lnTo>
                      <a:pt x="4634" y="1142"/>
                    </a:lnTo>
                    <a:lnTo>
                      <a:pt x="4634" y="1132"/>
                    </a:lnTo>
                    <a:lnTo>
                      <a:pt x="4632" y="1125"/>
                    </a:lnTo>
                    <a:lnTo>
                      <a:pt x="4632" y="1125"/>
                    </a:lnTo>
                    <a:lnTo>
                      <a:pt x="4630" y="1121"/>
                    </a:lnTo>
                    <a:lnTo>
                      <a:pt x="4628" y="1115"/>
                    </a:lnTo>
                    <a:lnTo>
                      <a:pt x="4624" y="1100"/>
                    </a:lnTo>
                    <a:lnTo>
                      <a:pt x="4624" y="1083"/>
                    </a:lnTo>
                    <a:lnTo>
                      <a:pt x="4624" y="1072"/>
                    </a:lnTo>
                    <a:lnTo>
                      <a:pt x="4624" y="1072"/>
                    </a:lnTo>
                    <a:lnTo>
                      <a:pt x="4624" y="1068"/>
                    </a:lnTo>
                    <a:lnTo>
                      <a:pt x="4622" y="1064"/>
                    </a:lnTo>
                    <a:lnTo>
                      <a:pt x="4613" y="1053"/>
                    </a:lnTo>
                    <a:lnTo>
                      <a:pt x="4596" y="1038"/>
                    </a:lnTo>
                    <a:lnTo>
                      <a:pt x="4596" y="1038"/>
                    </a:lnTo>
                    <a:lnTo>
                      <a:pt x="4594" y="1034"/>
                    </a:lnTo>
                    <a:lnTo>
                      <a:pt x="4592" y="1030"/>
                    </a:lnTo>
                    <a:lnTo>
                      <a:pt x="4590" y="1013"/>
                    </a:lnTo>
                    <a:lnTo>
                      <a:pt x="4590" y="983"/>
                    </a:lnTo>
                    <a:lnTo>
                      <a:pt x="4590" y="983"/>
                    </a:lnTo>
                    <a:lnTo>
                      <a:pt x="4590" y="979"/>
                    </a:lnTo>
                    <a:lnTo>
                      <a:pt x="4585" y="975"/>
                    </a:lnTo>
                    <a:lnTo>
                      <a:pt x="4577" y="966"/>
                    </a:lnTo>
                    <a:lnTo>
                      <a:pt x="4566" y="960"/>
                    </a:lnTo>
                    <a:lnTo>
                      <a:pt x="4556" y="955"/>
                    </a:lnTo>
                    <a:lnTo>
                      <a:pt x="4556" y="955"/>
                    </a:lnTo>
                    <a:lnTo>
                      <a:pt x="4552" y="953"/>
                    </a:lnTo>
                    <a:lnTo>
                      <a:pt x="4549" y="951"/>
                    </a:lnTo>
                    <a:lnTo>
                      <a:pt x="4552" y="945"/>
                    </a:lnTo>
                    <a:lnTo>
                      <a:pt x="4552" y="938"/>
                    </a:lnTo>
                    <a:lnTo>
                      <a:pt x="4552" y="934"/>
                    </a:lnTo>
                    <a:lnTo>
                      <a:pt x="4552" y="932"/>
                    </a:lnTo>
                    <a:lnTo>
                      <a:pt x="4552" y="932"/>
                    </a:lnTo>
                    <a:lnTo>
                      <a:pt x="4543" y="913"/>
                    </a:lnTo>
                    <a:lnTo>
                      <a:pt x="4541" y="902"/>
                    </a:lnTo>
                    <a:lnTo>
                      <a:pt x="4539" y="892"/>
                    </a:lnTo>
                    <a:lnTo>
                      <a:pt x="4539" y="892"/>
                    </a:lnTo>
                    <a:lnTo>
                      <a:pt x="4541" y="890"/>
                    </a:lnTo>
                    <a:lnTo>
                      <a:pt x="4543" y="888"/>
                    </a:lnTo>
                    <a:lnTo>
                      <a:pt x="4556" y="888"/>
                    </a:lnTo>
                    <a:lnTo>
                      <a:pt x="4571" y="892"/>
                    </a:lnTo>
                    <a:lnTo>
                      <a:pt x="4590" y="892"/>
                    </a:lnTo>
                    <a:lnTo>
                      <a:pt x="4639" y="875"/>
                    </a:lnTo>
                    <a:lnTo>
                      <a:pt x="4639" y="875"/>
                    </a:lnTo>
                    <a:lnTo>
                      <a:pt x="4641" y="839"/>
                    </a:lnTo>
                    <a:lnTo>
                      <a:pt x="4641" y="811"/>
                    </a:lnTo>
                    <a:lnTo>
                      <a:pt x="4641" y="800"/>
                    </a:lnTo>
                    <a:lnTo>
                      <a:pt x="4639" y="792"/>
                    </a:lnTo>
                    <a:lnTo>
                      <a:pt x="4639" y="792"/>
                    </a:lnTo>
                    <a:lnTo>
                      <a:pt x="4636" y="788"/>
                    </a:lnTo>
                    <a:lnTo>
                      <a:pt x="4639" y="784"/>
                    </a:lnTo>
                    <a:lnTo>
                      <a:pt x="4641" y="779"/>
                    </a:lnTo>
                    <a:lnTo>
                      <a:pt x="4645" y="777"/>
                    </a:lnTo>
                    <a:lnTo>
                      <a:pt x="4656" y="775"/>
                    </a:lnTo>
                    <a:lnTo>
                      <a:pt x="4664" y="775"/>
                    </a:lnTo>
                    <a:lnTo>
                      <a:pt x="4664" y="775"/>
                    </a:lnTo>
                    <a:lnTo>
                      <a:pt x="4668" y="777"/>
                    </a:lnTo>
                    <a:lnTo>
                      <a:pt x="4675" y="781"/>
                    </a:lnTo>
                    <a:lnTo>
                      <a:pt x="4690" y="792"/>
                    </a:lnTo>
                    <a:lnTo>
                      <a:pt x="4702" y="805"/>
                    </a:lnTo>
                    <a:lnTo>
                      <a:pt x="4706" y="807"/>
                    </a:lnTo>
                    <a:lnTo>
                      <a:pt x="4711" y="807"/>
                    </a:lnTo>
                    <a:lnTo>
                      <a:pt x="4711" y="807"/>
                    </a:lnTo>
                    <a:lnTo>
                      <a:pt x="4713" y="805"/>
                    </a:lnTo>
                    <a:lnTo>
                      <a:pt x="4713" y="800"/>
                    </a:lnTo>
                    <a:lnTo>
                      <a:pt x="4713" y="790"/>
                    </a:lnTo>
                    <a:lnTo>
                      <a:pt x="4711" y="777"/>
                    </a:lnTo>
                    <a:lnTo>
                      <a:pt x="4683" y="741"/>
                    </a:lnTo>
                    <a:lnTo>
                      <a:pt x="4617" y="688"/>
                    </a:lnTo>
                    <a:lnTo>
                      <a:pt x="4617" y="688"/>
                    </a:lnTo>
                    <a:lnTo>
                      <a:pt x="4605" y="679"/>
                    </a:lnTo>
                    <a:lnTo>
                      <a:pt x="4594" y="673"/>
                    </a:lnTo>
                    <a:lnTo>
                      <a:pt x="4585" y="671"/>
                    </a:lnTo>
                    <a:lnTo>
                      <a:pt x="4585" y="671"/>
                    </a:lnTo>
                    <a:lnTo>
                      <a:pt x="4560" y="673"/>
                    </a:lnTo>
                    <a:lnTo>
                      <a:pt x="4560" y="673"/>
                    </a:lnTo>
                    <a:lnTo>
                      <a:pt x="4545" y="673"/>
                    </a:lnTo>
                    <a:lnTo>
                      <a:pt x="4518" y="673"/>
                    </a:lnTo>
                    <a:lnTo>
                      <a:pt x="4518" y="673"/>
                    </a:lnTo>
                    <a:lnTo>
                      <a:pt x="4507" y="677"/>
                    </a:lnTo>
                    <a:lnTo>
                      <a:pt x="4496" y="682"/>
                    </a:lnTo>
                    <a:lnTo>
                      <a:pt x="4486" y="686"/>
                    </a:lnTo>
                    <a:lnTo>
                      <a:pt x="4479" y="688"/>
                    </a:lnTo>
                    <a:lnTo>
                      <a:pt x="4479" y="688"/>
                    </a:lnTo>
                    <a:lnTo>
                      <a:pt x="4473" y="686"/>
                    </a:lnTo>
                    <a:lnTo>
                      <a:pt x="4464" y="684"/>
                    </a:lnTo>
                    <a:lnTo>
                      <a:pt x="4456" y="677"/>
                    </a:lnTo>
                    <a:lnTo>
                      <a:pt x="4448" y="671"/>
                    </a:lnTo>
                    <a:lnTo>
                      <a:pt x="4448" y="671"/>
                    </a:lnTo>
                    <a:lnTo>
                      <a:pt x="4443" y="669"/>
                    </a:lnTo>
                    <a:lnTo>
                      <a:pt x="4441" y="669"/>
                    </a:lnTo>
                    <a:lnTo>
                      <a:pt x="4433" y="671"/>
                    </a:lnTo>
                    <a:lnTo>
                      <a:pt x="4424" y="673"/>
                    </a:lnTo>
                    <a:lnTo>
                      <a:pt x="4420" y="673"/>
                    </a:lnTo>
                    <a:lnTo>
                      <a:pt x="4416" y="671"/>
                    </a:lnTo>
                    <a:lnTo>
                      <a:pt x="4416" y="671"/>
                    </a:lnTo>
                    <a:lnTo>
                      <a:pt x="4411" y="667"/>
                    </a:lnTo>
                    <a:lnTo>
                      <a:pt x="4409" y="665"/>
                    </a:lnTo>
                    <a:lnTo>
                      <a:pt x="4411" y="656"/>
                    </a:lnTo>
                    <a:lnTo>
                      <a:pt x="4416" y="650"/>
                    </a:lnTo>
                    <a:lnTo>
                      <a:pt x="4416" y="646"/>
                    </a:lnTo>
                    <a:lnTo>
                      <a:pt x="4416" y="641"/>
                    </a:lnTo>
                    <a:lnTo>
                      <a:pt x="4416" y="641"/>
                    </a:lnTo>
                    <a:lnTo>
                      <a:pt x="4392" y="603"/>
                    </a:lnTo>
                    <a:lnTo>
                      <a:pt x="4384" y="584"/>
                    </a:lnTo>
                    <a:lnTo>
                      <a:pt x="4384" y="584"/>
                    </a:lnTo>
                    <a:lnTo>
                      <a:pt x="4384" y="573"/>
                    </a:lnTo>
                    <a:lnTo>
                      <a:pt x="4382" y="563"/>
                    </a:lnTo>
                    <a:lnTo>
                      <a:pt x="4380" y="556"/>
                    </a:lnTo>
                    <a:lnTo>
                      <a:pt x="4380" y="556"/>
                    </a:lnTo>
                    <a:lnTo>
                      <a:pt x="4380" y="550"/>
                    </a:lnTo>
                    <a:lnTo>
                      <a:pt x="4382" y="544"/>
                    </a:lnTo>
                    <a:lnTo>
                      <a:pt x="4388" y="537"/>
                    </a:lnTo>
                    <a:lnTo>
                      <a:pt x="4397" y="531"/>
                    </a:lnTo>
                    <a:lnTo>
                      <a:pt x="4397" y="531"/>
                    </a:lnTo>
                    <a:lnTo>
                      <a:pt x="4401" y="529"/>
                    </a:lnTo>
                    <a:lnTo>
                      <a:pt x="4403" y="525"/>
                    </a:lnTo>
                    <a:lnTo>
                      <a:pt x="4405" y="514"/>
                    </a:lnTo>
                    <a:lnTo>
                      <a:pt x="4405" y="501"/>
                    </a:lnTo>
                    <a:lnTo>
                      <a:pt x="4407" y="491"/>
                    </a:lnTo>
                    <a:lnTo>
                      <a:pt x="4407" y="491"/>
                    </a:lnTo>
                    <a:lnTo>
                      <a:pt x="4414" y="467"/>
                    </a:lnTo>
                    <a:lnTo>
                      <a:pt x="4414" y="467"/>
                    </a:lnTo>
                    <a:lnTo>
                      <a:pt x="4416" y="459"/>
                    </a:lnTo>
                    <a:lnTo>
                      <a:pt x="4414" y="452"/>
                    </a:lnTo>
                    <a:lnTo>
                      <a:pt x="4411" y="448"/>
                    </a:lnTo>
                    <a:lnTo>
                      <a:pt x="4407" y="444"/>
                    </a:lnTo>
                    <a:lnTo>
                      <a:pt x="4397" y="437"/>
                    </a:lnTo>
                    <a:lnTo>
                      <a:pt x="4386" y="433"/>
                    </a:lnTo>
                    <a:lnTo>
                      <a:pt x="4386" y="433"/>
                    </a:lnTo>
                    <a:lnTo>
                      <a:pt x="4384" y="429"/>
                    </a:lnTo>
                    <a:lnTo>
                      <a:pt x="4382" y="425"/>
                    </a:lnTo>
                    <a:lnTo>
                      <a:pt x="4384" y="414"/>
                    </a:lnTo>
                    <a:lnTo>
                      <a:pt x="4388" y="401"/>
                    </a:lnTo>
                    <a:lnTo>
                      <a:pt x="4388" y="397"/>
                    </a:lnTo>
                    <a:lnTo>
                      <a:pt x="4386" y="395"/>
                    </a:lnTo>
                    <a:lnTo>
                      <a:pt x="4386" y="395"/>
                    </a:lnTo>
                    <a:lnTo>
                      <a:pt x="4358" y="378"/>
                    </a:lnTo>
                    <a:lnTo>
                      <a:pt x="4341" y="365"/>
                    </a:lnTo>
                    <a:lnTo>
                      <a:pt x="4329" y="359"/>
                    </a:lnTo>
                    <a:lnTo>
                      <a:pt x="4329" y="359"/>
                    </a:lnTo>
                    <a:lnTo>
                      <a:pt x="4324" y="357"/>
                    </a:lnTo>
                    <a:lnTo>
                      <a:pt x="4322" y="353"/>
                    </a:lnTo>
                    <a:lnTo>
                      <a:pt x="4318" y="342"/>
                    </a:lnTo>
                    <a:lnTo>
                      <a:pt x="4316" y="329"/>
                    </a:lnTo>
                    <a:lnTo>
                      <a:pt x="4316" y="316"/>
                    </a:lnTo>
                    <a:lnTo>
                      <a:pt x="4316" y="316"/>
                    </a:lnTo>
                    <a:lnTo>
                      <a:pt x="4316" y="314"/>
                    </a:lnTo>
                    <a:lnTo>
                      <a:pt x="4314" y="312"/>
                    </a:lnTo>
                    <a:lnTo>
                      <a:pt x="4307" y="308"/>
                    </a:lnTo>
                    <a:lnTo>
                      <a:pt x="4299" y="308"/>
                    </a:lnTo>
                    <a:lnTo>
                      <a:pt x="4288" y="308"/>
                    </a:lnTo>
                    <a:lnTo>
                      <a:pt x="4252" y="312"/>
                    </a:lnTo>
                    <a:lnTo>
                      <a:pt x="4252" y="312"/>
                    </a:lnTo>
                    <a:lnTo>
                      <a:pt x="4248" y="312"/>
                    </a:lnTo>
                    <a:lnTo>
                      <a:pt x="4246" y="310"/>
                    </a:lnTo>
                    <a:lnTo>
                      <a:pt x="4246" y="302"/>
                    </a:lnTo>
                    <a:lnTo>
                      <a:pt x="4248" y="291"/>
                    </a:lnTo>
                    <a:lnTo>
                      <a:pt x="4252" y="280"/>
                    </a:lnTo>
                    <a:lnTo>
                      <a:pt x="4252" y="280"/>
                    </a:lnTo>
                    <a:lnTo>
                      <a:pt x="4252" y="276"/>
                    </a:lnTo>
                    <a:lnTo>
                      <a:pt x="4248" y="274"/>
                    </a:lnTo>
                    <a:lnTo>
                      <a:pt x="4237" y="270"/>
                    </a:lnTo>
                    <a:lnTo>
                      <a:pt x="4222" y="265"/>
                    </a:lnTo>
                    <a:lnTo>
                      <a:pt x="4210" y="263"/>
                    </a:lnTo>
                    <a:lnTo>
                      <a:pt x="4210" y="263"/>
                    </a:lnTo>
                    <a:lnTo>
                      <a:pt x="4201" y="257"/>
                    </a:lnTo>
                    <a:lnTo>
                      <a:pt x="4193" y="251"/>
                    </a:lnTo>
                    <a:lnTo>
                      <a:pt x="4182" y="240"/>
                    </a:lnTo>
                    <a:lnTo>
                      <a:pt x="4182" y="240"/>
                    </a:lnTo>
                    <a:lnTo>
                      <a:pt x="4169" y="236"/>
                    </a:lnTo>
                    <a:lnTo>
                      <a:pt x="4148" y="229"/>
                    </a:lnTo>
                    <a:lnTo>
                      <a:pt x="4148" y="229"/>
                    </a:lnTo>
                    <a:lnTo>
                      <a:pt x="4146" y="227"/>
                    </a:lnTo>
                    <a:lnTo>
                      <a:pt x="4146" y="225"/>
                    </a:lnTo>
                    <a:lnTo>
                      <a:pt x="4150" y="219"/>
                    </a:lnTo>
                    <a:lnTo>
                      <a:pt x="4163" y="208"/>
                    </a:lnTo>
                    <a:lnTo>
                      <a:pt x="4163" y="208"/>
                    </a:lnTo>
                    <a:lnTo>
                      <a:pt x="4165" y="204"/>
                    </a:lnTo>
                    <a:lnTo>
                      <a:pt x="4163" y="202"/>
                    </a:lnTo>
                    <a:lnTo>
                      <a:pt x="4157" y="200"/>
                    </a:lnTo>
                    <a:lnTo>
                      <a:pt x="4146" y="198"/>
                    </a:lnTo>
                    <a:lnTo>
                      <a:pt x="4146" y="198"/>
                    </a:lnTo>
                    <a:lnTo>
                      <a:pt x="4131" y="200"/>
                    </a:lnTo>
                    <a:lnTo>
                      <a:pt x="4116" y="202"/>
                    </a:lnTo>
                    <a:lnTo>
                      <a:pt x="4099" y="208"/>
                    </a:lnTo>
                    <a:lnTo>
                      <a:pt x="4095" y="210"/>
                    </a:lnTo>
                    <a:lnTo>
                      <a:pt x="4091" y="215"/>
                    </a:lnTo>
                    <a:lnTo>
                      <a:pt x="4091" y="215"/>
                    </a:lnTo>
                    <a:lnTo>
                      <a:pt x="4085" y="225"/>
                    </a:lnTo>
                    <a:lnTo>
                      <a:pt x="4076" y="240"/>
                    </a:lnTo>
                    <a:lnTo>
                      <a:pt x="4065" y="251"/>
                    </a:lnTo>
                    <a:lnTo>
                      <a:pt x="4059" y="255"/>
                    </a:lnTo>
                    <a:lnTo>
                      <a:pt x="4053" y="257"/>
                    </a:lnTo>
                    <a:lnTo>
                      <a:pt x="4053" y="257"/>
                    </a:lnTo>
                    <a:lnTo>
                      <a:pt x="4040" y="257"/>
                    </a:lnTo>
                    <a:lnTo>
                      <a:pt x="4031" y="253"/>
                    </a:lnTo>
                    <a:lnTo>
                      <a:pt x="4014" y="240"/>
                    </a:lnTo>
                    <a:lnTo>
                      <a:pt x="4014" y="240"/>
                    </a:lnTo>
                    <a:lnTo>
                      <a:pt x="4008" y="238"/>
                    </a:lnTo>
                    <a:lnTo>
                      <a:pt x="4002" y="236"/>
                    </a:lnTo>
                    <a:lnTo>
                      <a:pt x="3987" y="236"/>
                    </a:lnTo>
                    <a:lnTo>
                      <a:pt x="3974" y="238"/>
                    </a:lnTo>
                    <a:lnTo>
                      <a:pt x="3964" y="240"/>
                    </a:lnTo>
                    <a:lnTo>
                      <a:pt x="3964" y="240"/>
                    </a:lnTo>
                    <a:lnTo>
                      <a:pt x="3955" y="242"/>
                    </a:lnTo>
                    <a:lnTo>
                      <a:pt x="3944" y="242"/>
                    </a:lnTo>
                    <a:lnTo>
                      <a:pt x="3927" y="240"/>
                    </a:lnTo>
                    <a:lnTo>
                      <a:pt x="3927" y="240"/>
                    </a:lnTo>
                    <a:lnTo>
                      <a:pt x="3925" y="242"/>
                    </a:lnTo>
                    <a:lnTo>
                      <a:pt x="3921" y="244"/>
                    </a:lnTo>
                    <a:lnTo>
                      <a:pt x="3915" y="253"/>
                    </a:lnTo>
                    <a:lnTo>
                      <a:pt x="3906" y="261"/>
                    </a:lnTo>
                    <a:lnTo>
                      <a:pt x="3902" y="265"/>
                    </a:lnTo>
                    <a:lnTo>
                      <a:pt x="3896" y="268"/>
                    </a:lnTo>
                    <a:lnTo>
                      <a:pt x="3896" y="268"/>
                    </a:lnTo>
                    <a:lnTo>
                      <a:pt x="3885" y="268"/>
                    </a:lnTo>
                    <a:lnTo>
                      <a:pt x="3879" y="263"/>
                    </a:lnTo>
                    <a:lnTo>
                      <a:pt x="3874" y="259"/>
                    </a:lnTo>
                    <a:lnTo>
                      <a:pt x="3874" y="259"/>
                    </a:lnTo>
                    <a:lnTo>
                      <a:pt x="3828" y="240"/>
                    </a:lnTo>
                    <a:lnTo>
                      <a:pt x="3828" y="240"/>
                    </a:lnTo>
                    <a:lnTo>
                      <a:pt x="3823" y="240"/>
                    </a:lnTo>
                    <a:lnTo>
                      <a:pt x="3819" y="244"/>
                    </a:lnTo>
                    <a:lnTo>
                      <a:pt x="3815" y="259"/>
                    </a:lnTo>
                    <a:lnTo>
                      <a:pt x="3811" y="276"/>
                    </a:lnTo>
                    <a:lnTo>
                      <a:pt x="3809" y="285"/>
                    </a:lnTo>
                    <a:lnTo>
                      <a:pt x="3804" y="291"/>
                    </a:lnTo>
                    <a:lnTo>
                      <a:pt x="3804" y="291"/>
                    </a:lnTo>
                    <a:lnTo>
                      <a:pt x="3785" y="312"/>
                    </a:lnTo>
                    <a:lnTo>
                      <a:pt x="3772" y="321"/>
                    </a:lnTo>
                    <a:lnTo>
                      <a:pt x="3764" y="325"/>
                    </a:lnTo>
                    <a:lnTo>
                      <a:pt x="3764" y="325"/>
                    </a:lnTo>
                    <a:lnTo>
                      <a:pt x="3753" y="331"/>
                    </a:lnTo>
                    <a:lnTo>
                      <a:pt x="3738" y="342"/>
                    </a:lnTo>
                    <a:lnTo>
                      <a:pt x="3707" y="367"/>
                    </a:lnTo>
                    <a:lnTo>
                      <a:pt x="3707" y="367"/>
                    </a:lnTo>
                    <a:lnTo>
                      <a:pt x="3700" y="372"/>
                    </a:lnTo>
                    <a:lnTo>
                      <a:pt x="3692" y="374"/>
                    </a:lnTo>
                    <a:lnTo>
                      <a:pt x="3681" y="376"/>
                    </a:lnTo>
                    <a:lnTo>
                      <a:pt x="3668" y="376"/>
                    </a:lnTo>
                    <a:lnTo>
                      <a:pt x="3660" y="376"/>
                    </a:lnTo>
                    <a:lnTo>
                      <a:pt x="3660" y="376"/>
                    </a:lnTo>
                    <a:lnTo>
                      <a:pt x="3649" y="382"/>
                    </a:lnTo>
                    <a:lnTo>
                      <a:pt x="3639" y="395"/>
                    </a:lnTo>
                    <a:lnTo>
                      <a:pt x="3615" y="418"/>
                    </a:lnTo>
                    <a:lnTo>
                      <a:pt x="3615" y="418"/>
                    </a:lnTo>
                    <a:lnTo>
                      <a:pt x="3607" y="423"/>
                    </a:lnTo>
                    <a:lnTo>
                      <a:pt x="3596" y="425"/>
                    </a:lnTo>
                    <a:lnTo>
                      <a:pt x="3586" y="427"/>
                    </a:lnTo>
                    <a:lnTo>
                      <a:pt x="3573" y="431"/>
                    </a:lnTo>
                    <a:lnTo>
                      <a:pt x="3573" y="431"/>
                    </a:lnTo>
                    <a:lnTo>
                      <a:pt x="3560" y="437"/>
                    </a:lnTo>
                    <a:lnTo>
                      <a:pt x="3547" y="444"/>
                    </a:lnTo>
                    <a:lnTo>
                      <a:pt x="3528" y="457"/>
                    </a:lnTo>
                    <a:lnTo>
                      <a:pt x="3528" y="457"/>
                    </a:lnTo>
                    <a:lnTo>
                      <a:pt x="3516" y="461"/>
                    </a:lnTo>
                    <a:lnTo>
                      <a:pt x="3499" y="463"/>
                    </a:lnTo>
                    <a:lnTo>
                      <a:pt x="3477" y="465"/>
                    </a:lnTo>
                    <a:lnTo>
                      <a:pt x="3463" y="465"/>
                    </a:lnTo>
                    <a:lnTo>
                      <a:pt x="3463" y="465"/>
                    </a:lnTo>
                    <a:lnTo>
                      <a:pt x="3450" y="463"/>
                    </a:lnTo>
                    <a:lnTo>
                      <a:pt x="3437" y="459"/>
                    </a:lnTo>
                    <a:lnTo>
                      <a:pt x="3426" y="454"/>
                    </a:lnTo>
                    <a:lnTo>
                      <a:pt x="3422" y="450"/>
                    </a:lnTo>
                    <a:lnTo>
                      <a:pt x="3420" y="448"/>
                    </a:lnTo>
                    <a:lnTo>
                      <a:pt x="3420" y="448"/>
                    </a:lnTo>
                    <a:lnTo>
                      <a:pt x="3418" y="446"/>
                    </a:lnTo>
                    <a:lnTo>
                      <a:pt x="3414" y="444"/>
                    </a:lnTo>
                    <a:lnTo>
                      <a:pt x="3401" y="444"/>
                    </a:lnTo>
                    <a:lnTo>
                      <a:pt x="3382" y="444"/>
                    </a:lnTo>
                    <a:lnTo>
                      <a:pt x="3361" y="440"/>
                    </a:lnTo>
                    <a:lnTo>
                      <a:pt x="3361" y="440"/>
                    </a:lnTo>
                    <a:lnTo>
                      <a:pt x="3344" y="433"/>
                    </a:lnTo>
                    <a:lnTo>
                      <a:pt x="3331" y="429"/>
                    </a:lnTo>
                    <a:lnTo>
                      <a:pt x="3314" y="418"/>
                    </a:lnTo>
                    <a:lnTo>
                      <a:pt x="3314" y="418"/>
                    </a:lnTo>
                    <a:lnTo>
                      <a:pt x="3308" y="416"/>
                    </a:lnTo>
                    <a:lnTo>
                      <a:pt x="3303" y="418"/>
                    </a:lnTo>
                    <a:lnTo>
                      <a:pt x="3293" y="423"/>
                    </a:lnTo>
                    <a:lnTo>
                      <a:pt x="3284" y="429"/>
                    </a:lnTo>
                    <a:lnTo>
                      <a:pt x="3274" y="435"/>
                    </a:lnTo>
                    <a:lnTo>
                      <a:pt x="3274" y="435"/>
                    </a:lnTo>
                    <a:lnTo>
                      <a:pt x="3263" y="440"/>
                    </a:lnTo>
                    <a:lnTo>
                      <a:pt x="3250" y="440"/>
                    </a:lnTo>
                    <a:lnTo>
                      <a:pt x="3218" y="440"/>
                    </a:lnTo>
                    <a:lnTo>
                      <a:pt x="3218" y="440"/>
                    </a:lnTo>
                    <a:lnTo>
                      <a:pt x="3201" y="442"/>
                    </a:lnTo>
                    <a:lnTo>
                      <a:pt x="3187" y="446"/>
                    </a:lnTo>
                    <a:lnTo>
                      <a:pt x="3155" y="461"/>
                    </a:lnTo>
                    <a:lnTo>
                      <a:pt x="3155" y="461"/>
                    </a:lnTo>
                    <a:lnTo>
                      <a:pt x="3136" y="469"/>
                    </a:lnTo>
                    <a:lnTo>
                      <a:pt x="3114" y="476"/>
                    </a:lnTo>
                    <a:lnTo>
                      <a:pt x="3093" y="482"/>
                    </a:lnTo>
                    <a:lnTo>
                      <a:pt x="3074" y="482"/>
                    </a:lnTo>
                    <a:lnTo>
                      <a:pt x="3074" y="482"/>
                    </a:lnTo>
                    <a:lnTo>
                      <a:pt x="3038" y="478"/>
                    </a:lnTo>
                    <a:lnTo>
                      <a:pt x="3021" y="476"/>
                    </a:lnTo>
                    <a:lnTo>
                      <a:pt x="3008" y="474"/>
                    </a:lnTo>
                    <a:lnTo>
                      <a:pt x="3008" y="474"/>
                    </a:lnTo>
                    <a:lnTo>
                      <a:pt x="2998" y="474"/>
                    </a:lnTo>
                    <a:lnTo>
                      <a:pt x="2985" y="478"/>
                    </a:lnTo>
                    <a:lnTo>
                      <a:pt x="2962" y="482"/>
                    </a:lnTo>
                    <a:lnTo>
                      <a:pt x="2962" y="482"/>
                    </a:lnTo>
                    <a:lnTo>
                      <a:pt x="2955" y="482"/>
                    </a:lnTo>
                    <a:lnTo>
                      <a:pt x="2951" y="480"/>
                    </a:lnTo>
                    <a:lnTo>
                      <a:pt x="2940" y="474"/>
                    </a:lnTo>
                    <a:lnTo>
                      <a:pt x="2928" y="467"/>
                    </a:lnTo>
                    <a:lnTo>
                      <a:pt x="2917" y="461"/>
                    </a:lnTo>
                    <a:lnTo>
                      <a:pt x="2917" y="461"/>
                    </a:lnTo>
                    <a:lnTo>
                      <a:pt x="2913" y="459"/>
                    </a:lnTo>
                    <a:lnTo>
                      <a:pt x="2911" y="457"/>
                    </a:lnTo>
                    <a:lnTo>
                      <a:pt x="2906" y="448"/>
                    </a:lnTo>
                    <a:lnTo>
                      <a:pt x="2898" y="440"/>
                    </a:lnTo>
                    <a:lnTo>
                      <a:pt x="2891" y="433"/>
                    </a:lnTo>
                    <a:lnTo>
                      <a:pt x="2883" y="427"/>
                    </a:lnTo>
                    <a:lnTo>
                      <a:pt x="2883" y="427"/>
                    </a:lnTo>
                    <a:lnTo>
                      <a:pt x="2872" y="423"/>
                    </a:lnTo>
                    <a:lnTo>
                      <a:pt x="2866" y="425"/>
                    </a:lnTo>
                    <a:lnTo>
                      <a:pt x="2860" y="429"/>
                    </a:lnTo>
                    <a:lnTo>
                      <a:pt x="2855" y="435"/>
                    </a:lnTo>
                    <a:lnTo>
                      <a:pt x="2851" y="442"/>
                    </a:lnTo>
                    <a:lnTo>
                      <a:pt x="2847" y="446"/>
                    </a:lnTo>
                    <a:lnTo>
                      <a:pt x="2841" y="450"/>
                    </a:lnTo>
                    <a:lnTo>
                      <a:pt x="2832" y="448"/>
                    </a:lnTo>
                    <a:lnTo>
                      <a:pt x="2832" y="448"/>
                    </a:lnTo>
                    <a:lnTo>
                      <a:pt x="2817" y="440"/>
                    </a:lnTo>
                    <a:lnTo>
                      <a:pt x="2809" y="433"/>
                    </a:lnTo>
                    <a:lnTo>
                      <a:pt x="2798" y="427"/>
                    </a:lnTo>
                    <a:lnTo>
                      <a:pt x="2779" y="425"/>
                    </a:lnTo>
                    <a:lnTo>
                      <a:pt x="2779" y="425"/>
                    </a:lnTo>
                    <a:lnTo>
                      <a:pt x="2751" y="423"/>
                    </a:lnTo>
                    <a:lnTo>
                      <a:pt x="2732" y="418"/>
                    </a:lnTo>
                    <a:lnTo>
                      <a:pt x="2732" y="418"/>
                    </a:lnTo>
                    <a:lnTo>
                      <a:pt x="2722" y="412"/>
                    </a:lnTo>
                    <a:lnTo>
                      <a:pt x="2715" y="406"/>
                    </a:lnTo>
                    <a:lnTo>
                      <a:pt x="2707" y="395"/>
                    </a:lnTo>
                    <a:lnTo>
                      <a:pt x="2696" y="382"/>
                    </a:lnTo>
                    <a:lnTo>
                      <a:pt x="2696" y="382"/>
                    </a:lnTo>
                    <a:lnTo>
                      <a:pt x="2688" y="376"/>
                    </a:lnTo>
                    <a:lnTo>
                      <a:pt x="2677" y="370"/>
                    </a:lnTo>
                    <a:lnTo>
                      <a:pt x="2658" y="359"/>
                    </a:lnTo>
                    <a:lnTo>
                      <a:pt x="2637" y="355"/>
                    </a:lnTo>
                    <a:lnTo>
                      <a:pt x="2622" y="353"/>
                    </a:lnTo>
                    <a:lnTo>
                      <a:pt x="2622" y="353"/>
                    </a:lnTo>
                    <a:lnTo>
                      <a:pt x="2616" y="355"/>
                    </a:lnTo>
                    <a:lnTo>
                      <a:pt x="2609" y="359"/>
                    </a:lnTo>
                    <a:lnTo>
                      <a:pt x="2594" y="374"/>
                    </a:lnTo>
                    <a:lnTo>
                      <a:pt x="2579" y="389"/>
                    </a:lnTo>
                    <a:lnTo>
                      <a:pt x="2573" y="395"/>
                    </a:lnTo>
                    <a:lnTo>
                      <a:pt x="2569" y="397"/>
                    </a:lnTo>
                    <a:lnTo>
                      <a:pt x="2569" y="397"/>
                    </a:lnTo>
                    <a:lnTo>
                      <a:pt x="2565" y="397"/>
                    </a:lnTo>
                    <a:lnTo>
                      <a:pt x="2558" y="395"/>
                    </a:lnTo>
                    <a:lnTo>
                      <a:pt x="2545" y="387"/>
                    </a:lnTo>
                    <a:lnTo>
                      <a:pt x="2524" y="367"/>
                    </a:lnTo>
                    <a:lnTo>
                      <a:pt x="2524" y="367"/>
                    </a:lnTo>
                    <a:lnTo>
                      <a:pt x="2516" y="357"/>
                    </a:lnTo>
                    <a:lnTo>
                      <a:pt x="2507" y="342"/>
                    </a:lnTo>
                    <a:lnTo>
                      <a:pt x="2492" y="316"/>
                    </a:lnTo>
                    <a:lnTo>
                      <a:pt x="2492" y="316"/>
                    </a:lnTo>
                    <a:lnTo>
                      <a:pt x="2490" y="314"/>
                    </a:lnTo>
                    <a:lnTo>
                      <a:pt x="2492" y="310"/>
                    </a:lnTo>
                    <a:lnTo>
                      <a:pt x="2495" y="306"/>
                    </a:lnTo>
                    <a:lnTo>
                      <a:pt x="2501" y="297"/>
                    </a:lnTo>
                    <a:lnTo>
                      <a:pt x="2503" y="293"/>
                    </a:lnTo>
                    <a:lnTo>
                      <a:pt x="2503" y="287"/>
                    </a:lnTo>
                    <a:lnTo>
                      <a:pt x="2503" y="287"/>
                    </a:lnTo>
                    <a:lnTo>
                      <a:pt x="2503" y="280"/>
                    </a:lnTo>
                    <a:lnTo>
                      <a:pt x="2499" y="276"/>
                    </a:lnTo>
                    <a:lnTo>
                      <a:pt x="2488" y="265"/>
                    </a:lnTo>
                    <a:lnTo>
                      <a:pt x="2456" y="244"/>
                    </a:lnTo>
                    <a:lnTo>
                      <a:pt x="2456" y="244"/>
                    </a:lnTo>
                    <a:lnTo>
                      <a:pt x="2450" y="240"/>
                    </a:lnTo>
                    <a:lnTo>
                      <a:pt x="2444" y="238"/>
                    </a:lnTo>
                    <a:lnTo>
                      <a:pt x="2441" y="238"/>
                    </a:lnTo>
                    <a:lnTo>
                      <a:pt x="2439" y="242"/>
                    </a:lnTo>
                    <a:lnTo>
                      <a:pt x="2435" y="251"/>
                    </a:lnTo>
                    <a:lnTo>
                      <a:pt x="2433" y="255"/>
                    </a:lnTo>
                    <a:lnTo>
                      <a:pt x="2429" y="259"/>
                    </a:lnTo>
                    <a:lnTo>
                      <a:pt x="2429" y="259"/>
                    </a:lnTo>
                    <a:lnTo>
                      <a:pt x="2422" y="263"/>
                    </a:lnTo>
                    <a:lnTo>
                      <a:pt x="2416" y="265"/>
                    </a:lnTo>
                    <a:lnTo>
                      <a:pt x="2401" y="268"/>
                    </a:lnTo>
                    <a:lnTo>
                      <a:pt x="2384" y="268"/>
                    </a:lnTo>
                    <a:lnTo>
                      <a:pt x="2367" y="265"/>
                    </a:lnTo>
                    <a:lnTo>
                      <a:pt x="2367" y="265"/>
                    </a:lnTo>
                    <a:lnTo>
                      <a:pt x="2363" y="263"/>
                    </a:lnTo>
                    <a:lnTo>
                      <a:pt x="2361" y="261"/>
                    </a:lnTo>
                    <a:lnTo>
                      <a:pt x="2352" y="253"/>
                    </a:lnTo>
                    <a:lnTo>
                      <a:pt x="2348" y="238"/>
                    </a:lnTo>
                    <a:lnTo>
                      <a:pt x="2342" y="223"/>
                    </a:lnTo>
                    <a:lnTo>
                      <a:pt x="2333" y="189"/>
                    </a:lnTo>
                    <a:lnTo>
                      <a:pt x="2329" y="174"/>
                    </a:lnTo>
                    <a:lnTo>
                      <a:pt x="2323" y="164"/>
                    </a:lnTo>
                    <a:lnTo>
                      <a:pt x="2323" y="164"/>
                    </a:lnTo>
                    <a:lnTo>
                      <a:pt x="2318" y="155"/>
                    </a:lnTo>
                    <a:lnTo>
                      <a:pt x="2320" y="149"/>
                    </a:lnTo>
                    <a:lnTo>
                      <a:pt x="2323" y="144"/>
                    </a:lnTo>
                    <a:lnTo>
                      <a:pt x="2327" y="138"/>
                    </a:lnTo>
                    <a:lnTo>
                      <a:pt x="2337" y="130"/>
                    </a:lnTo>
                    <a:lnTo>
                      <a:pt x="2342" y="125"/>
                    </a:lnTo>
                    <a:lnTo>
                      <a:pt x="2344" y="119"/>
                    </a:lnTo>
                    <a:lnTo>
                      <a:pt x="2344" y="119"/>
                    </a:lnTo>
                    <a:lnTo>
                      <a:pt x="2344" y="115"/>
                    </a:lnTo>
                    <a:lnTo>
                      <a:pt x="2342" y="111"/>
                    </a:lnTo>
                    <a:lnTo>
                      <a:pt x="2337" y="111"/>
                    </a:lnTo>
                    <a:lnTo>
                      <a:pt x="2333" y="111"/>
                    </a:lnTo>
                    <a:lnTo>
                      <a:pt x="2325" y="115"/>
                    </a:lnTo>
                    <a:lnTo>
                      <a:pt x="2316" y="115"/>
                    </a:lnTo>
                    <a:lnTo>
                      <a:pt x="2316" y="115"/>
                    </a:lnTo>
                    <a:lnTo>
                      <a:pt x="2310" y="113"/>
                    </a:lnTo>
                    <a:lnTo>
                      <a:pt x="2308" y="108"/>
                    </a:lnTo>
                    <a:lnTo>
                      <a:pt x="2306" y="104"/>
                    </a:lnTo>
                    <a:lnTo>
                      <a:pt x="2301" y="102"/>
                    </a:lnTo>
                    <a:lnTo>
                      <a:pt x="2301" y="102"/>
                    </a:lnTo>
                    <a:lnTo>
                      <a:pt x="2297" y="104"/>
                    </a:lnTo>
                    <a:lnTo>
                      <a:pt x="2291" y="108"/>
                    </a:lnTo>
                    <a:lnTo>
                      <a:pt x="2274" y="123"/>
                    </a:lnTo>
                    <a:lnTo>
                      <a:pt x="2253" y="140"/>
                    </a:lnTo>
                    <a:lnTo>
                      <a:pt x="2242" y="147"/>
                    </a:lnTo>
                    <a:lnTo>
                      <a:pt x="2231" y="151"/>
                    </a:lnTo>
                    <a:lnTo>
                      <a:pt x="2231" y="151"/>
                    </a:lnTo>
                    <a:lnTo>
                      <a:pt x="2216" y="153"/>
                    </a:lnTo>
                    <a:lnTo>
                      <a:pt x="2206" y="151"/>
                    </a:lnTo>
                    <a:lnTo>
                      <a:pt x="2197" y="147"/>
                    </a:lnTo>
                    <a:lnTo>
                      <a:pt x="2193" y="142"/>
                    </a:lnTo>
                    <a:lnTo>
                      <a:pt x="2193" y="142"/>
                    </a:lnTo>
                    <a:lnTo>
                      <a:pt x="2180" y="140"/>
                    </a:lnTo>
                    <a:lnTo>
                      <a:pt x="2157" y="140"/>
                    </a:lnTo>
                    <a:lnTo>
                      <a:pt x="2104" y="144"/>
                    </a:lnTo>
                    <a:lnTo>
                      <a:pt x="2104" y="144"/>
                    </a:lnTo>
                    <a:lnTo>
                      <a:pt x="2081" y="144"/>
                    </a:lnTo>
                    <a:lnTo>
                      <a:pt x="2055" y="142"/>
                    </a:lnTo>
                    <a:lnTo>
                      <a:pt x="1991" y="136"/>
                    </a:lnTo>
                    <a:lnTo>
                      <a:pt x="1991" y="136"/>
                    </a:lnTo>
                    <a:lnTo>
                      <a:pt x="1964" y="132"/>
                    </a:lnTo>
                    <a:lnTo>
                      <a:pt x="1943" y="128"/>
                    </a:lnTo>
                    <a:lnTo>
                      <a:pt x="1906" y="119"/>
                    </a:lnTo>
                    <a:lnTo>
                      <a:pt x="1906" y="119"/>
                    </a:lnTo>
                    <a:lnTo>
                      <a:pt x="1896" y="117"/>
                    </a:lnTo>
                    <a:lnTo>
                      <a:pt x="1890" y="119"/>
                    </a:lnTo>
                    <a:lnTo>
                      <a:pt x="1883" y="121"/>
                    </a:lnTo>
                    <a:lnTo>
                      <a:pt x="1879" y="125"/>
                    </a:lnTo>
                    <a:lnTo>
                      <a:pt x="1873" y="134"/>
                    </a:lnTo>
                    <a:lnTo>
                      <a:pt x="1868" y="138"/>
                    </a:lnTo>
                    <a:lnTo>
                      <a:pt x="1864" y="140"/>
                    </a:lnTo>
                    <a:lnTo>
                      <a:pt x="1864" y="140"/>
                    </a:lnTo>
                    <a:lnTo>
                      <a:pt x="1851" y="142"/>
                    </a:lnTo>
                    <a:lnTo>
                      <a:pt x="1841" y="142"/>
                    </a:lnTo>
                    <a:lnTo>
                      <a:pt x="1830" y="142"/>
                    </a:lnTo>
                    <a:lnTo>
                      <a:pt x="1822" y="144"/>
                    </a:lnTo>
                    <a:lnTo>
                      <a:pt x="1822" y="144"/>
                    </a:lnTo>
                    <a:lnTo>
                      <a:pt x="1798" y="159"/>
                    </a:lnTo>
                    <a:lnTo>
                      <a:pt x="1781" y="166"/>
                    </a:lnTo>
                    <a:lnTo>
                      <a:pt x="1775" y="170"/>
                    </a:lnTo>
                    <a:lnTo>
                      <a:pt x="1769" y="170"/>
                    </a:lnTo>
                    <a:lnTo>
                      <a:pt x="1769" y="170"/>
                    </a:lnTo>
                    <a:lnTo>
                      <a:pt x="1743" y="172"/>
                    </a:lnTo>
                    <a:lnTo>
                      <a:pt x="1730" y="176"/>
                    </a:lnTo>
                    <a:lnTo>
                      <a:pt x="1722" y="178"/>
                    </a:lnTo>
                    <a:lnTo>
                      <a:pt x="1722" y="178"/>
                    </a:lnTo>
                    <a:lnTo>
                      <a:pt x="1713" y="183"/>
                    </a:lnTo>
                    <a:lnTo>
                      <a:pt x="1696" y="187"/>
                    </a:lnTo>
                    <a:lnTo>
                      <a:pt x="1677" y="193"/>
                    </a:lnTo>
                    <a:lnTo>
                      <a:pt x="1658" y="195"/>
                    </a:lnTo>
                    <a:lnTo>
                      <a:pt x="1658" y="195"/>
                    </a:lnTo>
                    <a:lnTo>
                      <a:pt x="1650" y="198"/>
                    </a:lnTo>
                    <a:lnTo>
                      <a:pt x="1641" y="202"/>
                    </a:lnTo>
                    <a:lnTo>
                      <a:pt x="1626" y="217"/>
                    </a:lnTo>
                    <a:lnTo>
                      <a:pt x="1605" y="240"/>
                    </a:lnTo>
                    <a:lnTo>
                      <a:pt x="1605" y="240"/>
                    </a:lnTo>
                    <a:lnTo>
                      <a:pt x="1588" y="253"/>
                    </a:lnTo>
                    <a:lnTo>
                      <a:pt x="1575" y="261"/>
                    </a:lnTo>
                    <a:lnTo>
                      <a:pt x="1556" y="270"/>
                    </a:lnTo>
                    <a:lnTo>
                      <a:pt x="1556" y="270"/>
                    </a:lnTo>
                    <a:lnTo>
                      <a:pt x="1493" y="299"/>
                    </a:lnTo>
                    <a:lnTo>
                      <a:pt x="1459" y="314"/>
                    </a:lnTo>
                    <a:lnTo>
                      <a:pt x="1435" y="323"/>
                    </a:lnTo>
                    <a:lnTo>
                      <a:pt x="1435" y="323"/>
                    </a:lnTo>
                    <a:lnTo>
                      <a:pt x="1422" y="327"/>
                    </a:lnTo>
                    <a:lnTo>
                      <a:pt x="1418" y="329"/>
                    </a:lnTo>
                    <a:lnTo>
                      <a:pt x="1408" y="340"/>
                    </a:lnTo>
                    <a:lnTo>
                      <a:pt x="1408" y="340"/>
                    </a:lnTo>
                    <a:lnTo>
                      <a:pt x="1403" y="344"/>
                    </a:lnTo>
                    <a:lnTo>
                      <a:pt x="1401" y="353"/>
                    </a:lnTo>
                    <a:lnTo>
                      <a:pt x="1397" y="372"/>
                    </a:lnTo>
                    <a:lnTo>
                      <a:pt x="1393" y="389"/>
                    </a:lnTo>
                    <a:lnTo>
                      <a:pt x="1391" y="397"/>
                    </a:lnTo>
                    <a:lnTo>
                      <a:pt x="1389" y="401"/>
                    </a:lnTo>
                    <a:lnTo>
                      <a:pt x="1389" y="401"/>
                    </a:lnTo>
                    <a:lnTo>
                      <a:pt x="1380" y="406"/>
                    </a:lnTo>
                    <a:lnTo>
                      <a:pt x="1367" y="410"/>
                    </a:lnTo>
                    <a:lnTo>
                      <a:pt x="1352" y="412"/>
                    </a:lnTo>
                    <a:lnTo>
                      <a:pt x="1338" y="412"/>
                    </a:lnTo>
                    <a:lnTo>
                      <a:pt x="1338" y="412"/>
                    </a:lnTo>
                    <a:lnTo>
                      <a:pt x="1308" y="414"/>
                    </a:lnTo>
                    <a:lnTo>
                      <a:pt x="1291" y="414"/>
                    </a:lnTo>
                    <a:lnTo>
                      <a:pt x="1274" y="414"/>
                    </a:lnTo>
                    <a:lnTo>
                      <a:pt x="1274" y="414"/>
                    </a:lnTo>
                    <a:lnTo>
                      <a:pt x="1257" y="410"/>
                    </a:lnTo>
                    <a:lnTo>
                      <a:pt x="1242" y="403"/>
                    </a:lnTo>
                    <a:lnTo>
                      <a:pt x="1221" y="389"/>
                    </a:lnTo>
                    <a:lnTo>
                      <a:pt x="1221" y="389"/>
                    </a:lnTo>
                    <a:lnTo>
                      <a:pt x="1212" y="384"/>
                    </a:lnTo>
                    <a:lnTo>
                      <a:pt x="1202" y="384"/>
                    </a:lnTo>
                    <a:lnTo>
                      <a:pt x="1189" y="384"/>
                    </a:lnTo>
                    <a:lnTo>
                      <a:pt x="1172" y="384"/>
                    </a:lnTo>
                    <a:lnTo>
                      <a:pt x="1172" y="384"/>
                    </a:lnTo>
                    <a:lnTo>
                      <a:pt x="1164" y="382"/>
                    </a:lnTo>
                    <a:lnTo>
                      <a:pt x="1157" y="378"/>
                    </a:lnTo>
                    <a:lnTo>
                      <a:pt x="1153" y="374"/>
                    </a:lnTo>
                    <a:lnTo>
                      <a:pt x="1149" y="367"/>
                    </a:lnTo>
                    <a:lnTo>
                      <a:pt x="1144" y="355"/>
                    </a:lnTo>
                    <a:lnTo>
                      <a:pt x="1142" y="348"/>
                    </a:lnTo>
                    <a:lnTo>
                      <a:pt x="1138" y="344"/>
                    </a:lnTo>
                    <a:lnTo>
                      <a:pt x="1138" y="344"/>
                    </a:lnTo>
                    <a:lnTo>
                      <a:pt x="1134" y="344"/>
                    </a:lnTo>
                    <a:lnTo>
                      <a:pt x="1130" y="346"/>
                    </a:lnTo>
                    <a:lnTo>
                      <a:pt x="1117" y="357"/>
                    </a:lnTo>
                    <a:lnTo>
                      <a:pt x="1102" y="372"/>
                    </a:lnTo>
                    <a:lnTo>
                      <a:pt x="1096" y="378"/>
                    </a:lnTo>
                    <a:lnTo>
                      <a:pt x="1087" y="382"/>
                    </a:lnTo>
                    <a:lnTo>
                      <a:pt x="1087" y="382"/>
                    </a:lnTo>
                    <a:lnTo>
                      <a:pt x="1079" y="384"/>
                    </a:lnTo>
                    <a:lnTo>
                      <a:pt x="1072" y="384"/>
                    </a:lnTo>
                    <a:lnTo>
                      <a:pt x="1057" y="382"/>
                    </a:lnTo>
                    <a:lnTo>
                      <a:pt x="1045" y="380"/>
                    </a:lnTo>
                    <a:lnTo>
                      <a:pt x="1032" y="378"/>
                    </a:lnTo>
                    <a:lnTo>
                      <a:pt x="1032" y="378"/>
                    </a:lnTo>
                    <a:lnTo>
                      <a:pt x="1019" y="378"/>
                    </a:lnTo>
                    <a:lnTo>
                      <a:pt x="1002" y="376"/>
                    </a:lnTo>
                    <a:lnTo>
                      <a:pt x="987" y="372"/>
                    </a:lnTo>
                    <a:lnTo>
                      <a:pt x="972" y="372"/>
                    </a:lnTo>
                    <a:lnTo>
                      <a:pt x="972" y="372"/>
                    </a:lnTo>
                    <a:lnTo>
                      <a:pt x="964" y="372"/>
                    </a:lnTo>
                    <a:lnTo>
                      <a:pt x="955" y="367"/>
                    </a:lnTo>
                    <a:lnTo>
                      <a:pt x="932" y="361"/>
                    </a:lnTo>
                    <a:lnTo>
                      <a:pt x="909" y="348"/>
                    </a:lnTo>
                    <a:lnTo>
                      <a:pt x="890" y="338"/>
                    </a:lnTo>
                    <a:lnTo>
                      <a:pt x="890" y="338"/>
                    </a:lnTo>
                    <a:lnTo>
                      <a:pt x="881" y="333"/>
                    </a:lnTo>
                    <a:lnTo>
                      <a:pt x="873" y="331"/>
                    </a:lnTo>
                    <a:lnTo>
                      <a:pt x="866" y="331"/>
                    </a:lnTo>
                    <a:lnTo>
                      <a:pt x="858" y="333"/>
                    </a:lnTo>
                    <a:lnTo>
                      <a:pt x="843" y="336"/>
                    </a:lnTo>
                    <a:lnTo>
                      <a:pt x="837" y="336"/>
                    </a:lnTo>
                    <a:lnTo>
                      <a:pt x="828" y="333"/>
                    </a:lnTo>
                    <a:lnTo>
                      <a:pt x="828" y="333"/>
                    </a:lnTo>
                    <a:lnTo>
                      <a:pt x="813" y="329"/>
                    </a:lnTo>
                    <a:lnTo>
                      <a:pt x="803" y="327"/>
                    </a:lnTo>
                    <a:lnTo>
                      <a:pt x="792" y="325"/>
                    </a:lnTo>
                    <a:lnTo>
                      <a:pt x="779" y="321"/>
                    </a:lnTo>
                    <a:lnTo>
                      <a:pt x="779" y="321"/>
                    </a:lnTo>
                    <a:lnTo>
                      <a:pt x="750" y="304"/>
                    </a:lnTo>
                    <a:lnTo>
                      <a:pt x="699" y="272"/>
                    </a:lnTo>
                    <a:lnTo>
                      <a:pt x="648" y="240"/>
                    </a:lnTo>
                    <a:lnTo>
                      <a:pt x="618" y="217"/>
                    </a:lnTo>
                    <a:lnTo>
                      <a:pt x="618" y="217"/>
                    </a:lnTo>
                    <a:lnTo>
                      <a:pt x="612" y="210"/>
                    </a:lnTo>
                    <a:lnTo>
                      <a:pt x="605" y="200"/>
                    </a:lnTo>
                    <a:lnTo>
                      <a:pt x="592" y="176"/>
                    </a:lnTo>
                    <a:lnTo>
                      <a:pt x="582" y="153"/>
                    </a:lnTo>
                    <a:lnTo>
                      <a:pt x="571" y="134"/>
                    </a:lnTo>
                    <a:lnTo>
                      <a:pt x="571" y="134"/>
                    </a:lnTo>
                    <a:lnTo>
                      <a:pt x="567" y="128"/>
                    </a:lnTo>
                    <a:lnTo>
                      <a:pt x="567" y="121"/>
                    </a:lnTo>
                    <a:lnTo>
                      <a:pt x="569" y="117"/>
                    </a:lnTo>
                    <a:lnTo>
                      <a:pt x="571" y="113"/>
                    </a:lnTo>
                    <a:lnTo>
                      <a:pt x="578" y="106"/>
                    </a:lnTo>
                    <a:lnTo>
                      <a:pt x="580" y="104"/>
                    </a:lnTo>
                    <a:lnTo>
                      <a:pt x="580" y="104"/>
                    </a:lnTo>
                    <a:lnTo>
                      <a:pt x="584" y="91"/>
                    </a:lnTo>
                    <a:lnTo>
                      <a:pt x="584" y="81"/>
                    </a:lnTo>
                    <a:lnTo>
                      <a:pt x="582" y="77"/>
                    </a:lnTo>
                    <a:lnTo>
                      <a:pt x="580" y="72"/>
                    </a:lnTo>
                    <a:lnTo>
                      <a:pt x="580" y="72"/>
                    </a:lnTo>
                    <a:lnTo>
                      <a:pt x="575" y="70"/>
                    </a:lnTo>
                    <a:lnTo>
                      <a:pt x="567" y="68"/>
                    </a:lnTo>
                    <a:lnTo>
                      <a:pt x="552" y="68"/>
                    </a:lnTo>
                    <a:lnTo>
                      <a:pt x="527" y="68"/>
                    </a:lnTo>
                    <a:lnTo>
                      <a:pt x="527" y="68"/>
                    </a:lnTo>
                    <a:lnTo>
                      <a:pt x="499" y="72"/>
                    </a:lnTo>
                    <a:lnTo>
                      <a:pt x="469" y="74"/>
                    </a:lnTo>
                    <a:lnTo>
                      <a:pt x="469" y="74"/>
                    </a:lnTo>
                    <a:lnTo>
                      <a:pt x="461" y="72"/>
                    </a:lnTo>
                    <a:lnTo>
                      <a:pt x="450" y="64"/>
                    </a:lnTo>
                    <a:lnTo>
                      <a:pt x="433" y="49"/>
                    </a:lnTo>
                    <a:lnTo>
                      <a:pt x="433" y="49"/>
                    </a:lnTo>
                    <a:lnTo>
                      <a:pt x="421" y="32"/>
                    </a:lnTo>
                    <a:lnTo>
                      <a:pt x="401" y="4"/>
                    </a:lnTo>
                    <a:lnTo>
                      <a:pt x="401" y="4"/>
                    </a:lnTo>
                    <a:lnTo>
                      <a:pt x="397" y="0"/>
                    </a:lnTo>
                    <a:lnTo>
                      <a:pt x="393" y="0"/>
                    </a:lnTo>
                    <a:lnTo>
                      <a:pt x="389" y="2"/>
                    </a:lnTo>
                    <a:lnTo>
                      <a:pt x="384" y="9"/>
                    </a:lnTo>
                    <a:lnTo>
                      <a:pt x="378" y="21"/>
                    </a:lnTo>
                    <a:lnTo>
                      <a:pt x="374" y="26"/>
                    </a:lnTo>
                    <a:lnTo>
                      <a:pt x="370" y="28"/>
                    </a:lnTo>
                    <a:lnTo>
                      <a:pt x="370" y="28"/>
                    </a:lnTo>
                    <a:lnTo>
                      <a:pt x="365" y="28"/>
                    </a:lnTo>
                    <a:lnTo>
                      <a:pt x="361" y="23"/>
                    </a:lnTo>
                    <a:lnTo>
                      <a:pt x="353" y="17"/>
                    </a:lnTo>
                    <a:lnTo>
                      <a:pt x="344" y="9"/>
                    </a:lnTo>
                    <a:lnTo>
                      <a:pt x="342" y="4"/>
                    </a:lnTo>
                    <a:lnTo>
                      <a:pt x="338" y="4"/>
                    </a:lnTo>
                    <a:lnTo>
                      <a:pt x="338" y="4"/>
                    </a:lnTo>
                    <a:lnTo>
                      <a:pt x="331" y="9"/>
                    </a:lnTo>
                    <a:lnTo>
                      <a:pt x="323" y="17"/>
                    </a:lnTo>
                    <a:lnTo>
                      <a:pt x="308" y="36"/>
                    </a:lnTo>
                    <a:lnTo>
                      <a:pt x="308" y="36"/>
                    </a:lnTo>
                    <a:lnTo>
                      <a:pt x="306" y="40"/>
                    </a:lnTo>
                    <a:lnTo>
                      <a:pt x="306" y="40"/>
                    </a:lnTo>
                    <a:lnTo>
                      <a:pt x="232" y="40"/>
                    </a:lnTo>
                    <a:lnTo>
                      <a:pt x="232" y="40"/>
                    </a:lnTo>
                    <a:lnTo>
                      <a:pt x="227" y="43"/>
                    </a:lnTo>
                    <a:lnTo>
                      <a:pt x="223" y="49"/>
                    </a:lnTo>
                    <a:lnTo>
                      <a:pt x="217" y="66"/>
                    </a:lnTo>
                    <a:lnTo>
                      <a:pt x="210" y="91"/>
                    </a:lnTo>
                    <a:lnTo>
                      <a:pt x="210" y="91"/>
                    </a:lnTo>
                    <a:lnTo>
                      <a:pt x="195" y="89"/>
                    </a:lnTo>
                    <a:lnTo>
                      <a:pt x="181" y="89"/>
                    </a:lnTo>
                    <a:lnTo>
                      <a:pt x="168" y="91"/>
                    </a:lnTo>
                    <a:lnTo>
                      <a:pt x="168" y="91"/>
                    </a:lnTo>
                    <a:lnTo>
                      <a:pt x="164" y="94"/>
                    </a:lnTo>
                    <a:lnTo>
                      <a:pt x="159" y="98"/>
                    </a:lnTo>
                    <a:lnTo>
                      <a:pt x="157" y="104"/>
                    </a:lnTo>
                    <a:lnTo>
                      <a:pt x="155" y="113"/>
                    </a:lnTo>
                    <a:lnTo>
                      <a:pt x="153" y="121"/>
                    </a:lnTo>
                    <a:lnTo>
                      <a:pt x="153" y="121"/>
                    </a:lnTo>
                    <a:lnTo>
                      <a:pt x="153" y="125"/>
                    </a:lnTo>
                    <a:lnTo>
                      <a:pt x="155" y="130"/>
                    </a:lnTo>
                    <a:lnTo>
                      <a:pt x="166" y="140"/>
                    </a:lnTo>
                    <a:lnTo>
                      <a:pt x="200" y="168"/>
                    </a:lnTo>
                    <a:lnTo>
                      <a:pt x="200" y="168"/>
                    </a:lnTo>
                    <a:lnTo>
                      <a:pt x="204" y="174"/>
                    </a:lnTo>
                    <a:lnTo>
                      <a:pt x="208" y="181"/>
                    </a:lnTo>
                    <a:lnTo>
                      <a:pt x="210" y="200"/>
                    </a:lnTo>
                    <a:lnTo>
                      <a:pt x="210" y="219"/>
                    </a:lnTo>
                    <a:lnTo>
                      <a:pt x="208" y="234"/>
                    </a:lnTo>
                    <a:lnTo>
                      <a:pt x="208" y="234"/>
                    </a:lnTo>
                    <a:lnTo>
                      <a:pt x="206" y="242"/>
                    </a:lnTo>
                    <a:lnTo>
                      <a:pt x="202" y="246"/>
                    </a:lnTo>
                    <a:lnTo>
                      <a:pt x="195" y="249"/>
                    </a:lnTo>
                    <a:lnTo>
                      <a:pt x="183" y="251"/>
                    </a:lnTo>
                    <a:lnTo>
                      <a:pt x="183" y="251"/>
                    </a:lnTo>
                    <a:lnTo>
                      <a:pt x="170" y="253"/>
                    </a:lnTo>
                    <a:lnTo>
                      <a:pt x="157" y="257"/>
                    </a:lnTo>
                    <a:lnTo>
                      <a:pt x="149" y="263"/>
                    </a:lnTo>
                    <a:lnTo>
                      <a:pt x="140" y="270"/>
                    </a:lnTo>
                    <a:lnTo>
                      <a:pt x="140" y="270"/>
                    </a:lnTo>
                    <a:lnTo>
                      <a:pt x="136" y="276"/>
                    </a:lnTo>
                    <a:lnTo>
                      <a:pt x="134" y="287"/>
                    </a:lnTo>
                    <a:lnTo>
                      <a:pt x="132" y="316"/>
                    </a:lnTo>
                    <a:lnTo>
                      <a:pt x="132" y="346"/>
                    </a:lnTo>
                    <a:lnTo>
                      <a:pt x="130" y="363"/>
                    </a:lnTo>
                    <a:lnTo>
                      <a:pt x="130" y="363"/>
                    </a:lnTo>
                    <a:lnTo>
                      <a:pt x="125" y="367"/>
                    </a:lnTo>
                    <a:lnTo>
                      <a:pt x="115" y="376"/>
                    </a:lnTo>
                    <a:lnTo>
                      <a:pt x="85" y="399"/>
                    </a:lnTo>
                    <a:lnTo>
                      <a:pt x="58" y="420"/>
                    </a:lnTo>
                    <a:lnTo>
                      <a:pt x="49" y="429"/>
                    </a:lnTo>
                    <a:lnTo>
                      <a:pt x="45" y="435"/>
                    </a:lnTo>
                    <a:lnTo>
                      <a:pt x="45" y="435"/>
                    </a:lnTo>
                    <a:lnTo>
                      <a:pt x="45" y="452"/>
                    </a:lnTo>
                    <a:lnTo>
                      <a:pt x="47" y="467"/>
                    </a:lnTo>
                    <a:lnTo>
                      <a:pt x="49" y="480"/>
                    </a:lnTo>
                    <a:lnTo>
                      <a:pt x="55" y="488"/>
                    </a:lnTo>
                    <a:lnTo>
                      <a:pt x="55" y="488"/>
                    </a:lnTo>
                    <a:lnTo>
                      <a:pt x="66" y="493"/>
                    </a:lnTo>
                    <a:lnTo>
                      <a:pt x="79" y="495"/>
                    </a:lnTo>
                    <a:lnTo>
                      <a:pt x="91" y="497"/>
                    </a:lnTo>
                    <a:lnTo>
                      <a:pt x="104" y="497"/>
                    </a:lnTo>
                    <a:lnTo>
                      <a:pt x="104" y="497"/>
                    </a:lnTo>
                    <a:lnTo>
                      <a:pt x="145" y="497"/>
                    </a:lnTo>
                    <a:lnTo>
                      <a:pt x="185" y="499"/>
                    </a:lnTo>
                    <a:lnTo>
                      <a:pt x="185" y="499"/>
                    </a:lnTo>
                    <a:lnTo>
                      <a:pt x="195" y="497"/>
                    </a:lnTo>
                    <a:lnTo>
                      <a:pt x="204" y="493"/>
                    </a:lnTo>
                    <a:lnTo>
                      <a:pt x="215" y="491"/>
                    </a:lnTo>
                    <a:lnTo>
                      <a:pt x="227" y="491"/>
                    </a:lnTo>
                    <a:lnTo>
                      <a:pt x="227" y="491"/>
                    </a:lnTo>
                    <a:lnTo>
                      <a:pt x="234" y="493"/>
                    </a:lnTo>
                    <a:lnTo>
                      <a:pt x="236" y="495"/>
                    </a:lnTo>
                    <a:lnTo>
                      <a:pt x="234" y="499"/>
                    </a:lnTo>
                    <a:lnTo>
                      <a:pt x="229" y="505"/>
                    </a:lnTo>
                    <a:lnTo>
                      <a:pt x="221" y="514"/>
                    </a:lnTo>
                    <a:lnTo>
                      <a:pt x="212" y="522"/>
                    </a:lnTo>
                    <a:lnTo>
                      <a:pt x="212" y="522"/>
                    </a:lnTo>
                    <a:lnTo>
                      <a:pt x="208" y="525"/>
                    </a:lnTo>
                    <a:lnTo>
                      <a:pt x="204" y="527"/>
                    </a:lnTo>
                    <a:lnTo>
                      <a:pt x="193" y="527"/>
                    </a:lnTo>
                    <a:lnTo>
                      <a:pt x="179" y="529"/>
                    </a:lnTo>
                    <a:lnTo>
                      <a:pt x="168" y="531"/>
                    </a:lnTo>
                    <a:lnTo>
                      <a:pt x="157" y="537"/>
                    </a:lnTo>
                    <a:lnTo>
                      <a:pt x="157" y="537"/>
                    </a:lnTo>
                    <a:lnTo>
                      <a:pt x="134" y="546"/>
                    </a:lnTo>
                    <a:lnTo>
                      <a:pt x="115" y="554"/>
                    </a:lnTo>
                    <a:lnTo>
                      <a:pt x="96" y="563"/>
                    </a:lnTo>
                    <a:lnTo>
                      <a:pt x="89" y="567"/>
                    </a:lnTo>
                    <a:lnTo>
                      <a:pt x="81" y="573"/>
                    </a:lnTo>
                    <a:lnTo>
                      <a:pt x="81" y="573"/>
                    </a:lnTo>
                    <a:lnTo>
                      <a:pt x="77" y="580"/>
                    </a:lnTo>
                    <a:lnTo>
                      <a:pt x="77" y="584"/>
                    </a:lnTo>
                    <a:lnTo>
                      <a:pt x="77" y="588"/>
                    </a:lnTo>
                    <a:lnTo>
                      <a:pt x="79" y="592"/>
                    </a:lnTo>
                    <a:lnTo>
                      <a:pt x="83" y="601"/>
                    </a:lnTo>
                    <a:lnTo>
                      <a:pt x="85" y="605"/>
                    </a:lnTo>
                    <a:lnTo>
                      <a:pt x="85" y="614"/>
                    </a:lnTo>
                    <a:lnTo>
                      <a:pt x="85" y="614"/>
                    </a:lnTo>
                    <a:lnTo>
                      <a:pt x="83" y="620"/>
                    </a:lnTo>
                    <a:lnTo>
                      <a:pt x="81" y="624"/>
                    </a:lnTo>
                    <a:lnTo>
                      <a:pt x="77" y="629"/>
                    </a:lnTo>
                    <a:lnTo>
                      <a:pt x="72" y="631"/>
                    </a:lnTo>
                    <a:lnTo>
                      <a:pt x="64" y="635"/>
                    </a:lnTo>
                    <a:lnTo>
                      <a:pt x="55" y="641"/>
                    </a:lnTo>
                    <a:lnTo>
                      <a:pt x="55" y="641"/>
                    </a:lnTo>
                    <a:lnTo>
                      <a:pt x="51" y="648"/>
                    </a:lnTo>
                    <a:lnTo>
                      <a:pt x="51" y="654"/>
                    </a:lnTo>
                    <a:lnTo>
                      <a:pt x="58" y="667"/>
                    </a:lnTo>
                    <a:lnTo>
                      <a:pt x="58" y="667"/>
                    </a:lnTo>
                    <a:lnTo>
                      <a:pt x="66" y="667"/>
                    </a:lnTo>
                    <a:lnTo>
                      <a:pt x="77" y="667"/>
                    </a:lnTo>
                    <a:lnTo>
                      <a:pt x="87" y="663"/>
                    </a:lnTo>
                    <a:lnTo>
                      <a:pt x="94" y="658"/>
                    </a:lnTo>
                    <a:lnTo>
                      <a:pt x="96" y="654"/>
                    </a:lnTo>
                    <a:lnTo>
                      <a:pt x="96" y="654"/>
                    </a:lnTo>
                    <a:lnTo>
                      <a:pt x="106" y="639"/>
                    </a:lnTo>
                    <a:lnTo>
                      <a:pt x="117" y="624"/>
                    </a:lnTo>
                    <a:lnTo>
                      <a:pt x="117" y="624"/>
                    </a:lnTo>
                    <a:lnTo>
                      <a:pt x="121" y="620"/>
                    </a:lnTo>
                    <a:lnTo>
                      <a:pt x="121" y="620"/>
                    </a:lnTo>
                    <a:lnTo>
                      <a:pt x="134" y="607"/>
                    </a:lnTo>
                    <a:lnTo>
                      <a:pt x="140" y="601"/>
                    </a:lnTo>
                    <a:lnTo>
                      <a:pt x="149" y="595"/>
                    </a:lnTo>
                    <a:lnTo>
                      <a:pt x="149" y="595"/>
                    </a:lnTo>
                    <a:lnTo>
                      <a:pt x="155" y="590"/>
                    </a:lnTo>
                    <a:lnTo>
                      <a:pt x="155" y="590"/>
                    </a:lnTo>
                    <a:lnTo>
                      <a:pt x="172" y="580"/>
                    </a:lnTo>
                    <a:lnTo>
                      <a:pt x="179" y="575"/>
                    </a:lnTo>
                    <a:lnTo>
                      <a:pt x="185" y="567"/>
                    </a:lnTo>
                    <a:lnTo>
                      <a:pt x="185" y="567"/>
                    </a:lnTo>
                    <a:lnTo>
                      <a:pt x="193" y="552"/>
                    </a:lnTo>
                    <a:lnTo>
                      <a:pt x="198" y="548"/>
                    </a:lnTo>
                    <a:lnTo>
                      <a:pt x="204" y="546"/>
                    </a:lnTo>
                    <a:lnTo>
                      <a:pt x="204" y="546"/>
                    </a:lnTo>
                    <a:lnTo>
                      <a:pt x="253" y="525"/>
                    </a:lnTo>
                    <a:lnTo>
                      <a:pt x="253" y="525"/>
                    </a:lnTo>
                    <a:lnTo>
                      <a:pt x="274" y="514"/>
                    </a:lnTo>
                    <a:lnTo>
                      <a:pt x="285" y="510"/>
                    </a:lnTo>
                    <a:lnTo>
                      <a:pt x="293" y="508"/>
                    </a:lnTo>
                    <a:lnTo>
                      <a:pt x="293" y="508"/>
                    </a:lnTo>
                    <a:lnTo>
                      <a:pt x="308" y="505"/>
                    </a:lnTo>
                    <a:lnTo>
                      <a:pt x="327" y="499"/>
                    </a:lnTo>
                    <a:lnTo>
                      <a:pt x="327" y="499"/>
                    </a:lnTo>
                    <a:lnTo>
                      <a:pt x="340" y="493"/>
                    </a:lnTo>
                    <a:lnTo>
                      <a:pt x="350" y="486"/>
                    </a:lnTo>
                    <a:lnTo>
                      <a:pt x="380" y="461"/>
                    </a:lnTo>
                    <a:lnTo>
                      <a:pt x="380" y="461"/>
                    </a:lnTo>
                    <a:lnTo>
                      <a:pt x="391" y="448"/>
                    </a:lnTo>
                    <a:lnTo>
                      <a:pt x="399" y="440"/>
                    </a:lnTo>
                    <a:lnTo>
                      <a:pt x="412" y="423"/>
                    </a:lnTo>
                    <a:lnTo>
                      <a:pt x="418" y="410"/>
                    </a:lnTo>
                    <a:lnTo>
                      <a:pt x="423" y="406"/>
                    </a:lnTo>
                    <a:lnTo>
                      <a:pt x="425" y="403"/>
                    </a:lnTo>
                    <a:lnTo>
                      <a:pt x="425" y="403"/>
                    </a:lnTo>
                    <a:lnTo>
                      <a:pt x="446" y="393"/>
                    </a:lnTo>
                    <a:lnTo>
                      <a:pt x="457" y="391"/>
                    </a:lnTo>
                    <a:lnTo>
                      <a:pt x="467" y="391"/>
                    </a:lnTo>
                    <a:lnTo>
                      <a:pt x="467" y="391"/>
                    </a:lnTo>
                    <a:lnTo>
                      <a:pt x="493" y="391"/>
                    </a:lnTo>
                    <a:lnTo>
                      <a:pt x="505" y="393"/>
                    </a:lnTo>
                    <a:lnTo>
                      <a:pt x="510" y="393"/>
                    </a:lnTo>
                    <a:lnTo>
                      <a:pt x="512" y="397"/>
                    </a:lnTo>
                    <a:lnTo>
                      <a:pt x="512" y="397"/>
                    </a:lnTo>
                    <a:lnTo>
                      <a:pt x="518" y="403"/>
                    </a:lnTo>
                    <a:lnTo>
                      <a:pt x="522" y="406"/>
                    </a:lnTo>
                    <a:lnTo>
                      <a:pt x="529" y="406"/>
                    </a:lnTo>
                    <a:lnTo>
                      <a:pt x="529" y="406"/>
                    </a:lnTo>
                    <a:lnTo>
                      <a:pt x="537" y="401"/>
                    </a:lnTo>
                    <a:lnTo>
                      <a:pt x="546" y="395"/>
                    </a:lnTo>
                    <a:lnTo>
                      <a:pt x="554" y="389"/>
                    </a:lnTo>
                    <a:lnTo>
                      <a:pt x="563" y="384"/>
                    </a:lnTo>
                    <a:lnTo>
                      <a:pt x="563" y="384"/>
                    </a:lnTo>
                    <a:lnTo>
                      <a:pt x="582" y="382"/>
                    </a:lnTo>
                    <a:lnTo>
                      <a:pt x="609" y="384"/>
                    </a:lnTo>
                    <a:lnTo>
                      <a:pt x="609" y="384"/>
                    </a:lnTo>
                    <a:lnTo>
                      <a:pt x="626" y="387"/>
                    </a:lnTo>
                    <a:lnTo>
                      <a:pt x="639" y="391"/>
                    </a:lnTo>
                    <a:lnTo>
                      <a:pt x="660" y="401"/>
                    </a:lnTo>
                    <a:lnTo>
                      <a:pt x="660" y="401"/>
                    </a:lnTo>
                    <a:lnTo>
                      <a:pt x="671" y="406"/>
                    </a:lnTo>
                    <a:lnTo>
                      <a:pt x="677" y="414"/>
                    </a:lnTo>
                    <a:lnTo>
                      <a:pt x="686" y="418"/>
                    </a:lnTo>
                    <a:lnTo>
                      <a:pt x="690" y="420"/>
                    </a:lnTo>
                    <a:lnTo>
                      <a:pt x="696" y="420"/>
                    </a:lnTo>
                    <a:lnTo>
                      <a:pt x="696" y="420"/>
                    </a:lnTo>
                    <a:lnTo>
                      <a:pt x="724" y="420"/>
                    </a:lnTo>
                    <a:lnTo>
                      <a:pt x="745" y="423"/>
                    </a:lnTo>
                    <a:lnTo>
                      <a:pt x="745" y="423"/>
                    </a:lnTo>
                    <a:lnTo>
                      <a:pt x="758" y="427"/>
                    </a:lnTo>
                    <a:lnTo>
                      <a:pt x="764" y="429"/>
                    </a:lnTo>
                    <a:lnTo>
                      <a:pt x="769" y="431"/>
                    </a:lnTo>
                    <a:lnTo>
                      <a:pt x="769" y="431"/>
                    </a:lnTo>
                    <a:lnTo>
                      <a:pt x="773" y="429"/>
                    </a:lnTo>
                    <a:lnTo>
                      <a:pt x="775" y="427"/>
                    </a:lnTo>
                    <a:lnTo>
                      <a:pt x="781" y="420"/>
                    </a:lnTo>
                    <a:lnTo>
                      <a:pt x="784" y="418"/>
                    </a:lnTo>
                    <a:lnTo>
                      <a:pt x="788" y="416"/>
                    </a:lnTo>
                    <a:lnTo>
                      <a:pt x="792" y="416"/>
                    </a:lnTo>
                    <a:lnTo>
                      <a:pt x="796" y="418"/>
                    </a:lnTo>
                    <a:lnTo>
                      <a:pt x="796" y="418"/>
                    </a:lnTo>
                    <a:lnTo>
                      <a:pt x="809" y="425"/>
                    </a:lnTo>
                    <a:lnTo>
                      <a:pt x="820" y="433"/>
                    </a:lnTo>
                    <a:lnTo>
                      <a:pt x="841" y="450"/>
                    </a:lnTo>
                    <a:lnTo>
                      <a:pt x="841" y="450"/>
                    </a:lnTo>
                    <a:lnTo>
                      <a:pt x="847" y="457"/>
                    </a:lnTo>
                    <a:lnTo>
                      <a:pt x="854" y="463"/>
                    </a:lnTo>
                    <a:lnTo>
                      <a:pt x="858" y="469"/>
                    </a:lnTo>
                    <a:lnTo>
                      <a:pt x="864" y="474"/>
                    </a:lnTo>
                    <a:lnTo>
                      <a:pt x="864" y="474"/>
                    </a:lnTo>
                    <a:lnTo>
                      <a:pt x="868" y="474"/>
                    </a:lnTo>
                    <a:lnTo>
                      <a:pt x="871" y="478"/>
                    </a:lnTo>
                    <a:lnTo>
                      <a:pt x="877" y="486"/>
                    </a:lnTo>
                    <a:lnTo>
                      <a:pt x="881" y="493"/>
                    </a:lnTo>
                    <a:lnTo>
                      <a:pt x="883" y="497"/>
                    </a:lnTo>
                    <a:lnTo>
                      <a:pt x="888" y="499"/>
                    </a:lnTo>
                    <a:lnTo>
                      <a:pt x="888" y="499"/>
                    </a:lnTo>
                    <a:lnTo>
                      <a:pt x="896" y="499"/>
                    </a:lnTo>
                    <a:lnTo>
                      <a:pt x="902" y="499"/>
                    </a:lnTo>
                    <a:lnTo>
                      <a:pt x="913" y="497"/>
                    </a:lnTo>
                    <a:lnTo>
                      <a:pt x="928" y="499"/>
                    </a:lnTo>
                    <a:lnTo>
                      <a:pt x="928" y="499"/>
                    </a:lnTo>
                    <a:lnTo>
                      <a:pt x="953" y="497"/>
                    </a:lnTo>
                    <a:lnTo>
                      <a:pt x="987" y="495"/>
                    </a:lnTo>
                    <a:lnTo>
                      <a:pt x="1017" y="495"/>
                    </a:lnTo>
                    <a:lnTo>
                      <a:pt x="1026" y="495"/>
                    </a:lnTo>
                    <a:lnTo>
                      <a:pt x="1028" y="497"/>
                    </a:lnTo>
                    <a:lnTo>
                      <a:pt x="1030" y="499"/>
                    </a:lnTo>
                    <a:lnTo>
                      <a:pt x="1030" y="499"/>
                    </a:lnTo>
                    <a:lnTo>
                      <a:pt x="1030" y="501"/>
                    </a:lnTo>
                    <a:lnTo>
                      <a:pt x="1032" y="505"/>
                    </a:lnTo>
                    <a:lnTo>
                      <a:pt x="1036" y="510"/>
                    </a:lnTo>
                    <a:lnTo>
                      <a:pt x="1036" y="512"/>
                    </a:lnTo>
                    <a:lnTo>
                      <a:pt x="1036" y="514"/>
                    </a:lnTo>
                    <a:lnTo>
                      <a:pt x="1032" y="516"/>
                    </a:lnTo>
                    <a:lnTo>
                      <a:pt x="1021" y="516"/>
                    </a:lnTo>
                    <a:lnTo>
                      <a:pt x="1021" y="516"/>
                    </a:lnTo>
                    <a:lnTo>
                      <a:pt x="966" y="516"/>
                    </a:lnTo>
                    <a:lnTo>
                      <a:pt x="924" y="516"/>
                    </a:lnTo>
                    <a:lnTo>
                      <a:pt x="924" y="516"/>
                    </a:lnTo>
                    <a:lnTo>
                      <a:pt x="913" y="516"/>
                    </a:lnTo>
                    <a:lnTo>
                      <a:pt x="894" y="516"/>
                    </a:lnTo>
                    <a:lnTo>
                      <a:pt x="894" y="516"/>
                    </a:lnTo>
                    <a:lnTo>
                      <a:pt x="873" y="518"/>
                    </a:lnTo>
                    <a:lnTo>
                      <a:pt x="854" y="520"/>
                    </a:lnTo>
                    <a:lnTo>
                      <a:pt x="854" y="520"/>
                    </a:lnTo>
                    <a:lnTo>
                      <a:pt x="830" y="520"/>
                    </a:lnTo>
                    <a:lnTo>
                      <a:pt x="807" y="520"/>
                    </a:lnTo>
                    <a:lnTo>
                      <a:pt x="807" y="520"/>
                    </a:lnTo>
                    <a:lnTo>
                      <a:pt x="786" y="520"/>
                    </a:lnTo>
                    <a:lnTo>
                      <a:pt x="754" y="518"/>
                    </a:lnTo>
                    <a:lnTo>
                      <a:pt x="754" y="518"/>
                    </a:lnTo>
                    <a:lnTo>
                      <a:pt x="724" y="514"/>
                    </a:lnTo>
                    <a:lnTo>
                      <a:pt x="713" y="516"/>
                    </a:lnTo>
                    <a:lnTo>
                      <a:pt x="709" y="518"/>
                    </a:lnTo>
                    <a:lnTo>
                      <a:pt x="707" y="520"/>
                    </a:lnTo>
                    <a:lnTo>
                      <a:pt x="707" y="520"/>
                    </a:lnTo>
                    <a:lnTo>
                      <a:pt x="705" y="527"/>
                    </a:lnTo>
                    <a:lnTo>
                      <a:pt x="699" y="533"/>
                    </a:lnTo>
                    <a:lnTo>
                      <a:pt x="699" y="535"/>
                    </a:lnTo>
                    <a:lnTo>
                      <a:pt x="699" y="539"/>
                    </a:lnTo>
                    <a:lnTo>
                      <a:pt x="701" y="541"/>
                    </a:lnTo>
                    <a:lnTo>
                      <a:pt x="703" y="544"/>
                    </a:lnTo>
                    <a:lnTo>
                      <a:pt x="703" y="544"/>
                    </a:lnTo>
                    <a:lnTo>
                      <a:pt x="716" y="548"/>
                    </a:lnTo>
                    <a:lnTo>
                      <a:pt x="728" y="550"/>
                    </a:lnTo>
                    <a:lnTo>
                      <a:pt x="741" y="552"/>
                    </a:lnTo>
                    <a:lnTo>
                      <a:pt x="743" y="552"/>
                    </a:lnTo>
                    <a:lnTo>
                      <a:pt x="745" y="554"/>
                    </a:lnTo>
                    <a:lnTo>
                      <a:pt x="745" y="554"/>
                    </a:lnTo>
                    <a:lnTo>
                      <a:pt x="745" y="558"/>
                    </a:lnTo>
                    <a:lnTo>
                      <a:pt x="745" y="563"/>
                    </a:lnTo>
                    <a:lnTo>
                      <a:pt x="745" y="569"/>
                    </a:lnTo>
                    <a:lnTo>
                      <a:pt x="750" y="573"/>
                    </a:lnTo>
                    <a:lnTo>
                      <a:pt x="750" y="573"/>
                    </a:lnTo>
                    <a:lnTo>
                      <a:pt x="769" y="580"/>
                    </a:lnTo>
                    <a:lnTo>
                      <a:pt x="779" y="582"/>
                    </a:lnTo>
                    <a:lnTo>
                      <a:pt x="788" y="584"/>
                    </a:lnTo>
                    <a:lnTo>
                      <a:pt x="788" y="584"/>
                    </a:lnTo>
                    <a:lnTo>
                      <a:pt x="805" y="582"/>
                    </a:lnTo>
                    <a:lnTo>
                      <a:pt x="811" y="584"/>
                    </a:lnTo>
                    <a:lnTo>
                      <a:pt x="815" y="586"/>
                    </a:lnTo>
                    <a:lnTo>
                      <a:pt x="815" y="590"/>
                    </a:lnTo>
                    <a:lnTo>
                      <a:pt x="815" y="590"/>
                    </a:lnTo>
                    <a:lnTo>
                      <a:pt x="817" y="599"/>
                    </a:lnTo>
                    <a:lnTo>
                      <a:pt x="815" y="605"/>
                    </a:lnTo>
                    <a:lnTo>
                      <a:pt x="811" y="612"/>
                    </a:lnTo>
                    <a:lnTo>
                      <a:pt x="800" y="614"/>
                    </a:lnTo>
                    <a:lnTo>
                      <a:pt x="800" y="614"/>
                    </a:lnTo>
                    <a:lnTo>
                      <a:pt x="788" y="612"/>
                    </a:lnTo>
                    <a:lnTo>
                      <a:pt x="771" y="607"/>
                    </a:lnTo>
                    <a:lnTo>
                      <a:pt x="754" y="603"/>
                    </a:lnTo>
                    <a:lnTo>
                      <a:pt x="735" y="601"/>
                    </a:lnTo>
                    <a:lnTo>
                      <a:pt x="735" y="601"/>
                    </a:lnTo>
                    <a:lnTo>
                      <a:pt x="705" y="601"/>
                    </a:lnTo>
                    <a:lnTo>
                      <a:pt x="688" y="601"/>
                    </a:lnTo>
                    <a:lnTo>
                      <a:pt x="667" y="597"/>
                    </a:lnTo>
                    <a:lnTo>
                      <a:pt x="667" y="597"/>
                    </a:lnTo>
                    <a:lnTo>
                      <a:pt x="641" y="592"/>
                    </a:lnTo>
                    <a:lnTo>
                      <a:pt x="612" y="590"/>
                    </a:lnTo>
                    <a:lnTo>
                      <a:pt x="578" y="590"/>
                    </a:lnTo>
                    <a:lnTo>
                      <a:pt x="578" y="590"/>
                    </a:lnTo>
                    <a:lnTo>
                      <a:pt x="573" y="586"/>
                    </a:lnTo>
                    <a:lnTo>
                      <a:pt x="569" y="584"/>
                    </a:lnTo>
                    <a:lnTo>
                      <a:pt x="561" y="588"/>
                    </a:lnTo>
                    <a:lnTo>
                      <a:pt x="561" y="588"/>
                    </a:lnTo>
                    <a:lnTo>
                      <a:pt x="550" y="592"/>
                    </a:lnTo>
                    <a:lnTo>
                      <a:pt x="533" y="599"/>
                    </a:lnTo>
                    <a:lnTo>
                      <a:pt x="520" y="601"/>
                    </a:lnTo>
                    <a:lnTo>
                      <a:pt x="516" y="601"/>
                    </a:lnTo>
                    <a:lnTo>
                      <a:pt x="516" y="597"/>
                    </a:lnTo>
                    <a:lnTo>
                      <a:pt x="516" y="597"/>
                    </a:lnTo>
                    <a:lnTo>
                      <a:pt x="522" y="588"/>
                    </a:lnTo>
                    <a:lnTo>
                      <a:pt x="529" y="582"/>
                    </a:lnTo>
                    <a:lnTo>
                      <a:pt x="537" y="578"/>
                    </a:lnTo>
                    <a:lnTo>
                      <a:pt x="537" y="578"/>
                    </a:lnTo>
                    <a:lnTo>
                      <a:pt x="542" y="575"/>
                    </a:lnTo>
                    <a:lnTo>
                      <a:pt x="546" y="569"/>
                    </a:lnTo>
                    <a:lnTo>
                      <a:pt x="548" y="567"/>
                    </a:lnTo>
                    <a:lnTo>
                      <a:pt x="546" y="563"/>
                    </a:lnTo>
                    <a:lnTo>
                      <a:pt x="544" y="561"/>
                    </a:lnTo>
                    <a:lnTo>
                      <a:pt x="537" y="558"/>
                    </a:lnTo>
                    <a:lnTo>
                      <a:pt x="537" y="558"/>
                    </a:lnTo>
                    <a:lnTo>
                      <a:pt x="525" y="550"/>
                    </a:lnTo>
                    <a:lnTo>
                      <a:pt x="510" y="544"/>
                    </a:lnTo>
                    <a:lnTo>
                      <a:pt x="497" y="537"/>
                    </a:lnTo>
                    <a:lnTo>
                      <a:pt x="491" y="535"/>
                    </a:lnTo>
                    <a:lnTo>
                      <a:pt x="484" y="535"/>
                    </a:lnTo>
                    <a:lnTo>
                      <a:pt x="484" y="535"/>
                    </a:lnTo>
                    <a:lnTo>
                      <a:pt x="457" y="539"/>
                    </a:lnTo>
                    <a:lnTo>
                      <a:pt x="452" y="539"/>
                    </a:lnTo>
                    <a:lnTo>
                      <a:pt x="448" y="544"/>
                    </a:lnTo>
                    <a:lnTo>
                      <a:pt x="448" y="546"/>
                    </a:lnTo>
                    <a:lnTo>
                      <a:pt x="450" y="552"/>
                    </a:lnTo>
                    <a:lnTo>
                      <a:pt x="450" y="552"/>
                    </a:lnTo>
                    <a:lnTo>
                      <a:pt x="459" y="561"/>
                    </a:lnTo>
                    <a:lnTo>
                      <a:pt x="465" y="569"/>
                    </a:lnTo>
                    <a:lnTo>
                      <a:pt x="476" y="578"/>
                    </a:lnTo>
                    <a:lnTo>
                      <a:pt x="476" y="578"/>
                    </a:lnTo>
                    <a:lnTo>
                      <a:pt x="486" y="580"/>
                    </a:lnTo>
                    <a:lnTo>
                      <a:pt x="488" y="584"/>
                    </a:lnTo>
                    <a:lnTo>
                      <a:pt x="488" y="592"/>
                    </a:lnTo>
                    <a:lnTo>
                      <a:pt x="488" y="592"/>
                    </a:lnTo>
                    <a:lnTo>
                      <a:pt x="486" y="599"/>
                    </a:lnTo>
                    <a:lnTo>
                      <a:pt x="480" y="603"/>
                    </a:lnTo>
                    <a:lnTo>
                      <a:pt x="469" y="605"/>
                    </a:lnTo>
                    <a:lnTo>
                      <a:pt x="457" y="605"/>
                    </a:lnTo>
                    <a:lnTo>
                      <a:pt x="457" y="605"/>
                    </a:lnTo>
                    <a:lnTo>
                      <a:pt x="427" y="605"/>
                    </a:lnTo>
                    <a:lnTo>
                      <a:pt x="412" y="605"/>
                    </a:lnTo>
                    <a:lnTo>
                      <a:pt x="401" y="605"/>
                    </a:lnTo>
                    <a:lnTo>
                      <a:pt x="401" y="605"/>
                    </a:lnTo>
                    <a:lnTo>
                      <a:pt x="391" y="603"/>
                    </a:lnTo>
                    <a:lnTo>
                      <a:pt x="380" y="603"/>
                    </a:lnTo>
                    <a:lnTo>
                      <a:pt x="376" y="601"/>
                    </a:lnTo>
                    <a:lnTo>
                      <a:pt x="372" y="599"/>
                    </a:lnTo>
                    <a:lnTo>
                      <a:pt x="367" y="597"/>
                    </a:lnTo>
                    <a:lnTo>
                      <a:pt x="365" y="592"/>
                    </a:lnTo>
                    <a:lnTo>
                      <a:pt x="365" y="592"/>
                    </a:lnTo>
                    <a:lnTo>
                      <a:pt x="365" y="578"/>
                    </a:lnTo>
                    <a:lnTo>
                      <a:pt x="365" y="563"/>
                    </a:lnTo>
                    <a:lnTo>
                      <a:pt x="365" y="556"/>
                    </a:lnTo>
                    <a:lnTo>
                      <a:pt x="363" y="550"/>
                    </a:lnTo>
                    <a:lnTo>
                      <a:pt x="359" y="548"/>
                    </a:lnTo>
                    <a:lnTo>
                      <a:pt x="355" y="548"/>
                    </a:lnTo>
                    <a:lnTo>
                      <a:pt x="355" y="548"/>
                    </a:lnTo>
                    <a:lnTo>
                      <a:pt x="350" y="548"/>
                    </a:lnTo>
                    <a:lnTo>
                      <a:pt x="346" y="550"/>
                    </a:lnTo>
                    <a:lnTo>
                      <a:pt x="342" y="556"/>
                    </a:lnTo>
                    <a:lnTo>
                      <a:pt x="338" y="561"/>
                    </a:lnTo>
                    <a:lnTo>
                      <a:pt x="336" y="561"/>
                    </a:lnTo>
                    <a:lnTo>
                      <a:pt x="329" y="561"/>
                    </a:lnTo>
                    <a:lnTo>
                      <a:pt x="329" y="561"/>
                    </a:lnTo>
                    <a:lnTo>
                      <a:pt x="323" y="556"/>
                    </a:lnTo>
                    <a:lnTo>
                      <a:pt x="319" y="552"/>
                    </a:lnTo>
                    <a:lnTo>
                      <a:pt x="316" y="550"/>
                    </a:lnTo>
                    <a:lnTo>
                      <a:pt x="314" y="550"/>
                    </a:lnTo>
                    <a:lnTo>
                      <a:pt x="314" y="550"/>
                    </a:lnTo>
                    <a:lnTo>
                      <a:pt x="306" y="554"/>
                    </a:lnTo>
                    <a:lnTo>
                      <a:pt x="300" y="556"/>
                    </a:lnTo>
                    <a:lnTo>
                      <a:pt x="293" y="558"/>
                    </a:lnTo>
                    <a:lnTo>
                      <a:pt x="293" y="558"/>
                    </a:lnTo>
                    <a:lnTo>
                      <a:pt x="285" y="558"/>
                    </a:lnTo>
                    <a:lnTo>
                      <a:pt x="263" y="556"/>
                    </a:lnTo>
                    <a:lnTo>
                      <a:pt x="263" y="556"/>
                    </a:lnTo>
                    <a:lnTo>
                      <a:pt x="244" y="554"/>
                    </a:lnTo>
                    <a:lnTo>
                      <a:pt x="227" y="550"/>
                    </a:lnTo>
                    <a:lnTo>
                      <a:pt x="215" y="550"/>
                    </a:lnTo>
                    <a:lnTo>
                      <a:pt x="210" y="550"/>
                    </a:lnTo>
                    <a:lnTo>
                      <a:pt x="206" y="554"/>
                    </a:lnTo>
                    <a:lnTo>
                      <a:pt x="206" y="554"/>
                    </a:lnTo>
                    <a:lnTo>
                      <a:pt x="195" y="567"/>
                    </a:lnTo>
                    <a:lnTo>
                      <a:pt x="187" y="575"/>
                    </a:lnTo>
                    <a:lnTo>
                      <a:pt x="187" y="575"/>
                    </a:lnTo>
                    <a:lnTo>
                      <a:pt x="168" y="595"/>
                    </a:lnTo>
                    <a:lnTo>
                      <a:pt x="155" y="605"/>
                    </a:lnTo>
                    <a:lnTo>
                      <a:pt x="147" y="609"/>
                    </a:lnTo>
                    <a:lnTo>
                      <a:pt x="140" y="614"/>
                    </a:lnTo>
                    <a:lnTo>
                      <a:pt x="140" y="614"/>
                    </a:lnTo>
                    <a:lnTo>
                      <a:pt x="130" y="618"/>
                    </a:lnTo>
                    <a:lnTo>
                      <a:pt x="121" y="626"/>
                    </a:lnTo>
                    <a:lnTo>
                      <a:pt x="115" y="635"/>
                    </a:lnTo>
                    <a:lnTo>
                      <a:pt x="108" y="646"/>
                    </a:lnTo>
                    <a:lnTo>
                      <a:pt x="108" y="646"/>
                    </a:lnTo>
                    <a:lnTo>
                      <a:pt x="102" y="656"/>
                    </a:lnTo>
                    <a:lnTo>
                      <a:pt x="94" y="665"/>
                    </a:lnTo>
                    <a:lnTo>
                      <a:pt x="79" y="673"/>
                    </a:lnTo>
                    <a:lnTo>
                      <a:pt x="79" y="673"/>
                    </a:lnTo>
                    <a:lnTo>
                      <a:pt x="70" y="677"/>
                    </a:lnTo>
                    <a:lnTo>
                      <a:pt x="60" y="679"/>
                    </a:lnTo>
                    <a:lnTo>
                      <a:pt x="60" y="679"/>
                    </a:lnTo>
                    <a:lnTo>
                      <a:pt x="53" y="692"/>
                    </a:lnTo>
                    <a:lnTo>
                      <a:pt x="49" y="701"/>
                    </a:lnTo>
                    <a:lnTo>
                      <a:pt x="45" y="711"/>
                    </a:lnTo>
                    <a:lnTo>
                      <a:pt x="45" y="711"/>
                    </a:lnTo>
                    <a:lnTo>
                      <a:pt x="43" y="730"/>
                    </a:lnTo>
                    <a:lnTo>
                      <a:pt x="41" y="756"/>
                    </a:lnTo>
                    <a:lnTo>
                      <a:pt x="38" y="781"/>
                    </a:lnTo>
                    <a:lnTo>
                      <a:pt x="34" y="800"/>
                    </a:lnTo>
                    <a:lnTo>
                      <a:pt x="34" y="800"/>
                    </a:lnTo>
                    <a:lnTo>
                      <a:pt x="32" y="807"/>
                    </a:lnTo>
                    <a:lnTo>
                      <a:pt x="28" y="811"/>
                    </a:lnTo>
                    <a:lnTo>
                      <a:pt x="19" y="820"/>
                    </a:lnTo>
                    <a:lnTo>
                      <a:pt x="9" y="828"/>
                    </a:lnTo>
                    <a:lnTo>
                      <a:pt x="4" y="834"/>
                    </a:lnTo>
                    <a:lnTo>
                      <a:pt x="0" y="843"/>
                    </a:lnTo>
                    <a:lnTo>
                      <a:pt x="0" y="843"/>
                    </a:lnTo>
                    <a:lnTo>
                      <a:pt x="0" y="845"/>
                    </a:lnTo>
                    <a:lnTo>
                      <a:pt x="0" y="849"/>
                    </a:lnTo>
                    <a:lnTo>
                      <a:pt x="4" y="854"/>
                    </a:lnTo>
                    <a:lnTo>
                      <a:pt x="13" y="858"/>
                    </a:lnTo>
                    <a:lnTo>
                      <a:pt x="21" y="858"/>
                    </a:lnTo>
                    <a:lnTo>
                      <a:pt x="45" y="858"/>
                    </a:lnTo>
                    <a:lnTo>
                      <a:pt x="64" y="858"/>
                    </a:lnTo>
                    <a:lnTo>
                      <a:pt x="64" y="858"/>
                    </a:lnTo>
                    <a:lnTo>
                      <a:pt x="83" y="856"/>
                    </a:lnTo>
                    <a:lnTo>
                      <a:pt x="108" y="849"/>
                    </a:lnTo>
                    <a:lnTo>
                      <a:pt x="149" y="839"/>
                    </a:lnTo>
                    <a:lnTo>
                      <a:pt x="149" y="839"/>
                    </a:lnTo>
                    <a:lnTo>
                      <a:pt x="168" y="837"/>
                    </a:lnTo>
                    <a:lnTo>
                      <a:pt x="193" y="834"/>
                    </a:lnTo>
                    <a:lnTo>
                      <a:pt x="236" y="837"/>
                    </a:lnTo>
                    <a:lnTo>
                      <a:pt x="236" y="837"/>
                    </a:lnTo>
                    <a:lnTo>
                      <a:pt x="238" y="837"/>
                    </a:lnTo>
                    <a:lnTo>
                      <a:pt x="240" y="837"/>
                    </a:lnTo>
                    <a:lnTo>
                      <a:pt x="240" y="843"/>
                    </a:lnTo>
                    <a:lnTo>
                      <a:pt x="234" y="854"/>
                    </a:lnTo>
                    <a:lnTo>
                      <a:pt x="234" y="854"/>
                    </a:lnTo>
                    <a:lnTo>
                      <a:pt x="227" y="860"/>
                    </a:lnTo>
                    <a:lnTo>
                      <a:pt x="212" y="875"/>
                    </a:lnTo>
                    <a:lnTo>
                      <a:pt x="195" y="890"/>
                    </a:lnTo>
                    <a:lnTo>
                      <a:pt x="185" y="896"/>
                    </a:lnTo>
                    <a:lnTo>
                      <a:pt x="176" y="900"/>
                    </a:lnTo>
                    <a:lnTo>
                      <a:pt x="176" y="900"/>
                    </a:lnTo>
                    <a:lnTo>
                      <a:pt x="170" y="900"/>
                    </a:lnTo>
                    <a:lnTo>
                      <a:pt x="166" y="900"/>
                    </a:lnTo>
                    <a:lnTo>
                      <a:pt x="162" y="900"/>
                    </a:lnTo>
                    <a:lnTo>
                      <a:pt x="162" y="898"/>
                    </a:lnTo>
                    <a:lnTo>
                      <a:pt x="159" y="892"/>
                    </a:lnTo>
                    <a:lnTo>
                      <a:pt x="157" y="890"/>
                    </a:lnTo>
                    <a:lnTo>
                      <a:pt x="155" y="888"/>
                    </a:lnTo>
                    <a:lnTo>
                      <a:pt x="155" y="888"/>
                    </a:lnTo>
                    <a:lnTo>
                      <a:pt x="153" y="888"/>
                    </a:lnTo>
                    <a:lnTo>
                      <a:pt x="153" y="892"/>
                    </a:lnTo>
                    <a:lnTo>
                      <a:pt x="151" y="902"/>
                    </a:lnTo>
                    <a:lnTo>
                      <a:pt x="153" y="913"/>
                    </a:lnTo>
                    <a:lnTo>
                      <a:pt x="155" y="922"/>
                    </a:lnTo>
                    <a:lnTo>
                      <a:pt x="155" y="922"/>
                    </a:lnTo>
                    <a:lnTo>
                      <a:pt x="168" y="932"/>
                    </a:lnTo>
                    <a:lnTo>
                      <a:pt x="174" y="936"/>
                    </a:lnTo>
                    <a:lnTo>
                      <a:pt x="176" y="945"/>
                    </a:lnTo>
                    <a:lnTo>
                      <a:pt x="176" y="945"/>
                    </a:lnTo>
                    <a:lnTo>
                      <a:pt x="179" y="958"/>
                    </a:lnTo>
                    <a:lnTo>
                      <a:pt x="183" y="968"/>
                    </a:lnTo>
                    <a:lnTo>
                      <a:pt x="187" y="975"/>
                    </a:lnTo>
                    <a:lnTo>
                      <a:pt x="191" y="979"/>
                    </a:lnTo>
                    <a:lnTo>
                      <a:pt x="202" y="985"/>
                    </a:lnTo>
                    <a:lnTo>
                      <a:pt x="204" y="987"/>
                    </a:lnTo>
                    <a:lnTo>
                      <a:pt x="206" y="992"/>
                    </a:lnTo>
                    <a:lnTo>
                      <a:pt x="206" y="992"/>
                    </a:lnTo>
                    <a:lnTo>
                      <a:pt x="208" y="998"/>
                    </a:lnTo>
                    <a:lnTo>
                      <a:pt x="206" y="1002"/>
                    </a:lnTo>
                    <a:lnTo>
                      <a:pt x="200" y="1006"/>
                    </a:lnTo>
                    <a:lnTo>
                      <a:pt x="191" y="1011"/>
                    </a:lnTo>
                    <a:lnTo>
                      <a:pt x="183" y="1017"/>
                    </a:lnTo>
                    <a:lnTo>
                      <a:pt x="183" y="1017"/>
                    </a:lnTo>
                    <a:lnTo>
                      <a:pt x="183" y="1021"/>
                    </a:lnTo>
                    <a:lnTo>
                      <a:pt x="181" y="1026"/>
                    </a:lnTo>
                    <a:lnTo>
                      <a:pt x="185" y="1034"/>
                    </a:lnTo>
                    <a:lnTo>
                      <a:pt x="191" y="1043"/>
                    </a:lnTo>
                    <a:lnTo>
                      <a:pt x="202" y="1053"/>
                    </a:lnTo>
                    <a:lnTo>
                      <a:pt x="202" y="1053"/>
                    </a:lnTo>
                    <a:lnTo>
                      <a:pt x="210" y="1055"/>
                    </a:lnTo>
                    <a:lnTo>
                      <a:pt x="217" y="1055"/>
                    </a:lnTo>
                    <a:lnTo>
                      <a:pt x="229" y="1055"/>
                    </a:lnTo>
                    <a:lnTo>
                      <a:pt x="240" y="1055"/>
                    </a:lnTo>
                    <a:lnTo>
                      <a:pt x="242" y="1055"/>
                    </a:lnTo>
                    <a:lnTo>
                      <a:pt x="244" y="1060"/>
                    </a:lnTo>
                    <a:lnTo>
                      <a:pt x="244" y="1060"/>
                    </a:lnTo>
                    <a:lnTo>
                      <a:pt x="244" y="1066"/>
                    </a:lnTo>
                    <a:lnTo>
                      <a:pt x="242" y="1070"/>
                    </a:lnTo>
                    <a:lnTo>
                      <a:pt x="236" y="1072"/>
                    </a:lnTo>
                    <a:lnTo>
                      <a:pt x="236" y="1072"/>
                    </a:lnTo>
                    <a:lnTo>
                      <a:pt x="225" y="1079"/>
                    </a:lnTo>
                    <a:lnTo>
                      <a:pt x="217" y="1085"/>
                    </a:lnTo>
                    <a:lnTo>
                      <a:pt x="210" y="1096"/>
                    </a:lnTo>
                    <a:lnTo>
                      <a:pt x="210" y="1096"/>
                    </a:lnTo>
                    <a:lnTo>
                      <a:pt x="208" y="1100"/>
                    </a:lnTo>
                    <a:lnTo>
                      <a:pt x="204" y="1102"/>
                    </a:lnTo>
                    <a:lnTo>
                      <a:pt x="195" y="1106"/>
                    </a:lnTo>
                    <a:lnTo>
                      <a:pt x="187" y="1106"/>
                    </a:lnTo>
                    <a:lnTo>
                      <a:pt x="176" y="1108"/>
                    </a:lnTo>
                    <a:lnTo>
                      <a:pt x="176" y="1108"/>
                    </a:lnTo>
                    <a:lnTo>
                      <a:pt x="174" y="1110"/>
                    </a:lnTo>
                    <a:lnTo>
                      <a:pt x="170" y="1113"/>
                    </a:lnTo>
                    <a:lnTo>
                      <a:pt x="168" y="1123"/>
                    </a:lnTo>
                    <a:lnTo>
                      <a:pt x="168" y="1136"/>
                    </a:lnTo>
                    <a:lnTo>
                      <a:pt x="170" y="1147"/>
                    </a:lnTo>
                    <a:lnTo>
                      <a:pt x="170" y="1147"/>
                    </a:lnTo>
                    <a:lnTo>
                      <a:pt x="179" y="1157"/>
                    </a:lnTo>
                    <a:lnTo>
                      <a:pt x="189" y="1170"/>
                    </a:lnTo>
                    <a:lnTo>
                      <a:pt x="200" y="1185"/>
                    </a:lnTo>
                    <a:lnTo>
                      <a:pt x="204" y="1191"/>
                    </a:lnTo>
                    <a:lnTo>
                      <a:pt x="204" y="1200"/>
                    </a:lnTo>
                    <a:lnTo>
                      <a:pt x="204" y="1200"/>
                    </a:lnTo>
                    <a:lnTo>
                      <a:pt x="204" y="1208"/>
                    </a:lnTo>
                    <a:lnTo>
                      <a:pt x="198" y="1214"/>
                    </a:lnTo>
                    <a:lnTo>
                      <a:pt x="189" y="1221"/>
                    </a:lnTo>
                    <a:lnTo>
                      <a:pt x="183" y="1223"/>
                    </a:lnTo>
                    <a:lnTo>
                      <a:pt x="176" y="1225"/>
                    </a:lnTo>
                    <a:lnTo>
                      <a:pt x="176" y="1225"/>
                    </a:lnTo>
                    <a:lnTo>
                      <a:pt x="170" y="1223"/>
                    </a:lnTo>
                    <a:lnTo>
                      <a:pt x="166" y="1223"/>
                    </a:lnTo>
                    <a:lnTo>
                      <a:pt x="162" y="1219"/>
                    </a:lnTo>
                    <a:lnTo>
                      <a:pt x="159" y="1217"/>
                    </a:lnTo>
                    <a:lnTo>
                      <a:pt x="157" y="1208"/>
                    </a:lnTo>
                    <a:lnTo>
                      <a:pt x="153" y="1204"/>
                    </a:lnTo>
                    <a:lnTo>
                      <a:pt x="149" y="1202"/>
                    </a:lnTo>
                    <a:lnTo>
                      <a:pt x="149" y="1202"/>
                    </a:lnTo>
                    <a:lnTo>
                      <a:pt x="145" y="1200"/>
                    </a:lnTo>
                    <a:lnTo>
                      <a:pt x="140" y="1202"/>
                    </a:lnTo>
                    <a:lnTo>
                      <a:pt x="140" y="1204"/>
                    </a:lnTo>
                    <a:lnTo>
                      <a:pt x="138" y="1208"/>
                    </a:lnTo>
                    <a:lnTo>
                      <a:pt x="138" y="1214"/>
                    </a:lnTo>
                    <a:lnTo>
                      <a:pt x="138" y="1217"/>
                    </a:lnTo>
                    <a:lnTo>
                      <a:pt x="134" y="1217"/>
                    </a:lnTo>
                    <a:lnTo>
                      <a:pt x="134" y="1217"/>
                    </a:lnTo>
                    <a:lnTo>
                      <a:pt x="128" y="1217"/>
                    </a:lnTo>
                    <a:lnTo>
                      <a:pt x="123" y="1212"/>
                    </a:lnTo>
                    <a:lnTo>
                      <a:pt x="121" y="1206"/>
                    </a:lnTo>
                    <a:lnTo>
                      <a:pt x="121" y="1195"/>
                    </a:lnTo>
                    <a:lnTo>
                      <a:pt x="121" y="1195"/>
                    </a:lnTo>
                    <a:lnTo>
                      <a:pt x="123" y="1189"/>
                    </a:lnTo>
                    <a:lnTo>
                      <a:pt x="128" y="1187"/>
                    </a:lnTo>
                    <a:lnTo>
                      <a:pt x="132" y="1183"/>
                    </a:lnTo>
                    <a:lnTo>
                      <a:pt x="136" y="1172"/>
                    </a:lnTo>
                    <a:lnTo>
                      <a:pt x="136" y="1172"/>
                    </a:lnTo>
                    <a:lnTo>
                      <a:pt x="134" y="1168"/>
                    </a:lnTo>
                    <a:lnTo>
                      <a:pt x="128" y="1164"/>
                    </a:lnTo>
                    <a:lnTo>
                      <a:pt x="113" y="1153"/>
                    </a:lnTo>
                    <a:lnTo>
                      <a:pt x="113" y="1153"/>
                    </a:lnTo>
                    <a:lnTo>
                      <a:pt x="113" y="1147"/>
                    </a:lnTo>
                    <a:lnTo>
                      <a:pt x="113" y="1138"/>
                    </a:lnTo>
                    <a:lnTo>
                      <a:pt x="113" y="1123"/>
                    </a:lnTo>
                    <a:lnTo>
                      <a:pt x="113" y="1123"/>
                    </a:lnTo>
                    <a:lnTo>
                      <a:pt x="111" y="1121"/>
                    </a:lnTo>
                    <a:lnTo>
                      <a:pt x="108" y="1117"/>
                    </a:lnTo>
                    <a:lnTo>
                      <a:pt x="98" y="1113"/>
                    </a:lnTo>
                    <a:lnTo>
                      <a:pt x="87" y="1108"/>
                    </a:lnTo>
                    <a:lnTo>
                      <a:pt x="77" y="1108"/>
                    </a:lnTo>
                    <a:lnTo>
                      <a:pt x="77" y="1108"/>
                    </a:lnTo>
                    <a:lnTo>
                      <a:pt x="74" y="1108"/>
                    </a:lnTo>
                    <a:lnTo>
                      <a:pt x="70" y="1110"/>
                    </a:lnTo>
                    <a:lnTo>
                      <a:pt x="64" y="1121"/>
                    </a:lnTo>
                    <a:lnTo>
                      <a:pt x="58" y="1134"/>
                    </a:lnTo>
                    <a:lnTo>
                      <a:pt x="53" y="1147"/>
                    </a:lnTo>
                    <a:lnTo>
                      <a:pt x="53" y="1147"/>
                    </a:lnTo>
                    <a:lnTo>
                      <a:pt x="55" y="1153"/>
                    </a:lnTo>
                    <a:lnTo>
                      <a:pt x="58" y="1159"/>
                    </a:lnTo>
                    <a:lnTo>
                      <a:pt x="66" y="1174"/>
                    </a:lnTo>
                    <a:lnTo>
                      <a:pt x="77" y="1187"/>
                    </a:lnTo>
                    <a:lnTo>
                      <a:pt x="85" y="1193"/>
                    </a:lnTo>
                    <a:lnTo>
                      <a:pt x="85" y="1193"/>
                    </a:lnTo>
                    <a:lnTo>
                      <a:pt x="89" y="1195"/>
                    </a:lnTo>
                    <a:lnTo>
                      <a:pt x="91" y="1198"/>
                    </a:lnTo>
                    <a:lnTo>
                      <a:pt x="89" y="1206"/>
                    </a:lnTo>
                    <a:lnTo>
                      <a:pt x="77" y="1221"/>
                    </a:lnTo>
                    <a:lnTo>
                      <a:pt x="77" y="1221"/>
                    </a:lnTo>
                    <a:lnTo>
                      <a:pt x="72" y="1225"/>
                    </a:lnTo>
                    <a:lnTo>
                      <a:pt x="64" y="1227"/>
                    </a:lnTo>
                    <a:lnTo>
                      <a:pt x="43" y="1229"/>
                    </a:lnTo>
                    <a:lnTo>
                      <a:pt x="43" y="1229"/>
                    </a:lnTo>
                    <a:lnTo>
                      <a:pt x="34" y="1229"/>
                    </a:lnTo>
                    <a:lnTo>
                      <a:pt x="26" y="1234"/>
                    </a:lnTo>
                    <a:lnTo>
                      <a:pt x="17" y="1238"/>
                    </a:lnTo>
                    <a:lnTo>
                      <a:pt x="9" y="1246"/>
                    </a:lnTo>
                    <a:lnTo>
                      <a:pt x="9" y="1246"/>
                    </a:lnTo>
                    <a:lnTo>
                      <a:pt x="9" y="1248"/>
                    </a:lnTo>
                    <a:lnTo>
                      <a:pt x="13" y="1253"/>
                    </a:lnTo>
                    <a:lnTo>
                      <a:pt x="26" y="1257"/>
                    </a:lnTo>
                    <a:lnTo>
                      <a:pt x="47" y="1261"/>
                    </a:lnTo>
                    <a:lnTo>
                      <a:pt x="66" y="1268"/>
                    </a:lnTo>
                    <a:lnTo>
                      <a:pt x="66" y="1268"/>
                    </a:lnTo>
                    <a:lnTo>
                      <a:pt x="74" y="1272"/>
                    </a:lnTo>
                    <a:lnTo>
                      <a:pt x="79" y="1276"/>
                    </a:lnTo>
                    <a:lnTo>
                      <a:pt x="83" y="1280"/>
                    </a:lnTo>
                    <a:lnTo>
                      <a:pt x="85" y="1287"/>
                    </a:lnTo>
                    <a:lnTo>
                      <a:pt x="87" y="1295"/>
                    </a:lnTo>
                    <a:lnTo>
                      <a:pt x="89" y="1306"/>
                    </a:lnTo>
                    <a:lnTo>
                      <a:pt x="89" y="1306"/>
                    </a:lnTo>
                    <a:lnTo>
                      <a:pt x="94" y="1308"/>
                    </a:lnTo>
                    <a:lnTo>
                      <a:pt x="96" y="1308"/>
                    </a:lnTo>
                    <a:lnTo>
                      <a:pt x="104" y="1302"/>
                    </a:lnTo>
                    <a:lnTo>
                      <a:pt x="125" y="1282"/>
                    </a:lnTo>
                    <a:lnTo>
                      <a:pt x="125" y="1282"/>
                    </a:lnTo>
                    <a:lnTo>
                      <a:pt x="132" y="1278"/>
                    </a:lnTo>
                    <a:lnTo>
                      <a:pt x="138" y="1278"/>
                    </a:lnTo>
                    <a:lnTo>
                      <a:pt x="145" y="1278"/>
                    </a:lnTo>
                    <a:lnTo>
                      <a:pt x="151" y="1280"/>
                    </a:lnTo>
                    <a:lnTo>
                      <a:pt x="159" y="1287"/>
                    </a:lnTo>
                    <a:lnTo>
                      <a:pt x="166" y="1291"/>
                    </a:lnTo>
                    <a:lnTo>
                      <a:pt x="166" y="1291"/>
                    </a:lnTo>
                    <a:lnTo>
                      <a:pt x="168" y="1297"/>
                    </a:lnTo>
                    <a:lnTo>
                      <a:pt x="168" y="1310"/>
                    </a:lnTo>
                    <a:lnTo>
                      <a:pt x="170" y="1323"/>
                    </a:lnTo>
                    <a:lnTo>
                      <a:pt x="172" y="1333"/>
                    </a:lnTo>
                    <a:lnTo>
                      <a:pt x="172" y="1333"/>
                    </a:lnTo>
                    <a:lnTo>
                      <a:pt x="176" y="1335"/>
                    </a:lnTo>
                    <a:lnTo>
                      <a:pt x="179" y="1335"/>
                    </a:lnTo>
                    <a:lnTo>
                      <a:pt x="187" y="1331"/>
                    </a:lnTo>
                    <a:lnTo>
                      <a:pt x="195" y="1325"/>
                    </a:lnTo>
                    <a:lnTo>
                      <a:pt x="204" y="1323"/>
                    </a:lnTo>
                    <a:lnTo>
                      <a:pt x="204" y="1323"/>
                    </a:lnTo>
                    <a:lnTo>
                      <a:pt x="208" y="1323"/>
                    </a:lnTo>
                    <a:lnTo>
                      <a:pt x="212" y="1325"/>
                    </a:lnTo>
                    <a:lnTo>
                      <a:pt x="217" y="1331"/>
                    </a:lnTo>
                    <a:lnTo>
                      <a:pt x="223" y="1338"/>
                    </a:lnTo>
                    <a:lnTo>
                      <a:pt x="227" y="1344"/>
                    </a:lnTo>
                    <a:lnTo>
                      <a:pt x="227" y="1344"/>
                    </a:lnTo>
                    <a:lnTo>
                      <a:pt x="244" y="1350"/>
                    </a:lnTo>
                    <a:lnTo>
                      <a:pt x="270" y="1365"/>
                    </a:lnTo>
                    <a:lnTo>
                      <a:pt x="270" y="1365"/>
                    </a:lnTo>
                    <a:lnTo>
                      <a:pt x="276" y="1369"/>
                    </a:lnTo>
                    <a:lnTo>
                      <a:pt x="278" y="1376"/>
                    </a:lnTo>
                    <a:lnTo>
                      <a:pt x="278" y="1384"/>
                    </a:lnTo>
                    <a:lnTo>
                      <a:pt x="276" y="1395"/>
                    </a:lnTo>
                    <a:lnTo>
                      <a:pt x="272" y="1412"/>
                    </a:lnTo>
                    <a:lnTo>
                      <a:pt x="268" y="1425"/>
                    </a:lnTo>
                    <a:lnTo>
                      <a:pt x="268" y="1425"/>
                    </a:lnTo>
                    <a:lnTo>
                      <a:pt x="263" y="1431"/>
                    </a:lnTo>
                    <a:lnTo>
                      <a:pt x="257" y="1437"/>
                    </a:lnTo>
                    <a:lnTo>
                      <a:pt x="249" y="1440"/>
                    </a:lnTo>
                    <a:lnTo>
                      <a:pt x="238" y="1444"/>
                    </a:lnTo>
                    <a:lnTo>
                      <a:pt x="238" y="1444"/>
                    </a:lnTo>
                    <a:lnTo>
                      <a:pt x="217" y="1448"/>
                    </a:lnTo>
                    <a:lnTo>
                      <a:pt x="206" y="1450"/>
                    </a:lnTo>
                    <a:lnTo>
                      <a:pt x="204" y="1454"/>
                    </a:lnTo>
                    <a:lnTo>
                      <a:pt x="202" y="1459"/>
                    </a:lnTo>
                    <a:lnTo>
                      <a:pt x="202" y="1459"/>
                    </a:lnTo>
                    <a:lnTo>
                      <a:pt x="202" y="1461"/>
                    </a:lnTo>
                    <a:lnTo>
                      <a:pt x="206" y="1463"/>
                    </a:lnTo>
                    <a:lnTo>
                      <a:pt x="221" y="1467"/>
                    </a:lnTo>
                    <a:lnTo>
                      <a:pt x="238" y="1473"/>
                    </a:lnTo>
                    <a:lnTo>
                      <a:pt x="244" y="1478"/>
                    </a:lnTo>
                    <a:lnTo>
                      <a:pt x="251" y="1484"/>
                    </a:lnTo>
                    <a:lnTo>
                      <a:pt x="251" y="1484"/>
                    </a:lnTo>
                    <a:lnTo>
                      <a:pt x="255" y="1490"/>
                    </a:lnTo>
                    <a:lnTo>
                      <a:pt x="255" y="1495"/>
                    </a:lnTo>
                    <a:lnTo>
                      <a:pt x="253" y="1499"/>
                    </a:lnTo>
                    <a:lnTo>
                      <a:pt x="249" y="1503"/>
                    </a:lnTo>
                    <a:lnTo>
                      <a:pt x="238" y="1510"/>
                    </a:lnTo>
                    <a:lnTo>
                      <a:pt x="234" y="1512"/>
                    </a:lnTo>
                    <a:lnTo>
                      <a:pt x="232" y="1514"/>
                    </a:lnTo>
                    <a:lnTo>
                      <a:pt x="232" y="1514"/>
                    </a:lnTo>
                    <a:lnTo>
                      <a:pt x="232" y="1516"/>
                    </a:lnTo>
                    <a:lnTo>
                      <a:pt x="234" y="1518"/>
                    </a:lnTo>
                    <a:lnTo>
                      <a:pt x="238" y="1522"/>
                    </a:lnTo>
                    <a:lnTo>
                      <a:pt x="246" y="1524"/>
                    </a:lnTo>
                    <a:lnTo>
                      <a:pt x="253" y="1531"/>
                    </a:lnTo>
                    <a:lnTo>
                      <a:pt x="253" y="1531"/>
                    </a:lnTo>
                    <a:lnTo>
                      <a:pt x="257" y="1533"/>
                    </a:lnTo>
                    <a:lnTo>
                      <a:pt x="255" y="1537"/>
                    </a:lnTo>
                    <a:lnTo>
                      <a:pt x="251" y="1544"/>
                    </a:lnTo>
                    <a:lnTo>
                      <a:pt x="242" y="1554"/>
                    </a:lnTo>
                    <a:lnTo>
                      <a:pt x="240" y="1558"/>
                    </a:lnTo>
                    <a:lnTo>
                      <a:pt x="238" y="1563"/>
                    </a:lnTo>
                    <a:lnTo>
                      <a:pt x="238" y="1563"/>
                    </a:lnTo>
                    <a:lnTo>
                      <a:pt x="240" y="1565"/>
                    </a:lnTo>
                    <a:lnTo>
                      <a:pt x="244" y="1567"/>
                    </a:lnTo>
                    <a:lnTo>
                      <a:pt x="257" y="1567"/>
                    </a:lnTo>
                    <a:lnTo>
                      <a:pt x="283" y="1565"/>
                    </a:lnTo>
                    <a:lnTo>
                      <a:pt x="283" y="1565"/>
                    </a:lnTo>
                    <a:lnTo>
                      <a:pt x="291" y="1567"/>
                    </a:lnTo>
                    <a:lnTo>
                      <a:pt x="300" y="1575"/>
                    </a:lnTo>
                    <a:lnTo>
                      <a:pt x="323" y="1595"/>
                    </a:lnTo>
                    <a:lnTo>
                      <a:pt x="323" y="1595"/>
                    </a:lnTo>
                    <a:lnTo>
                      <a:pt x="331" y="1603"/>
                    </a:lnTo>
                    <a:lnTo>
                      <a:pt x="336" y="1609"/>
                    </a:lnTo>
                    <a:lnTo>
                      <a:pt x="336" y="1618"/>
                    </a:lnTo>
                    <a:lnTo>
                      <a:pt x="333" y="1628"/>
                    </a:lnTo>
                    <a:lnTo>
                      <a:pt x="333" y="1628"/>
                    </a:lnTo>
                    <a:lnTo>
                      <a:pt x="331" y="1639"/>
                    </a:lnTo>
                    <a:lnTo>
                      <a:pt x="329" y="1643"/>
                    </a:lnTo>
                    <a:lnTo>
                      <a:pt x="325" y="1645"/>
                    </a:lnTo>
                    <a:lnTo>
                      <a:pt x="316" y="1648"/>
                    </a:lnTo>
                    <a:lnTo>
                      <a:pt x="302" y="1650"/>
                    </a:lnTo>
                    <a:lnTo>
                      <a:pt x="302" y="1650"/>
                    </a:lnTo>
                    <a:lnTo>
                      <a:pt x="295" y="1648"/>
                    </a:lnTo>
                    <a:lnTo>
                      <a:pt x="291" y="1645"/>
                    </a:lnTo>
                    <a:lnTo>
                      <a:pt x="289" y="1643"/>
                    </a:lnTo>
                    <a:lnTo>
                      <a:pt x="287" y="1639"/>
                    </a:lnTo>
                    <a:lnTo>
                      <a:pt x="287" y="1631"/>
                    </a:lnTo>
                    <a:lnTo>
                      <a:pt x="287" y="1628"/>
                    </a:lnTo>
                    <a:lnTo>
                      <a:pt x="285" y="1626"/>
                    </a:lnTo>
                    <a:lnTo>
                      <a:pt x="285" y="1626"/>
                    </a:lnTo>
                    <a:lnTo>
                      <a:pt x="278" y="1624"/>
                    </a:lnTo>
                    <a:lnTo>
                      <a:pt x="272" y="1624"/>
                    </a:lnTo>
                    <a:lnTo>
                      <a:pt x="261" y="1626"/>
                    </a:lnTo>
                    <a:lnTo>
                      <a:pt x="251" y="1635"/>
                    </a:lnTo>
                    <a:lnTo>
                      <a:pt x="251" y="1635"/>
                    </a:lnTo>
                    <a:lnTo>
                      <a:pt x="246" y="1639"/>
                    </a:lnTo>
                    <a:lnTo>
                      <a:pt x="244" y="1645"/>
                    </a:lnTo>
                    <a:lnTo>
                      <a:pt x="240" y="1660"/>
                    </a:lnTo>
                    <a:lnTo>
                      <a:pt x="242" y="1675"/>
                    </a:lnTo>
                    <a:lnTo>
                      <a:pt x="244" y="1682"/>
                    </a:lnTo>
                    <a:lnTo>
                      <a:pt x="246" y="1688"/>
                    </a:lnTo>
                    <a:lnTo>
                      <a:pt x="246" y="1688"/>
                    </a:lnTo>
                    <a:lnTo>
                      <a:pt x="253" y="1692"/>
                    </a:lnTo>
                    <a:lnTo>
                      <a:pt x="257" y="1692"/>
                    </a:lnTo>
                    <a:lnTo>
                      <a:pt x="263" y="1690"/>
                    </a:lnTo>
                    <a:lnTo>
                      <a:pt x="270" y="1686"/>
                    </a:lnTo>
                    <a:lnTo>
                      <a:pt x="283" y="1675"/>
                    </a:lnTo>
                    <a:lnTo>
                      <a:pt x="291" y="1669"/>
                    </a:lnTo>
                    <a:lnTo>
                      <a:pt x="291" y="1669"/>
                    </a:lnTo>
                    <a:lnTo>
                      <a:pt x="295" y="1667"/>
                    </a:lnTo>
                    <a:lnTo>
                      <a:pt x="300" y="1667"/>
                    </a:lnTo>
                    <a:lnTo>
                      <a:pt x="304" y="1671"/>
                    </a:lnTo>
                    <a:lnTo>
                      <a:pt x="310" y="1677"/>
                    </a:lnTo>
                    <a:lnTo>
                      <a:pt x="310" y="1686"/>
                    </a:lnTo>
                    <a:lnTo>
                      <a:pt x="310" y="1686"/>
                    </a:lnTo>
                    <a:lnTo>
                      <a:pt x="312" y="1686"/>
                    </a:lnTo>
                    <a:lnTo>
                      <a:pt x="319" y="1688"/>
                    </a:lnTo>
                    <a:lnTo>
                      <a:pt x="340" y="1688"/>
                    </a:lnTo>
                    <a:lnTo>
                      <a:pt x="406" y="1688"/>
                    </a:lnTo>
                    <a:lnTo>
                      <a:pt x="476" y="1684"/>
                    </a:lnTo>
                    <a:lnTo>
                      <a:pt x="514" y="1684"/>
                    </a:lnTo>
                    <a:lnTo>
                      <a:pt x="514" y="1684"/>
                    </a:lnTo>
                    <a:lnTo>
                      <a:pt x="518" y="1686"/>
                    </a:lnTo>
                    <a:lnTo>
                      <a:pt x="518" y="1688"/>
                    </a:lnTo>
                    <a:lnTo>
                      <a:pt x="512" y="1696"/>
                    </a:lnTo>
                    <a:lnTo>
                      <a:pt x="493" y="1707"/>
                    </a:lnTo>
                    <a:lnTo>
                      <a:pt x="493" y="1707"/>
                    </a:lnTo>
                    <a:lnTo>
                      <a:pt x="474" y="1713"/>
                    </a:lnTo>
                    <a:lnTo>
                      <a:pt x="461" y="1718"/>
                    </a:lnTo>
                    <a:lnTo>
                      <a:pt x="450" y="1724"/>
                    </a:lnTo>
                    <a:lnTo>
                      <a:pt x="450" y="1724"/>
                    </a:lnTo>
                    <a:lnTo>
                      <a:pt x="448" y="1730"/>
                    </a:lnTo>
                    <a:lnTo>
                      <a:pt x="446" y="1739"/>
                    </a:lnTo>
                    <a:lnTo>
                      <a:pt x="442" y="1747"/>
                    </a:lnTo>
                    <a:lnTo>
                      <a:pt x="437" y="1749"/>
                    </a:lnTo>
                    <a:lnTo>
                      <a:pt x="431" y="1752"/>
                    </a:lnTo>
                    <a:lnTo>
                      <a:pt x="431" y="1752"/>
                    </a:lnTo>
                    <a:lnTo>
                      <a:pt x="421" y="1752"/>
                    </a:lnTo>
                    <a:lnTo>
                      <a:pt x="408" y="1749"/>
                    </a:lnTo>
                    <a:lnTo>
                      <a:pt x="397" y="1747"/>
                    </a:lnTo>
                    <a:lnTo>
                      <a:pt x="387" y="1745"/>
                    </a:lnTo>
                    <a:lnTo>
                      <a:pt x="387" y="1745"/>
                    </a:lnTo>
                    <a:lnTo>
                      <a:pt x="342" y="1745"/>
                    </a:lnTo>
                    <a:lnTo>
                      <a:pt x="342" y="1745"/>
                    </a:lnTo>
                    <a:lnTo>
                      <a:pt x="312" y="1747"/>
                    </a:lnTo>
                    <a:lnTo>
                      <a:pt x="295" y="1749"/>
                    </a:lnTo>
                    <a:lnTo>
                      <a:pt x="283" y="1754"/>
                    </a:lnTo>
                    <a:lnTo>
                      <a:pt x="283" y="1754"/>
                    </a:lnTo>
                    <a:lnTo>
                      <a:pt x="274" y="1758"/>
                    </a:lnTo>
                    <a:lnTo>
                      <a:pt x="270" y="1766"/>
                    </a:lnTo>
                    <a:lnTo>
                      <a:pt x="268" y="1775"/>
                    </a:lnTo>
                    <a:lnTo>
                      <a:pt x="268" y="1788"/>
                    </a:lnTo>
                    <a:lnTo>
                      <a:pt x="268" y="1788"/>
                    </a:lnTo>
                    <a:lnTo>
                      <a:pt x="270" y="1790"/>
                    </a:lnTo>
                    <a:lnTo>
                      <a:pt x="272" y="1792"/>
                    </a:lnTo>
                    <a:lnTo>
                      <a:pt x="283" y="1792"/>
                    </a:lnTo>
                    <a:lnTo>
                      <a:pt x="295" y="1792"/>
                    </a:lnTo>
                    <a:lnTo>
                      <a:pt x="312" y="1790"/>
                    </a:lnTo>
                    <a:lnTo>
                      <a:pt x="342" y="1783"/>
                    </a:lnTo>
                    <a:lnTo>
                      <a:pt x="359" y="1779"/>
                    </a:lnTo>
                    <a:lnTo>
                      <a:pt x="359" y="1779"/>
                    </a:lnTo>
                    <a:lnTo>
                      <a:pt x="367" y="1775"/>
                    </a:lnTo>
                    <a:lnTo>
                      <a:pt x="382" y="1771"/>
                    </a:lnTo>
                    <a:lnTo>
                      <a:pt x="412" y="1766"/>
                    </a:lnTo>
                    <a:lnTo>
                      <a:pt x="412" y="1766"/>
                    </a:lnTo>
                    <a:lnTo>
                      <a:pt x="425" y="1766"/>
                    </a:lnTo>
                    <a:lnTo>
                      <a:pt x="435" y="1766"/>
                    </a:lnTo>
                    <a:lnTo>
                      <a:pt x="446" y="1769"/>
                    </a:lnTo>
                    <a:lnTo>
                      <a:pt x="454" y="1773"/>
                    </a:lnTo>
                    <a:lnTo>
                      <a:pt x="454" y="1773"/>
                    </a:lnTo>
                    <a:lnTo>
                      <a:pt x="459" y="1775"/>
                    </a:lnTo>
                    <a:lnTo>
                      <a:pt x="459" y="1777"/>
                    </a:lnTo>
                    <a:lnTo>
                      <a:pt x="452" y="1781"/>
                    </a:lnTo>
                    <a:lnTo>
                      <a:pt x="431" y="1792"/>
                    </a:lnTo>
                    <a:lnTo>
                      <a:pt x="431" y="1792"/>
                    </a:lnTo>
                    <a:lnTo>
                      <a:pt x="429" y="1792"/>
                    </a:lnTo>
                    <a:lnTo>
                      <a:pt x="427" y="1794"/>
                    </a:lnTo>
                    <a:lnTo>
                      <a:pt x="433" y="1798"/>
                    </a:lnTo>
                    <a:lnTo>
                      <a:pt x="442" y="1800"/>
                    </a:lnTo>
                    <a:lnTo>
                      <a:pt x="448" y="1805"/>
                    </a:lnTo>
                    <a:lnTo>
                      <a:pt x="452" y="1809"/>
                    </a:lnTo>
                    <a:lnTo>
                      <a:pt x="452" y="1809"/>
                    </a:lnTo>
                    <a:lnTo>
                      <a:pt x="454" y="1811"/>
                    </a:lnTo>
                    <a:lnTo>
                      <a:pt x="454" y="1813"/>
                    </a:lnTo>
                    <a:lnTo>
                      <a:pt x="450" y="1815"/>
                    </a:lnTo>
                    <a:lnTo>
                      <a:pt x="446" y="1817"/>
                    </a:lnTo>
                    <a:lnTo>
                      <a:pt x="433" y="1820"/>
                    </a:lnTo>
                    <a:lnTo>
                      <a:pt x="421" y="1822"/>
                    </a:lnTo>
                    <a:lnTo>
                      <a:pt x="421" y="1822"/>
                    </a:lnTo>
                    <a:lnTo>
                      <a:pt x="418" y="1824"/>
                    </a:lnTo>
                    <a:lnTo>
                      <a:pt x="421" y="1826"/>
                    </a:lnTo>
                    <a:lnTo>
                      <a:pt x="433" y="1830"/>
                    </a:lnTo>
                    <a:lnTo>
                      <a:pt x="450" y="1834"/>
                    </a:lnTo>
                    <a:lnTo>
                      <a:pt x="461" y="1834"/>
                    </a:lnTo>
                    <a:lnTo>
                      <a:pt x="461" y="1834"/>
                    </a:lnTo>
                    <a:lnTo>
                      <a:pt x="480" y="1817"/>
                    </a:lnTo>
                    <a:lnTo>
                      <a:pt x="497" y="1798"/>
                    </a:lnTo>
                    <a:lnTo>
                      <a:pt x="497" y="1798"/>
                    </a:lnTo>
                    <a:lnTo>
                      <a:pt x="503" y="1792"/>
                    </a:lnTo>
                    <a:lnTo>
                      <a:pt x="514" y="1783"/>
                    </a:lnTo>
                    <a:lnTo>
                      <a:pt x="527" y="1775"/>
                    </a:lnTo>
                    <a:lnTo>
                      <a:pt x="533" y="1771"/>
                    </a:lnTo>
                    <a:lnTo>
                      <a:pt x="542" y="1771"/>
                    </a:lnTo>
                    <a:lnTo>
                      <a:pt x="542" y="1771"/>
                    </a:lnTo>
                    <a:lnTo>
                      <a:pt x="548" y="1769"/>
                    </a:lnTo>
                    <a:lnTo>
                      <a:pt x="552" y="1764"/>
                    </a:lnTo>
                    <a:lnTo>
                      <a:pt x="552" y="1762"/>
                    </a:lnTo>
                    <a:lnTo>
                      <a:pt x="554" y="1758"/>
                    </a:lnTo>
                    <a:lnTo>
                      <a:pt x="554" y="1752"/>
                    </a:lnTo>
                    <a:lnTo>
                      <a:pt x="554" y="1747"/>
                    </a:lnTo>
                    <a:lnTo>
                      <a:pt x="554" y="1745"/>
                    </a:lnTo>
                    <a:lnTo>
                      <a:pt x="554" y="1745"/>
                    </a:lnTo>
                    <a:lnTo>
                      <a:pt x="558" y="1743"/>
                    </a:lnTo>
                    <a:lnTo>
                      <a:pt x="561" y="1743"/>
                    </a:lnTo>
                    <a:lnTo>
                      <a:pt x="567" y="1752"/>
                    </a:lnTo>
                    <a:lnTo>
                      <a:pt x="575" y="1769"/>
                    </a:lnTo>
                    <a:lnTo>
                      <a:pt x="575" y="1769"/>
                    </a:lnTo>
                    <a:lnTo>
                      <a:pt x="580" y="1771"/>
                    </a:lnTo>
                    <a:lnTo>
                      <a:pt x="586" y="1773"/>
                    </a:lnTo>
                    <a:lnTo>
                      <a:pt x="590" y="1773"/>
                    </a:lnTo>
                    <a:lnTo>
                      <a:pt x="595" y="1773"/>
                    </a:lnTo>
                    <a:lnTo>
                      <a:pt x="595" y="1773"/>
                    </a:lnTo>
                    <a:lnTo>
                      <a:pt x="597" y="1777"/>
                    </a:lnTo>
                    <a:lnTo>
                      <a:pt x="601" y="1786"/>
                    </a:lnTo>
                    <a:lnTo>
                      <a:pt x="605" y="1794"/>
                    </a:lnTo>
                    <a:lnTo>
                      <a:pt x="612" y="1805"/>
                    </a:lnTo>
                    <a:lnTo>
                      <a:pt x="612" y="1805"/>
                    </a:lnTo>
                    <a:lnTo>
                      <a:pt x="616" y="1807"/>
                    </a:lnTo>
                    <a:lnTo>
                      <a:pt x="620" y="1809"/>
                    </a:lnTo>
                    <a:lnTo>
                      <a:pt x="631" y="1809"/>
                    </a:lnTo>
                    <a:lnTo>
                      <a:pt x="639" y="1811"/>
                    </a:lnTo>
                    <a:lnTo>
                      <a:pt x="643" y="1813"/>
                    </a:lnTo>
                    <a:lnTo>
                      <a:pt x="646" y="1815"/>
                    </a:lnTo>
                    <a:lnTo>
                      <a:pt x="646" y="1815"/>
                    </a:lnTo>
                    <a:lnTo>
                      <a:pt x="667" y="1841"/>
                    </a:lnTo>
                    <a:lnTo>
                      <a:pt x="667" y="1841"/>
                    </a:lnTo>
                    <a:lnTo>
                      <a:pt x="675" y="1824"/>
                    </a:lnTo>
                    <a:lnTo>
                      <a:pt x="679" y="1813"/>
                    </a:lnTo>
                    <a:lnTo>
                      <a:pt x="684" y="1807"/>
                    </a:lnTo>
                    <a:lnTo>
                      <a:pt x="684" y="1807"/>
                    </a:lnTo>
                    <a:lnTo>
                      <a:pt x="688" y="1805"/>
                    </a:lnTo>
                    <a:lnTo>
                      <a:pt x="694" y="1807"/>
                    </a:lnTo>
                    <a:lnTo>
                      <a:pt x="707" y="1813"/>
                    </a:lnTo>
                    <a:lnTo>
                      <a:pt x="720" y="1822"/>
                    </a:lnTo>
                    <a:lnTo>
                      <a:pt x="726" y="1828"/>
                    </a:lnTo>
                    <a:lnTo>
                      <a:pt x="726" y="1828"/>
                    </a:lnTo>
                    <a:lnTo>
                      <a:pt x="724" y="1832"/>
                    </a:lnTo>
                    <a:lnTo>
                      <a:pt x="716" y="1837"/>
                    </a:lnTo>
                    <a:lnTo>
                      <a:pt x="709" y="1841"/>
                    </a:lnTo>
                    <a:lnTo>
                      <a:pt x="703" y="1847"/>
                    </a:lnTo>
                    <a:lnTo>
                      <a:pt x="703" y="1847"/>
                    </a:lnTo>
                    <a:lnTo>
                      <a:pt x="703" y="1849"/>
                    </a:lnTo>
                    <a:lnTo>
                      <a:pt x="703" y="1851"/>
                    </a:lnTo>
                    <a:lnTo>
                      <a:pt x="707" y="1860"/>
                    </a:lnTo>
                    <a:lnTo>
                      <a:pt x="713" y="1866"/>
                    </a:lnTo>
                    <a:lnTo>
                      <a:pt x="724" y="1870"/>
                    </a:lnTo>
                    <a:lnTo>
                      <a:pt x="724" y="1870"/>
                    </a:lnTo>
                    <a:lnTo>
                      <a:pt x="730" y="1870"/>
                    </a:lnTo>
                    <a:lnTo>
                      <a:pt x="733" y="1875"/>
                    </a:lnTo>
                    <a:lnTo>
                      <a:pt x="733" y="1881"/>
                    </a:lnTo>
                    <a:lnTo>
                      <a:pt x="730" y="1890"/>
                    </a:lnTo>
                    <a:lnTo>
                      <a:pt x="726" y="1904"/>
                    </a:lnTo>
                    <a:lnTo>
                      <a:pt x="726" y="1911"/>
                    </a:lnTo>
                    <a:lnTo>
                      <a:pt x="726" y="1917"/>
                    </a:lnTo>
                    <a:lnTo>
                      <a:pt x="726" y="1917"/>
                    </a:lnTo>
                    <a:lnTo>
                      <a:pt x="730" y="1924"/>
                    </a:lnTo>
                    <a:lnTo>
                      <a:pt x="737" y="1932"/>
                    </a:lnTo>
                    <a:lnTo>
                      <a:pt x="758" y="1947"/>
                    </a:lnTo>
                    <a:lnTo>
                      <a:pt x="781" y="1962"/>
                    </a:lnTo>
                    <a:lnTo>
                      <a:pt x="796" y="1970"/>
                    </a:lnTo>
                    <a:lnTo>
                      <a:pt x="796" y="1970"/>
                    </a:lnTo>
                    <a:lnTo>
                      <a:pt x="807" y="1972"/>
                    </a:lnTo>
                    <a:lnTo>
                      <a:pt x="815" y="1972"/>
                    </a:lnTo>
                    <a:lnTo>
                      <a:pt x="841" y="1975"/>
                    </a:lnTo>
                    <a:lnTo>
                      <a:pt x="841" y="1975"/>
                    </a:lnTo>
                    <a:lnTo>
                      <a:pt x="849" y="1977"/>
                    </a:lnTo>
                    <a:lnTo>
                      <a:pt x="856" y="1979"/>
                    </a:lnTo>
                    <a:lnTo>
                      <a:pt x="864" y="1987"/>
                    </a:lnTo>
                    <a:lnTo>
                      <a:pt x="871" y="1998"/>
                    </a:lnTo>
                    <a:lnTo>
                      <a:pt x="879" y="2004"/>
                    </a:lnTo>
                    <a:lnTo>
                      <a:pt x="879" y="2004"/>
                    </a:lnTo>
                    <a:lnTo>
                      <a:pt x="883" y="2006"/>
                    </a:lnTo>
                    <a:lnTo>
                      <a:pt x="890" y="2006"/>
                    </a:lnTo>
                    <a:lnTo>
                      <a:pt x="905" y="2004"/>
                    </a:lnTo>
                    <a:lnTo>
                      <a:pt x="932" y="1996"/>
                    </a:lnTo>
                    <a:lnTo>
                      <a:pt x="932" y="1996"/>
                    </a:lnTo>
                    <a:lnTo>
                      <a:pt x="938" y="1994"/>
                    </a:lnTo>
                    <a:lnTo>
                      <a:pt x="941" y="1989"/>
                    </a:lnTo>
                    <a:lnTo>
                      <a:pt x="943" y="1983"/>
                    </a:lnTo>
                    <a:lnTo>
                      <a:pt x="947" y="1977"/>
                    </a:lnTo>
                    <a:lnTo>
                      <a:pt x="951" y="1975"/>
                    </a:lnTo>
                    <a:lnTo>
                      <a:pt x="955" y="1975"/>
                    </a:lnTo>
                    <a:lnTo>
                      <a:pt x="955" y="1975"/>
                    </a:lnTo>
                    <a:lnTo>
                      <a:pt x="970" y="1972"/>
                    </a:lnTo>
                    <a:lnTo>
                      <a:pt x="985" y="1972"/>
                    </a:lnTo>
                    <a:lnTo>
                      <a:pt x="998" y="1972"/>
                    </a:lnTo>
                    <a:lnTo>
                      <a:pt x="1002" y="1972"/>
                    </a:lnTo>
                    <a:lnTo>
                      <a:pt x="1004" y="1970"/>
                    </a:lnTo>
                    <a:lnTo>
                      <a:pt x="1004" y="1970"/>
                    </a:lnTo>
                    <a:lnTo>
                      <a:pt x="1013" y="1964"/>
                    </a:lnTo>
                    <a:lnTo>
                      <a:pt x="1021" y="1962"/>
                    </a:lnTo>
                    <a:lnTo>
                      <a:pt x="1042" y="1958"/>
                    </a:lnTo>
                    <a:lnTo>
                      <a:pt x="1042" y="1958"/>
                    </a:lnTo>
                    <a:lnTo>
                      <a:pt x="1047" y="1958"/>
                    </a:lnTo>
                    <a:lnTo>
                      <a:pt x="1051" y="1960"/>
                    </a:lnTo>
                    <a:lnTo>
                      <a:pt x="1059" y="1970"/>
                    </a:lnTo>
                    <a:lnTo>
                      <a:pt x="1068" y="1981"/>
                    </a:lnTo>
                    <a:lnTo>
                      <a:pt x="1074" y="1985"/>
                    </a:lnTo>
                    <a:lnTo>
                      <a:pt x="1079" y="1989"/>
                    </a:lnTo>
                    <a:lnTo>
                      <a:pt x="1079" y="1989"/>
                    </a:lnTo>
                    <a:lnTo>
                      <a:pt x="1085" y="1989"/>
                    </a:lnTo>
                    <a:lnTo>
                      <a:pt x="1089" y="1985"/>
                    </a:lnTo>
                    <a:lnTo>
                      <a:pt x="1096" y="1981"/>
                    </a:lnTo>
                    <a:lnTo>
                      <a:pt x="1100" y="1975"/>
                    </a:lnTo>
                    <a:lnTo>
                      <a:pt x="1106" y="1960"/>
                    </a:lnTo>
                    <a:lnTo>
                      <a:pt x="1108" y="1951"/>
                    </a:lnTo>
                    <a:lnTo>
                      <a:pt x="1108" y="1951"/>
                    </a:lnTo>
                    <a:lnTo>
                      <a:pt x="1106" y="1945"/>
                    </a:lnTo>
                    <a:lnTo>
                      <a:pt x="1104" y="1934"/>
                    </a:lnTo>
                    <a:lnTo>
                      <a:pt x="1104" y="1921"/>
                    </a:lnTo>
                    <a:lnTo>
                      <a:pt x="1108" y="1911"/>
                    </a:lnTo>
                    <a:lnTo>
                      <a:pt x="1108" y="1911"/>
                    </a:lnTo>
                    <a:lnTo>
                      <a:pt x="1117" y="1885"/>
                    </a:lnTo>
                    <a:lnTo>
                      <a:pt x="1121" y="1873"/>
                    </a:lnTo>
                    <a:lnTo>
                      <a:pt x="1125" y="1860"/>
                    </a:lnTo>
                    <a:lnTo>
                      <a:pt x="1125" y="1860"/>
                    </a:lnTo>
                    <a:lnTo>
                      <a:pt x="1132" y="1826"/>
                    </a:lnTo>
                    <a:lnTo>
                      <a:pt x="1140" y="1796"/>
                    </a:lnTo>
                    <a:lnTo>
                      <a:pt x="1140" y="1796"/>
                    </a:lnTo>
                    <a:lnTo>
                      <a:pt x="1140" y="1794"/>
                    </a:lnTo>
                    <a:lnTo>
                      <a:pt x="1142" y="1792"/>
                    </a:lnTo>
                    <a:lnTo>
                      <a:pt x="1153" y="1790"/>
                    </a:lnTo>
                    <a:lnTo>
                      <a:pt x="1166" y="1788"/>
                    </a:lnTo>
                    <a:lnTo>
                      <a:pt x="1178" y="1786"/>
                    </a:lnTo>
                    <a:lnTo>
                      <a:pt x="1208" y="1788"/>
                    </a:lnTo>
                    <a:lnTo>
                      <a:pt x="1231" y="1790"/>
                    </a:lnTo>
                    <a:lnTo>
                      <a:pt x="1231" y="1790"/>
                    </a:lnTo>
                    <a:lnTo>
                      <a:pt x="1242" y="1790"/>
                    </a:lnTo>
                    <a:lnTo>
                      <a:pt x="1253" y="1794"/>
                    </a:lnTo>
                    <a:lnTo>
                      <a:pt x="1261" y="1796"/>
                    </a:lnTo>
                    <a:lnTo>
                      <a:pt x="1272" y="1805"/>
                    </a:lnTo>
                    <a:lnTo>
                      <a:pt x="1272" y="1805"/>
                    </a:lnTo>
                    <a:lnTo>
                      <a:pt x="1278" y="1807"/>
                    </a:lnTo>
                    <a:lnTo>
                      <a:pt x="1285" y="1809"/>
                    </a:lnTo>
                    <a:lnTo>
                      <a:pt x="1299" y="1811"/>
                    </a:lnTo>
                    <a:lnTo>
                      <a:pt x="1314" y="1811"/>
                    </a:lnTo>
                    <a:lnTo>
                      <a:pt x="1327" y="1811"/>
                    </a:lnTo>
                    <a:lnTo>
                      <a:pt x="1327" y="1811"/>
                    </a:lnTo>
                    <a:lnTo>
                      <a:pt x="1335" y="1815"/>
                    </a:lnTo>
                    <a:lnTo>
                      <a:pt x="1346" y="1822"/>
                    </a:lnTo>
                    <a:lnTo>
                      <a:pt x="1363" y="1837"/>
                    </a:lnTo>
                    <a:lnTo>
                      <a:pt x="1363" y="1837"/>
                    </a:lnTo>
                    <a:lnTo>
                      <a:pt x="1378" y="1847"/>
                    </a:lnTo>
                    <a:lnTo>
                      <a:pt x="1403" y="1862"/>
                    </a:lnTo>
                    <a:lnTo>
                      <a:pt x="1433" y="1875"/>
                    </a:lnTo>
                    <a:lnTo>
                      <a:pt x="1459" y="1887"/>
                    </a:lnTo>
                    <a:lnTo>
                      <a:pt x="1459" y="1887"/>
                    </a:lnTo>
                    <a:lnTo>
                      <a:pt x="1497" y="1900"/>
                    </a:lnTo>
                    <a:lnTo>
                      <a:pt x="1514" y="1909"/>
                    </a:lnTo>
                    <a:lnTo>
                      <a:pt x="1527" y="1917"/>
                    </a:lnTo>
                    <a:lnTo>
                      <a:pt x="1527" y="1917"/>
                    </a:lnTo>
                    <a:lnTo>
                      <a:pt x="1539" y="1936"/>
                    </a:lnTo>
                    <a:lnTo>
                      <a:pt x="1556" y="1966"/>
                    </a:lnTo>
                    <a:lnTo>
                      <a:pt x="1580" y="2015"/>
                    </a:lnTo>
                    <a:lnTo>
                      <a:pt x="1580" y="2015"/>
                    </a:lnTo>
                    <a:lnTo>
                      <a:pt x="1584" y="2021"/>
                    </a:lnTo>
                    <a:lnTo>
                      <a:pt x="1597" y="2032"/>
                    </a:lnTo>
                    <a:lnTo>
                      <a:pt x="1611" y="2040"/>
                    </a:lnTo>
                    <a:lnTo>
                      <a:pt x="1626" y="2047"/>
                    </a:lnTo>
                    <a:lnTo>
                      <a:pt x="1626" y="2047"/>
                    </a:lnTo>
                    <a:lnTo>
                      <a:pt x="1637" y="2049"/>
                    </a:lnTo>
                    <a:lnTo>
                      <a:pt x="1648" y="2053"/>
                    </a:lnTo>
                    <a:lnTo>
                      <a:pt x="1658" y="2057"/>
                    </a:lnTo>
                    <a:lnTo>
                      <a:pt x="1673" y="2068"/>
                    </a:lnTo>
                    <a:lnTo>
                      <a:pt x="1673" y="2068"/>
                    </a:lnTo>
                    <a:lnTo>
                      <a:pt x="1679" y="2072"/>
                    </a:lnTo>
                    <a:lnTo>
                      <a:pt x="1688" y="2076"/>
                    </a:lnTo>
                    <a:lnTo>
                      <a:pt x="1694" y="2076"/>
                    </a:lnTo>
                    <a:lnTo>
                      <a:pt x="1703" y="2076"/>
                    </a:lnTo>
                    <a:lnTo>
                      <a:pt x="1709" y="2076"/>
                    </a:lnTo>
                    <a:lnTo>
                      <a:pt x="1715" y="2072"/>
                    </a:lnTo>
                    <a:lnTo>
                      <a:pt x="1720" y="2070"/>
                    </a:lnTo>
                    <a:lnTo>
                      <a:pt x="1724" y="2066"/>
                    </a:lnTo>
                    <a:lnTo>
                      <a:pt x="1724" y="2066"/>
                    </a:lnTo>
                    <a:lnTo>
                      <a:pt x="1728" y="2062"/>
                    </a:lnTo>
                    <a:lnTo>
                      <a:pt x="1735" y="2059"/>
                    </a:lnTo>
                    <a:lnTo>
                      <a:pt x="1754" y="2059"/>
                    </a:lnTo>
                    <a:lnTo>
                      <a:pt x="1773" y="2064"/>
                    </a:lnTo>
                    <a:lnTo>
                      <a:pt x="1785" y="2064"/>
                    </a:lnTo>
                    <a:lnTo>
                      <a:pt x="1785" y="2064"/>
                    </a:lnTo>
                    <a:lnTo>
                      <a:pt x="1794" y="2062"/>
                    </a:lnTo>
                    <a:lnTo>
                      <a:pt x="1800" y="2055"/>
                    </a:lnTo>
                    <a:lnTo>
                      <a:pt x="1813" y="2045"/>
                    </a:lnTo>
                    <a:lnTo>
                      <a:pt x="1813" y="2045"/>
                    </a:lnTo>
                    <a:lnTo>
                      <a:pt x="1815" y="2042"/>
                    </a:lnTo>
                    <a:lnTo>
                      <a:pt x="1822" y="2042"/>
                    </a:lnTo>
                    <a:lnTo>
                      <a:pt x="1839" y="2045"/>
                    </a:lnTo>
                    <a:lnTo>
                      <a:pt x="1856" y="2047"/>
                    </a:lnTo>
                    <a:lnTo>
                      <a:pt x="1870" y="2049"/>
                    </a:lnTo>
                    <a:lnTo>
                      <a:pt x="1870" y="2049"/>
                    </a:lnTo>
                    <a:lnTo>
                      <a:pt x="1877" y="2047"/>
                    </a:lnTo>
                    <a:lnTo>
                      <a:pt x="1883" y="2045"/>
                    </a:lnTo>
                    <a:lnTo>
                      <a:pt x="1892" y="2034"/>
                    </a:lnTo>
                    <a:lnTo>
                      <a:pt x="1892" y="2034"/>
                    </a:lnTo>
                    <a:lnTo>
                      <a:pt x="1894" y="2032"/>
                    </a:lnTo>
                    <a:lnTo>
                      <a:pt x="1894" y="2034"/>
                    </a:lnTo>
                    <a:lnTo>
                      <a:pt x="1898" y="2038"/>
                    </a:lnTo>
                    <a:lnTo>
                      <a:pt x="1900" y="2045"/>
                    </a:lnTo>
                    <a:lnTo>
                      <a:pt x="1904" y="2047"/>
                    </a:lnTo>
                    <a:lnTo>
                      <a:pt x="1911" y="2049"/>
                    </a:lnTo>
                    <a:lnTo>
                      <a:pt x="1911" y="2049"/>
                    </a:lnTo>
                    <a:lnTo>
                      <a:pt x="1915" y="2047"/>
                    </a:lnTo>
                    <a:lnTo>
                      <a:pt x="1919" y="2045"/>
                    </a:lnTo>
                    <a:lnTo>
                      <a:pt x="1923" y="2040"/>
                    </a:lnTo>
                    <a:lnTo>
                      <a:pt x="1928" y="2034"/>
                    </a:lnTo>
                    <a:lnTo>
                      <a:pt x="1930" y="2032"/>
                    </a:lnTo>
                    <a:lnTo>
                      <a:pt x="1934" y="2030"/>
                    </a:lnTo>
                    <a:lnTo>
                      <a:pt x="1934" y="2030"/>
                    </a:lnTo>
                    <a:lnTo>
                      <a:pt x="1938" y="2030"/>
                    </a:lnTo>
                    <a:lnTo>
                      <a:pt x="1940" y="2030"/>
                    </a:lnTo>
                    <a:lnTo>
                      <a:pt x="1943" y="2034"/>
                    </a:lnTo>
                    <a:lnTo>
                      <a:pt x="1945" y="2038"/>
                    </a:lnTo>
                    <a:lnTo>
                      <a:pt x="1947" y="2042"/>
                    </a:lnTo>
                    <a:lnTo>
                      <a:pt x="1947" y="2042"/>
                    </a:lnTo>
                    <a:lnTo>
                      <a:pt x="1947" y="2042"/>
                    </a:lnTo>
                    <a:lnTo>
                      <a:pt x="1951" y="2042"/>
                    </a:lnTo>
                    <a:lnTo>
                      <a:pt x="1957" y="2038"/>
                    </a:lnTo>
                    <a:lnTo>
                      <a:pt x="1970" y="2028"/>
                    </a:lnTo>
                    <a:lnTo>
                      <a:pt x="1970" y="2028"/>
                    </a:lnTo>
                    <a:lnTo>
                      <a:pt x="1983" y="2006"/>
                    </a:lnTo>
                    <a:lnTo>
                      <a:pt x="1991" y="1996"/>
                    </a:lnTo>
                    <a:lnTo>
                      <a:pt x="1998" y="1989"/>
                    </a:lnTo>
                    <a:lnTo>
                      <a:pt x="1998" y="1989"/>
                    </a:lnTo>
                    <a:lnTo>
                      <a:pt x="2000" y="1987"/>
                    </a:lnTo>
                    <a:lnTo>
                      <a:pt x="2004" y="1989"/>
                    </a:lnTo>
                    <a:lnTo>
                      <a:pt x="2013" y="2000"/>
                    </a:lnTo>
                    <a:lnTo>
                      <a:pt x="2023" y="2017"/>
                    </a:lnTo>
                    <a:lnTo>
                      <a:pt x="2023" y="2017"/>
                    </a:lnTo>
                    <a:lnTo>
                      <a:pt x="2025" y="2017"/>
                    </a:lnTo>
                    <a:lnTo>
                      <a:pt x="2030" y="2015"/>
                    </a:lnTo>
                    <a:lnTo>
                      <a:pt x="2042" y="2004"/>
                    </a:lnTo>
                    <a:lnTo>
                      <a:pt x="2055" y="1989"/>
                    </a:lnTo>
                    <a:lnTo>
                      <a:pt x="2064" y="1979"/>
                    </a:lnTo>
                    <a:lnTo>
                      <a:pt x="2064" y="1979"/>
                    </a:lnTo>
                    <a:lnTo>
                      <a:pt x="2066" y="1972"/>
                    </a:lnTo>
                    <a:lnTo>
                      <a:pt x="2066" y="1968"/>
                    </a:lnTo>
                    <a:lnTo>
                      <a:pt x="2061" y="1966"/>
                    </a:lnTo>
                    <a:lnTo>
                      <a:pt x="2057" y="1962"/>
                    </a:lnTo>
                    <a:lnTo>
                      <a:pt x="2057" y="1962"/>
                    </a:lnTo>
                    <a:lnTo>
                      <a:pt x="2057" y="1958"/>
                    </a:lnTo>
                    <a:lnTo>
                      <a:pt x="2061" y="1951"/>
                    </a:lnTo>
                    <a:lnTo>
                      <a:pt x="2076" y="1934"/>
                    </a:lnTo>
                    <a:lnTo>
                      <a:pt x="2117" y="1898"/>
                    </a:lnTo>
                    <a:lnTo>
                      <a:pt x="2117" y="1898"/>
                    </a:lnTo>
                    <a:lnTo>
                      <a:pt x="2140" y="1877"/>
                    </a:lnTo>
                    <a:lnTo>
                      <a:pt x="2172" y="1856"/>
                    </a:lnTo>
                    <a:lnTo>
                      <a:pt x="2204" y="1837"/>
                    </a:lnTo>
                    <a:lnTo>
                      <a:pt x="2216" y="1830"/>
                    </a:lnTo>
                    <a:lnTo>
                      <a:pt x="2227" y="1828"/>
                    </a:lnTo>
                    <a:lnTo>
                      <a:pt x="2227" y="1828"/>
                    </a:lnTo>
                    <a:lnTo>
                      <a:pt x="2236" y="1828"/>
                    </a:lnTo>
                    <a:lnTo>
                      <a:pt x="2246" y="1830"/>
                    </a:lnTo>
                    <a:lnTo>
                      <a:pt x="2263" y="1839"/>
                    </a:lnTo>
                    <a:lnTo>
                      <a:pt x="2289" y="1854"/>
                    </a:lnTo>
                    <a:lnTo>
                      <a:pt x="2289" y="1854"/>
                    </a:lnTo>
                    <a:lnTo>
                      <a:pt x="2308" y="1868"/>
                    </a:lnTo>
                    <a:lnTo>
                      <a:pt x="2340" y="1894"/>
                    </a:lnTo>
                    <a:lnTo>
                      <a:pt x="2374" y="1921"/>
                    </a:lnTo>
                    <a:lnTo>
                      <a:pt x="2386" y="1930"/>
                    </a:lnTo>
                    <a:lnTo>
                      <a:pt x="2393" y="1934"/>
                    </a:lnTo>
                    <a:lnTo>
                      <a:pt x="2393" y="1934"/>
                    </a:lnTo>
                    <a:lnTo>
                      <a:pt x="2397" y="1932"/>
                    </a:lnTo>
                    <a:lnTo>
                      <a:pt x="2401" y="1930"/>
                    </a:lnTo>
                    <a:lnTo>
                      <a:pt x="2412" y="1919"/>
                    </a:lnTo>
                    <a:lnTo>
                      <a:pt x="2427" y="1898"/>
                    </a:lnTo>
                    <a:lnTo>
                      <a:pt x="2427" y="1898"/>
                    </a:lnTo>
                    <a:lnTo>
                      <a:pt x="2427" y="1892"/>
                    </a:lnTo>
                    <a:lnTo>
                      <a:pt x="2424" y="1887"/>
                    </a:lnTo>
                    <a:lnTo>
                      <a:pt x="2416" y="1883"/>
                    </a:lnTo>
                    <a:lnTo>
                      <a:pt x="2416" y="1883"/>
                    </a:lnTo>
                    <a:lnTo>
                      <a:pt x="2414" y="1879"/>
                    </a:lnTo>
                    <a:lnTo>
                      <a:pt x="2414" y="1875"/>
                    </a:lnTo>
                    <a:lnTo>
                      <a:pt x="2420" y="1868"/>
                    </a:lnTo>
                    <a:lnTo>
                      <a:pt x="2429" y="1860"/>
                    </a:lnTo>
                    <a:lnTo>
                      <a:pt x="2437" y="1858"/>
                    </a:lnTo>
                    <a:lnTo>
                      <a:pt x="2437" y="1858"/>
                    </a:lnTo>
                    <a:lnTo>
                      <a:pt x="2452" y="1854"/>
                    </a:lnTo>
                    <a:lnTo>
                      <a:pt x="2467" y="1849"/>
                    </a:lnTo>
                    <a:lnTo>
                      <a:pt x="2467" y="1849"/>
                    </a:lnTo>
                    <a:lnTo>
                      <a:pt x="2471" y="1847"/>
                    </a:lnTo>
                    <a:lnTo>
                      <a:pt x="2475" y="1841"/>
                    </a:lnTo>
                    <a:lnTo>
                      <a:pt x="2480" y="1834"/>
                    </a:lnTo>
                    <a:lnTo>
                      <a:pt x="2486" y="1826"/>
                    </a:lnTo>
                    <a:lnTo>
                      <a:pt x="2486" y="1826"/>
                    </a:lnTo>
                    <a:lnTo>
                      <a:pt x="2490" y="1824"/>
                    </a:lnTo>
                    <a:lnTo>
                      <a:pt x="2495" y="1824"/>
                    </a:lnTo>
                    <a:lnTo>
                      <a:pt x="2501" y="1826"/>
                    </a:lnTo>
                    <a:lnTo>
                      <a:pt x="2505" y="1830"/>
                    </a:lnTo>
                    <a:lnTo>
                      <a:pt x="2518" y="1841"/>
                    </a:lnTo>
                    <a:lnTo>
                      <a:pt x="2528" y="1854"/>
                    </a:lnTo>
                    <a:lnTo>
                      <a:pt x="2528" y="1854"/>
                    </a:lnTo>
                    <a:lnTo>
                      <a:pt x="2531" y="1860"/>
                    </a:lnTo>
                    <a:lnTo>
                      <a:pt x="2533" y="1868"/>
                    </a:lnTo>
                    <a:lnTo>
                      <a:pt x="2533" y="1877"/>
                    </a:lnTo>
                    <a:lnTo>
                      <a:pt x="2533" y="1887"/>
                    </a:lnTo>
                    <a:lnTo>
                      <a:pt x="2528" y="1904"/>
                    </a:lnTo>
                    <a:lnTo>
                      <a:pt x="2524" y="1917"/>
                    </a:lnTo>
                    <a:lnTo>
                      <a:pt x="2524" y="1917"/>
                    </a:lnTo>
                    <a:lnTo>
                      <a:pt x="2518" y="1926"/>
                    </a:lnTo>
                    <a:lnTo>
                      <a:pt x="2511" y="1936"/>
                    </a:lnTo>
                    <a:lnTo>
                      <a:pt x="2501" y="1947"/>
                    </a:lnTo>
                    <a:lnTo>
                      <a:pt x="2488" y="1955"/>
                    </a:lnTo>
                    <a:lnTo>
                      <a:pt x="2488" y="1955"/>
                    </a:lnTo>
                    <a:lnTo>
                      <a:pt x="2482" y="1960"/>
                    </a:lnTo>
                    <a:lnTo>
                      <a:pt x="2475" y="1968"/>
                    </a:lnTo>
                    <a:lnTo>
                      <a:pt x="2463" y="1985"/>
                    </a:lnTo>
                    <a:lnTo>
                      <a:pt x="2454" y="2002"/>
                    </a:lnTo>
                    <a:lnTo>
                      <a:pt x="2450" y="2017"/>
                    </a:lnTo>
                    <a:lnTo>
                      <a:pt x="2450" y="2017"/>
                    </a:lnTo>
                    <a:lnTo>
                      <a:pt x="2450" y="2023"/>
                    </a:lnTo>
                    <a:lnTo>
                      <a:pt x="2454" y="2036"/>
                    </a:lnTo>
                    <a:lnTo>
                      <a:pt x="2465" y="2066"/>
                    </a:lnTo>
                    <a:lnTo>
                      <a:pt x="2478" y="2093"/>
                    </a:lnTo>
                    <a:lnTo>
                      <a:pt x="2486" y="2113"/>
                    </a:lnTo>
                    <a:lnTo>
                      <a:pt x="2486" y="2113"/>
                    </a:lnTo>
                    <a:lnTo>
                      <a:pt x="2484" y="2121"/>
                    </a:lnTo>
                    <a:lnTo>
                      <a:pt x="2482" y="2127"/>
                    </a:lnTo>
                    <a:lnTo>
                      <a:pt x="2471" y="2138"/>
                    </a:lnTo>
                    <a:lnTo>
                      <a:pt x="2471" y="2138"/>
                    </a:lnTo>
                    <a:lnTo>
                      <a:pt x="2471" y="2140"/>
                    </a:lnTo>
                    <a:lnTo>
                      <a:pt x="2478" y="2146"/>
                    </a:lnTo>
                    <a:lnTo>
                      <a:pt x="2495" y="2159"/>
                    </a:lnTo>
                    <a:lnTo>
                      <a:pt x="2516" y="2170"/>
                    </a:lnTo>
                    <a:lnTo>
                      <a:pt x="2526" y="2174"/>
                    </a:lnTo>
                    <a:lnTo>
                      <a:pt x="2533" y="2176"/>
                    </a:lnTo>
                    <a:lnTo>
                      <a:pt x="2533" y="2176"/>
                    </a:lnTo>
                    <a:lnTo>
                      <a:pt x="2535" y="2174"/>
                    </a:lnTo>
                    <a:lnTo>
                      <a:pt x="2539" y="2170"/>
                    </a:lnTo>
                    <a:lnTo>
                      <a:pt x="2541" y="2155"/>
                    </a:lnTo>
                    <a:lnTo>
                      <a:pt x="2541" y="2132"/>
                    </a:lnTo>
                    <a:lnTo>
                      <a:pt x="2541" y="2132"/>
                    </a:lnTo>
                    <a:lnTo>
                      <a:pt x="2543" y="2130"/>
                    </a:lnTo>
                    <a:lnTo>
                      <a:pt x="2545" y="2127"/>
                    </a:lnTo>
                    <a:lnTo>
                      <a:pt x="2554" y="2125"/>
                    </a:lnTo>
                    <a:lnTo>
                      <a:pt x="2575" y="2125"/>
                    </a:lnTo>
                    <a:lnTo>
                      <a:pt x="2575" y="2125"/>
                    </a:lnTo>
                    <a:lnTo>
                      <a:pt x="2577" y="2123"/>
                    </a:lnTo>
                    <a:lnTo>
                      <a:pt x="2582" y="2119"/>
                    </a:lnTo>
                    <a:lnTo>
                      <a:pt x="2584" y="2110"/>
                    </a:lnTo>
                    <a:lnTo>
                      <a:pt x="2584" y="2098"/>
                    </a:lnTo>
                    <a:lnTo>
                      <a:pt x="2582" y="2087"/>
                    </a:lnTo>
                    <a:lnTo>
                      <a:pt x="2582" y="2087"/>
                    </a:lnTo>
                    <a:lnTo>
                      <a:pt x="2582" y="2074"/>
                    </a:lnTo>
                    <a:lnTo>
                      <a:pt x="2584" y="2064"/>
                    </a:lnTo>
                    <a:lnTo>
                      <a:pt x="2586" y="2055"/>
                    </a:lnTo>
                    <a:lnTo>
                      <a:pt x="2590" y="2053"/>
                    </a:lnTo>
                    <a:lnTo>
                      <a:pt x="2590" y="2053"/>
                    </a:lnTo>
                    <a:lnTo>
                      <a:pt x="2599" y="2051"/>
                    </a:lnTo>
                    <a:lnTo>
                      <a:pt x="2613" y="2051"/>
                    </a:lnTo>
                    <a:lnTo>
                      <a:pt x="2641" y="2053"/>
                    </a:lnTo>
                    <a:lnTo>
                      <a:pt x="2641" y="2053"/>
                    </a:lnTo>
                    <a:lnTo>
                      <a:pt x="2647" y="2049"/>
                    </a:lnTo>
                    <a:lnTo>
                      <a:pt x="2654" y="2042"/>
                    </a:lnTo>
                    <a:lnTo>
                      <a:pt x="2660" y="2034"/>
                    </a:lnTo>
                    <a:lnTo>
                      <a:pt x="2664" y="2025"/>
                    </a:lnTo>
                    <a:lnTo>
                      <a:pt x="2664" y="2025"/>
                    </a:lnTo>
                    <a:lnTo>
                      <a:pt x="2664" y="2021"/>
                    </a:lnTo>
                    <a:lnTo>
                      <a:pt x="2664" y="2017"/>
                    </a:lnTo>
                    <a:lnTo>
                      <a:pt x="2658" y="2008"/>
                    </a:lnTo>
                    <a:lnTo>
                      <a:pt x="2645" y="1994"/>
                    </a:lnTo>
                    <a:lnTo>
                      <a:pt x="2645" y="1994"/>
                    </a:lnTo>
                    <a:lnTo>
                      <a:pt x="2632" y="1979"/>
                    </a:lnTo>
                    <a:lnTo>
                      <a:pt x="2626" y="1966"/>
                    </a:lnTo>
                    <a:lnTo>
                      <a:pt x="2622" y="1953"/>
                    </a:lnTo>
                    <a:lnTo>
                      <a:pt x="2622" y="1953"/>
                    </a:lnTo>
                    <a:lnTo>
                      <a:pt x="2622" y="1945"/>
                    </a:lnTo>
                    <a:lnTo>
                      <a:pt x="2622" y="1938"/>
                    </a:lnTo>
                    <a:lnTo>
                      <a:pt x="2626" y="1928"/>
                    </a:lnTo>
                    <a:lnTo>
                      <a:pt x="2632" y="1919"/>
                    </a:lnTo>
                    <a:lnTo>
                      <a:pt x="2635" y="1913"/>
                    </a:lnTo>
                    <a:lnTo>
                      <a:pt x="2635" y="1909"/>
                    </a:lnTo>
                    <a:lnTo>
                      <a:pt x="2635" y="1909"/>
                    </a:lnTo>
                    <a:lnTo>
                      <a:pt x="2632" y="1894"/>
                    </a:lnTo>
                    <a:lnTo>
                      <a:pt x="2632" y="1879"/>
                    </a:lnTo>
                    <a:lnTo>
                      <a:pt x="2635" y="1873"/>
                    </a:lnTo>
                    <a:lnTo>
                      <a:pt x="2637" y="1864"/>
                    </a:lnTo>
                    <a:lnTo>
                      <a:pt x="2641" y="1858"/>
                    </a:lnTo>
                    <a:lnTo>
                      <a:pt x="2649" y="1854"/>
                    </a:lnTo>
                    <a:lnTo>
                      <a:pt x="2649" y="1854"/>
                    </a:lnTo>
                    <a:lnTo>
                      <a:pt x="2656" y="1849"/>
                    </a:lnTo>
                    <a:lnTo>
                      <a:pt x="2662" y="1847"/>
                    </a:lnTo>
                    <a:lnTo>
                      <a:pt x="2669" y="1847"/>
                    </a:lnTo>
                    <a:lnTo>
                      <a:pt x="2673" y="1847"/>
                    </a:lnTo>
                    <a:lnTo>
                      <a:pt x="2677" y="1851"/>
                    </a:lnTo>
                    <a:lnTo>
                      <a:pt x="2683" y="1858"/>
                    </a:lnTo>
                    <a:lnTo>
                      <a:pt x="2683" y="1858"/>
                    </a:lnTo>
                    <a:lnTo>
                      <a:pt x="2688" y="1860"/>
                    </a:lnTo>
                    <a:lnTo>
                      <a:pt x="2696" y="1862"/>
                    </a:lnTo>
                    <a:lnTo>
                      <a:pt x="2724" y="1868"/>
                    </a:lnTo>
                    <a:lnTo>
                      <a:pt x="2724" y="1868"/>
                    </a:lnTo>
                    <a:lnTo>
                      <a:pt x="2730" y="1870"/>
                    </a:lnTo>
                    <a:lnTo>
                      <a:pt x="2737" y="1875"/>
                    </a:lnTo>
                    <a:lnTo>
                      <a:pt x="2743" y="1887"/>
                    </a:lnTo>
                    <a:lnTo>
                      <a:pt x="2749" y="1900"/>
                    </a:lnTo>
                    <a:lnTo>
                      <a:pt x="2753" y="1904"/>
                    </a:lnTo>
                    <a:lnTo>
                      <a:pt x="2762" y="1909"/>
                    </a:lnTo>
                    <a:lnTo>
                      <a:pt x="2762" y="1909"/>
                    </a:lnTo>
                    <a:lnTo>
                      <a:pt x="2768" y="1909"/>
                    </a:lnTo>
                    <a:lnTo>
                      <a:pt x="2775" y="1907"/>
                    </a:lnTo>
                    <a:lnTo>
                      <a:pt x="2787" y="1900"/>
                    </a:lnTo>
                    <a:lnTo>
                      <a:pt x="2800" y="1894"/>
                    </a:lnTo>
                    <a:lnTo>
                      <a:pt x="2804" y="1892"/>
                    </a:lnTo>
                    <a:lnTo>
                      <a:pt x="2811" y="1892"/>
                    </a:lnTo>
                    <a:lnTo>
                      <a:pt x="2811" y="1892"/>
                    </a:lnTo>
                    <a:lnTo>
                      <a:pt x="2838" y="1896"/>
                    </a:lnTo>
                    <a:lnTo>
                      <a:pt x="2858" y="1898"/>
                    </a:lnTo>
                    <a:lnTo>
                      <a:pt x="2872" y="1898"/>
                    </a:lnTo>
                    <a:lnTo>
                      <a:pt x="2872" y="1898"/>
                    </a:lnTo>
                    <a:lnTo>
                      <a:pt x="2883" y="1894"/>
                    </a:lnTo>
                    <a:lnTo>
                      <a:pt x="2887" y="1890"/>
                    </a:lnTo>
                    <a:lnTo>
                      <a:pt x="2889" y="1883"/>
                    </a:lnTo>
                    <a:lnTo>
                      <a:pt x="2896" y="1879"/>
                    </a:lnTo>
                    <a:lnTo>
                      <a:pt x="2896" y="1879"/>
                    </a:lnTo>
                    <a:lnTo>
                      <a:pt x="2915" y="1870"/>
                    </a:lnTo>
                    <a:lnTo>
                      <a:pt x="2936" y="1864"/>
                    </a:lnTo>
                    <a:lnTo>
                      <a:pt x="2936" y="1864"/>
                    </a:lnTo>
                    <a:lnTo>
                      <a:pt x="2949" y="1860"/>
                    </a:lnTo>
                    <a:lnTo>
                      <a:pt x="2964" y="1851"/>
                    </a:lnTo>
                    <a:lnTo>
                      <a:pt x="2981" y="1843"/>
                    </a:lnTo>
                    <a:lnTo>
                      <a:pt x="3000" y="1834"/>
                    </a:lnTo>
                    <a:lnTo>
                      <a:pt x="3000" y="1834"/>
                    </a:lnTo>
                    <a:lnTo>
                      <a:pt x="3017" y="1828"/>
                    </a:lnTo>
                    <a:lnTo>
                      <a:pt x="3027" y="1824"/>
                    </a:lnTo>
                    <a:lnTo>
                      <a:pt x="3036" y="1817"/>
                    </a:lnTo>
                    <a:lnTo>
                      <a:pt x="3046" y="1815"/>
                    </a:lnTo>
                    <a:lnTo>
                      <a:pt x="3046" y="1815"/>
                    </a:lnTo>
                    <a:lnTo>
                      <a:pt x="3061" y="1813"/>
                    </a:lnTo>
                    <a:lnTo>
                      <a:pt x="3076" y="1813"/>
                    </a:lnTo>
                    <a:lnTo>
                      <a:pt x="3110" y="1820"/>
                    </a:lnTo>
                    <a:lnTo>
                      <a:pt x="3110" y="1820"/>
                    </a:lnTo>
                    <a:lnTo>
                      <a:pt x="3116" y="1822"/>
                    </a:lnTo>
                    <a:lnTo>
                      <a:pt x="3127" y="1826"/>
                    </a:lnTo>
                    <a:lnTo>
                      <a:pt x="3146" y="1839"/>
                    </a:lnTo>
                    <a:lnTo>
                      <a:pt x="3165" y="1854"/>
                    </a:lnTo>
                    <a:lnTo>
                      <a:pt x="3180" y="1866"/>
                    </a:lnTo>
                    <a:lnTo>
                      <a:pt x="3180" y="1866"/>
                    </a:lnTo>
                    <a:lnTo>
                      <a:pt x="3184" y="1870"/>
                    </a:lnTo>
                    <a:lnTo>
                      <a:pt x="3191" y="1875"/>
                    </a:lnTo>
                    <a:lnTo>
                      <a:pt x="3206" y="1879"/>
                    </a:lnTo>
                    <a:lnTo>
                      <a:pt x="3221" y="1877"/>
                    </a:lnTo>
                    <a:lnTo>
                      <a:pt x="3233" y="1875"/>
                    </a:lnTo>
                    <a:lnTo>
                      <a:pt x="3233" y="1875"/>
                    </a:lnTo>
                    <a:lnTo>
                      <a:pt x="3244" y="1868"/>
                    </a:lnTo>
                    <a:lnTo>
                      <a:pt x="3259" y="1866"/>
                    </a:lnTo>
                    <a:lnTo>
                      <a:pt x="3276" y="1868"/>
                    </a:lnTo>
                    <a:lnTo>
                      <a:pt x="3291" y="1870"/>
                    </a:lnTo>
                    <a:lnTo>
                      <a:pt x="3291" y="1870"/>
                    </a:lnTo>
                    <a:lnTo>
                      <a:pt x="3305" y="1873"/>
                    </a:lnTo>
                    <a:lnTo>
                      <a:pt x="3325" y="1875"/>
                    </a:lnTo>
                    <a:lnTo>
                      <a:pt x="3369" y="1870"/>
                    </a:lnTo>
                    <a:lnTo>
                      <a:pt x="3369" y="1870"/>
                    </a:lnTo>
                    <a:lnTo>
                      <a:pt x="3395" y="1866"/>
                    </a:lnTo>
                    <a:lnTo>
                      <a:pt x="3426" y="1858"/>
                    </a:lnTo>
                    <a:lnTo>
                      <a:pt x="3488" y="1839"/>
                    </a:lnTo>
                    <a:lnTo>
                      <a:pt x="3488" y="1839"/>
                    </a:lnTo>
                    <a:lnTo>
                      <a:pt x="3518" y="1826"/>
                    </a:lnTo>
                    <a:lnTo>
                      <a:pt x="3554" y="1807"/>
                    </a:lnTo>
                    <a:lnTo>
                      <a:pt x="3588" y="1788"/>
                    </a:lnTo>
                    <a:lnTo>
                      <a:pt x="3611" y="1777"/>
                    </a:lnTo>
                    <a:lnTo>
                      <a:pt x="3611" y="1777"/>
                    </a:lnTo>
                    <a:lnTo>
                      <a:pt x="3617" y="1775"/>
                    </a:lnTo>
                    <a:lnTo>
                      <a:pt x="3622" y="1771"/>
                    </a:lnTo>
                    <a:lnTo>
                      <a:pt x="3630" y="1762"/>
                    </a:lnTo>
                    <a:lnTo>
                      <a:pt x="3634" y="1754"/>
                    </a:lnTo>
                    <a:lnTo>
                      <a:pt x="3643" y="1747"/>
                    </a:lnTo>
                    <a:lnTo>
                      <a:pt x="3643" y="1747"/>
                    </a:lnTo>
                    <a:lnTo>
                      <a:pt x="3658" y="1739"/>
                    </a:lnTo>
                    <a:lnTo>
                      <a:pt x="3679" y="1733"/>
                    </a:lnTo>
                    <a:lnTo>
                      <a:pt x="3715" y="1724"/>
                    </a:lnTo>
                    <a:lnTo>
                      <a:pt x="3715" y="1724"/>
                    </a:lnTo>
                    <a:lnTo>
                      <a:pt x="3745" y="1713"/>
                    </a:lnTo>
                    <a:lnTo>
                      <a:pt x="3775" y="1705"/>
                    </a:lnTo>
                    <a:lnTo>
                      <a:pt x="3775" y="1705"/>
                    </a:lnTo>
                    <a:lnTo>
                      <a:pt x="3779" y="1705"/>
                    </a:lnTo>
                    <a:lnTo>
                      <a:pt x="3787" y="1705"/>
                    </a:lnTo>
                    <a:lnTo>
                      <a:pt x="3809" y="1711"/>
                    </a:lnTo>
                    <a:lnTo>
                      <a:pt x="3832" y="1718"/>
                    </a:lnTo>
                    <a:lnTo>
                      <a:pt x="3855" y="1724"/>
                    </a:lnTo>
                    <a:lnTo>
                      <a:pt x="3855" y="1724"/>
                    </a:lnTo>
                    <a:lnTo>
                      <a:pt x="3868" y="1724"/>
                    </a:lnTo>
                    <a:lnTo>
                      <a:pt x="3876" y="1722"/>
                    </a:lnTo>
                    <a:lnTo>
                      <a:pt x="3881" y="1718"/>
                    </a:lnTo>
                    <a:lnTo>
                      <a:pt x="3887" y="1713"/>
                    </a:lnTo>
                    <a:lnTo>
                      <a:pt x="3887" y="1713"/>
                    </a:lnTo>
                    <a:lnTo>
                      <a:pt x="3898" y="1711"/>
                    </a:lnTo>
                    <a:lnTo>
                      <a:pt x="3910" y="1709"/>
                    </a:lnTo>
                    <a:lnTo>
                      <a:pt x="3925" y="1707"/>
                    </a:lnTo>
                    <a:lnTo>
                      <a:pt x="3940" y="1705"/>
                    </a:lnTo>
                    <a:lnTo>
                      <a:pt x="3940" y="1705"/>
                    </a:lnTo>
                    <a:lnTo>
                      <a:pt x="3970" y="1696"/>
                    </a:lnTo>
                    <a:lnTo>
                      <a:pt x="3993" y="1692"/>
                    </a:lnTo>
                    <a:lnTo>
                      <a:pt x="3993" y="1692"/>
                    </a:lnTo>
                    <a:lnTo>
                      <a:pt x="4040" y="1673"/>
                    </a:lnTo>
                    <a:lnTo>
                      <a:pt x="4070" y="1658"/>
                    </a:lnTo>
                    <a:lnTo>
                      <a:pt x="4091" y="1650"/>
                    </a:lnTo>
                    <a:lnTo>
                      <a:pt x="4091" y="1650"/>
                    </a:lnTo>
                    <a:lnTo>
                      <a:pt x="4106" y="1635"/>
                    </a:lnTo>
                    <a:lnTo>
                      <a:pt x="4114" y="1631"/>
                    </a:lnTo>
                    <a:lnTo>
                      <a:pt x="4118" y="1631"/>
                    </a:lnTo>
                    <a:lnTo>
                      <a:pt x="4123" y="1631"/>
                    </a:lnTo>
                    <a:lnTo>
                      <a:pt x="4123" y="1631"/>
                    </a:lnTo>
                    <a:lnTo>
                      <a:pt x="4125" y="1635"/>
                    </a:lnTo>
                    <a:lnTo>
                      <a:pt x="4127" y="1639"/>
                    </a:lnTo>
                    <a:lnTo>
                      <a:pt x="4131" y="1656"/>
                    </a:lnTo>
                    <a:lnTo>
                      <a:pt x="4138" y="1673"/>
                    </a:lnTo>
                    <a:lnTo>
                      <a:pt x="4142" y="1677"/>
                    </a:lnTo>
                    <a:lnTo>
                      <a:pt x="4148" y="1682"/>
                    </a:lnTo>
                    <a:lnTo>
                      <a:pt x="4148" y="1682"/>
                    </a:lnTo>
                    <a:lnTo>
                      <a:pt x="4155" y="1682"/>
                    </a:lnTo>
                    <a:lnTo>
                      <a:pt x="4161" y="1679"/>
                    </a:lnTo>
                    <a:lnTo>
                      <a:pt x="4174" y="1673"/>
                    </a:lnTo>
                    <a:lnTo>
                      <a:pt x="4186" y="1665"/>
                    </a:lnTo>
                    <a:lnTo>
                      <a:pt x="4195" y="1660"/>
                    </a:lnTo>
                    <a:lnTo>
                      <a:pt x="4203" y="1658"/>
                    </a:lnTo>
                    <a:lnTo>
                      <a:pt x="4203" y="1658"/>
                    </a:lnTo>
                    <a:lnTo>
                      <a:pt x="4210" y="1654"/>
                    </a:lnTo>
                    <a:lnTo>
                      <a:pt x="4220" y="1648"/>
                    </a:lnTo>
                    <a:lnTo>
                      <a:pt x="4237" y="1626"/>
                    </a:lnTo>
                    <a:lnTo>
                      <a:pt x="4252" y="1603"/>
                    </a:lnTo>
                    <a:lnTo>
                      <a:pt x="4259" y="1595"/>
                    </a:lnTo>
                    <a:lnTo>
                      <a:pt x="4265" y="1590"/>
                    </a:lnTo>
                    <a:lnTo>
                      <a:pt x="4265" y="1590"/>
                    </a:lnTo>
                    <a:lnTo>
                      <a:pt x="4269" y="1588"/>
                    </a:lnTo>
                    <a:lnTo>
                      <a:pt x="4273" y="1590"/>
                    </a:lnTo>
                    <a:lnTo>
                      <a:pt x="4284" y="1597"/>
                    </a:lnTo>
                    <a:lnTo>
                      <a:pt x="4295" y="1603"/>
                    </a:lnTo>
                    <a:lnTo>
                      <a:pt x="4301" y="1605"/>
                    </a:lnTo>
                    <a:lnTo>
                      <a:pt x="4307" y="1607"/>
                    </a:lnTo>
                    <a:lnTo>
                      <a:pt x="4307" y="1607"/>
                    </a:lnTo>
                    <a:lnTo>
                      <a:pt x="4312" y="1607"/>
                    </a:lnTo>
                    <a:lnTo>
                      <a:pt x="4314" y="1605"/>
                    </a:lnTo>
                    <a:lnTo>
                      <a:pt x="4320" y="1601"/>
                    </a:lnTo>
                    <a:lnTo>
                      <a:pt x="4324" y="1590"/>
                    </a:lnTo>
                    <a:lnTo>
                      <a:pt x="4324" y="1590"/>
                    </a:lnTo>
                    <a:lnTo>
                      <a:pt x="4329" y="1586"/>
                    </a:lnTo>
                    <a:lnTo>
                      <a:pt x="4339" y="1582"/>
                    </a:lnTo>
                    <a:lnTo>
                      <a:pt x="4352" y="1578"/>
                    </a:lnTo>
                    <a:lnTo>
                      <a:pt x="4365" y="1578"/>
                    </a:lnTo>
                    <a:lnTo>
                      <a:pt x="4365" y="1578"/>
                    </a:lnTo>
                    <a:lnTo>
                      <a:pt x="4369" y="1580"/>
                    </a:lnTo>
                    <a:lnTo>
                      <a:pt x="4373" y="1582"/>
                    </a:lnTo>
                    <a:lnTo>
                      <a:pt x="4380" y="1590"/>
                    </a:lnTo>
                    <a:lnTo>
                      <a:pt x="4384" y="1599"/>
                    </a:lnTo>
                    <a:lnTo>
                      <a:pt x="4388" y="1601"/>
                    </a:lnTo>
                    <a:lnTo>
                      <a:pt x="4392" y="1603"/>
                    </a:lnTo>
                    <a:lnTo>
                      <a:pt x="4392" y="1603"/>
                    </a:lnTo>
                    <a:lnTo>
                      <a:pt x="4401" y="1603"/>
                    </a:lnTo>
                    <a:lnTo>
                      <a:pt x="4411" y="1601"/>
                    </a:lnTo>
                    <a:lnTo>
                      <a:pt x="4426" y="1597"/>
                    </a:lnTo>
                    <a:lnTo>
                      <a:pt x="4426" y="1597"/>
                    </a:lnTo>
                    <a:lnTo>
                      <a:pt x="4428" y="1597"/>
                    </a:lnTo>
                    <a:lnTo>
                      <a:pt x="4433" y="1599"/>
                    </a:lnTo>
                    <a:lnTo>
                      <a:pt x="4439" y="1607"/>
                    </a:lnTo>
                    <a:lnTo>
                      <a:pt x="4450" y="1616"/>
                    </a:lnTo>
                    <a:lnTo>
                      <a:pt x="4454" y="1620"/>
                    </a:lnTo>
                    <a:lnTo>
                      <a:pt x="4460" y="1622"/>
                    </a:lnTo>
                    <a:lnTo>
                      <a:pt x="4460" y="1622"/>
                    </a:lnTo>
                    <a:lnTo>
                      <a:pt x="4464" y="1620"/>
                    </a:lnTo>
                    <a:lnTo>
                      <a:pt x="4469" y="1620"/>
                    </a:lnTo>
                    <a:lnTo>
                      <a:pt x="4471" y="1614"/>
                    </a:lnTo>
                    <a:lnTo>
                      <a:pt x="4473" y="1607"/>
                    </a:lnTo>
                    <a:lnTo>
                      <a:pt x="4475" y="1605"/>
                    </a:lnTo>
                    <a:lnTo>
                      <a:pt x="4479" y="1605"/>
                    </a:lnTo>
                    <a:lnTo>
                      <a:pt x="4479" y="1605"/>
                    </a:lnTo>
                    <a:lnTo>
                      <a:pt x="4481" y="1605"/>
                    </a:lnTo>
                    <a:lnTo>
                      <a:pt x="4484" y="1607"/>
                    </a:lnTo>
                    <a:lnTo>
                      <a:pt x="4488" y="1614"/>
                    </a:lnTo>
                    <a:lnTo>
                      <a:pt x="4492" y="1622"/>
                    </a:lnTo>
                    <a:lnTo>
                      <a:pt x="4496" y="1626"/>
                    </a:lnTo>
                    <a:lnTo>
                      <a:pt x="4496" y="1626"/>
                    </a:lnTo>
                    <a:lnTo>
                      <a:pt x="4501" y="1624"/>
                    </a:lnTo>
                    <a:lnTo>
                      <a:pt x="4507" y="1622"/>
                    </a:lnTo>
                    <a:lnTo>
                      <a:pt x="4509" y="1618"/>
                    </a:lnTo>
                    <a:lnTo>
                      <a:pt x="4511" y="1616"/>
                    </a:lnTo>
                    <a:lnTo>
                      <a:pt x="4511" y="1616"/>
                    </a:lnTo>
                    <a:lnTo>
                      <a:pt x="4511" y="1614"/>
                    </a:lnTo>
                    <a:lnTo>
                      <a:pt x="4515" y="1614"/>
                    </a:lnTo>
                    <a:lnTo>
                      <a:pt x="4526" y="1618"/>
                    </a:lnTo>
                    <a:lnTo>
                      <a:pt x="4545" y="1626"/>
                    </a:lnTo>
                    <a:lnTo>
                      <a:pt x="4545" y="1626"/>
                    </a:lnTo>
                    <a:lnTo>
                      <a:pt x="4552" y="1620"/>
                    </a:lnTo>
                    <a:lnTo>
                      <a:pt x="4564" y="1609"/>
                    </a:lnTo>
                    <a:lnTo>
                      <a:pt x="4588" y="1586"/>
                    </a:lnTo>
                    <a:lnTo>
                      <a:pt x="4588" y="1586"/>
                    </a:lnTo>
                    <a:lnTo>
                      <a:pt x="4594" y="1582"/>
                    </a:lnTo>
                    <a:lnTo>
                      <a:pt x="4607" y="1580"/>
                    </a:lnTo>
                    <a:lnTo>
                      <a:pt x="4622" y="1578"/>
                    </a:lnTo>
                    <a:lnTo>
                      <a:pt x="4622" y="1578"/>
                    </a:lnTo>
                    <a:lnTo>
                      <a:pt x="4639" y="1586"/>
                    </a:lnTo>
                    <a:lnTo>
                      <a:pt x="4651" y="1592"/>
                    </a:lnTo>
                    <a:lnTo>
                      <a:pt x="4662" y="1599"/>
                    </a:lnTo>
                    <a:lnTo>
                      <a:pt x="4662" y="1599"/>
                    </a:lnTo>
                    <a:lnTo>
                      <a:pt x="4662" y="1601"/>
                    </a:lnTo>
                    <a:lnTo>
                      <a:pt x="4662" y="1603"/>
                    </a:lnTo>
                    <a:lnTo>
                      <a:pt x="4658" y="1611"/>
                    </a:lnTo>
                    <a:lnTo>
                      <a:pt x="4649" y="1620"/>
                    </a:lnTo>
                    <a:lnTo>
                      <a:pt x="4641" y="1628"/>
                    </a:lnTo>
                    <a:lnTo>
                      <a:pt x="4641" y="1628"/>
                    </a:lnTo>
                    <a:lnTo>
                      <a:pt x="4639" y="1628"/>
                    </a:lnTo>
                    <a:lnTo>
                      <a:pt x="4636" y="1631"/>
                    </a:lnTo>
                    <a:lnTo>
                      <a:pt x="4639" y="1639"/>
                    </a:lnTo>
                    <a:lnTo>
                      <a:pt x="4641" y="1648"/>
                    </a:lnTo>
                    <a:lnTo>
                      <a:pt x="4647" y="1656"/>
                    </a:lnTo>
                    <a:lnTo>
                      <a:pt x="4660" y="1675"/>
                    </a:lnTo>
                    <a:lnTo>
                      <a:pt x="4670" y="1686"/>
                    </a:lnTo>
                    <a:lnTo>
                      <a:pt x="4670" y="1686"/>
                    </a:lnTo>
                    <a:lnTo>
                      <a:pt x="4673" y="1686"/>
                    </a:lnTo>
                    <a:lnTo>
                      <a:pt x="4675" y="1684"/>
                    </a:lnTo>
                    <a:lnTo>
                      <a:pt x="4679" y="1677"/>
                    </a:lnTo>
                    <a:lnTo>
                      <a:pt x="4683" y="1665"/>
                    </a:lnTo>
                    <a:lnTo>
                      <a:pt x="4687" y="1654"/>
                    </a:lnTo>
                    <a:lnTo>
                      <a:pt x="4687" y="1654"/>
                    </a:lnTo>
                    <a:lnTo>
                      <a:pt x="4687" y="1650"/>
                    </a:lnTo>
                    <a:lnTo>
                      <a:pt x="4692" y="1648"/>
                    </a:lnTo>
                    <a:lnTo>
                      <a:pt x="4698" y="1643"/>
                    </a:lnTo>
                    <a:lnTo>
                      <a:pt x="4709" y="1641"/>
                    </a:lnTo>
                    <a:lnTo>
                      <a:pt x="4717" y="1639"/>
                    </a:lnTo>
                    <a:lnTo>
                      <a:pt x="4717" y="1639"/>
                    </a:lnTo>
                    <a:lnTo>
                      <a:pt x="4726" y="1631"/>
                    </a:lnTo>
                    <a:lnTo>
                      <a:pt x="4738" y="1622"/>
                    </a:lnTo>
                    <a:lnTo>
                      <a:pt x="4751" y="1611"/>
                    </a:lnTo>
                    <a:lnTo>
                      <a:pt x="4766" y="1605"/>
                    </a:lnTo>
                    <a:lnTo>
                      <a:pt x="4766" y="1605"/>
                    </a:lnTo>
                    <a:lnTo>
                      <a:pt x="4772" y="1603"/>
                    </a:lnTo>
                    <a:lnTo>
                      <a:pt x="4781" y="1605"/>
                    </a:lnTo>
                    <a:lnTo>
                      <a:pt x="4791" y="1609"/>
                    </a:lnTo>
                    <a:lnTo>
                      <a:pt x="4804" y="1616"/>
                    </a:lnTo>
                    <a:lnTo>
                      <a:pt x="4808" y="1616"/>
                    </a:lnTo>
                    <a:lnTo>
                      <a:pt x="4813" y="1616"/>
                    </a:lnTo>
                    <a:lnTo>
                      <a:pt x="4813" y="1616"/>
                    </a:lnTo>
                    <a:lnTo>
                      <a:pt x="4815" y="1614"/>
                    </a:lnTo>
                    <a:lnTo>
                      <a:pt x="4815" y="1609"/>
                    </a:lnTo>
                    <a:lnTo>
                      <a:pt x="4815" y="1601"/>
                    </a:lnTo>
                    <a:lnTo>
                      <a:pt x="4811" y="1592"/>
                    </a:lnTo>
                    <a:lnTo>
                      <a:pt x="4804" y="1586"/>
                    </a:lnTo>
                    <a:lnTo>
                      <a:pt x="4804" y="1586"/>
                    </a:lnTo>
                    <a:lnTo>
                      <a:pt x="4802" y="1584"/>
                    </a:lnTo>
                    <a:lnTo>
                      <a:pt x="4802" y="1580"/>
                    </a:lnTo>
                    <a:lnTo>
                      <a:pt x="4806" y="1573"/>
                    </a:lnTo>
                    <a:lnTo>
                      <a:pt x="4819" y="1558"/>
                    </a:lnTo>
                    <a:lnTo>
                      <a:pt x="4819" y="1558"/>
                    </a:lnTo>
                    <a:lnTo>
                      <a:pt x="4817" y="1554"/>
                    </a:lnTo>
                    <a:lnTo>
                      <a:pt x="4811" y="1550"/>
                    </a:lnTo>
                    <a:lnTo>
                      <a:pt x="4789" y="1535"/>
                    </a:lnTo>
                    <a:lnTo>
                      <a:pt x="4755" y="1514"/>
                    </a:lnTo>
                    <a:lnTo>
                      <a:pt x="4755" y="1514"/>
                    </a:lnTo>
                    <a:close/>
                    <a:moveTo>
                      <a:pt x="1936" y="1225"/>
                    </a:moveTo>
                    <a:lnTo>
                      <a:pt x="1936" y="1225"/>
                    </a:lnTo>
                    <a:lnTo>
                      <a:pt x="1928" y="1236"/>
                    </a:lnTo>
                    <a:lnTo>
                      <a:pt x="1921" y="1244"/>
                    </a:lnTo>
                    <a:lnTo>
                      <a:pt x="1915" y="1251"/>
                    </a:lnTo>
                    <a:lnTo>
                      <a:pt x="1915" y="1251"/>
                    </a:lnTo>
                    <a:lnTo>
                      <a:pt x="1911" y="1251"/>
                    </a:lnTo>
                    <a:lnTo>
                      <a:pt x="1906" y="1248"/>
                    </a:lnTo>
                    <a:lnTo>
                      <a:pt x="1898" y="1244"/>
                    </a:lnTo>
                    <a:lnTo>
                      <a:pt x="1885" y="1229"/>
                    </a:lnTo>
                    <a:lnTo>
                      <a:pt x="1885" y="1229"/>
                    </a:lnTo>
                    <a:lnTo>
                      <a:pt x="1881" y="1219"/>
                    </a:lnTo>
                    <a:lnTo>
                      <a:pt x="1877" y="1214"/>
                    </a:lnTo>
                    <a:lnTo>
                      <a:pt x="1877" y="1214"/>
                    </a:lnTo>
                    <a:lnTo>
                      <a:pt x="1868" y="1208"/>
                    </a:lnTo>
                    <a:lnTo>
                      <a:pt x="1864" y="1204"/>
                    </a:lnTo>
                    <a:lnTo>
                      <a:pt x="1860" y="1195"/>
                    </a:lnTo>
                    <a:lnTo>
                      <a:pt x="1860" y="1195"/>
                    </a:lnTo>
                    <a:lnTo>
                      <a:pt x="1856" y="1191"/>
                    </a:lnTo>
                    <a:lnTo>
                      <a:pt x="1849" y="1191"/>
                    </a:lnTo>
                    <a:lnTo>
                      <a:pt x="1843" y="1191"/>
                    </a:lnTo>
                    <a:lnTo>
                      <a:pt x="1830" y="1191"/>
                    </a:lnTo>
                    <a:lnTo>
                      <a:pt x="1830" y="1191"/>
                    </a:lnTo>
                    <a:lnTo>
                      <a:pt x="1826" y="1189"/>
                    </a:lnTo>
                    <a:lnTo>
                      <a:pt x="1824" y="1185"/>
                    </a:lnTo>
                    <a:lnTo>
                      <a:pt x="1824" y="1181"/>
                    </a:lnTo>
                    <a:lnTo>
                      <a:pt x="1826" y="1174"/>
                    </a:lnTo>
                    <a:lnTo>
                      <a:pt x="1830" y="1161"/>
                    </a:lnTo>
                    <a:lnTo>
                      <a:pt x="1830" y="1155"/>
                    </a:lnTo>
                    <a:lnTo>
                      <a:pt x="1832" y="1151"/>
                    </a:lnTo>
                    <a:lnTo>
                      <a:pt x="1832" y="1151"/>
                    </a:lnTo>
                    <a:lnTo>
                      <a:pt x="1832" y="1147"/>
                    </a:lnTo>
                    <a:lnTo>
                      <a:pt x="1834" y="1142"/>
                    </a:lnTo>
                    <a:lnTo>
                      <a:pt x="1845" y="1134"/>
                    </a:lnTo>
                    <a:lnTo>
                      <a:pt x="1856" y="1125"/>
                    </a:lnTo>
                    <a:lnTo>
                      <a:pt x="1866" y="1121"/>
                    </a:lnTo>
                    <a:lnTo>
                      <a:pt x="1866" y="1121"/>
                    </a:lnTo>
                    <a:lnTo>
                      <a:pt x="1868" y="1119"/>
                    </a:lnTo>
                    <a:lnTo>
                      <a:pt x="1870" y="1115"/>
                    </a:lnTo>
                    <a:lnTo>
                      <a:pt x="1870" y="1104"/>
                    </a:lnTo>
                    <a:lnTo>
                      <a:pt x="1868" y="1091"/>
                    </a:lnTo>
                    <a:lnTo>
                      <a:pt x="1866" y="1081"/>
                    </a:lnTo>
                    <a:lnTo>
                      <a:pt x="1866" y="1081"/>
                    </a:lnTo>
                    <a:lnTo>
                      <a:pt x="1868" y="1076"/>
                    </a:lnTo>
                    <a:lnTo>
                      <a:pt x="1868" y="1076"/>
                    </a:lnTo>
                    <a:lnTo>
                      <a:pt x="1870" y="1076"/>
                    </a:lnTo>
                    <a:lnTo>
                      <a:pt x="1875" y="1079"/>
                    </a:lnTo>
                    <a:lnTo>
                      <a:pt x="1887" y="1089"/>
                    </a:lnTo>
                    <a:lnTo>
                      <a:pt x="1887" y="1089"/>
                    </a:lnTo>
                    <a:lnTo>
                      <a:pt x="1898" y="1100"/>
                    </a:lnTo>
                    <a:lnTo>
                      <a:pt x="1900" y="1104"/>
                    </a:lnTo>
                    <a:lnTo>
                      <a:pt x="1902" y="1106"/>
                    </a:lnTo>
                    <a:lnTo>
                      <a:pt x="1902" y="1106"/>
                    </a:lnTo>
                    <a:lnTo>
                      <a:pt x="1887" y="1127"/>
                    </a:lnTo>
                    <a:lnTo>
                      <a:pt x="1887" y="1127"/>
                    </a:lnTo>
                    <a:lnTo>
                      <a:pt x="1887" y="1151"/>
                    </a:lnTo>
                    <a:lnTo>
                      <a:pt x="1887" y="1151"/>
                    </a:lnTo>
                    <a:lnTo>
                      <a:pt x="1890" y="1155"/>
                    </a:lnTo>
                    <a:lnTo>
                      <a:pt x="1894" y="1159"/>
                    </a:lnTo>
                    <a:lnTo>
                      <a:pt x="1904" y="1172"/>
                    </a:lnTo>
                    <a:lnTo>
                      <a:pt x="1904" y="1172"/>
                    </a:lnTo>
                    <a:lnTo>
                      <a:pt x="1904" y="1172"/>
                    </a:lnTo>
                    <a:lnTo>
                      <a:pt x="1906" y="1172"/>
                    </a:lnTo>
                    <a:lnTo>
                      <a:pt x="1911" y="1168"/>
                    </a:lnTo>
                    <a:lnTo>
                      <a:pt x="1919" y="1155"/>
                    </a:lnTo>
                    <a:lnTo>
                      <a:pt x="1919" y="1155"/>
                    </a:lnTo>
                    <a:lnTo>
                      <a:pt x="1919" y="1153"/>
                    </a:lnTo>
                    <a:lnTo>
                      <a:pt x="1921" y="1153"/>
                    </a:lnTo>
                    <a:lnTo>
                      <a:pt x="1928" y="1155"/>
                    </a:lnTo>
                    <a:lnTo>
                      <a:pt x="1934" y="1159"/>
                    </a:lnTo>
                    <a:lnTo>
                      <a:pt x="1934" y="1159"/>
                    </a:lnTo>
                    <a:lnTo>
                      <a:pt x="1932" y="1181"/>
                    </a:lnTo>
                    <a:lnTo>
                      <a:pt x="1934" y="1193"/>
                    </a:lnTo>
                    <a:lnTo>
                      <a:pt x="1934" y="1195"/>
                    </a:lnTo>
                    <a:lnTo>
                      <a:pt x="1938" y="1195"/>
                    </a:lnTo>
                    <a:lnTo>
                      <a:pt x="1938" y="1195"/>
                    </a:lnTo>
                    <a:lnTo>
                      <a:pt x="1943" y="1195"/>
                    </a:lnTo>
                    <a:lnTo>
                      <a:pt x="1947" y="1200"/>
                    </a:lnTo>
                    <a:lnTo>
                      <a:pt x="1947" y="1200"/>
                    </a:lnTo>
                    <a:lnTo>
                      <a:pt x="1947" y="1200"/>
                    </a:lnTo>
                    <a:lnTo>
                      <a:pt x="1947" y="1200"/>
                    </a:lnTo>
                    <a:lnTo>
                      <a:pt x="1940" y="1214"/>
                    </a:lnTo>
                    <a:lnTo>
                      <a:pt x="1936" y="1225"/>
                    </a:lnTo>
                    <a:lnTo>
                      <a:pt x="1936" y="1225"/>
                    </a:lnTo>
                    <a:close/>
                    <a:moveTo>
                      <a:pt x="4384" y="1066"/>
                    </a:moveTo>
                    <a:lnTo>
                      <a:pt x="4384" y="1066"/>
                    </a:lnTo>
                    <a:lnTo>
                      <a:pt x="4360" y="1079"/>
                    </a:lnTo>
                    <a:lnTo>
                      <a:pt x="4350" y="1085"/>
                    </a:lnTo>
                    <a:lnTo>
                      <a:pt x="4341" y="1089"/>
                    </a:lnTo>
                    <a:lnTo>
                      <a:pt x="4341" y="1089"/>
                    </a:lnTo>
                    <a:lnTo>
                      <a:pt x="4329" y="1093"/>
                    </a:lnTo>
                    <a:lnTo>
                      <a:pt x="4320" y="1102"/>
                    </a:lnTo>
                    <a:lnTo>
                      <a:pt x="4312" y="1113"/>
                    </a:lnTo>
                    <a:lnTo>
                      <a:pt x="4307" y="1125"/>
                    </a:lnTo>
                    <a:lnTo>
                      <a:pt x="4307" y="1125"/>
                    </a:lnTo>
                    <a:lnTo>
                      <a:pt x="4303" y="1136"/>
                    </a:lnTo>
                    <a:lnTo>
                      <a:pt x="4303" y="1149"/>
                    </a:lnTo>
                    <a:lnTo>
                      <a:pt x="4303" y="1159"/>
                    </a:lnTo>
                    <a:lnTo>
                      <a:pt x="4305" y="1166"/>
                    </a:lnTo>
                    <a:lnTo>
                      <a:pt x="4307" y="1168"/>
                    </a:lnTo>
                    <a:lnTo>
                      <a:pt x="4307" y="1168"/>
                    </a:lnTo>
                    <a:lnTo>
                      <a:pt x="4318" y="1172"/>
                    </a:lnTo>
                    <a:lnTo>
                      <a:pt x="4331" y="1178"/>
                    </a:lnTo>
                    <a:lnTo>
                      <a:pt x="4337" y="1183"/>
                    </a:lnTo>
                    <a:lnTo>
                      <a:pt x="4343" y="1187"/>
                    </a:lnTo>
                    <a:lnTo>
                      <a:pt x="4346" y="1193"/>
                    </a:lnTo>
                    <a:lnTo>
                      <a:pt x="4348" y="1200"/>
                    </a:lnTo>
                    <a:lnTo>
                      <a:pt x="4348" y="1200"/>
                    </a:lnTo>
                    <a:lnTo>
                      <a:pt x="4346" y="1214"/>
                    </a:lnTo>
                    <a:lnTo>
                      <a:pt x="4339" y="1231"/>
                    </a:lnTo>
                    <a:lnTo>
                      <a:pt x="4331" y="1244"/>
                    </a:lnTo>
                    <a:lnTo>
                      <a:pt x="4324" y="1253"/>
                    </a:lnTo>
                    <a:lnTo>
                      <a:pt x="4324" y="1253"/>
                    </a:lnTo>
                    <a:lnTo>
                      <a:pt x="4312" y="1257"/>
                    </a:lnTo>
                    <a:lnTo>
                      <a:pt x="4295" y="1261"/>
                    </a:lnTo>
                    <a:lnTo>
                      <a:pt x="4278" y="1263"/>
                    </a:lnTo>
                    <a:lnTo>
                      <a:pt x="4269" y="1263"/>
                    </a:lnTo>
                    <a:lnTo>
                      <a:pt x="4265" y="1261"/>
                    </a:lnTo>
                    <a:lnTo>
                      <a:pt x="4265" y="1261"/>
                    </a:lnTo>
                    <a:lnTo>
                      <a:pt x="4256" y="1251"/>
                    </a:lnTo>
                    <a:lnTo>
                      <a:pt x="4244" y="1238"/>
                    </a:lnTo>
                    <a:lnTo>
                      <a:pt x="4233" y="1227"/>
                    </a:lnTo>
                    <a:lnTo>
                      <a:pt x="4229" y="1225"/>
                    </a:lnTo>
                    <a:lnTo>
                      <a:pt x="4227" y="1227"/>
                    </a:lnTo>
                    <a:lnTo>
                      <a:pt x="4227" y="1227"/>
                    </a:lnTo>
                    <a:lnTo>
                      <a:pt x="4222" y="1236"/>
                    </a:lnTo>
                    <a:lnTo>
                      <a:pt x="4220" y="1248"/>
                    </a:lnTo>
                    <a:lnTo>
                      <a:pt x="4220" y="1248"/>
                    </a:lnTo>
                    <a:lnTo>
                      <a:pt x="4208" y="1246"/>
                    </a:lnTo>
                    <a:lnTo>
                      <a:pt x="4208" y="1246"/>
                    </a:lnTo>
                    <a:lnTo>
                      <a:pt x="4199" y="1242"/>
                    </a:lnTo>
                    <a:lnTo>
                      <a:pt x="4195" y="1238"/>
                    </a:lnTo>
                    <a:lnTo>
                      <a:pt x="4191" y="1229"/>
                    </a:lnTo>
                    <a:lnTo>
                      <a:pt x="4182" y="1219"/>
                    </a:lnTo>
                    <a:lnTo>
                      <a:pt x="4182" y="1219"/>
                    </a:lnTo>
                    <a:lnTo>
                      <a:pt x="4176" y="1214"/>
                    </a:lnTo>
                    <a:lnTo>
                      <a:pt x="4172" y="1214"/>
                    </a:lnTo>
                    <a:lnTo>
                      <a:pt x="4167" y="1214"/>
                    </a:lnTo>
                    <a:lnTo>
                      <a:pt x="4163" y="1217"/>
                    </a:lnTo>
                    <a:lnTo>
                      <a:pt x="4155" y="1223"/>
                    </a:lnTo>
                    <a:lnTo>
                      <a:pt x="4150" y="1225"/>
                    </a:lnTo>
                    <a:lnTo>
                      <a:pt x="4144" y="1227"/>
                    </a:lnTo>
                    <a:lnTo>
                      <a:pt x="4144" y="1227"/>
                    </a:lnTo>
                    <a:lnTo>
                      <a:pt x="4133" y="1225"/>
                    </a:lnTo>
                    <a:lnTo>
                      <a:pt x="4127" y="1221"/>
                    </a:lnTo>
                    <a:lnTo>
                      <a:pt x="4121" y="1214"/>
                    </a:lnTo>
                    <a:lnTo>
                      <a:pt x="4110" y="1202"/>
                    </a:lnTo>
                    <a:lnTo>
                      <a:pt x="4110" y="1202"/>
                    </a:lnTo>
                    <a:lnTo>
                      <a:pt x="4106" y="1195"/>
                    </a:lnTo>
                    <a:lnTo>
                      <a:pt x="4104" y="1189"/>
                    </a:lnTo>
                    <a:lnTo>
                      <a:pt x="4108" y="1183"/>
                    </a:lnTo>
                    <a:lnTo>
                      <a:pt x="4112" y="1176"/>
                    </a:lnTo>
                    <a:lnTo>
                      <a:pt x="4121" y="1172"/>
                    </a:lnTo>
                    <a:lnTo>
                      <a:pt x="4127" y="1170"/>
                    </a:lnTo>
                    <a:lnTo>
                      <a:pt x="4144" y="1166"/>
                    </a:lnTo>
                    <a:lnTo>
                      <a:pt x="4144" y="1166"/>
                    </a:lnTo>
                    <a:lnTo>
                      <a:pt x="4148" y="1164"/>
                    </a:lnTo>
                    <a:lnTo>
                      <a:pt x="4150" y="1161"/>
                    </a:lnTo>
                    <a:lnTo>
                      <a:pt x="4150" y="1159"/>
                    </a:lnTo>
                    <a:lnTo>
                      <a:pt x="4148" y="1155"/>
                    </a:lnTo>
                    <a:lnTo>
                      <a:pt x="4142" y="1149"/>
                    </a:lnTo>
                    <a:lnTo>
                      <a:pt x="4129" y="1140"/>
                    </a:lnTo>
                    <a:lnTo>
                      <a:pt x="4129" y="1140"/>
                    </a:lnTo>
                    <a:lnTo>
                      <a:pt x="4123" y="1134"/>
                    </a:lnTo>
                    <a:lnTo>
                      <a:pt x="4121" y="1132"/>
                    </a:lnTo>
                    <a:lnTo>
                      <a:pt x="4121" y="1127"/>
                    </a:lnTo>
                    <a:lnTo>
                      <a:pt x="4125" y="1125"/>
                    </a:lnTo>
                    <a:lnTo>
                      <a:pt x="4140" y="1117"/>
                    </a:lnTo>
                    <a:lnTo>
                      <a:pt x="4167" y="1110"/>
                    </a:lnTo>
                    <a:lnTo>
                      <a:pt x="4167" y="1110"/>
                    </a:lnTo>
                    <a:lnTo>
                      <a:pt x="4191" y="1104"/>
                    </a:lnTo>
                    <a:lnTo>
                      <a:pt x="4208" y="1102"/>
                    </a:lnTo>
                    <a:lnTo>
                      <a:pt x="4222" y="1102"/>
                    </a:lnTo>
                    <a:lnTo>
                      <a:pt x="4250" y="1100"/>
                    </a:lnTo>
                    <a:lnTo>
                      <a:pt x="4250" y="1100"/>
                    </a:lnTo>
                    <a:lnTo>
                      <a:pt x="4273" y="1098"/>
                    </a:lnTo>
                    <a:lnTo>
                      <a:pt x="4280" y="1096"/>
                    </a:lnTo>
                    <a:lnTo>
                      <a:pt x="4284" y="1093"/>
                    </a:lnTo>
                    <a:lnTo>
                      <a:pt x="4288" y="1085"/>
                    </a:lnTo>
                    <a:lnTo>
                      <a:pt x="4295" y="1074"/>
                    </a:lnTo>
                    <a:lnTo>
                      <a:pt x="4295" y="1074"/>
                    </a:lnTo>
                    <a:lnTo>
                      <a:pt x="4299" y="1068"/>
                    </a:lnTo>
                    <a:lnTo>
                      <a:pt x="4299" y="1064"/>
                    </a:lnTo>
                    <a:lnTo>
                      <a:pt x="4299" y="1064"/>
                    </a:lnTo>
                    <a:lnTo>
                      <a:pt x="4295" y="1064"/>
                    </a:lnTo>
                    <a:lnTo>
                      <a:pt x="4286" y="1064"/>
                    </a:lnTo>
                    <a:lnTo>
                      <a:pt x="4282" y="1062"/>
                    </a:lnTo>
                    <a:lnTo>
                      <a:pt x="4278" y="1060"/>
                    </a:lnTo>
                    <a:lnTo>
                      <a:pt x="4278" y="1060"/>
                    </a:lnTo>
                    <a:lnTo>
                      <a:pt x="4273" y="1053"/>
                    </a:lnTo>
                    <a:lnTo>
                      <a:pt x="4273" y="1049"/>
                    </a:lnTo>
                    <a:lnTo>
                      <a:pt x="4273" y="1049"/>
                    </a:lnTo>
                    <a:lnTo>
                      <a:pt x="4273" y="1049"/>
                    </a:lnTo>
                    <a:lnTo>
                      <a:pt x="4273" y="1049"/>
                    </a:lnTo>
                    <a:lnTo>
                      <a:pt x="4280" y="1045"/>
                    </a:lnTo>
                    <a:lnTo>
                      <a:pt x="4280" y="1045"/>
                    </a:lnTo>
                    <a:lnTo>
                      <a:pt x="4282" y="1049"/>
                    </a:lnTo>
                    <a:lnTo>
                      <a:pt x="4286" y="1049"/>
                    </a:lnTo>
                    <a:lnTo>
                      <a:pt x="4286" y="1049"/>
                    </a:lnTo>
                    <a:lnTo>
                      <a:pt x="4316" y="1043"/>
                    </a:lnTo>
                    <a:lnTo>
                      <a:pt x="4350" y="1034"/>
                    </a:lnTo>
                    <a:lnTo>
                      <a:pt x="4350" y="1034"/>
                    </a:lnTo>
                    <a:lnTo>
                      <a:pt x="4363" y="1028"/>
                    </a:lnTo>
                    <a:lnTo>
                      <a:pt x="4380" y="1021"/>
                    </a:lnTo>
                    <a:lnTo>
                      <a:pt x="4388" y="1021"/>
                    </a:lnTo>
                    <a:lnTo>
                      <a:pt x="4397" y="1021"/>
                    </a:lnTo>
                    <a:lnTo>
                      <a:pt x="4403" y="1021"/>
                    </a:lnTo>
                    <a:lnTo>
                      <a:pt x="4407" y="1028"/>
                    </a:lnTo>
                    <a:lnTo>
                      <a:pt x="4407" y="1028"/>
                    </a:lnTo>
                    <a:lnTo>
                      <a:pt x="4407" y="1032"/>
                    </a:lnTo>
                    <a:lnTo>
                      <a:pt x="4407" y="1038"/>
                    </a:lnTo>
                    <a:lnTo>
                      <a:pt x="4403" y="1049"/>
                    </a:lnTo>
                    <a:lnTo>
                      <a:pt x="4394" y="1057"/>
                    </a:lnTo>
                    <a:lnTo>
                      <a:pt x="4384" y="1066"/>
                    </a:lnTo>
                    <a:lnTo>
                      <a:pt x="4384" y="1066"/>
                    </a:lnTo>
                    <a:close/>
                  </a:path>
                </a:pathLst>
              </a:custGeom>
              <a:grpFill/>
              <a:ln w="9525">
                <a:noFill/>
                <a:round/>
                <a:headEnd/>
                <a:tailEnd/>
              </a:ln>
              <a:extLst/>
            </p:spPr>
            <p:txBody>
              <a:bodyPr vert="horz" wrap="square" lIns="91440" tIns="45720" rIns="91440" bIns="45720" numCol="1" anchor="t" anchorCtr="0" compatLnSpc="1">
                <a:prstTxWarp prst="textNoShape">
                  <a:avLst/>
                </a:prstTxWarp>
              </a:bodyPr>
              <a:lstStyle/>
              <a:p>
                <a:endParaRPr lang="de-DE"/>
              </a:p>
            </p:txBody>
          </p:sp>
        </p:grpSp>
      </p:grpSp>
      <p:sp>
        <p:nvSpPr>
          <p:cNvPr id="172" name="Rechteck 171"/>
          <p:cNvSpPr/>
          <p:nvPr/>
        </p:nvSpPr>
        <p:spPr>
          <a:xfrm>
            <a:off x="3456948" y="4020434"/>
            <a:ext cx="756405" cy="184666"/>
          </a:xfrm>
          <a:prstGeom prst="rect">
            <a:avLst/>
          </a:prstGeom>
          <a:solidFill>
            <a:schemeClr val="accent2"/>
          </a:solidFill>
          <a:ln>
            <a:solidFill>
              <a:srgbClr val="FFFFFF"/>
            </a:solidFill>
          </a:ln>
        </p:spPr>
        <p:txBody>
          <a:bodyPr wrap="square" lIns="0" tIns="0" rIns="0" bIns="0">
            <a:spAutoFit/>
          </a:bodyPr>
          <a:lstStyle/>
          <a:p>
            <a:pPr algn="ctr"/>
            <a:r>
              <a:rPr lang="de-DE" sz="1200" b="1" dirty="0" smtClean="0">
                <a:solidFill>
                  <a:srgbClr val="FFFFFF"/>
                </a:solidFill>
              </a:rPr>
              <a:t> </a:t>
            </a:r>
            <a:r>
              <a:rPr lang="ru-RU" sz="1200" b="1" dirty="0" smtClean="0">
                <a:solidFill>
                  <a:srgbClr val="FFFFFF"/>
                </a:solidFill>
              </a:rPr>
              <a:t>ТУРЦИЯ</a:t>
            </a:r>
            <a:r>
              <a:rPr lang="de-DE" sz="1200" b="1" dirty="0" smtClean="0">
                <a:solidFill>
                  <a:srgbClr val="FFFFFF"/>
                </a:solidFill>
              </a:rPr>
              <a:t> </a:t>
            </a:r>
            <a:endParaRPr lang="de-DE" sz="1200" b="1" dirty="0">
              <a:solidFill>
                <a:srgbClr val="FFFFFF"/>
              </a:solidFill>
            </a:endParaRPr>
          </a:p>
        </p:txBody>
      </p:sp>
      <p:sp>
        <p:nvSpPr>
          <p:cNvPr id="118" name="Rechteck 117"/>
          <p:cNvSpPr/>
          <p:nvPr/>
        </p:nvSpPr>
        <p:spPr>
          <a:xfrm>
            <a:off x="4714506" y="4361324"/>
            <a:ext cx="692762" cy="184666"/>
          </a:xfrm>
          <a:prstGeom prst="rect">
            <a:avLst/>
          </a:prstGeom>
          <a:solidFill>
            <a:schemeClr val="accent2"/>
          </a:solidFill>
          <a:ln>
            <a:solidFill>
              <a:srgbClr val="FFFFFF"/>
            </a:solidFill>
          </a:ln>
        </p:spPr>
        <p:txBody>
          <a:bodyPr wrap="square" lIns="0" tIns="0" rIns="0" bIns="0">
            <a:spAutoFit/>
          </a:bodyPr>
          <a:lstStyle/>
          <a:p>
            <a:pPr algn="ctr"/>
            <a:r>
              <a:rPr lang="de-DE" sz="1200" b="1" dirty="0" smtClean="0">
                <a:solidFill>
                  <a:srgbClr val="FFFFFF"/>
                </a:solidFill>
              </a:rPr>
              <a:t> </a:t>
            </a:r>
            <a:r>
              <a:rPr lang="ru-RU" sz="1200" b="1" dirty="0" smtClean="0">
                <a:solidFill>
                  <a:srgbClr val="FFFFFF"/>
                </a:solidFill>
              </a:rPr>
              <a:t>МЕКСИКА</a:t>
            </a:r>
            <a:r>
              <a:rPr lang="de-DE" sz="1200" b="1" dirty="0" smtClean="0">
                <a:solidFill>
                  <a:srgbClr val="FFFFFF"/>
                </a:solidFill>
              </a:rPr>
              <a:t> </a:t>
            </a:r>
            <a:endParaRPr lang="de-DE" sz="1200" b="1" dirty="0">
              <a:solidFill>
                <a:srgbClr val="FFFFFF"/>
              </a:solidFill>
            </a:endParaRPr>
          </a:p>
        </p:txBody>
      </p:sp>
      <p:sp>
        <p:nvSpPr>
          <p:cNvPr id="29" name="Rechteck 28"/>
          <p:cNvSpPr/>
          <p:nvPr/>
        </p:nvSpPr>
        <p:spPr>
          <a:xfrm>
            <a:off x="1286635" y="1116768"/>
            <a:ext cx="292531" cy="3636834"/>
          </a:xfrm>
          <a:prstGeom prst="rect">
            <a:avLst/>
          </a:prstGeom>
          <a:solidFill>
            <a:srgbClr val="000000"/>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sp>
        <p:nvSpPr>
          <p:cNvPr id="26" name="Textfeld 25"/>
          <p:cNvSpPr txBox="1"/>
          <p:nvPr/>
        </p:nvSpPr>
        <p:spPr>
          <a:xfrm>
            <a:off x="656565" y="1086585"/>
            <a:ext cx="1800200" cy="3753335"/>
          </a:xfrm>
          <a:prstGeom prst="rect">
            <a:avLst/>
          </a:prstGeom>
          <a:noFill/>
        </p:spPr>
        <p:txBody>
          <a:bodyPr wrap="square" rtlCol="0">
            <a:spAutoFit/>
          </a:bodyPr>
          <a:lstStyle/>
          <a:p>
            <a:pPr indent="627063">
              <a:lnSpc>
                <a:spcPct val="130000"/>
              </a:lnSpc>
            </a:pPr>
            <a:r>
              <a:rPr lang="de-DE" sz="1000" b="1" dirty="0" smtClean="0">
                <a:solidFill>
                  <a:schemeClr val="bg1"/>
                </a:solidFill>
              </a:rPr>
              <a:t>1 </a:t>
            </a:r>
            <a:r>
              <a:rPr lang="de-DE" sz="900" dirty="0" smtClean="0"/>
              <a:t>	</a:t>
            </a:r>
            <a:r>
              <a:rPr lang="ru-RU" sz="900" dirty="0" smtClean="0"/>
              <a:t>США</a:t>
            </a:r>
            <a:endParaRPr lang="de-DE" sz="900" dirty="0" smtClean="0"/>
          </a:p>
          <a:p>
            <a:pPr indent="627063">
              <a:lnSpc>
                <a:spcPct val="130000"/>
              </a:lnSpc>
            </a:pPr>
            <a:r>
              <a:rPr lang="de-DE" sz="1000" b="1" dirty="0" smtClean="0">
                <a:solidFill>
                  <a:schemeClr val="bg1"/>
                </a:solidFill>
              </a:rPr>
              <a:t>2</a:t>
            </a:r>
            <a:r>
              <a:rPr lang="de-DE" sz="900" dirty="0" smtClean="0"/>
              <a:t>  	</a:t>
            </a:r>
            <a:r>
              <a:rPr lang="ru-RU" sz="900" dirty="0" smtClean="0"/>
              <a:t>Британия</a:t>
            </a:r>
            <a:endParaRPr lang="de-DE" sz="900" dirty="0" smtClean="0"/>
          </a:p>
          <a:p>
            <a:pPr indent="627063">
              <a:lnSpc>
                <a:spcPct val="130000"/>
              </a:lnSpc>
            </a:pPr>
            <a:r>
              <a:rPr lang="de-DE" sz="1000" b="1" dirty="0" smtClean="0">
                <a:solidFill>
                  <a:schemeClr val="bg1"/>
                </a:solidFill>
              </a:rPr>
              <a:t>3</a:t>
            </a:r>
            <a:r>
              <a:rPr lang="de-DE" sz="900" b="1" dirty="0" smtClean="0">
                <a:solidFill>
                  <a:schemeClr val="bg1"/>
                </a:solidFill>
              </a:rPr>
              <a:t> </a:t>
            </a:r>
            <a:r>
              <a:rPr lang="de-DE" sz="900" b="1" dirty="0" smtClean="0"/>
              <a:t>	</a:t>
            </a:r>
            <a:r>
              <a:rPr lang="ru-RU" sz="900" dirty="0" smtClean="0"/>
              <a:t>Германия</a:t>
            </a:r>
            <a:endParaRPr lang="de-DE" sz="900" dirty="0" smtClean="0"/>
          </a:p>
          <a:p>
            <a:pPr indent="627063">
              <a:lnSpc>
                <a:spcPct val="130000"/>
              </a:lnSpc>
            </a:pPr>
            <a:r>
              <a:rPr lang="de-DE" sz="900" b="1" dirty="0" smtClean="0">
                <a:solidFill>
                  <a:schemeClr val="bg1"/>
                </a:solidFill>
              </a:rPr>
              <a:t>4</a:t>
            </a:r>
            <a:r>
              <a:rPr lang="de-DE" sz="900" b="1" dirty="0" smtClean="0"/>
              <a:t> </a:t>
            </a:r>
            <a:r>
              <a:rPr lang="de-DE" sz="900" b="1" dirty="0"/>
              <a:t>	</a:t>
            </a:r>
            <a:r>
              <a:rPr lang="ru-RU" sz="900" dirty="0" smtClean="0"/>
              <a:t>Франция</a:t>
            </a:r>
            <a:endParaRPr lang="de-DE" sz="900" dirty="0" smtClean="0"/>
          </a:p>
          <a:p>
            <a:pPr indent="627063">
              <a:lnSpc>
                <a:spcPct val="130000"/>
              </a:lnSpc>
            </a:pPr>
            <a:r>
              <a:rPr lang="de-DE" sz="900" b="1" dirty="0" smtClean="0">
                <a:solidFill>
                  <a:schemeClr val="bg1"/>
                </a:solidFill>
              </a:rPr>
              <a:t>5 </a:t>
            </a:r>
            <a:r>
              <a:rPr lang="de-DE" sz="900" b="1" dirty="0"/>
              <a:t>	</a:t>
            </a:r>
            <a:r>
              <a:rPr lang="ru-RU" sz="900" dirty="0" smtClean="0"/>
              <a:t>Италия</a:t>
            </a:r>
            <a:endParaRPr lang="de-DE" sz="900" dirty="0" smtClean="0"/>
          </a:p>
          <a:p>
            <a:pPr indent="627063">
              <a:lnSpc>
                <a:spcPct val="130000"/>
              </a:lnSpc>
            </a:pPr>
            <a:r>
              <a:rPr lang="de-DE" sz="900" b="1" dirty="0" smtClean="0">
                <a:solidFill>
                  <a:schemeClr val="bg1"/>
                </a:solidFill>
              </a:rPr>
              <a:t>6 </a:t>
            </a:r>
            <a:r>
              <a:rPr lang="de-DE" sz="900" b="1" dirty="0"/>
              <a:t>	</a:t>
            </a:r>
            <a:r>
              <a:rPr lang="ru-RU" sz="900" dirty="0" smtClean="0"/>
              <a:t>Испания</a:t>
            </a:r>
            <a:endParaRPr lang="de-DE" sz="900" dirty="0" smtClean="0"/>
          </a:p>
          <a:p>
            <a:pPr indent="627063">
              <a:lnSpc>
                <a:spcPct val="130000"/>
              </a:lnSpc>
            </a:pPr>
            <a:r>
              <a:rPr lang="de-DE" sz="900" b="1" dirty="0" smtClean="0">
                <a:solidFill>
                  <a:schemeClr val="bg1"/>
                </a:solidFill>
              </a:rPr>
              <a:t>7 </a:t>
            </a:r>
            <a:r>
              <a:rPr lang="de-DE" sz="900" b="1" dirty="0"/>
              <a:t>	</a:t>
            </a:r>
            <a:r>
              <a:rPr lang="ru-RU" sz="900" dirty="0" smtClean="0"/>
              <a:t>Япония</a:t>
            </a:r>
            <a:endParaRPr lang="de-DE" sz="900" dirty="0" smtClean="0"/>
          </a:p>
          <a:p>
            <a:pPr indent="627063">
              <a:lnSpc>
                <a:spcPct val="130000"/>
              </a:lnSpc>
            </a:pPr>
            <a:r>
              <a:rPr lang="de-DE" sz="900" b="1" dirty="0" smtClean="0">
                <a:solidFill>
                  <a:schemeClr val="bg1"/>
                </a:solidFill>
              </a:rPr>
              <a:t>8 </a:t>
            </a:r>
            <a:r>
              <a:rPr lang="de-DE" sz="900" b="1" dirty="0"/>
              <a:t>	</a:t>
            </a:r>
            <a:r>
              <a:rPr lang="ru-RU" sz="900" dirty="0" smtClean="0"/>
              <a:t>Бразилия</a:t>
            </a:r>
            <a:endParaRPr lang="de-DE" sz="900" dirty="0" smtClean="0"/>
          </a:p>
          <a:p>
            <a:pPr indent="627063">
              <a:lnSpc>
                <a:spcPct val="130000"/>
              </a:lnSpc>
            </a:pPr>
            <a:r>
              <a:rPr lang="de-DE" sz="900" b="1" dirty="0" smtClean="0">
                <a:solidFill>
                  <a:schemeClr val="bg1"/>
                </a:solidFill>
              </a:rPr>
              <a:t>9 </a:t>
            </a:r>
            <a:r>
              <a:rPr lang="de-DE" sz="900" b="1" dirty="0"/>
              <a:t>	</a:t>
            </a:r>
            <a:r>
              <a:rPr lang="ru-RU" sz="900" dirty="0" smtClean="0"/>
              <a:t>Австралия</a:t>
            </a:r>
            <a:endParaRPr lang="de-DE" sz="900" dirty="0" smtClean="0"/>
          </a:p>
          <a:p>
            <a:pPr indent="627063">
              <a:lnSpc>
                <a:spcPct val="130000"/>
              </a:lnSpc>
            </a:pPr>
            <a:r>
              <a:rPr lang="de-DE" sz="900" b="1" dirty="0" smtClean="0">
                <a:solidFill>
                  <a:schemeClr val="accent2"/>
                </a:solidFill>
              </a:rPr>
              <a:t>10 </a:t>
            </a:r>
            <a:r>
              <a:rPr lang="de-DE" sz="900" b="1" dirty="0"/>
              <a:t>	</a:t>
            </a:r>
            <a:r>
              <a:rPr lang="ru-RU" sz="900" b="1" dirty="0" smtClean="0">
                <a:solidFill>
                  <a:schemeClr val="accent2"/>
                </a:solidFill>
              </a:rPr>
              <a:t>Россия</a:t>
            </a:r>
            <a:endParaRPr lang="de-DE" sz="900" b="1" dirty="0" smtClean="0">
              <a:solidFill>
                <a:schemeClr val="accent2"/>
              </a:solidFill>
            </a:endParaRPr>
          </a:p>
          <a:p>
            <a:pPr indent="627063">
              <a:lnSpc>
                <a:spcPct val="130000"/>
              </a:lnSpc>
            </a:pPr>
            <a:r>
              <a:rPr lang="de-DE" sz="900" b="1" dirty="0" smtClean="0">
                <a:solidFill>
                  <a:schemeClr val="accent2"/>
                </a:solidFill>
              </a:rPr>
              <a:t>11 </a:t>
            </a:r>
            <a:r>
              <a:rPr lang="de-DE" sz="900" b="1" dirty="0"/>
              <a:t>	</a:t>
            </a:r>
            <a:r>
              <a:rPr lang="ru-RU" sz="900" b="1" dirty="0" smtClean="0">
                <a:solidFill>
                  <a:schemeClr val="accent2"/>
                </a:solidFill>
              </a:rPr>
              <a:t>Китай</a:t>
            </a:r>
            <a:endParaRPr lang="de-DE" sz="900" b="1" dirty="0" smtClean="0">
              <a:solidFill>
                <a:schemeClr val="accent2"/>
              </a:solidFill>
            </a:endParaRPr>
          </a:p>
          <a:p>
            <a:pPr indent="627063">
              <a:lnSpc>
                <a:spcPct val="130000"/>
              </a:lnSpc>
            </a:pPr>
            <a:r>
              <a:rPr lang="de-DE" sz="900" b="1" dirty="0" smtClean="0">
                <a:solidFill>
                  <a:schemeClr val="bg1"/>
                </a:solidFill>
              </a:rPr>
              <a:t>12</a:t>
            </a:r>
            <a:r>
              <a:rPr lang="de-DE" sz="900" b="1" dirty="0" smtClean="0"/>
              <a:t> </a:t>
            </a:r>
            <a:r>
              <a:rPr lang="de-DE" sz="900" b="1" dirty="0"/>
              <a:t>	</a:t>
            </a:r>
            <a:r>
              <a:rPr lang="ru-RU" sz="900" dirty="0" smtClean="0"/>
              <a:t>Южная Корея</a:t>
            </a:r>
            <a:endParaRPr lang="de-DE" sz="900" dirty="0" smtClean="0"/>
          </a:p>
          <a:p>
            <a:pPr indent="627063">
              <a:lnSpc>
                <a:spcPct val="130000"/>
              </a:lnSpc>
            </a:pPr>
            <a:r>
              <a:rPr lang="de-DE" sz="900" b="1" dirty="0" smtClean="0">
                <a:solidFill>
                  <a:schemeClr val="bg1"/>
                </a:solidFill>
              </a:rPr>
              <a:t>13</a:t>
            </a:r>
            <a:r>
              <a:rPr lang="de-DE" sz="900" b="1" dirty="0" smtClean="0"/>
              <a:t> </a:t>
            </a:r>
            <a:r>
              <a:rPr lang="de-DE" sz="900" b="1" dirty="0"/>
              <a:t>	</a:t>
            </a:r>
            <a:r>
              <a:rPr lang="ru-RU" sz="900" dirty="0" smtClean="0"/>
              <a:t>Австрия</a:t>
            </a:r>
            <a:endParaRPr lang="de-DE" sz="900" dirty="0" smtClean="0"/>
          </a:p>
          <a:p>
            <a:pPr indent="627063">
              <a:lnSpc>
                <a:spcPct val="130000"/>
              </a:lnSpc>
            </a:pPr>
            <a:r>
              <a:rPr lang="de-DE" sz="900" b="1" dirty="0" smtClean="0">
                <a:solidFill>
                  <a:schemeClr val="bg1"/>
                </a:solidFill>
              </a:rPr>
              <a:t>14 </a:t>
            </a:r>
            <a:r>
              <a:rPr lang="de-DE" sz="900" b="1" dirty="0"/>
              <a:t>	</a:t>
            </a:r>
            <a:r>
              <a:rPr lang="ru-RU" sz="900" dirty="0" smtClean="0"/>
              <a:t>Швейцария</a:t>
            </a:r>
            <a:endParaRPr lang="de-DE" sz="900" dirty="0" smtClean="0"/>
          </a:p>
          <a:p>
            <a:pPr indent="627063">
              <a:lnSpc>
                <a:spcPct val="130000"/>
              </a:lnSpc>
            </a:pPr>
            <a:r>
              <a:rPr lang="de-DE" sz="900" b="1" dirty="0" smtClean="0">
                <a:solidFill>
                  <a:schemeClr val="bg1"/>
                </a:solidFill>
              </a:rPr>
              <a:t>15 </a:t>
            </a:r>
            <a:r>
              <a:rPr lang="de-DE" sz="900" b="1" dirty="0"/>
              <a:t>	</a:t>
            </a:r>
            <a:r>
              <a:rPr lang="ru-RU" sz="900" dirty="0" smtClean="0"/>
              <a:t>Индия</a:t>
            </a:r>
            <a:endParaRPr lang="de-DE" sz="900" dirty="0" smtClean="0"/>
          </a:p>
          <a:p>
            <a:pPr indent="627063">
              <a:lnSpc>
                <a:spcPct val="130000"/>
              </a:lnSpc>
            </a:pPr>
            <a:r>
              <a:rPr lang="de-DE" sz="900" b="1" dirty="0" smtClean="0">
                <a:solidFill>
                  <a:schemeClr val="bg1"/>
                </a:solidFill>
              </a:rPr>
              <a:t>16</a:t>
            </a:r>
            <a:r>
              <a:rPr lang="de-DE" sz="900" b="1" dirty="0" smtClean="0"/>
              <a:t> </a:t>
            </a:r>
            <a:r>
              <a:rPr lang="de-DE" sz="900" b="1" dirty="0"/>
              <a:t>	</a:t>
            </a:r>
            <a:r>
              <a:rPr lang="ru-RU" sz="900" dirty="0" smtClean="0"/>
              <a:t>Нидерланды</a:t>
            </a:r>
            <a:endParaRPr lang="de-DE" sz="900" dirty="0" smtClean="0"/>
          </a:p>
          <a:p>
            <a:pPr indent="627063">
              <a:lnSpc>
                <a:spcPct val="130000"/>
              </a:lnSpc>
            </a:pPr>
            <a:r>
              <a:rPr lang="de-DE" sz="900" b="1" dirty="0" smtClean="0">
                <a:solidFill>
                  <a:schemeClr val="accent2"/>
                </a:solidFill>
              </a:rPr>
              <a:t>17 </a:t>
            </a:r>
            <a:r>
              <a:rPr lang="de-DE" sz="900" b="1" dirty="0"/>
              <a:t>	</a:t>
            </a:r>
            <a:r>
              <a:rPr lang="ru-RU" sz="900" b="1" dirty="0" smtClean="0">
                <a:solidFill>
                  <a:schemeClr val="accent2"/>
                </a:solidFill>
              </a:rPr>
              <a:t>Турция</a:t>
            </a:r>
            <a:endParaRPr lang="de-DE" sz="900" b="1" dirty="0" smtClean="0">
              <a:solidFill>
                <a:schemeClr val="accent2"/>
              </a:solidFill>
            </a:endParaRPr>
          </a:p>
          <a:p>
            <a:pPr indent="627063">
              <a:lnSpc>
                <a:spcPct val="130000"/>
              </a:lnSpc>
            </a:pPr>
            <a:r>
              <a:rPr lang="de-DE" sz="900" b="1" dirty="0" smtClean="0">
                <a:solidFill>
                  <a:schemeClr val="bg1"/>
                </a:solidFill>
              </a:rPr>
              <a:t>18</a:t>
            </a:r>
            <a:r>
              <a:rPr lang="de-DE" sz="900" b="1" dirty="0" smtClean="0"/>
              <a:t> </a:t>
            </a:r>
            <a:r>
              <a:rPr lang="de-DE" sz="900" b="1" dirty="0"/>
              <a:t>	</a:t>
            </a:r>
            <a:r>
              <a:rPr lang="ru-RU" sz="900" dirty="0" smtClean="0"/>
              <a:t>Канада</a:t>
            </a:r>
            <a:endParaRPr lang="de-DE" sz="900" dirty="0" smtClean="0"/>
          </a:p>
          <a:p>
            <a:pPr indent="627063">
              <a:lnSpc>
                <a:spcPct val="130000"/>
              </a:lnSpc>
            </a:pPr>
            <a:r>
              <a:rPr lang="de-DE" sz="900" b="1" dirty="0" smtClean="0">
                <a:solidFill>
                  <a:schemeClr val="bg1"/>
                </a:solidFill>
              </a:rPr>
              <a:t>19</a:t>
            </a:r>
            <a:r>
              <a:rPr lang="de-DE" sz="900" b="1" dirty="0" smtClean="0"/>
              <a:t> </a:t>
            </a:r>
            <a:r>
              <a:rPr lang="de-DE" sz="900" b="1" dirty="0"/>
              <a:t>	</a:t>
            </a:r>
            <a:r>
              <a:rPr lang="ru-RU" sz="900" dirty="0" smtClean="0"/>
              <a:t>Швеция</a:t>
            </a:r>
            <a:endParaRPr lang="de-DE" sz="900" dirty="0" smtClean="0"/>
          </a:p>
          <a:p>
            <a:pPr indent="627063">
              <a:lnSpc>
                <a:spcPct val="130000"/>
              </a:lnSpc>
            </a:pPr>
            <a:r>
              <a:rPr lang="de-DE" sz="900" b="1" dirty="0" smtClean="0">
                <a:solidFill>
                  <a:schemeClr val="accent2"/>
                </a:solidFill>
              </a:rPr>
              <a:t>20 </a:t>
            </a:r>
            <a:r>
              <a:rPr lang="de-DE" sz="900" b="1" dirty="0"/>
              <a:t>	</a:t>
            </a:r>
            <a:r>
              <a:rPr lang="ru-RU" sz="900" b="1" dirty="0" smtClean="0">
                <a:solidFill>
                  <a:schemeClr val="accent2"/>
                </a:solidFill>
              </a:rPr>
              <a:t>Мексика</a:t>
            </a:r>
            <a:endParaRPr lang="de-DE" sz="900" dirty="0"/>
          </a:p>
        </p:txBody>
      </p:sp>
      <p:cxnSp>
        <p:nvCxnSpPr>
          <p:cNvPr id="31" name="Gerade Verbindung 30"/>
          <p:cNvCxnSpPr/>
          <p:nvPr/>
        </p:nvCxnSpPr>
        <p:spPr>
          <a:xfrm>
            <a:off x="1160719" y="1335729"/>
            <a:ext cx="1566076" cy="0"/>
          </a:xfrm>
          <a:prstGeom prst="line">
            <a:avLst/>
          </a:prstGeom>
          <a:ln>
            <a:solidFill>
              <a:srgbClr val="FFFFFF"/>
            </a:solidFill>
          </a:ln>
        </p:spPr>
        <p:style>
          <a:lnRef idx="2">
            <a:schemeClr val="accent1"/>
          </a:lnRef>
          <a:fillRef idx="0">
            <a:schemeClr val="accent1"/>
          </a:fillRef>
          <a:effectRef idx="1">
            <a:schemeClr val="accent1"/>
          </a:effectRef>
          <a:fontRef idx="minor">
            <a:schemeClr val="tx1"/>
          </a:fontRef>
        </p:style>
      </p:cxnSp>
      <p:cxnSp>
        <p:nvCxnSpPr>
          <p:cNvPr id="192" name="Gerade Verbindung 191"/>
          <p:cNvCxnSpPr/>
          <p:nvPr/>
        </p:nvCxnSpPr>
        <p:spPr>
          <a:xfrm>
            <a:off x="1160719" y="1560917"/>
            <a:ext cx="1566076" cy="0"/>
          </a:xfrm>
          <a:prstGeom prst="line">
            <a:avLst/>
          </a:prstGeom>
          <a:ln>
            <a:solidFill>
              <a:srgbClr val="FFFFFF"/>
            </a:solidFill>
          </a:ln>
        </p:spPr>
        <p:style>
          <a:lnRef idx="2">
            <a:schemeClr val="accent1"/>
          </a:lnRef>
          <a:fillRef idx="0">
            <a:schemeClr val="accent1"/>
          </a:fillRef>
          <a:effectRef idx="1">
            <a:schemeClr val="accent1"/>
          </a:effectRef>
          <a:fontRef idx="minor">
            <a:schemeClr val="tx1"/>
          </a:fontRef>
        </p:style>
      </p:cxnSp>
      <p:cxnSp>
        <p:nvCxnSpPr>
          <p:cNvPr id="193" name="Gerade Verbindung 192"/>
          <p:cNvCxnSpPr/>
          <p:nvPr/>
        </p:nvCxnSpPr>
        <p:spPr>
          <a:xfrm>
            <a:off x="1160719" y="1731514"/>
            <a:ext cx="1566076" cy="0"/>
          </a:xfrm>
          <a:prstGeom prst="line">
            <a:avLst/>
          </a:prstGeom>
          <a:ln>
            <a:solidFill>
              <a:srgbClr val="FFFFFF"/>
            </a:solidFill>
          </a:ln>
        </p:spPr>
        <p:style>
          <a:lnRef idx="2">
            <a:schemeClr val="accent1"/>
          </a:lnRef>
          <a:fillRef idx="0">
            <a:schemeClr val="accent1"/>
          </a:fillRef>
          <a:effectRef idx="1">
            <a:schemeClr val="accent1"/>
          </a:effectRef>
          <a:fontRef idx="minor">
            <a:schemeClr val="tx1"/>
          </a:fontRef>
        </p:style>
      </p:cxnSp>
      <p:cxnSp>
        <p:nvCxnSpPr>
          <p:cNvPr id="194" name="Gerade Verbindung 193"/>
          <p:cNvCxnSpPr/>
          <p:nvPr/>
        </p:nvCxnSpPr>
        <p:spPr>
          <a:xfrm>
            <a:off x="1160719" y="1922583"/>
            <a:ext cx="1566076" cy="0"/>
          </a:xfrm>
          <a:prstGeom prst="line">
            <a:avLst/>
          </a:prstGeom>
          <a:ln>
            <a:solidFill>
              <a:srgbClr val="FFFFFF"/>
            </a:solidFill>
          </a:ln>
        </p:spPr>
        <p:style>
          <a:lnRef idx="2">
            <a:schemeClr val="accent1"/>
          </a:lnRef>
          <a:fillRef idx="0">
            <a:schemeClr val="accent1"/>
          </a:fillRef>
          <a:effectRef idx="1">
            <a:schemeClr val="accent1"/>
          </a:effectRef>
          <a:fontRef idx="minor">
            <a:schemeClr val="tx1"/>
          </a:fontRef>
        </p:style>
      </p:cxnSp>
      <p:cxnSp>
        <p:nvCxnSpPr>
          <p:cNvPr id="197" name="Gerade Verbindung 196"/>
          <p:cNvCxnSpPr/>
          <p:nvPr/>
        </p:nvCxnSpPr>
        <p:spPr>
          <a:xfrm>
            <a:off x="1160719" y="2106827"/>
            <a:ext cx="1566076" cy="0"/>
          </a:xfrm>
          <a:prstGeom prst="line">
            <a:avLst/>
          </a:prstGeom>
          <a:ln>
            <a:solidFill>
              <a:srgbClr val="FFFFFF"/>
            </a:solidFill>
          </a:ln>
        </p:spPr>
        <p:style>
          <a:lnRef idx="2">
            <a:schemeClr val="accent1"/>
          </a:lnRef>
          <a:fillRef idx="0">
            <a:schemeClr val="accent1"/>
          </a:fillRef>
          <a:effectRef idx="1">
            <a:schemeClr val="accent1"/>
          </a:effectRef>
          <a:fontRef idx="minor">
            <a:schemeClr val="tx1"/>
          </a:fontRef>
        </p:style>
      </p:cxnSp>
      <p:cxnSp>
        <p:nvCxnSpPr>
          <p:cNvPr id="200" name="Gerade Verbindung 199"/>
          <p:cNvCxnSpPr/>
          <p:nvPr/>
        </p:nvCxnSpPr>
        <p:spPr>
          <a:xfrm>
            <a:off x="1160719" y="2284248"/>
            <a:ext cx="1566076" cy="0"/>
          </a:xfrm>
          <a:prstGeom prst="line">
            <a:avLst/>
          </a:prstGeom>
          <a:ln>
            <a:solidFill>
              <a:srgbClr val="FFFFFF"/>
            </a:solidFill>
          </a:ln>
        </p:spPr>
        <p:style>
          <a:lnRef idx="2">
            <a:schemeClr val="accent1"/>
          </a:lnRef>
          <a:fillRef idx="0">
            <a:schemeClr val="accent1"/>
          </a:fillRef>
          <a:effectRef idx="1">
            <a:schemeClr val="accent1"/>
          </a:effectRef>
          <a:fontRef idx="minor">
            <a:schemeClr val="tx1"/>
          </a:fontRef>
        </p:style>
      </p:cxnSp>
      <p:cxnSp>
        <p:nvCxnSpPr>
          <p:cNvPr id="203" name="Gerade Verbindung 202"/>
          <p:cNvCxnSpPr/>
          <p:nvPr/>
        </p:nvCxnSpPr>
        <p:spPr>
          <a:xfrm>
            <a:off x="1160719" y="2454845"/>
            <a:ext cx="1566076" cy="0"/>
          </a:xfrm>
          <a:prstGeom prst="line">
            <a:avLst/>
          </a:prstGeom>
          <a:ln>
            <a:solidFill>
              <a:srgbClr val="FFFFFF"/>
            </a:solidFill>
          </a:ln>
        </p:spPr>
        <p:style>
          <a:lnRef idx="2">
            <a:schemeClr val="accent1"/>
          </a:lnRef>
          <a:fillRef idx="0">
            <a:schemeClr val="accent1"/>
          </a:fillRef>
          <a:effectRef idx="1">
            <a:schemeClr val="accent1"/>
          </a:effectRef>
          <a:fontRef idx="minor">
            <a:schemeClr val="tx1"/>
          </a:fontRef>
        </p:style>
      </p:cxnSp>
      <p:cxnSp>
        <p:nvCxnSpPr>
          <p:cNvPr id="206" name="Gerade Verbindung 205"/>
          <p:cNvCxnSpPr/>
          <p:nvPr/>
        </p:nvCxnSpPr>
        <p:spPr>
          <a:xfrm>
            <a:off x="1160719" y="2625442"/>
            <a:ext cx="1566076" cy="0"/>
          </a:xfrm>
          <a:prstGeom prst="line">
            <a:avLst/>
          </a:prstGeom>
          <a:ln>
            <a:solidFill>
              <a:srgbClr val="FFFFFF"/>
            </a:solidFill>
          </a:ln>
        </p:spPr>
        <p:style>
          <a:lnRef idx="2">
            <a:schemeClr val="accent1"/>
          </a:lnRef>
          <a:fillRef idx="0">
            <a:schemeClr val="accent1"/>
          </a:fillRef>
          <a:effectRef idx="1">
            <a:schemeClr val="accent1"/>
          </a:effectRef>
          <a:fontRef idx="minor">
            <a:schemeClr val="tx1"/>
          </a:fontRef>
        </p:style>
      </p:cxnSp>
      <p:cxnSp>
        <p:nvCxnSpPr>
          <p:cNvPr id="209" name="Gerade Verbindung 208"/>
          <p:cNvCxnSpPr/>
          <p:nvPr/>
        </p:nvCxnSpPr>
        <p:spPr>
          <a:xfrm>
            <a:off x="1160719" y="2802863"/>
            <a:ext cx="1566076" cy="0"/>
          </a:xfrm>
          <a:prstGeom prst="line">
            <a:avLst/>
          </a:prstGeom>
          <a:ln>
            <a:solidFill>
              <a:srgbClr val="FFFFFF"/>
            </a:solidFill>
          </a:ln>
        </p:spPr>
        <p:style>
          <a:lnRef idx="2">
            <a:schemeClr val="accent1"/>
          </a:lnRef>
          <a:fillRef idx="0">
            <a:schemeClr val="accent1"/>
          </a:fillRef>
          <a:effectRef idx="1">
            <a:schemeClr val="accent1"/>
          </a:effectRef>
          <a:fontRef idx="minor">
            <a:schemeClr val="tx1"/>
          </a:fontRef>
        </p:style>
      </p:cxnSp>
      <p:cxnSp>
        <p:nvCxnSpPr>
          <p:cNvPr id="212" name="Gerade Verbindung 211"/>
          <p:cNvCxnSpPr/>
          <p:nvPr/>
        </p:nvCxnSpPr>
        <p:spPr>
          <a:xfrm>
            <a:off x="1160719" y="2987108"/>
            <a:ext cx="1566076" cy="0"/>
          </a:xfrm>
          <a:prstGeom prst="line">
            <a:avLst/>
          </a:prstGeom>
          <a:ln>
            <a:solidFill>
              <a:srgbClr val="FFFFFF"/>
            </a:solidFill>
          </a:ln>
        </p:spPr>
        <p:style>
          <a:lnRef idx="2">
            <a:schemeClr val="accent1"/>
          </a:lnRef>
          <a:fillRef idx="0">
            <a:schemeClr val="accent1"/>
          </a:fillRef>
          <a:effectRef idx="1">
            <a:schemeClr val="accent1"/>
          </a:effectRef>
          <a:fontRef idx="minor">
            <a:schemeClr val="tx1"/>
          </a:fontRef>
        </p:style>
      </p:cxnSp>
      <p:cxnSp>
        <p:nvCxnSpPr>
          <p:cNvPr id="215" name="Gerade Verbindung 214"/>
          <p:cNvCxnSpPr/>
          <p:nvPr/>
        </p:nvCxnSpPr>
        <p:spPr>
          <a:xfrm>
            <a:off x="1160719" y="3185000"/>
            <a:ext cx="1566076" cy="0"/>
          </a:xfrm>
          <a:prstGeom prst="line">
            <a:avLst/>
          </a:prstGeom>
          <a:ln>
            <a:solidFill>
              <a:srgbClr val="FFFFFF"/>
            </a:solidFill>
          </a:ln>
        </p:spPr>
        <p:style>
          <a:lnRef idx="2">
            <a:schemeClr val="accent1"/>
          </a:lnRef>
          <a:fillRef idx="0">
            <a:schemeClr val="accent1"/>
          </a:fillRef>
          <a:effectRef idx="1">
            <a:schemeClr val="accent1"/>
          </a:effectRef>
          <a:fontRef idx="minor">
            <a:schemeClr val="tx1"/>
          </a:fontRef>
        </p:style>
      </p:cxnSp>
      <p:cxnSp>
        <p:nvCxnSpPr>
          <p:cNvPr id="216" name="Gerade Verbindung 215"/>
          <p:cNvCxnSpPr/>
          <p:nvPr/>
        </p:nvCxnSpPr>
        <p:spPr>
          <a:xfrm>
            <a:off x="1160719" y="3348773"/>
            <a:ext cx="1566076" cy="0"/>
          </a:xfrm>
          <a:prstGeom prst="line">
            <a:avLst/>
          </a:prstGeom>
          <a:ln>
            <a:solidFill>
              <a:srgbClr val="FFFFFF"/>
            </a:solidFill>
          </a:ln>
        </p:spPr>
        <p:style>
          <a:lnRef idx="2">
            <a:schemeClr val="accent1"/>
          </a:lnRef>
          <a:fillRef idx="0">
            <a:schemeClr val="accent1"/>
          </a:fillRef>
          <a:effectRef idx="1">
            <a:schemeClr val="accent1"/>
          </a:effectRef>
          <a:fontRef idx="minor">
            <a:schemeClr val="tx1"/>
          </a:fontRef>
        </p:style>
      </p:cxnSp>
      <p:cxnSp>
        <p:nvCxnSpPr>
          <p:cNvPr id="217" name="Gerade Verbindung 216"/>
          <p:cNvCxnSpPr/>
          <p:nvPr/>
        </p:nvCxnSpPr>
        <p:spPr>
          <a:xfrm>
            <a:off x="1160719" y="3533018"/>
            <a:ext cx="1566076" cy="0"/>
          </a:xfrm>
          <a:prstGeom prst="line">
            <a:avLst/>
          </a:prstGeom>
          <a:ln>
            <a:solidFill>
              <a:srgbClr val="FFFFFF"/>
            </a:solidFill>
          </a:ln>
        </p:spPr>
        <p:style>
          <a:lnRef idx="2">
            <a:schemeClr val="accent1"/>
          </a:lnRef>
          <a:fillRef idx="0">
            <a:schemeClr val="accent1"/>
          </a:fillRef>
          <a:effectRef idx="1">
            <a:schemeClr val="accent1"/>
          </a:effectRef>
          <a:fontRef idx="minor">
            <a:schemeClr val="tx1"/>
          </a:fontRef>
        </p:style>
      </p:cxnSp>
      <p:cxnSp>
        <p:nvCxnSpPr>
          <p:cNvPr id="218" name="Gerade Verbindung 217"/>
          <p:cNvCxnSpPr/>
          <p:nvPr/>
        </p:nvCxnSpPr>
        <p:spPr>
          <a:xfrm>
            <a:off x="1160719" y="3703615"/>
            <a:ext cx="1566076" cy="0"/>
          </a:xfrm>
          <a:prstGeom prst="line">
            <a:avLst/>
          </a:prstGeom>
          <a:ln>
            <a:solidFill>
              <a:srgbClr val="FFFFFF"/>
            </a:solidFill>
          </a:ln>
        </p:spPr>
        <p:style>
          <a:lnRef idx="2">
            <a:schemeClr val="accent1"/>
          </a:lnRef>
          <a:fillRef idx="0">
            <a:schemeClr val="accent1"/>
          </a:fillRef>
          <a:effectRef idx="1">
            <a:schemeClr val="accent1"/>
          </a:effectRef>
          <a:fontRef idx="minor">
            <a:schemeClr val="tx1"/>
          </a:fontRef>
        </p:style>
      </p:cxnSp>
      <p:cxnSp>
        <p:nvCxnSpPr>
          <p:cNvPr id="219" name="Gerade Verbindung 218"/>
          <p:cNvCxnSpPr/>
          <p:nvPr/>
        </p:nvCxnSpPr>
        <p:spPr>
          <a:xfrm>
            <a:off x="1160719" y="3881036"/>
            <a:ext cx="1566076" cy="0"/>
          </a:xfrm>
          <a:prstGeom prst="line">
            <a:avLst/>
          </a:prstGeom>
          <a:ln>
            <a:solidFill>
              <a:srgbClr val="FFFFFF"/>
            </a:solidFill>
          </a:ln>
        </p:spPr>
        <p:style>
          <a:lnRef idx="2">
            <a:schemeClr val="accent1"/>
          </a:lnRef>
          <a:fillRef idx="0">
            <a:schemeClr val="accent1"/>
          </a:fillRef>
          <a:effectRef idx="1">
            <a:schemeClr val="accent1"/>
          </a:effectRef>
          <a:fontRef idx="minor">
            <a:schemeClr val="tx1"/>
          </a:fontRef>
        </p:style>
      </p:cxnSp>
      <p:cxnSp>
        <p:nvCxnSpPr>
          <p:cNvPr id="220" name="Gerade Verbindung 219"/>
          <p:cNvCxnSpPr/>
          <p:nvPr/>
        </p:nvCxnSpPr>
        <p:spPr>
          <a:xfrm>
            <a:off x="1160719" y="4065281"/>
            <a:ext cx="1566076" cy="0"/>
          </a:xfrm>
          <a:prstGeom prst="line">
            <a:avLst/>
          </a:prstGeom>
          <a:ln>
            <a:solidFill>
              <a:srgbClr val="FFFFFF"/>
            </a:solidFill>
          </a:ln>
        </p:spPr>
        <p:style>
          <a:lnRef idx="2">
            <a:schemeClr val="accent1"/>
          </a:lnRef>
          <a:fillRef idx="0">
            <a:schemeClr val="accent1"/>
          </a:fillRef>
          <a:effectRef idx="1">
            <a:schemeClr val="accent1"/>
          </a:effectRef>
          <a:fontRef idx="minor">
            <a:schemeClr val="tx1"/>
          </a:fontRef>
        </p:style>
      </p:cxnSp>
      <p:cxnSp>
        <p:nvCxnSpPr>
          <p:cNvPr id="221" name="Gerade Verbindung 220"/>
          <p:cNvCxnSpPr/>
          <p:nvPr/>
        </p:nvCxnSpPr>
        <p:spPr>
          <a:xfrm>
            <a:off x="1160719" y="4235878"/>
            <a:ext cx="1566076" cy="0"/>
          </a:xfrm>
          <a:prstGeom prst="line">
            <a:avLst/>
          </a:prstGeom>
          <a:ln>
            <a:solidFill>
              <a:srgbClr val="FFFFFF"/>
            </a:solidFill>
          </a:ln>
        </p:spPr>
        <p:style>
          <a:lnRef idx="2">
            <a:schemeClr val="accent1"/>
          </a:lnRef>
          <a:fillRef idx="0">
            <a:schemeClr val="accent1"/>
          </a:fillRef>
          <a:effectRef idx="1">
            <a:schemeClr val="accent1"/>
          </a:effectRef>
          <a:fontRef idx="minor">
            <a:schemeClr val="tx1"/>
          </a:fontRef>
        </p:style>
      </p:cxnSp>
      <p:cxnSp>
        <p:nvCxnSpPr>
          <p:cNvPr id="222" name="Gerade Verbindung 221"/>
          <p:cNvCxnSpPr/>
          <p:nvPr/>
        </p:nvCxnSpPr>
        <p:spPr>
          <a:xfrm>
            <a:off x="1160719" y="4420123"/>
            <a:ext cx="1566076" cy="0"/>
          </a:xfrm>
          <a:prstGeom prst="line">
            <a:avLst/>
          </a:prstGeom>
          <a:ln>
            <a:solidFill>
              <a:srgbClr val="FFFFFF"/>
            </a:solidFill>
          </a:ln>
        </p:spPr>
        <p:style>
          <a:lnRef idx="2">
            <a:schemeClr val="accent1"/>
          </a:lnRef>
          <a:fillRef idx="0">
            <a:schemeClr val="accent1"/>
          </a:fillRef>
          <a:effectRef idx="1">
            <a:schemeClr val="accent1"/>
          </a:effectRef>
          <a:fontRef idx="minor">
            <a:schemeClr val="tx1"/>
          </a:fontRef>
        </p:style>
      </p:cxnSp>
      <p:cxnSp>
        <p:nvCxnSpPr>
          <p:cNvPr id="223" name="Gerade Verbindung 222"/>
          <p:cNvCxnSpPr/>
          <p:nvPr/>
        </p:nvCxnSpPr>
        <p:spPr>
          <a:xfrm>
            <a:off x="1160719" y="4583896"/>
            <a:ext cx="1566076" cy="0"/>
          </a:xfrm>
          <a:prstGeom prst="line">
            <a:avLst/>
          </a:prstGeom>
          <a:ln>
            <a:solidFill>
              <a:srgbClr val="FFFFFF"/>
            </a:solidFill>
          </a:ln>
        </p:spPr>
        <p:style>
          <a:lnRef idx="2">
            <a:schemeClr val="accent1"/>
          </a:lnRef>
          <a:fillRef idx="0">
            <a:schemeClr val="accent1"/>
          </a:fillRef>
          <a:effectRef idx="1">
            <a:schemeClr val="accent1"/>
          </a:effectRef>
          <a:fontRef idx="minor">
            <a:schemeClr val="tx1"/>
          </a:fontRef>
        </p:style>
      </p:cxnSp>
      <p:sp>
        <p:nvSpPr>
          <p:cNvPr id="224" name="Rectangle 19"/>
          <p:cNvSpPr/>
          <p:nvPr/>
        </p:nvSpPr>
        <p:spPr>
          <a:xfrm>
            <a:off x="2876908" y="1116768"/>
            <a:ext cx="2685202" cy="29696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216000" anchor="ctr"/>
          <a:lstStyle/>
          <a:p>
            <a:r>
              <a:rPr lang="ru-RU" sz="1100" b="1" dirty="0" smtClean="0">
                <a:solidFill>
                  <a:schemeClr val="bg1"/>
                </a:solidFill>
              </a:rPr>
              <a:t>ВЛИЯНИЕ РАЗВИВАЮЩИХСЯ РЫНКОВ</a:t>
            </a:r>
            <a:endParaRPr lang="de-DE" sz="1100" b="1" dirty="0">
              <a:solidFill>
                <a:schemeClr val="bg1"/>
              </a:solidFill>
            </a:endParaRPr>
          </a:p>
        </p:txBody>
      </p:sp>
      <p:sp>
        <p:nvSpPr>
          <p:cNvPr id="77" name="Rechteck 76"/>
          <p:cNvSpPr/>
          <p:nvPr/>
        </p:nvSpPr>
        <p:spPr>
          <a:xfrm>
            <a:off x="2824713" y="2445289"/>
            <a:ext cx="104390" cy="81349"/>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grpSp>
        <p:nvGrpSpPr>
          <p:cNvPr id="78" name="Gruppieren 77"/>
          <p:cNvGrpSpPr/>
          <p:nvPr/>
        </p:nvGrpSpPr>
        <p:grpSpPr>
          <a:xfrm>
            <a:off x="2366752" y="1714590"/>
            <a:ext cx="1841920" cy="1178573"/>
            <a:chOff x="2366752" y="1714590"/>
            <a:chExt cx="1841920" cy="1178573"/>
          </a:xfrm>
        </p:grpSpPr>
        <p:sp>
          <p:nvSpPr>
            <p:cNvPr id="168" name="Oval 53"/>
            <p:cNvSpPr>
              <a:spLocks noChangeAspect="1"/>
            </p:cNvSpPr>
            <p:nvPr/>
          </p:nvSpPr>
          <p:spPr>
            <a:xfrm>
              <a:off x="3387066" y="1714590"/>
              <a:ext cx="821606" cy="821604"/>
            </a:xfrm>
            <a:prstGeom prst="ellipse">
              <a:avLst/>
            </a:prstGeom>
            <a:solidFill>
              <a:srgbClr val="FFFFFF"/>
            </a:solidFill>
            <a:ln w="19050">
              <a:solidFill>
                <a:srgbClr val="FF8300"/>
              </a:solidFill>
              <a:prstDash val="sys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nvGrpSpPr>
            <p:cNvPr id="282" name="Gruppieren 104"/>
            <p:cNvGrpSpPr>
              <a:grpSpLocks noChangeAspect="1"/>
            </p:cNvGrpSpPr>
            <p:nvPr/>
          </p:nvGrpSpPr>
          <p:grpSpPr bwMode="gray">
            <a:xfrm>
              <a:off x="3478366" y="1900131"/>
              <a:ext cx="641130" cy="401527"/>
              <a:chOff x="603989" y="1711643"/>
              <a:chExt cx="7905543" cy="4570228"/>
            </a:xfrm>
            <a:solidFill>
              <a:schemeClr val="accent2"/>
            </a:solidFill>
          </p:grpSpPr>
          <p:sp>
            <p:nvSpPr>
              <p:cNvPr id="283" name="Freeform 356"/>
              <p:cNvSpPr>
                <a:spLocks noChangeArrowheads="1"/>
              </p:cNvSpPr>
              <p:nvPr>
                <p:custDataLst>
                  <p:tags r:id="rId1"/>
                </p:custDataLst>
              </p:nvPr>
            </p:nvSpPr>
            <p:spPr bwMode="gray">
              <a:xfrm>
                <a:off x="7072085" y="1711643"/>
                <a:ext cx="982423" cy="1315471"/>
              </a:xfrm>
              <a:custGeom>
                <a:avLst/>
                <a:gdLst>
                  <a:gd name="T0" fmla="*/ 0 w 1168661"/>
                  <a:gd name="T1" fmla="*/ 0 h 1565910"/>
                  <a:gd name="T2" fmla="*/ 1168661 w 1168661"/>
                  <a:gd name="T3" fmla="*/ 1565910 h 1565910"/>
                </a:gdLst>
                <a:ahLst/>
                <a:cxnLst/>
                <a:rect l="T0" t="T1" r="T2" b="T3"/>
                <a:pathLst>
                  <a:path w="1168661" h="1565910">
                    <a:moveTo>
                      <a:pt x="10421" y="1154430"/>
                    </a:moveTo>
                    <a:cubicBezTo>
                      <a:pt x="12961" y="1151890"/>
                      <a:pt x="15769" y="1146976"/>
                      <a:pt x="18041" y="1143000"/>
                    </a:cubicBezTo>
                    <a:cubicBezTo>
                      <a:pt x="20859" y="1138069"/>
                      <a:pt x="23424" y="1132980"/>
                      <a:pt x="25661" y="1127760"/>
                    </a:cubicBezTo>
                    <a:cubicBezTo>
                      <a:pt x="28238" y="1121747"/>
                      <a:pt x="32263" y="1106687"/>
                      <a:pt x="33281" y="1101090"/>
                    </a:cubicBezTo>
                    <a:cubicBezTo>
                      <a:pt x="41433" y="1056251"/>
                      <a:pt x="31185" y="1091439"/>
                      <a:pt x="44711" y="1055370"/>
                    </a:cubicBezTo>
                    <a:cubicBezTo>
                      <a:pt x="46121" y="1051610"/>
                      <a:pt x="46111" y="1047153"/>
                      <a:pt x="48521" y="1043940"/>
                    </a:cubicBezTo>
                    <a:cubicBezTo>
                      <a:pt x="53909" y="1036756"/>
                      <a:pt x="62058" y="1031979"/>
                      <a:pt x="67571" y="1024890"/>
                    </a:cubicBezTo>
                    <a:cubicBezTo>
                      <a:pt x="71058" y="1020407"/>
                      <a:pt x="71594" y="1014046"/>
                      <a:pt x="75191" y="1009650"/>
                    </a:cubicBezTo>
                    <a:cubicBezTo>
                      <a:pt x="83152" y="999920"/>
                      <a:pt x="92971" y="991870"/>
                      <a:pt x="101861" y="982980"/>
                    </a:cubicBezTo>
                    <a:cubicBezTo>
                      <a:pt x="105671" y="979170"/>
                      <a:pt x="110302" y="976033"/>
                      <a:pt x="113291" y="971550"/>
                    </a:cubicBezTo>
                    <a:cubicBezTo>
                      <a:pt x="123900" y="955637"/>
                      <a:pt x="117673" y="963358"/>
                      <a:pt x="132341" y="948690"/>
                    </a:cubicBezTo>
                    <a:cubicBezTo>
                      <a:pt x="133611" y="944880"/>
                      <a:pt x="135280" y="941180"/>
                      <a:pt x="136151" y="937260"/>
                    </a:cubicBezTo>
                    <a:cubicBezTo>
                      <a:pt x="137827" y="929719"/>
                      <a:pt x="136506" y="921310"/>
                      <a:pt x="139961" y="914400"/>
                    </a:cubicBezTo>
                    <a:cubicBezTo>
                      <a:pt x="142009" y="910304"/>
                      <a:pt x="147295" y="908828"/>
                      <a:pt x="151391" y="906780"/>
                    </a:cubicBezTo>
                    <a:cubicBezTo>
                      <a:pt x="154983" y="904984"/>
                      <a:pt x="158925" y="903944"/>
                      <a:pt x="162821" y="902970"/>
                    </a:cubicBezTo>
                    <a:cubicBezTo>
                      <a:pt x="189122" y="896395"/>
                      <a:pt x="203566" y="897610"/>
                      <a:pt x="235211" y="895350"/>
                    </a:cubicBezTo>
                    <a:cubicBezTo>
                      <a:pt x="241038" y="891465"/>
                      <a:pt x="253514" y="885265"/>
                      <a:pt x="254261" y="876300"/>
                    </a:cubicBezTo>
                    <a:cubicBezTo>
                      <a:pt x="255682" y="859247"/>
                      <a:pt x="255853" y="839557"/>
                      <a:pt x="239021" y="830580"/>
                    </a:cubicBezTo>
                    <a:cubicBezTo>
                      <a:pt x="205418" y="812658"/>
                      <a:pt x="202393" y="813348"/>
                      <a:pt x="174251" y="807720"/>
                    </a:cubicBezTo>
                    <a:cubicBezTo>
                      <a:pt x="160512" y="799476"/>
                      <a:pt x="154016" y="794917"/>
                      <a:pt x="139961" y="788670"/>
                    </a:cubicBezTo>
                    <a:cubicBezTo>
                      <a:pt x="133711" y="785892"/>
                      <a:pt x="127261" y="783590"/>
                      <a:pt x="120911" y="781050"/>
                    </a:cubicBezTo>
                    <a:cubicBezTo>
                      <a:pt x="117101" y="777240"/>
                      <a:pt x="112470" y="774103"/>
                      <a:pt x="109481" y="769620"/>
                    </a:cubicBezTo>
                    <a:cubicBezTo>
                      <a:pt x="101910" y="758263"/>
                      <a:pt x="106508" y="737224"/>
                      <a:pt x="109481" y="727710"/>
                    </a:cubicBezTo>
                    <a:cubicBezTo>
                      <a:pt x="112869" y="716868"/>
                      <a:pt x="113945" y="700822"/>
                      <a:pt x="124721" y="697230"/>
                    </a:cubicBezTo>
                    <a:lnTo>
                      <a:pt x="136151" y="693420"/>
                    </a:lnTo>
                    <a:cubicBezTo>
                      <a:pt x="146828" y="680074"/>
                      <a:pt x="153637" y="670125"/>
                      <a:pt x="166631" y="659130"/>
                    </a:cubicBezTo>
                    <a:cubicBezTo>
                      <a:pt x="177685" y="649777"/>
                      <a:pt x="190682" y="642699"/>
                      <a:pt x="200921" y="632460"/>
                    </a:cubicBezTo>
                    <a:cubicBezTo>
                      <a:pt x="206001" y="627380"/>
                      <a:pt x="210791" y="621993"/>
                      <a:pt x="216161" y="617220"/>
                    </a:cubicBezTo>
                    <a:cubicBezTo>
                      <a:pt x="222239" y="611817"/>
                      <a:pt x="228705" y="606859"/>
                      <a:pt x="235211" y="601980"/>
                    </a:cubicBezTo>
                    <a:cubicBezTo>
                      <a:pt x="238874" y="599233"/>
                      <a:pt x="243123" y="597291"/>
                      <a:pt x="246641" y="594360"/>
                    </a:cubicBezTo>
                    <a:cubicBezTo>
                      <a:pt x="261307" y="582138"/>
                      <a:pt x="261575" y="575616"/>
                      <a:pt x="277121" y="560070"/>
                    </a:cubicBezTo>
                    <a:cubicBezTo>
                      <a:pt x="281611" y="555580"/>
                      <a:pt x="287871" y="553130"/>
                      <a:pt x="292361" y="548640"/>
                    </a:cubicBezTo>
                    <a:cubicBezTo>
                      <a:pt x="298111" y="542890"/>
                      <a:pt x="302085" y="535565"/>
                      <a:pt x="307601" y="529590"/>
                    </a:cubicBezTo>
                    <a:cubicBezTo>
                      <a:pt x="317347" y="519032"/>
                      <a:pt x="330111" y="511065"/>
                      <a:pt x="338081" y="499110"/>
                    </a:cubicBezTo>
                    <a:cubicBezTo>
                      <a:pt x="340621" y="495300"/>
                      <a:pt x="342721" y="491157"/>
                      <a:pt x="345701" y="487680"/>
                    </a:cubicBezTo>
                    <a:cubicBezTo>
                      <a:pt x="350376" y="482225"/>
                      <a:pt x="356630" y="478187"/>
                      <a:pt x="360941" y="472440"/>
                    </a:cubicBezTo>
                    <a:cubicBezTo>
                      <a:pt x="376634" y="451515"/>
                      <a:pt x="358734" y="460476"/>
                      <a:pt x="379991" y="453390"/>
                    </a:cubicBezTo>
                    <a:cubicBezTo>
                      <a:pt x="400311" y="422910"/>
                      <a:pt x="373641" y="459740"/>
                      <a:pt x="399041" y="434340"/>
                    </a:cubicBezTo>
                    <a:cubicBezTo>
                      <a:pt x="402279" y="431102"/>
                      <a:pt x="403646" y="426356"/>
                      <a:pt x="406661" y="422910"/>
                    </a:cubicBezTo>
                    <a:cubicBezTo>
                      <a:pt x="438701" y="386293"/>
                      <a:pt x="412517" y="418495"/>
                      <a:pt x="440951" y="392430"/>
                    </a:cubicBezTo>
                    <a:cubicBezTo>
                      <a:pt x="451543" y="382721"/>
                      <a:pt x="461271" y="372110"/>
                      <a:pt x="471431" y="361950"/>
                    </a:cubicBezTo>
                    <a:cubicBezTo>
                      <a:pt x="475241" y="358140"/>
                      <a:pt x="478378" y="353509"/>
                      <a:pt x="482861" y="350520"/>
                    </a:cubicBezTo>
                    <a:cubicBezTo>
                      <a:pt x="498664" y="339985"/>
                      <a:pt x="497132" y="342086"/>
                      <a:pt x="513341" y="323850"/>
                    </a:cubicBezTo>
                    <a:cubicBezTo>
                      <a:pt x="517560" y="319104"/>
                      <a:pt x="519950" y="312743"/>
                      <a:pt x="524771" y="308610"/>
                    </a:cubicBezTo>
                    <a:cubicBezTo>
                      <a:pt x="529083" y="304914"/>
                      <a:pt x="535141" y="303912"/>
                      <a:pt x="540011" y="300990"/>
                    </a:cubicBezTo>
                    <a:cubicBezTo>
                      <a:pt x="547864" y="296278"/>
                      <a:pt x="555368" y="291002"/>
                      <a:pt x="562871" y="285750"/>
                    </a:cubicBezTo>
                    <a:cubicBezTo>
                      <a:pt x="568073" y="282109"/>
                      <a:pt x="572598" y="277470"/>
                      <a:pt x="578111" y="274320"/>
                    </a:cubicBezTo>
                    <a:cubicBezTo>
                      <a:pt x="581598" y="272327"/>
                      <a:pt x="585949" y="272306"/>
                      <a:pt x="589541" y="270510"/>
                    </a:cubicBezTo>
                    <a:cubicBezTo>
                      <a:pt x="594365" y="268098"/>
                      <a:pt x="613795" y="253531"/>
                      <a:pt x="616211" y="251460"/>
                    </a:cubicBezTo>
                    <a:cubicBezTo>
                      <a:pt x="620302" y="247953"/>
                      <a:pt x="623158" y="243019"/>
                      <a:pt x="627641" y="240030"/>
                    </a:cubicBezTo>
                    <a:cubicBezTo>
                      <a:pt x="630983" y="237802"/>
                      <a:pt x="635479" y="238016"/>
                      <a:pt x="639071" y="236220"/>
                    </a:cubicBezTo>
                    <a:cubicBezTo>
                      <a:pt x="643167" y="234172"/>
                      <a:pt x="646691" y="231140"/>
                      <a:pt x="650501" y="228600"/>
                    </a:cubicBezTo>
                    <a:cubicBezTo>
                      <a:pt x="661931" y="229870"/>
                      <a:pt x="673291" y="232410"/>
                      <a:pt x="684791" y="232410"/>
                    </a:cubicBezTo>
                    <a:cubicBezTo>
                      <a:pt x="694531" y="232410"/>
                      <a:pt x="755938" y="226057"/>
                      <a:pt x="768611" y="224790"/>
                    </a:cubicBezTo>
                    <a:cubicBezTo>
                      <a:pt x="769881" y="220980"/>
                      <a:pt x="774487" y="216804"/>
                      <a:pt x="772421" y="213360"/>
                    </a:cubicBezTo>
                    <a:cubicBezTo>
                      <a:pt x="769499" y="208490"/>
                      <a:pt x="762621" y="207372"/>
                      <a:pt x="757181" y="205740"/>
                    </a:cubicBezTo>
                    <a:cubicBezTo>
                      <a:pt x="749782" y="203520"/>
                      <a:pt x="741922" y="203312"/>
                      <a:pt x="734321" y="201930"/>
                    </a:cubicBezTo>
                    <a:cubicBezTo>
                      <a:pt x="716586" y="198705"/>
                      <a:pt x="716338" y="198387"/>
                      <a:pt x="700031" y="194310"/>
                    </a:cubicBezTo>
                    <a:cubicBezTo>
                      <a:pt x="698761" y="190500"/>
                      <a:pt x="696221" y="186896"/>
                      <a:pt x="696221" y="182880"/>
                    </a:cubicBezTo>
                    <a:cubicBezTo>
                      <a:pt x="696221" y="176404"/>
                      <a:pt x="698327" y="170078"/>
                      <a:pt x="700031" y="163830"/>
                    </a:cubicBezTo>
                    <a:cubicBezTo>
                      <a:pt x="706908" y="138614"/>
                      <a:pt x="705006" y="144496"/>
                      <a:pt x="719081" y="125730"/>
                    </a:cubicBezTo>
                    <a:cubicBezTo>
                      <a:pt x="721621" y="118110"/>
                      <a:pt x="722246" y="109553"/>
                      <a:pt x="726701" y="102870"/>
                    </a:cubicBezTo>
                    <a:cubicBezTo>
                      <a:pt x="737321" y="86940"/>
                      <a:pt x="739942" y="79771"/>
                      <a:pt x="753371" y="68580"/>
                    </a:cubicBezTo>
                    <a:cubicBezTo>
                      <a:pt x="756889" y="65649"/>
                      <a:pt x="760991" y="63500"/>
                      <a:pt x="764801" y="60960"/>
                    </a:cubicBezTo>
                    <a:cubicBezTo>
                      <a:pt x="767341" y="57150"/>
                      <a:pt x="769441" y="53007"/>
                      <a:pt x="772421" y="49530"/>
                    </a:cubicBezTo>
                    <a:cubicBezTo>
                      <a:pt x="779503" y="41267"/>
                      <a:pt x="793093" y="28465"/>
                      <a:pt x="802901" y="22860"/>
                    </a:cubicBezTo>
                    <a:cubicBezTo>
                      <a:pt x="806388" y="20867"/>
                      <a:pt x="810739" y="20846"/>
                      <a:pt x="814331" y="19050"/>
                    </a:cubicBezTo>
                    <a:cubicBezTo>
                      <a:pt x="824940" y="13746"/>
                      <a:pt x="828765" y="8426"/>
                      <a:pt x="837191" y="0"/>
                    </a:cubicBezTo>
                    <a:cubicBezTo>
                      <a:pt x="845971" y="1463"/>
                      <a:pt x="862102" y="2930"/>
                      <a:pt x="871481" y="7620"/>
                    </a:cubicBezTo>
                    <a:cubicBezTo>
                      <a:pt x="901024" y="22392"/>
                      <a:pt x="865611" y="9473"/>
                      <a:pt x="894341" y="19050"/>
                    </a:cubicBezTo>
                    <a:cubicBezTo>
                      <a:pt x="898876" y="32656"/>
                      <a:pt x="900795" y="36431"/>
                      <a:pt x="901961" y="53340"/>
                    </a:cubicBezTo>
                    <a:cubicBezTo>
                      <a:pt x="903973" y="82508"/>
                      <a:pt x="885523" y="119878"/>
                      <a:pt x="905771" y="140970"/>
                    </a:cubicBezTo>
                    <a:cubicBezTo>
                      <a:pt x="926076" y="162121"/>
                      <a:pt x="993401" y="148590"/>
                      <a:pt x="993401" y="148590"/>
                    </a:cubicBezTo>
                    <a:cubicBezTo>
                      <a:pt x="1010014" y="154128"/>
                      <a:pt x="1015616" y="153767"/>
                      <a:pt x="1027691" y="163830"/>
                    </a:cubicBezTo>
                    <a:cubicBezTo>
                      <a:pt x="1031830" y="167279"/>
                      <a:pt x="1035311" y="171450"/>
                      <a:pt x="1039121" y="175260"/>
                    </a:cubicBezTo>
                    <a:cubicBezTo>
                      <a:pt x="1040391" y="179070"/>
                      <a:pt x="1041957" y="182794"/>
                      <a:pt x="1042931" y="186690"/>
                    </a:cubicBezTo>
                    <a:cubicBezTo>
                      <a:pt x="1048440" y="208726"/>
                      <a:pt x="1049606" y="222618"/>
                      <a:pt x="1042931" y="247650"/>
                    </a:cubicBezTo>
                    <a:cubicBezTo>
                      <a:pt x="1041295" y="253786"/>
                      <a:pt x="1035634" y="258069"/>
                      <a:pt x="1031501" y="262890"/>
                    </a:cubicBezTo>
                    <a:cubicBezTo>
                      <a:pt x="1019564" y="276817"/>
                      <a:pt x="1014410" y="278094"/>
                      <a:pt x="997211" y="289560"/>
                    </a:cubicBezTo>
                    <a:cubicBezTo>
                      <a:pt x="993401" y="292100"/>
                      <a:pt x="989444" y="294433"/>
                      <a:pt x="985781" y="297180"/>
                    </a:cubicBezTo>
                    <a:cubicBezTo>
                      <a:pt x="980701" y="300990"/>
                      <a:pt x="976054" y="305460"/>
                      <a:pt x="970541" y="308610"/>
                    </a:cubicBezTo>
                    <a:cubicBezTo>
                      <a:pt x="967054" y="310603"/>
                      <a:pt x="962921" y="311150"/>
                      <a:pt x="959111" y="312420"/>
                    </a:cubicBezTo>
                    <a:cubicBezTo>
                      <a:pt x="937397" y="334134"/>
                      <a:pt x="959304" y="316147"/>
                      <a:pt x="932441" y="327660"/>
                    </a:cubicBezTo>
                    <a:cubicBezTo>
                      <a:pt x="928232" y="329464"/>
                      <a:pt x="925107" y="333232"/>
                      <a:pt x="921011" y="335280"/>
                    </a:cubicBezTo>
                    <a:cubicBezTo>
                      <a:pt x="917419" y="337076"/>
                      <a:pt x="913391" y="337820"/>
                      <a:pt x="909581" y="339090"/>
                    </a:cubicBezTo>
                    <a:cubicBezTo>
                      <a:pt x="904501" y="342900"/>
                      <a:pt x="899543" y="346879"/>
                      <a:pt x="894341" y="350520"/>
                    </a:cubicBezTo>
                    <a:cubicBezTo>
                      <a:pt x="886838" y="355772"/>
                      <a:pt x="877957" y="359284"/>
                      <a:pt x="871481" y="365760"/>
                    </a:cubicBezTo>
                    <a:cubicBezTo>
                      <a:pt x="861383" y="375858"/>
                      <a:pt x="847800" y="386452"/>
                      <a:pt x="841001" y="400050"/>
                    </a:cubicBezTo>
                    <a:cubicBezTo>
                      <a:pt x="839205" y="403642"/>
                      <a:pt x="838461" y="407670"/>
                      <a:pt x="837191" y="411480"/>
                    </a:cubicBezTo>
                    <a:cubicBezTo>
                      <a:pt x="838461" y="422910"/>
                      <a:pt x="841001" y="434270"/>
                      <a:pt x="841001" y="445770"/>
                    </a:cubicBezTo>
                    <a:cubicBezTo>
                      <a:pt x="841001" y="452246"/>
                      <a:pt x="841337" y="459845"/>
                      <a:pt x="837191" y="464820"/>
                    </a:cubicBezTo>
                    <a:cubicBezTo>
                      <a:pt x="833839" y="468843"/>
                      <a:pt x="827171" y="468212"/>
                      <a:pt x="821951" y="468630"/>
                    </a:cubicBezTo>
                    <a:cubicBezTo>
                      <a:pt x="795336" y="470759"/>
                      <a:pt x="768611" y="471170"/>
                      <a:pt x="741941" y="472440"/>
                    </a:cubicBezTo>
                    <a:cubicBezTo>
                      <a:pt x="740671" y="476250"/>
                      <a:pt x="738131" y="479854"/>
                      <a:pt x="738131" y="483870"/>
                    </a:cubicBezTo>
                    <a:cubicBezTo>
                      <a:pt x="738131" y="489106"/>
                      <a:pt x="738493" y="495169"/>
                      <a:pt x="741941" y="499110"/>
                    </a:cubicBezTo>
                    <a:cubicBezTo>
                      <a:pt x="768055" y="528954"/>
                      <a:pt x="816786" y="516713"/>
                      <a:pt x="848621" y="518160"/>
                    </a:cubicBezTo>
                    <a:cubicBezTo>
                      <a:pt x="854195" y="526521"/>
                      <a:pt x="860638" y="535162"/>
                      <a:pt x="863861" y="544830"/>
                    </a:cubicBezTo>
                    <a:cubicBezTo>
                      <a:pt x="865909" y="550973"/>
                      <a:pt x="866100" y="557598"/>
                      <a:pt x="867671" y="563880"/>
                    </a:cubicBezTo>
                    <a:cubicBezTo>
                      <a:pt x="868645" y="567776"/>
                      <a:pt x="870424" y="571435"/>
                      <a:pt x="871481" y="575310"/>
                    </a:cubicBezTo>
                    <a:cubicBezTo>
                      <a:pt x="874237" y="585414"/>
                      <a:pt x="879101" y="605790"/>
                      <a:pt x="879101" y="605790"/>
                    </a:cubicBezTo>
                    <a:cubicBezTo>
                      <a:pt x="879005" y="607510"/>
                      <a:pt x="881840" y="665081"/>
                      <a:pt x="871481" y="685800"/>
                    </a:cubicBezTo>
                    <a:cubicBezTo>
                      <a:pt x="868169" y="692424"/>
                      <a:pt x="863115" y="698108"/>
                      <a:pt x="860051" y="704850"/>
                    </a:cubicBezTo>
                    <a:cubicBezTo>
                      <a:pt x="856727" y="712162"/>
                      <a:pt x="852431" y="727710"/>
                      <a:pt x="852431" y="727710"/>
                    </a:cubicBezTo>
                    <a:cubicBezTo>
                      <a:pt x="859151" y="754590"/>
                      <a:pt x="854706" y="758309"/>
                      <a:pt x="905771" y="735330"/>
                    </a:cubicBezTo>
                    <a:cubicBezTo>
                      <a:pt x="917236" y="730171"/>
                      <a:pt x="920768" y="713329"/>
                      <a:pt x="932441" y="708660"/>
                    </a:cubicBezTo>
                    <a:cubicBezTo>
                      <a:pt x="938791" y="706120"/>
                      <a:pt x="945003" y="703203"/>
                      <a:pt x="951491" y="701040"/>
                    </a:cubicBezTo>
                    <a:cubicBezTo>
                      <a:pt x="956459" y="699384"/>
                      <a:pt x="961619" y="698366"/>
                      <a:pt x="966731" y="697230"/>
                    </a:cubicBezTo>
                    <a:cubicBezTo>
                      <a:pt x="1013970" y="686732"/>
                      <a:pt x="1024992" y="690716"/>
                      <a:pt x="1096271" y="685800"/>
                    </a:cubicBezTo>
                    <a:cubicBezTo>
                      <a:pt x="1100081" y="684530"/>
                      <a:pt x="1104109" y="683786"/>
                      <a:pt x="1107701" y="681990"/>
                    </a:cubicBezTo>
                    <a:cubicBezTo>
                      <a:pt x="1137244" y="667218"/>
                      <a:pt x="1101831" y="680137"/>
                      <a:pt x="1130561" y="670560"/>
                    </a:cubicBezTo>
                    <a:cubicBezTo>
                      <a:pt x="1137081" y="672733"/>
                      <a:pt x="1149201" y="675659"/>
                      <a:pt x="1153421" y="681990"/>
                    </a:cubicBezTo>
                    <a:cubicBezTo>
                      <a:pt x="1156326" y="686347"/>
                      <a:pt x="1155792" y="692195"/>
                      <a:pt x="1157231" y="697230"/>
                    </a:cubicBezTo>
                    <a:cubicBezTo>
                      <a:pt x="1161175" y="711032"/>
                      <a:pt x="1160312" y="707567"/>
                      <a:pt x="1168661" y="720090"/>
                    </a:cubicBezTo>
                    <a:cubicBezTo>
                      <a:pt x="1167391" y="726440"/>
                      <a:pt x="1168328" y="733677"/>
                      <a:pt x="1164851" y="739140"/>
                    </a:cubicBezTo>
                    <a:cubicBezTo>
                      <a:pt x="1151013" y="760886"/>
                      <a:pt x="1147794" y="760066"/>
                      <a:pt x="1130561" y="765810"/>
                    </a:cubicBezTo>
                    <a:cubicBezTo>
                      <a:pt x="1128021" y="770890"/>
                      <a:pt x="1125863" y="776180"/>
                      <a:pt x="1122941" y="781050"/>
                    </a:cubicBezTo>
                    <a:cubicBezTo>
                      <a:pt x="1118229" y="788903"/>
                      <a:pt x="1110597" y="795222"/>
                      <a:pt x="1107701" y="803910"/>
                    </a:cubicBezTo>
                    <a:lnTo>
                      <a:pt x="1100081" y="826770"/>
                    </a:lnTo>
                    <a:cubicBezTo>
                      <a:pt x="1101351" y="855980"/>
                      <a:pt x="1101649" y="885249"/>
                      <a:pt x="1103891" y="914400"/>
                    </a:cubicBezTo>
                    <a:cubicBezTo>
                      <a:pt x="1104199" y="918404"/>
                      <a:pt x="1106830" y="921910"/>
                      <a:pt x="1107701" y="925830"/>
                    </a:cubicBezTo>
                    <a:cubicBezTo>
                      <a:pt x="1109377" y="933371"/>
                      <a:pt x="1109996" y="941115"/>
                      <a:pt x="1111511" y="948690"/>
                    </a:cubicBezTo>
                    <a:cubicBezTo>
                      <a:pt x="1112538" y="953825"/>
                      <a:pt x="1114185" y="958818"/>
                      <a:pt x="1115321" y="963930"/>
                    </a:cubicBezTo>
                    <a:cubicBezTo>
                      <a:pt x="1116726" y="970252"/>
                      <a:pt x="1117560" y="976698"/>
                      <a:pt x="1119131" y="982980"/>
                    </a:cubicBezTo>
                    <a:cubicBezTo>
                      <a:pt x="1130847" y="1029843"/>
                      <a:pt x="1112708" y="943245"/>
                      <a:pt x="1126751" y="1013460"/>
                    </a:cubicBezTo>
                    <a:cubicBezTo>
                      <a:pt x="1115351" y="1047661"/>
                      <a:pt x="1130996" y="1012517"/>
                      <a:pt x="1058171" y="1028700"/>
                    </a:cubicBezTo>
                    <a:cubicBezTo>
                      <a:pt x="1054251" y="1029571"/>
                      <a:pt x="1055494" y="1036277"/>
                      <a:pt x="1054361" y="1040130"/>
                    </a:cubicBezTo>
                    <a:cubicBezTo>
                      <a:pt x="1049143" y="1057870"/>
                      <a:pt x="1044969" y="1075927"/>
                      <a:pt x="1039121" y="1093470"/>
                    </a:cubicBezTo>
                    <a:cubicBezTo>
                      <a:pt x="1037851" y="1097280"/>
                      <a:pt x="1036893" y="1101209"/>
                      <a:pt x="1035311" y="1104900"/>
                    </a:cubicBezTo>
                    <a:cubicBezTo>
                      <a:pt x="1029510" y="1118435"/>
                      <a:pt x="1027724" y="1120091"/>
                      <a:pt x="1020071" y="1131570"/>
                    </a:cubicBezTo>
                    <a:cubicBezTo>
                      <a:pt x="1011458" y="1174637"/>
                      <a:pt x="1021501" y="1121558"/>
                      <a:pt x="1012451" y="1184910"/>
                    </a:cubicBezTo>
                    <a:cubicBezTo>
                      <a:pt x="1007770" y="1217677"/>
                      <a:pt x="1010741" y="1191752"/>
                      <a:pt x="1004831" y="1215390"/>
                    </a:cubicBezTo>
                    <a:cubicBezTo>
                      <a:pt x="1004410" y="1217074"/>
                      <a:pt x="1001582" y="1244507"/>
                      <a:pt x="993401" y="1245870"/>
                    </a:cubicBezTo>
                    <a:cubicBezTo>
                      <a:pt x="965813" y="1250468"/>
                      <a:pt x="937521" y="1248410"/>
                      <a:pt x="909581" y="1249680"/>
                    </a:cubicBezTo>
                    <a:cubicBezTo>
                      <a:pt x="905771" y="1250950"/>
                      <a:pt x="900991" y="1250650"/>
                      <a:pt x="898151" y="1253490"/>
                    </a:cubicBezTo>
                    <a:cubicBezTo>
                      <a:pt x="877831" y="1273810"/>
                      <a:pt x="913391" y="1258570"/>
                      <a:pt x="882911" y="1268730"/>
                    </a:cubicBezTo>
                    <a:cubicBezTo>
                      <a:pt x="849506" y="1260379"/>
                      <a:pt x="882270" y="1271899"/>
                      <a:pt x="841001" y="1230630"/>
                    </a:cubicBezTo>
                    <a:cubicBezTo>
                      <a:pt x="831128" y="1220757"/>
                      <a:pt x="817495" y="1203637"/>
                      <a:pt x="802901" y="1196340"/>
                    </a:cubicBezTo>
                    <a:cubicBezTo>
                      <a:pt x="799309" y="1194544"/>
                      <a:pt x="795281" y="1193800"/>
                      <a:pt x="791471" y="1192530"/>
                    </a:cubicBezTo>
                    <a:cubicBezTo>
                      <a:pt x="762456" y="1199784"/>
                      <a:pt x="780915" y="1193998"/>
                      <a:pt x="738131" y="1215390"/>
                    </a:cubicBezTo>
                    <a:cubicBezTo>
                      <a:pt x="730511" y="1217930"/>
                      <a:pt x="723063" y="1221062"/>
                      <a:pt x="715271" y="1223010"/>
                    </a:cubicBezTo>
                    <a:cubicBezTo>
                      <a:pt x="693749" y="1228391"/>
                      <a:pt x="705166" y="1225793"/>
                      <a:pt x="680981" y="1230630"/>
                    </a:cubicBezTo>
                    <a:cubicBezTo>
                      <a:pt x="659265" y="1252346"/>
                      <a:pt x="669726" y="1239892"/>
                      <a:pt x="650501" y="1268730"/>
                    </a:cubicBezTo>
                    <a:cubicBezTo>
                      <a:pt x="647961" y="1272540"/>
                      <a:pt x="644329" y="1275816"/>
                      <a:pt x="642881" y="1280160"/>
                    </a:cubicBezTo>
                    <a:cubicBezTo>
                      <a:pt x="641611" y="1283970"/>
                      <a:pt x="641299" y="1288248"/>
                      <a:pt x="639071" y="1291590"/>
                    </a:cubicBezTo>
                    <a:cubicBezTo>
                      <a:pt x="602800" y="1345997"/>
                      <a:pt x="634516" y="1292548"/>
                      <a:pt x="608591" y="1325880"/>
                    </a:cubicBezTo>
                    <a:cubicBezTo>
                      <a:pt x="585185" y="1355974"/>
                      <a:pt x="604653" y="1343089"/>
                      <a:pt x="578111" y="1356360"/>
                    </a:cubicBezTo>
                    <a:cubicBezTo>
                      <a:pt x="559192" y="1384739"/>
                      <a:pt x="583507" y="1349884"/>
                      <a:pt x="559061" y="1379220"/>
                    </a:cubicBezTo>
                    <a:cubicBezTo>
                      <a:pt x="556130" y="1382738"/>
                      <a:pt x="553981" y="1386840"/>
                      <a:pt x="551441" y="1390650"/>
                    </a:cubicBezTo>
                    <a:cubicBezTo>
                      <a:pt x="550171" y="1395730"/>
                      <a:pt x="549694" y="1401077"/>
                      <a:pt x="547631" y="1405890"/>
                    </a:cubicBezTo>
                    <a:cubicBezTo>
                      <a:pt x="545827" y="1410099"/>
                      <a:pt x="541619" y="1413033"/>
                      <a:pt x="540011" y="1417320"/>
                    </a:cubicBezTo>
                    <a:cubicBezTo>
                      <a:pt x="537737" y="1423383"/>
                      <a:pt x="538475" y="1430307"/>
                      <a:pt x="536201" y="1436370"/>
                    </a:cubicBezTo>
                    <a:cubicBezTo>
                      <a:pt x="534593" y="1440657"/>
                      <a:pt x="530629" y="1443704"/>
                      <a:pt x="528581" y="1447800"/>
                    </a:cubicBezTo>
                    <a:cubicBezTo>
                      <a:pt x="511119" y="1482724"/>
                      <a:pt x="532013" y="1452114"/>
                      <a:pt x="509531" y="1482090"/>
                    </a:cubicBezTo>
                    <a:cubicBezTo>
                      <a:pt x="508261" y="1485900"/>
                      <a:pt x="508561" y="1490680"/>
                      <a:pt x="505721" y="1493520"/>
                    </a:cubicBezTo>
                    <a:cubicBezTo>
                      <a:pt x="502881" y="1496360"/>
                      <a:pt x="498153" y="1496227"/>
                      <a:pt x="494291" y="1497330"/>
                    </a:cubicBezTo>
                    <a:cubicBezTo>
                      <a:pt x="474712" y="1502924"/>
                      <a:pt x="473308" y="1501858"/>
                      <a:pt x="448571" y="1504950"/>
                    </a:cubicBezTo>
                    <a:cubicBezTo>
                      <a:pt x="444761" y="1506220"/>
                      <a:pt x="440733" y="1506964"/>
                      <a:pt x="437141" y="1508760"/>
                    </a:cubicBezTo>
                    <a:cubicBezTo>
                      <a:pt x="420839" y="1516911"/>
                      <a:pt x="426879" y="1521816"/>
                      <a:pt x="402851" y="1524000"/>
                    </a:cubicBezTo>
                    <a:lnTo>
                      <a:pt x="360941" y="1527810"/>
                    </a:lnTo>
                    <a:cubicBezTo>
                      <a:pt x="340788" y="1534528"/>
                      <a:pt x="356155" y="1530066"/>
                      <a:pt x="326651" y="1535430"/>
                    </a:cubicBezTo>
                    <a:cubicBezTo>
                      <a:pt x="288252" y="1542412"/>
                      <a:pt x="328745" y="1536597"/>
                      <a:pt x="277121" y="1543050"/>
                    </a:cubicBezTo>
                    <a:cubicBezTo>
                      <a:pt x="269501" y="1548130"/>
                      <a:pt x="262949" y="1555394"/>
                      <a:pt x="254261" y="1558290"/>
                    </a:cubicBezTo>
                    <a:lnTo>
                      <a:pt x="231401" y="1565910"/>
                    </a:lnTo>
                    <a:cubicBezTo>
                      <a:pt x="228302" y="1556614"/>
                      <a:pt x="227357" y="1550436"/>
                      <a:pt x="219971" y="1543050"/>
                    </a:cubicBezTo>
                    <a:cubicBezTo>
                      <a:pt x="216733" y="1539812"/>
                      <a:pt x="212351" y="1537970"/>
                      <a:pt x="208541" y="1535430"/>
                    </a:cubicBezTo>
                    <a:cubicBezTo>
                      <a:pt x="188221" y="1504950"/>
                      <a:pt x="214891" y="1541780"/>
                      <a:pt x="189491" y="1516380"/>
                    </a:cubicBezTo>
                    <a:cubicBezTo>
                      <a:pt x="186253" y="1513142"/>
                      <a:pt x="186404" y="1505598"/>
                      <a:pt x="181871" y="1504950"/>
                    </a:cubicBezTo>
                    <a:cubicBezTo>
                      <a:pt x="149159" y="1500277"/>
                      <a:pt x="115831" y="1502410"/>
                      <a:pt x="82811" y="1501140"/>
                    </a:cubicBezTo>
                    <a:cubicBezTo>
                      <a:pt x="79001" y="1499870"/>
                      <a:pt x="74221" y="1500170"/>
                      <a:pt x="71381" y="1497330"/>
                    </a:cubicBezTo>
                    <a:cubicBezTo>
                      <a:pt x="68541" y="1494490"/>
                      <a:pt x="68289" y="1489851"/>
                      <a:pt x="67571" y="1485900"/>
                    </a:cubicBezTo>
                    <a:cubicBezTo>
                      <a:pt x="65739" y="1475826"/>
                      <a:pt x="67564" y="1464927"/>
                      <a:pt x="63761" y="1455420"/>
                    </a:cubicBezTo>
                    <a:cubicBezTo>
                      <a:pt x="62060" y="1451168"/>
                      <a:pt x="56141" y="1450340"/>
                      <a:pt x="52331" y="1447800"/>
                    </a:cubicBezTo>
                    <a:cubicBezTo>
                      <a:pt x="49335" y="1443306"/>
                      <a:pt x="40150" y="1431700"/>
                      <a:pt x="40901" y="1424940"/>
                    </a:cubicBezTo>
                    <a:cubicBezTo>
                      <a:pt x="41788" y="1416957"/>
                      <a:pt x="48521" y="1402080"/>
                      <a:pt x="48521" y="1402080"/>
                    </a:cubicBezTo>
                    <a:cubicBezTo>
                      <a:pt x="49791" y="1391920"/>
                      <a:pt x="49637" y="1381478"/>
                      <a:pt x="52331" y="1371600"/>
                    </a:cubicBezTo>
                    <a:cubicBezTo>
                      <a:pt x="53536" y="1367182"/>
                      <a:pt x="57679" y="1364146"/>
                      <a:pt x="59951" y="1360170"/>
                    </a:cubicBezTo>
                    <a:cubicBezTo>
                      <a:pt x="62769" y="1355239"/>
                      <a:pt x="64649" y="1349800"/>
                      <a:pt x="67571" y="1344930"/>
                    </a:cubicBezTo>
                    <a:cubicBezTo>
                      <a:pt x="72283" y="1337077"/>
                      <a:pt x="82811" y="1322070"/>
                      <a:pt x="82811" y="1322070"/>
                    </a:cubicBezTo>
                    <a:cubicBezTo>
                      <a:pt x="84081" y="1316990"/>
                      <a:pt x="85182" y="1311865"/>
                      <a:pt x="86621" y="1306830"/>
                    </a:cubicBezTo>
                    <a:cubicBezTo>
                      <a:pt x="87724" y="1302968"/>
                      <a:pt x="90431" y="1299416"/>
                      <a:pt x="90431" y="1295400"/>
                    </a:cubicBezTo>
                    <a:cubicBezTo>
                      <a:pt x="90431" y="1281372"/>
                      <a:pt x="87697" y="1267476"/>
                      <a:pt x="86621" y="1253490"/>
                    </a:cubicBezTo>
                    <a:cubicBezTo>
                      <a:pt x="85157" y="1234454"/>
                      <a:pt x="86953" y="1214978"/>
                      <a:pt x="82811" y="1196340"/>
                    </a:cubicBezTo>
                    <a:cubicBezTo>
                      <a:pt x="81642" y="1191080"/>
                      <a:pt x="74830" y="1189049"/>
                      <a:pt x="71381" y="1184910"/>
                    </a:cubicBezTo>
                    <a:cubicBezTo>
                      <a:pt x="60495" y="1171847"/>
                      <a:pt x="68297" y="1173843"/>
                      <a:pt x="52331" y="1165860"/>
                    </a:cubicBezTo>
                    <a:cubicBezTo>
                      <a:pt x="37913" y="1158651"/>
                      <a:pt x="15913" y="1160425"/>
                      <a:pt x="2801" y="1158240"/>
                    </a:cubicBezTo>
                    <a:cubicBezTo>
                      <a:pt x="0" y="1157773"/>
                      <a:pt x="7881" y="1156970"/>
                      <a:pt x="10421" y="1154430"/>
                    </a:cubicBezTo>
                    <a:close/>
                  </a:path>
                </a:pathLst>
              </a:custGeom>
              <a:grpFill/>
              <a:ln w="3175">
                <a:solidFill>
                  <a:srgbClr val="FF8300"/>
                </a:solidFill>
                <a:round/>
                <a:headEnd/>
                <a:tailEnd/>
              </a:ln>
            </p:spPr>
            <p:txBody>
              <a:bodyPr/>
              <a:lstStyle/>
              <a:p>
                <a:pPr>
                  <a:defRPr/>
                </a:pPr>
                <a:endParaRPr lang="en-GB" sz="1400">
                  <a:solidFill>
                    <a:schemeClr val="tx2"/>
                  </a:solidFill>
                </a:endParaRPr>
              </a:p>
            </p:txBody>
          </p:sp>
          <p:sp>
            <p:nvSpPr>
              <p:cNvPr id="285" name="Freeform 357"/>
              <p:cNvSpPr>
                <a:spLocks noChangeArrowheads="1"/>
              </p:cNvSpPr>
              <p:nvPr>
                <p:custDataLst>
                  <p:tags r:id="rId2"/>
                </p:custDataLst>
              </p:nvPr>
            </p:nvSpPr>
            <p:spPr bwMode="gray">
              <a:xfrm>
                <a:off x="7108316" y="2938759"/>
                <a:ext cx="698147" cy="1007505"/>
              </a:xfrm>
              <a:custGeom>
                <a:avLst/>
                <a:gdLst>
                  <a:gd name="T0" fmla="*/ 0 w 832722"/>
                  <a:gd name="T1" fmla="*/ 0 h 1199594"/>
                  <a:gd name="T2" fmla="*/ 832722 w 832722"/>
                  <a:gd name="T3" fmla="*/ 1199594 h 1199594"/>
                </a:gdLst>
                <a:ahLst/>
                <a:cxnLst/>
                <a:rect l="T0" t="T1" r="T2" b="T3"/>
                <a:pathLst>
                  <a:path w="832722" h="1199594">
                    <a:moveTo>
                      <a:pt x="209550" y="85169"/>
                    </a:moveTo>
                    <a:cubicBezTo>
                      <a:pt x="214312" y="83185"/>
                      <a:pt x="206637" y="86417"/>
                      <a:pt x="242887" y="70881"/>
                    </a:cubicBezTo>
                    <a:cubicBezTo>
                      <a:pt x="249110" y="68214"/>
                      <a:pt x="252845" y="68132"/>
                      <a:pt x="259556" y="66119"/>
                    </a:cubicBezTo>
                    <a:cubicBezTo>
                      <a:pt x="264364" y="64676"/>
                      <a:pt x="269081" y="62944"/>
                      <a:pt x="273843" y="61356"/>
                    </a:cubicBezTo>
                    <a:cubicBezTo>
                      <a:pt x="276224" y="60562"/>
                      <a:pt x="278511" y="59388"/>
                      <a:pt x="280987" y="58975"/>
                    </a:cubicBezTo>
                    <a:cubicBezTo>
                      <a:pt x="285750" y="58181"/>
                      <a:pt x="290540" y="57541"/>
                      <a:pt x="295275" y="56594"/>
                    </a:cubicBezTo>
                    <a:cubicBezTo>
                      <a:pt x="302261" y="55197"/>
                      <a:pt x="309587" y="52424"/>
                      <a:pt x="316706" y="51831"/>
                    </a:cubicBezTo>
                    <a:cubicBezTo>
                      <a:pt x="331756" y="50577"/>
                      <a:pt x="346869" y="50244"/>
                      <a:pt x="361950" y="49450"/>
                    </a:cubicBezTo>
                    <a:cubicBezTo>
                      <a:pt x="384091" y="43915"/>
                      <a:pt x="356545" y="50532"/>
                      <a:pt x="385762" y="44688"/>
                    </a:cubicBezTo>
                    <a:cubicBezTo>
                      <a:pt x="388971" y="44046"/>
                      <a:pt x="392078" y="42948"/>
                      <a:pt x="395287" y="42306"/>
                    </a:cubicBezTo>
                    <a:cubicBezTo>
                      <a:pt x="421185" y="37126"/>
                      <a:pt x="398455" y="42660"/>
                      <a:pt x="421481" y="37544"/>
                    </a:cubicBezTo>
                    <a:cubicBezTo>
                      <a:pt x="438242" y="33820"/>
                      <a:pt x="424219" y="36762"/>
                      <a:pt x="438150" y="32781"/>
                    </a:cubicBezTo>
                    <a:cubicBezTo>
                      <a:pt x="441297" y="31882"/>
                      <a:pt x="444500" y="31194"/>
                      <a:pt x="447675" y="30400"/>
                    </a:cubicBezTo>
                    <a:cubicBezTo>
                      <a:pt x="450850" y="28019"/>
                      <a:pt x="453650" y="25031"/>
                      <a:pt x="457200" y="23256"/>
                    </a:cubicBezTo>
                    <a:cubicBezTo>
                      <a:pt x="461690" y="21011"/>
                      <a:pt x="471487" y="18494"/>
                      <a:pt x="471487" y="18494"/>
                    </a:cubicBezTo>
                    <a:cubicBezTo>
                      <a:pt x="473868" y="16906"/>
                      <a:pt x="476071" y="15011"/>
                      <a:pt x="478631" y="13731"/>
                    </a:cubicBezTo>
                    <a:cubicBezTo>
                      <a:pt x="480876" y="12608"/>
                      <a:pt x="483686" y="12742"/>
                      <a:pt x="485775" y="11350"/>
                    </a:cubicBezTo>
                    <a:cubicBezTo>
                      <a:pt x="502799" y="0"/>
                      <a:pt x="482297" y="6861"/>
                      <a:pt x="502443" y="1825"/>
                    </a:cubicBezTo>
                    <a:cubicBezTo>
                      <a:pt x="512762" y="2619"/>
                      <a:pt x="523177" y="2592"/>
                      <a:pt x="533400" y="4206"/>
                    </a:cubicBezTo>
                    <a:cubicBezTo>
                      <a:pt x="538359" y="4989"/>
                      <a:pt x="547687" y="8969"/>
                      <a:pt x="547687" y="8969"/>
                    </a:cubicBezTo>
                    <a:cubicBezTo>
                      <a:pt x="549275" y="12144"/>
                      <a:pt x="551052" y="15231"/>
                      <a:pt x="552450" y="18494"/>
                    </a:cubicBezTo>
                    <a:cubicBezTo>
                      <a:pt x="553439" y="20801"/>
                      <a:pt x="553709" y="23393"/>
                      <a:pt x="554831" y="25638"/>
                    </a:cubicBezTo>
                    <a:cubicBezTo>
                      <a:pt x="558146" y="32268"/>
                      <a:pt x="561471" y="34659"/>
                      <a:pt x="566737" y="39925"/>
                    </a:cubicBezTo>
                    <a:cubicBezTo>
                      <a:pt x="570485" y="51171"/>
                      <a:pt x="566527" y="44907"/>
                      <a:pt x="578643" y="51831"/>
                    </a:cubicBezTo>
                    <a:cubicBezTo>
                      <a:pt x="581128" y="53251"/>
                      <a:pt x="583227" y="55314"/>
                      <a:pt x="585787" y="56594"/>
                    </a:cubicBezTo>
                    <a:cubicBezTo>
                      <a:pt x="594367" y="60884"/>
                      <a:pt x="609919" y="60674"/>
                      <a:pt x="616743" y="61356"/>
                    </a:cubicBezTo>
                    <a:cubicBezTo>
                      <a:pt x="621506" y="64531"/>
                      <a:pt x="628905" y="65566"/>
                      <a:pt x="631031" y="70881"/>
                    </a:cubicBezTo>
                    <a:cubicBezTo>
                      <a:pt x="637043" y="85915"/>
                      <a:pt x="632770" y="79766"/>
                      <a:pt x="642937" y="89931"/>
                    </a:cubicBezTo>
                    <a:cubicBezTo>
                      <a:pt x="644525" y="94694"/>
                      <a:pt x="646990" y="99249"/>
                      <a:pt x="647700" y="104219"/>
                    </a:cubicBezTo>
                    <a:cubicBezTo>
                      <a:pt x="648494" y="109775"/>
                      <a:pt x="647996" y="115677"/>
                      <a:pt x="650081" y="120888"/>
                    </a:cubicBezTo>
                    <a:cubicBezTo>
                      <a:pt x="651332" y="124015"/>
                      <a:pt x="653900" y="127499"/>
                      <a:pt x="657225" y="128031"/>
                    </a:cubicBezTo>
                    <a:cubicBezTo>
                      <a:pt x="674486" y="130793"/>
                      <a:pt x="692150" y="129619"/>
                      <a:pt x="709612" y="130413"/>
                    </a:cubicBezTo>
                    <a:cubicBezTo>
                      <a:pt x="711993" y="132794"/>
                      <a:pt x="714564" y="134999"/>
                      <a:pt x="716756" y="137556"/>
                    </a:cubicBezTo>
                    <a:cubicBezTo>
                      <a:pt x="719339" y="140569"/>
                      <a:pt x="721094" y="144275"/>
                      <a:pt x="723900" y="147081"/>
                    </a:cubicBezTo>
                    <a:cubicBezTo>
                      <a:pt x="728274" y="151455"/>
                      <a:pt x="735582" y="153490"/>
                      <a:pt x="740568" y="156606"/>
                    </a:cubicBezTo>
                    <a:cubicBezTo>
                      <a:pt x="743934" y="158709"/>
                      <a:pt x="746864" y="161443"/>
                      <a:pt x="750093" y="163750"/>
                    </a:cubicBezTo>
                    <a:cubicBezTo>
                      <a:pt x="761697" y="172039"/>
                      <a:pt x="753262" y="164539"/>
                      <a:pt x="764381" y="175656"/>
                    </a:cubicBezTo>
                    <a:cubicBezTo>
                      <a:pt x="769565" y="186024"/>
                      <a:pt x="770622" y="189124"/>
                      <a:pt x="778668" y="199469"/>
                    </a:cubicBezTo>
                    <a:cubicBezTo>
                      <a:pt x="780736" y="202127"/>
                      <a:pt x="783854" y="203873"/>
                      <a:pt x="785812" y="206613"/>
                    </a:cubicBezTo>
                    <a:cubicBezTo>
                      <a:pt x="801484" y="228553"/>
                      <a:pt x="779146" y="204709"/>
                      <a:pt x="797718" y="223281"/>
                    </a:cubicBezTo>
                    <a:cubicBezTo>
                      <a:pt x="798512" y="225662"/>
                      <a:pt x="798977" y="228180"/>
                      <a:pt x="800100" y="230425"/>
                    </a:cubicBezTo>
                    <a:cubicBezTo>
                      <a:pt x="802233" y="234692"/>
                      <a:pt x="809843" y="243849"/>
                      <a:pt x="812006" y="247094"/>
                    </a:cubicBezTo>
                    <a:cubicBezTo>
                      <a:pt x="816160" y="253325"/>
                      <a:pt x="823912" y="266144"/>
                      <a:pt x="823912" y="266144"/>
                    </a:cubicBezTo>
                    <a:cubicBezTo>
                      <a:pt x="828883" y="325795"/>
                      <a:pt x="822631" y="305159"/>
                      <a:pt x="831056" y="330438"/>
                    </a:cubicBezTo>
                    <a:cubicBezTo>
                      <a:pt x="830262" y="355044"/>
                      <a:pt x="832722" y="379972"/>
                      <a:pt x="828675" y="404256"/>
                    </a:cubicBezTo>
                    <a:cubicBezTo>
                      <a:pt x="828137" y="407484"/>
                      <a:pt x="822285" y="402815"/>
                      <a:pt x="819150" y="401875"/>
                    </a:cubicBezTo>
                    <a:cubicBezTo>
                      <a:pt x="814341" y="400433"/>
                      <a:pt x="809785" y="398098"/>
                      <a:pt x="804862" y="397113"/>
                    </a:cubicBezTo>
                    <a:lnTo>
                      <a:pt x="792956" y="394731"/>
                    </a:lnTo>
                    <a:cubicBezTo>
                      <a:pt x="788206" y="393867"/>
                      <a:pt x="783403" y="393297"/>
                      <a:pt x="778668" y="392350"/>
                    </a:cubicBezTo>
                    <a:cubicBezTo>
                      <a:pt x="775459" y="391708"/>
                      <a:pt x="772318" y="390763"/>
                      <a:pt x="769143" y="389969"/>
                    </a:cubicBezTo>
                    <a:cubicBezTo>
                      <a:pt x="756913" y="359392"/>
                      <a:pt x="772805" y="397293"/>
                      <a:pt x="757237" y="366156"/>
                    </a:cubicBezTo>
                    <a:cubicBezTo>
                      <a:pt x="756115" y="363911"/>
                      <a:pt x="756248" y="361101"/>
                      <a:pt x="754856" y="359013"/>
                    </a:cubicBezTo>
                    <a:cubicBezTo>
                      <a:pt x="752988" y="356211"/>
                      <a:pt x="749868" y="354456"/>
                      <a:pt x="747712" y="351869"/>
                    </a:cubicBezTo>
                    <a:cubicBezTo>
                      <a:pt x="739427" y="341926"/>
                      <a:pt x="747534" y="346253"/>
                      <a:pt x="735806" y="342344"/>
                    </a:cubicBezTo>
                    <a:cubicBezTo>
                      <a:pt x="731043" y="343138"/>
                      <a:pt x="726231" y="343678"/>
                      <a:pt x="721518" y="344725"/>
                    </a:cubicBezTo>
                    <a:cubicBezTo>
                      <a:pt x="719068" y="345269"/>
                      <a:pt x="716303" y="345499"/>
                      <a:pt x="714375" y="347106"/>
                    </a:cubicBezTo>
                    <a:cubicBezTo>
                      <a:pt x="708167" y="352279"/>
                      <a:pt x="706264" y="359514"/>
                      <a:pt x="702468" y="366156"/>
                    </a:cubicBezTo>
                    <a:cubicBezTo>
                      <a:pt x="696733" y="376192"/>
                      <a:pt x="698676" y="371170"/>
                      <a:pt x="690562" y="380444"/>
                    </a:cubicBezTo>
                    <a:cubicBezTo>
                      <a:pt x="687215" y="384269"/>
                      <a:pt x="684212" y="388381"/>
                      <a:pt x="681037" y="392350"/>
                    </a:cubicBezTo>
                    <a:cubicBezTo>
                      <a:pt x="679450" y="396319"/>
                      <a:pt x="678351" y="400520"/>
                      <a:pt x="676275" y="404256"/>
                    </a:cubicBezTo>
                    <a:cubicBezTo>
                      <a:pt x="674348" y="407725"/>
                      <a:pt x="671438" y="410552"/>
                      <a:pt x="669131" y="413781"/>
                    </a:cubicBezTo>
                    <a:cubicBezTo>
                      <a:pt x="663520" y="421636"/>
                      <a:pt x="664257" y="421146"/>
                      <a:pt x="659606" y="430450"/>
                    </a:cubicBezTo>
                    <a:cubicBezTo>
                      <a:pt x="658958" y="433692"/>
                      <a:pt x="656287" y="448031"/>
                      <a:pt x="654843" y="451881"/>
                    </a:cubicBezTo>
                    <a:cubicBezTo>
                      <a:pt x="653597" y="455205"/>
                      <a:pt x="651668" y="458231"/>
                      <a:pt x="650081" y="461406"/>
                    </a:cubicBezTo>
                    <a:cubicBezTo>
                      <a:pt x="649287" y="466169"/>
                      <a:pt x="649227" y="471113"/>
                      <a:pt x="647700" y="475694"/>
                    </a:cubicBezTo>
                    <a:cubicBezTo>
                      <a:pt x="646795" y="478409"/>
                      <a:pt x="644357" y="480353"/>
                      <a:pt x="642937" y="482838"/>
                    </a:cubicBezTo>
                    <a:cubicBezTo>
                      <a:pt x="641176" y="485920"/>
                      <a:pt x="639762" y="489188"/>
                      <a:pt x="638175" y="492363"/>
                    </a:cubicBezTo>
                    <a:cubicBezTo>
                      <a:pt x="638969" y="511413"/>
                      <a:pt x="638594" y="530548"/>
                      <a:pt x="640556" y="549513"/>
                    </a:cubicBezTo>
                    <a:cubicBezTo>
                      <a:pt x="640996" y="553765"/>
                      <a:pt x="644692" y="557191"/>
                      <a:pt x="645318" y="561419"/>
                    </a:cubicBezTo>
                    <a:cubicBezTo>
                      <a:pt x="658196" y="648341"/>
                      <a:pt x="644369" y="590958"/>
                      <a:pt x="652462" y="623331"/>
                    </a:cubicBezTo>
                    <a:cubicBezTo>
                      <a:pt x="654644" y="664788"/>
                      <a:pt x="652554" y="666560"/>
                      <a:pt x="661987" y="704294"/>
                    </a:cubicBezTo>
                    <a:cubicBezTo>
                      <a:pt x="662751" y="707352"/>
                      <a:pt x="665040" y="717543"/>
                      <a:pt x="666750" y="720963"/>
                    </a:cubicBezTo>
                    <a:cubicBezTo>
                      <a:pt x="668030" y="723522"/>
                      <a:pt x="670232" y="725547"/>
                      <a:pt x="671512" y="728106"/>
                    </a:cubicBezTo>
                    <a:cubicBezTo>
                      <a:pt x="673424" y="731929"/>
                      <a:pt x="673651" y="736639"/>
                      <a:pt x="676275" y="740013"/>
                    </a:cubicBezTo>
                    <a:cubicBezTo>
                      <a:pt x="682679" y="748247"/>
                      <a:pt x="688309" y="748453"/>
                      <a:pt x="695325" y="754300"/>
                    </a:cubicBezTo>
                    <a:cubicBezTo>
                      <a:pt x="697912" y="756456"/>
                      <a:pt x="699911" y="759252"/>
                      <a:pt x="702468" y="761444"/>
                    </a:cubicBezTo>
                    <a:cubicBezTo>
                      <a:pt x="705481" y="764027"/>
                      <a:pt x="709187" y="765782"/>
                      <a:pt x="711993" y="768588"/>
                    </a:cubicBezTo>
                    <a:cubicBezTo>
                      <a:pt x="714017" y="770612"/>
                      <a:pt x="714732" y="773707"/>
                      <a:pt x="716756" y="775731"/>
                    </a:cubicBezTo>
                    <a:cubicBezTo>
                      <a:pt x="719562" y="778537"/>
                      <a:pt x="723268" y="780292"/>
                      <a:pt x="726281" y="782875"/>
                    </a:cubicBezTo>
                    <a:cubicBezTo>
                      <a:pt x="737632" y="792604"/>
                      <a:pt x="728418" y="788350"/>
                      <a:pt x="740568" y="792400"/>
                    </a:cubicBezTo>
                    <a:cubicBezTo>
                      <a:pt x="752573" y="791066"/>
                      <a:pt x="763459" y="791785"/>
                      <a:pt x="773906" y="785256"/>
                    </a:cubicBezTo>
                    <a:cubicBezTo>
                      <a:pt x="776762" y="783471"/>
                      <a:pt x="778106" y="779748"/>
                      <a:pt x="781050" y="778113"/>
                    </a:cubicBezTo>
                    <a:cubicBezTo>
                      <a:pt x="785438" y="775675"/>
                      <a:pt x="795337" y="773350"/>
                      <a:pt x="795337" y="773350"/>
                    </a:cubicBezTo>
                    <a:cubicBezTo>
                      <a:pt x="798512" y="774144"/>
                      <a:pt x="802377" y="773601"/>
                      <a:pt x="804862" y="775731"/>
                    </a:cubicBezTo>
                    <a:cubicBezTo>
                      <a:pt x="817040" y="786169"/>
                      <a:pt x="811616" y="786959"/>
                      <a:pt x="807243" y="797163"/>
                    </a:cubicBezTo>
                    <a:cubicBezTo>
                      <a:pt x="806254" y="799470"/>
                      <a:pt x="805984" y="802061"/>
                      <a:pt x="804862" y="804306"/>
                    </a:cubicBezTo>
                    <a:cubicBezTo>
                      <a:pt x="803509" y="807013"/>
                      <a:pt x="794037" y="819894"/>
                      <a:pt x="792956" y="820975"/>
                    </a:cubicBezTo>
                    <a:cubicBezTo>
                      <a:pt x="790150" y="823781"/>
                      <a:pt x="786606" y="825738"/>
                      <a:pt x="783431" y="828119"/>
                    </a:cubicBezTo>
                    <a:cubicBezTo>
                      <a:pt x="771612" y="857664"/>
                      <a:pt x="786237" y="827623"/>
                      <a:pt x="771525" y="844788"/>
                    </a:cubicBezTo>
                    <a:cubicBezTo>
                      <a:pt x="768513" y="848302"/>
                      <a:pt x="766948" y="852843"/>
                      <a:pt x="764381" y="856694"/>
                    </a:cubicBezTo>
                    <a:cubicBezTo>
                      <a:pt x="762179" y="859996"/>
                      <a:pt x="759340" y="862853"/>
                      <a:pt x="757237" y="866219"/>
                    </a:cubicBezTo>
                    <a:cubicBezTo>
                      <a:pt x="755356" y="869229"/>
                      <a:pt x="754236" y="872662"/>
                      <a:pt x="752475" y="875744"/>
                    </a:cubicBezTo>
                    <a:cubicBezTo>
                      <a:pt x="751055" y="878229"/>
                      <a:pt x="749300" y="880507"/>
                      <a:pt x="747712" y="882888"/>
                    </a:cubicBezTo>
                    <a:cubicBezTo>
                      <a:pt x="746918" y="894794"/>
                      <a:pt x="746649" y="906747"/>
                      <a:pt x="745331" y="918606"/>
                    </a:cubicBezTo>
                    <a:cubicBezTo>
                      <a:pt x="745054" y="921101"/>
                      <a:pt x="743671" y="923346"/>
                      <a:pt x="742950" y="925750"/>
                    </a:cubicBezTo>
                    <a:cubicBezTo>
                      <a:pt x="741289" y="931285"/>
                      <a:pt x="739886" y="936896"/>
                      <a:pt x="738187" y="942419"/>
                    </a:cubicBezTo>
                    <a:cubicBezTo>
                      <a:pt x="736711" y="947217"/>
                      <a:pt x="735012" y="951944"/>
                      <a:pt x="733425" y="956706"/>
                    </a:cubicBezTo>
                    <a:lnTo>
                      <a:pt x="731043" y="963850"/>
                    </a:lnTo>
                    <a:cubicBezTo>
                      <a:pt x="726036" y="1008918"/>
                      <a:pt x="731436" y="969026"/>
                      <a:pt x="726281" y="994806"/>
                    </a:cubicBezTo>
                    <a:cubicBezTo>
                      <a:pt x="725334" y="999541"/>
                      <a:pt x="725071" y="1004410"/>
                      <a:pt x="723900" y="1009094"/>
                    </a:cubicBezTo>
                    <a:cubicBezTo>
                      <a:pt x="722682" y="1013964"/>
                      <a:pt x="723899" y="1021793"/>
                      <a:pt x="719137" y="1023381"/>
                    </a:cubicBezTo>
                    <a:cubicBezTo>
                      <a:pt x="701172" y="1029371"/>
                      <a:pt x="723322" y="1021289"/>
                      <a:pt x="704850" y="1030525"/>
                    </a:cubicBezTo>
                    <a:cubicBezTo>
                      <a:pt x="702605" y="1031647"/>
                      <a:pt x="700087" y="1032112"/>
                      <a:pt x="697706" y="1032906"/>
                    </a:cubicBezTo>
                    <a:cubicBezTo>
                      <a:pt x="690562" y="1032112"/>
                      <a:pt x="683094" y="1032798"/>
                      <a:pt x="676275" y="1030525"/>
                    </a:cubicBezTo>
                    <a:cubicBezTo>
                      <a:pt x="673080" y="1029460"/>
                      <a:pt x="671718" y="1025537"/>
                      <a:pt x="669131" y="1023381"/>
                    </a:cubicBezTo>
                    <a:cubicBezTo>
                      <a:pt x="666932" y="1021549"/>
                      <a:pt x="664368" y="1020206"/>
                      <a:pt x="661987" y="1018619"/>
                    </a:cubicBezTo>
                    <a:cubicBezTo>
                      <a:pt x="661193" y="1016238"/>
                      <a:pt x="659606" y="1013985"/>
                      <a:pt x="659606" y="1011475"/>
                    </a:cubicBezTo>
                    <a:cubicBezTo>
                      <a:pt x="659606" y="998642"/>
                      <a:pt x="660999" y="998670"/>
                      <a:pt x="666750" y="990044"/>
                    </a:cubicBezTo>
                    <a:cubicBezTo>
                      <a:pt x="665162" y="984488"/>
                      <a:pt x="664794" y="978426"/>
                      <a:pt x="661987" y="973375"/>
                    </a:cubicBezTo>
                    <a:cubicBezTo>
                      <a:pt x="659335" y="968602"/>
                      <a:pt x="649368" y="967244"/>
                      <a:pt x="645318" y="966231"/>
                    </a:cubicBezTo>
                    <a:cubicBezTo>
                      <a:pt x="604843" y="977797"/>
                      <a:pt x="659885" y="963331"/>
                      <a:pt x="592931" y="973375"/>
                    </a:cubicBezTo>
                    <a:cubicBezTo>
                      <a:pt x="587597" y="974175"/>
                      <a:pt x="578403" y="979132"/>
                      <a:pt x="573881" y="982900"/>
                    </a:cubicBezTo>
                    <a:cubicBezTo>
                      <a:pt x="571294" y="985056"/>
                      <a:pt x="569118" y="987663"/>
                      <a:pt x="566737" y="990044"/>
                    </a:cubicBezTo>
                    <a:cubicBezTo>
                      <a:pt x="565943" y="993219"/>
                      <a:pt x="565645" y="996561"/>
                      <a:pt x="564356" y="999569"/>
                    </a:cubicBezTo>
                    <a:cubicBezTo>
                      <a:pt x="563229" y="1002200"/>
                      <a:pt x="561013" y="1004228"/>
                      <a:pt x="559593" y="1006713"/>
                    </a:cubicBezTo>
                    <a:cubicBezTo>
                      <a:pt x="549132" y="1025020"/>
                      <a:pt x="561348" y="1007548"/>
                      <a:pt x="547687" y="1025763"/>
                    </a:cubicBezTo>
                    <a:cubicBezTo>
                      <a:pt x="546893" y="1028144"/>
                      <a:pt x="545850" y="1030456"/>
                      <a:pt x="545306" y="1032906"/>
                    </a:cubicBezTo>
                    <a:cubicBezTo>
                      <a:pt x="544259" y="1037619"/>
                      <a:pt x="544312" y="1042569"/>
                      <a:pt x="542925" y="1047194"/>
                    </a:cubicBezTo>
                    <a:cubicBezTo>
                      <a:pt x="541905" y="1050594"/>
                      <a:pt x="539560" y="1053456"/>
                      <a:pt x="538162" y="1056719"/>
                    </a:cubicBezTo>
                    <a:cubicBezTo>
                      <a:pt x="537173" y="1059026"/>
                      <a:pt x="536575" y="1061482"/>
                      <a:pt x="535781" y="1063863"/>
                    </a:cubicBezTo>
                    <a:cubicBezTo>
                      <a:pt x="538314" y="1076529"/>
                      <a:pt x="540543" y="1085661"/>
                      <a:pt x="540543" y="1099581"/>
                    </a:cubicBezTo>
                    <a:cubicBezTo>
                      <a:pt x="540543" y="1102091"/>
                      <a:pt x="539151" y="1104418"/>
                      <a:pt x="538162" y="1106725"/>
                    </a:cubicBezTo>
                    <a:cubicBezTo>
                      <a:pt x="536764" y="1109988"/>
                      <a:pt x="536240" y="1114120"/>
                      <a:pt x="533400" y="1116250"/>
                    </a:cubicBezTo>
                    <a:cubicBezTo>
                      <a:pt x="529384" y="1119262"/>
                      <a:pt x="519112" y="1121013"/>
                      <a:pt x="519112" y="1121013"/>
                    </a:cubicBezTo>
                    <a:cubicBezTo>
                      <a:pt x="516731" y="1123394"/>
                      <a:pt x="514574" y="1126024"/>
                      <a:pt x="511968" y="1128156"/>
                    </a:cubicBezTo>
                    <a:cubicBezTo>
                      <a:pt x="504178" y="1134529"/>
                      <a:pt x="491000" y="1144594"/>
                      <a:pt x="481012" y="1149588"/>
                    </a:cubicBezTo>
                    <a:cubicBezTo>
                      <a:pt x="478767" y="1150711"/>
                      <a:pt x="476249" y="1151175"/>
                      <a:pt x="473868" y="1151969"/>
                    </a:cubicBezTo>
                    <a:cubicBezTo>
                      <a:pt x="460773" y="1160699"/>
                      <a:pt x="471884" y="1151969"/>
                      <a:pt x="461962" y="1163875"/>
                    </a:cubicBezTo>
                    <a:cubicBezTo>
                      <a:pt x="459806" y="1166462"/>
                      <a:pt x="456886" y="1168361"/>
                      <a:pt x="454818" y="1171019"/>
                    </a:cubicBezTo>
                    <a:cubicBezTo>
                      <a:pt x="451304" y="1175537"/>
                      <a:pt x="448468" y="1180544"/>
                      <a:pt x="445293" y="1185306"/>
                    </a:cubicBezTo>
                    <a:cubicBezTo>
                      <a:pt x="443706" y="1187687"/>
                      <a:pt x="443246" y="1191545"/>
                      <a:pt x="440531" y="1192450"/>
                    </a:cubicBezTo>
                    <a:lnTo>
                      <a:pt x="433387" y="1194831"/>
                    </a:lnTo>
                    <a:cubicBezTo>
                      <a:pt x="431006" y="1196419"/>
                      <a:pt x="429105" y="1199594"/>
                      <a:pt x="426243" y="1199594"/>
                    </a:cubicBezTo>
                    <a:cubicBezTo>
                      <a:pt x="421223" y="1199594"/>
                      <a:pt x="416718" y="1196419"/>
                      <a:pt x="411956" y="1194831"/>
                    </a:cubicBezTo>
                    <a:lnTo>
                      <a:pt x="404812" y="1192450"/>
                    </a:lnTo>
                    <a:cubicBezTo>
                      <a:pt x="402431" y="1191656"/>
                      <a:pt x="400163" y="1190346"/>
                      <a:pt x="397668" y="1190069"/>
                    </a:cubicBezTo>
                    <a:lnTo>
                      <a:pt x="376237" y="1187688"/>
                    </a:lnTo>
                    <a:cubicBezTo>
                      <a:pt x="371475" y="1186100"/>
                      <a:pt x="366127" y="1185709"/>
                      <a:pt x="361950" y="1182925"/>
                    </a:cubicBezTo>
                    <a:cubicBezTo>
                      <a:pt x="357043" y="1179654"/>
                      <a:pt x="353727" y="1176539"/>
                      <a:pt x="347662" y="1175781"/>
                    </a:cubicBezTo>
                    <a:cubicBezTo>
                      <a:pt x="337393" y="1174497"/>
                      <a:pt x="327025" y="1174194"/>
                      <a:pt x="316706" y="1173400"/>
                    </a:cubicBezTo>
                    <a:cubicBezTo>
                      <a:pt x="312963" y="1170905"/>
                      <a:pt x="305367" y="1167165"/>
                      <a:pt x="304800" y="1161494"/>
                    </a:cubicBezTo>
                    <a:cubicBezTo>
                      <a:pt x="304435" y="1157840"/>
                      <a:pt x="306793" y="1143218"/>
                      <a:pt x="309562" y="1137681"/>
                    </a:cubicBezTo>
                    <a:cubicBezTo>
                      <a:pt x="310842" y="1135121"/>
                      <a:pt x="312737" y="1132919"/>
                      <a:pt x="314325" y="1130538"/>
                    </a:cubicBezTo>
                    <a:cubicBezTo>
                      <a:pt x="311220" y="1102601"/>
                      <a:pt x="313686" y="1116079"/>
                      <a:pt x="307181" y="1090056"/>
                    </a:cubicBezTo>
                    <a:cubicBezTo>
                      <a:pt x="306416" y="1086996"/>
                      <a:pt x="304129" y="1076810"/>
                      <a:pt x="302418" y="1073388"/>
                    </a:cubicBezTo>
                    <a:cubicBezTo>
                      <a:pt x="297981" y="1064515"/>
                      <a:pt x="297099" y="1067005"/>
                      <a:pt x="290512" y="1059100"/>
                    </a:cubicBezTo>
                    <a:cubicBezTo>
                      <a:pt x="288680" y="1056901"/>
                      <a:pt x="287582" y="1054155"/>
                      <a:pt x="285750" y="1051956"/>
                    </a:cubicBezTo>
                    <a:cubicBezTo>
                      <a:pt x="278757" y="1043565"/>
                      <a:pt x="274271" y="1041924"/>
                      <a:pt x="264318" y="1035288"/>
                    </a:cubicBezTo>
                    <a:lnTo>
                      <a:pt x="257175" y="1030525"/>
                    </a:lnTo>
                    <a:cubicBezTo>
                      <a:pt x="252678" y="1027527"/>
                      <a:pt x="248592" y="1023900"/>
                      <a:pt x="242887" y="1023381"/>
                    </a:cubicBezTo>
                    <a:cubicBezTo>
                      <a:pt x="227847" y="1022014"/>
                      <a:pt x="212724" y="1021794"/>
                      <a:pt x="197643" y="1021000"/>
                    </a:cubicBezTo>
                    <a:cubicBezTo>
                      <a:pt x="190318" y="1018558"/>
                      <a:pt x="187062" y="1016161"/>
                      <a:pt x="178593" y="1021000"/>
                    </a:cubicBezTo>
                    <a:cubicBezTo>
                      <a:pt x="176108" y="1022420"/>
                      <a:pt x="175855" y="1026120"/>
                      <a:pt x="173831" y="1028144"/>
                    </a:cubicBezTo>
                    <a:cubicBezTo>
                      <a:pt x="171807" y="1030168"/>
                      <a:pt x="169247" y="1031626"/>
                      <a:pt x="166687" y="1032906"/>
                    </a:cubicBezTo>
                    <a:cubicBezTo>
                      <a:pt x="160034" y="1036233"/>
                      <a:pt x="149026" y="1036790"/>
                      <a:pt x="142875" y="1037669"/>
                    </a:cubicBezTo>
                    <a:cubicBezTo>
                      <a:pt x="137318" y="1054337"/>
                      <a:pt x="142874" y="1053543"/>
                      <a:pt x="130968" y="1049575"/>
                    </a:cubicBezTo>
                    <a:lnTo>
                      <a:pt x="121443" y="1035288"/>
                    </a:lnTo>
                    <a:cubicBezTo>
                      <a:pt x="119856" y="1032907"/>
                      <a:pt x="117586" y="1030859"/>
                      <a:pt x="116681" y="1028144"/>
                    </a:cubicBezTo>
                    <a:cubicBezTo>
                      <a:pt x="115887" y="1025763"/>
                      <a:pt x="115907" y="1022928"/>
                      <a:pt x="114300" y="1021000"/>
                    </a:cubicBezTo>
                    <a:cubicBezTo>
                      <a:pt x="103444" y="1007972"/>
                      <a:pt x="102293" y="1020691"/>
                      <a:pt x="95250" y="999569"/>
                    </a:cubicBezTo>
                    <a:cubicBezTo>
                      <a:pt x="94456" y="997188"/>
                      <a:pt x="93477" y="994860"/>
                      <a:pt x="92868" y="992425"/>
                    </a:cubicBezTo>
                    <a:cubicBezTo>
                      <a:pt x="91886" y="988499"/>
                      <a:pt x="92297" y="984139"/>
                      <a:pt x="90487" y="980519"/>
                    </a:cubicBezTo>
                    <a:cubicBezTo>
                      <a:pt x="88732" y="977008"/>
                      <a:pt x="79847" y="970437"/>
                      <a:pt x="76200" y="968613"/>
                    </a:cubicBezTo>
                    <a:cubicBezTo>
                      <a:pt x="73955" y="967490"/>
                      <a:pt x="71250" y="967450"/>
                      <a:pt x="69056" y="966231"/>
                    </a:cubicBezTo>
                    <a:cubicBezTo>
                      <a:pt x="64052" y="963451"/>
                      <a:pt x="54768" y="956706"/>
                      <a:pt x="54768" y="956706"/>
                    </a:cubicBezTo>
                    <a:cubicBezTo>
                      <a:pt x="51593" y="951944"/>
                      <a:pt x="47803" y="947538"/>
                      <a:pt x="45243" y="942419"/>
                    </a:cubicBezTo>
                    <a:cubicBezTo>
                      <a:pt x="42068" y="936069"/>
                      <a:pt x="37963" y="930104"/>
                      <a:pt x="35718" y="923369"/>
                    </a:cubicBezTo>
                    <a:cubicBezTo>
                      <a:pt x="32432" y="913510"/>
                      <a:pt x="34729" y="918314"/>
                      <a:pt x="28575" y="909081"/>
                    </a:cubicBezTo>
                    <a:cubicBezTo>
                      <a:pt x="24975" y="894685"/>
                      <a:pt x="27228" y="902662"/>
                      <a:pt x="21431" y="885269"/>
                    </a:cubicBezTo>
                    <a:cubicBezTo>
                      <a:pt x="21429" y="885264"/>
                      <a:pt x="16671" y="870985"/>
                      <a:pt x="16668" y="870981"/>
                    </a:cubicBezTo>
                    <a:cubicBezTo>
                      <a:pt x="10038" y="861036"/>
                      <a:pt x="13929" y="865861"/>
                      <a:pt x="4762" y="856694"/>
                    </a:cubicBezTo>
                    <a:cubicBezTo>
                      <a:pt x="1037" y="845516"/>
                      <a:pt x="0" y="844069"/>
                      <a:pt x="0" y="828119"/>
                    </a:cubicBezTo>
                    <a:cubicBezTo>
                      <a:pt x="0" y="823291"/>
                      <a:pt x="524" y="818288"/>
                      <a:pt x="2381" y="813831"/>
                    </a:cubicBezTo>
                    <a:cubicBezTo>
                      <a:pt x="4582" y="808548"/>
                      <a:pt x="8731" y="804306"/>
                      <a:pt x="11906" y="799544"/>
                    </a:cubicBezTo>
                    <a:cubicBezTo>
                      <a:pt x="13493" y="797163"/>
                      <a:pt x="15763" y="795115"/>
                      <a:pt x="16668" y="792400"/>
                    </a:cubicBezTo>
                    <a:cubicBezTo>
                      <a:pt x="17462" y="790019"/>
                      <a:pt x="18360" y="787670"/>
                      <a:pt x="19050" y="785256"/>
                    </a:cubicBezTo>
                    <a:cubicBezTo>
                      <a:pt x="19949" y="782109"/>
                      <a:pt x="19807" y="778572"/>
                      <a:pt x="21431" y="775731"/>
                    </a:cubicBezTo>
                    <a:cubicBezTo>
                      <a:pt x="23102" y="772807"/>
                      <a:pt x="25917" y="770655"/>
                      <a:pt x="28575" y="768588"/>
                    </a:cubicBezTo>
                    <a:cubicBezTo>
                      <a:pt x="33093" y="765074"/>
                      <a:pt x="38100" y="762238"/>
                      <a:pt x="42862" y="759063"/>
                    </a:cubicBezTo>
                    <a:lnTo>
                      <a:pt x="57150" y="749538"/>
                    </a:lnTo>
                    <a:lnTo>
                      <a:pt x="64293" y="744775"/>
                    </a:lnTo>
                    <a:lnTo>
                      <a:pt x="71437" y="740013"/>
                    </a:lnTo>
                    <a:cubicBezTo>
                      <a:pt x="73025" y="737632"/>
                      <a:pt x="76761" y="735676"/>
                      <a:pt x="76200" y="732869"/>
                    </a:cubicBezTo>
                    <a:cubicBezTo>
                      <a:pt x="75639" y="730062"/>
                      <a:pt x="70941" y="730260"/>
                      <a:pt x="69056" y="728106"/>
                    </a:cubicBezTo>
                    <a:cubicBezTo>
                      <a:pt x="65287" y="723799"/>
                      <a:pt x="62965" y="718398"/>
                      <a:pt x="59531" y="713819"/>
                    </a:cubicBezTo>
                    <a:lnTo>
                      <a:pt x="52387" y="704294"/>
                    </a:lnTo>
                    <a:cubicBezTo>
                      <a:pt x="50800" y="699531"/>
                      <a:pt x="46408" y="694876"/>
                      <a:pt x="47625" y="690006"/>
                    </a:cubicBezTo>
                    <a:cubicBezTo>
                      <a:pt x="48419" y="686831"/>
                      <a:pt x="48717" y="683489"/>
                      <a:pt x="50006" y="680481"/>
                    </a:cubicBezTo>
                    <a:cubicBezTo>
                      <a:pt x="51605" y="676749"/>
                      <a:pt x="58665" y="668049"/>
                      <a:pt x="61912" y="666194"/>
                    </a:cubicBezTo>
                    <a:cubicBezTo>
                      <a:pt x="64754" y="664570"/>
                      <a:pt x="68262" y="664607"/>
                      <a:pt x="71437" y="663813"/>
                    </a:cubicBezTo>
                    <a:cubicBezTo>
                      <a:pt x="74434" y="661815"/>
                      <a:pt x="84734" y="655622"/>
                      <a:pt x="85725" y="651906"/>
                    </a:cubicBezTo>
                    <a:cubicBezTo>
                      <a:pt x="87475" y="645345"/>
                      <a:pt x="80413" y="621187"/>
                      <a:pt x="95250" y="618569"/>
                    </a:cubicBezTo>
                    <a:cubicBezTo>
                      <a:pt x="106221" y="616633"/>
                      <a:pt x="117475" y="616982"/>
                      <a:pt x="128587" y="616188"/>
                    </a:cubicBezTo>
                    <a:cubicBezTo>
                      <a:pt x="148480" y="602926"/>
                      <a:pt x="138826" y="610711"/>
                      <a:pt x="157162" y="592375"/>
                    </a:cubicBezTo>
                    <a:lnTo>
                      <a:pt x="164306" y="585231"/>
                    </a:lnTo>
                    <a:cubicBezTo>
                      <a:pt x="165100" y="582850"/>
                      <a:pt x="166027" y="580509"/>
                      <a:pt x="166687" y="578088"/>
                    </a:cubicBezTo>
                    <a:cubicBezTo>
                      <a:pt x="168409" y="571773"/>
                      <a:pt x="169380" y="565248"/>
                      <a:pt x="171450" y="559038"/>
                    </a:cubicBezTo>
                    <a:lnTo>
                      <a:pt x="176212" y="544750"/>
                    </a:lnTo>
                    <a:cubicBezTo>
                      <a:pt x="176214" y="544745"/>
                      <a:pt x="180971" y="530468"/>
                      <a:pt x="180975" y="530463"/>
                    </a:cubicBezTo>
                    <a:cubicBezTo>
                      <a:pt x="182562" y="528082"/>
                      <a:pt x="184575" y="525934"/>
                      <a:pt x="185737" y="523319"/>
                    </a:cubicBezTo>
                    <a:cubicBezTo>
                      <a:pt x="187776" y="518731"/>
                      <a:pt x="190500" y="509031"/>
                      <a:pt x="190500" y="509031"/>
                    </a:cubicBezTo>
                    <a:cubicBezTo>
                      <a:pt x="189706" y="497919"/>
                      <a:pt x="190054" y="486665"/>
                      <a:pt x="188118" y="475694"/>
                    </a:cubicBezTo>
                    <a:cubicBezTo>
                      <a:pt x="187324" y="471192"/>
                      <a:pt x="178513" y="464167"/>
                      <a:pt x="176212" y="461406"/>
                    </a:cubicBezTo>
                    <a:cubicBezTo>
                      <a:pt x="174380" y="459208"/>
                      <a:pt x="173282" y="456461"/>
                      <a:pt x="171450" y="454263"/>
                    </a:cubicBezTo>
                    <a:cubicBezTo>
                      <a:pt x="169294" y="451676"/>
                      <a:pt x="166462" y="449706"/>
                      <a:pt x="164306" y="447119"/>
                    </a:cubicBezTo>
                    <a:cubicBezTo>
                      <a:pt x="162474" y="444920"/>
                      <a:pt x="161567" y="441999"/>
                      <a:pt x="159543" y="439975"/>
                    </a:cubicBezTo>
                    <a:cubicBezTo>
                      <a:pt x="157520" y="437952"/>
                      <a:pt x="154781" y="436800"/>
                      <a:pt x="152400" y="435213"/>
                    </a:cubicBezTo>
                    <a:cubicBezTo>
                      <a:pt x="151606" y="432038"/>
                      <a:pt x="151895" y="428369"/>
                      <a:pt x="150018" y="425688"/>
                    </a:cubicBezTo>
                    <a:cubicBezTo>
                      <a:pt x="146156" y="420170"/>
                      <a:pt x="135731" y="411400"/>
                      <a:pt x="135731" y="411400"/>
                    </a:cubicBezTo>
                    <a:cubicBezTo>
                      <a:pt x="129746" y="393443"/>
                      <a:pt x="137820" y="415577"/>
                      <a:pt x="128587" y="397113"/>
                    </a:cubicBezTo>
                    <a:cubicBezTo>
                      <a:pt x="127464" y="394868"/>
                      <a:pt x="126896" y="392383"/>
                      <a:pt x="126206" y="389969"/>
                    </a:cubicBezTo>
                    <a:cubicBezTo>
                      <a:pt x="125307" y="386822"/>
                      <a:pt x="125702" y="383125"/>
                      <a:pt x="123825" y="380444"/>
                    </a:cubicBezTo>
                    <a:cubicBezTo>
                      <a:pt x="119963" y="374926"/>
                      <a:pt x="109537" y="366156"/>
                      <a:pt x="109537" y="366156"/>
                    </a:cubicBezTo>
                    <a:cubicBezTo>
                      <a:pt x="107950" y="362981"/>
                      <a:pt x="106838" y="359519"/>
                      <a:pt x="104775" y="356631"/>
                    </a:cubicBezTo>
                    <a:cubicBezTo>
                      <a:pt x="102818" y="353891"/>
                      <a:pt x="99266" y="352432"/>
                      <a:pt x="97631" y="349488"/>
                    </a:cubicBezTo>
                    <a:cubicBezTo>
                      <a:pt x="95193" y="345100"/>
                      <a:pt x="94456" y="339963"/>
                      <a:pt x="92868" y="335200"/>
                    </a:cubicBezTo>
                    <a:lnTo>
                      <a:pt x="90487" y="328056"/>
                    </a:lnTo>
                    <a:cubicBezTo>
                      <a:pt x="89693" y="312975"/>
                      <a:pt x="89414" y="297858"/>
                      <a:pt x="88106" y="282813"/>
                    </a:cubicBezTo>
                    <a:cubicBezTo>
                      <a:pt x="87823" y="279553"/>
                      <a:pt x="85725" y="276561"/>
                      <a:pt x="85725" y="273288"/>
                    </a:cubicBezTo>
                    <a:cubicBezTo>
                      <a:pt x="85725" y="261355"/>
                      <a:pt x="86144" y="249339"/>
                      <a:pt x="88106" y="237569"/>
                    </a:cubicBezTo>
                    <a:cubicBezTo>
                      <a:pt x="88576" y="234746"/>
                      <a:pt x="90714" y="232310"/>
                      <a:pt x="92868" y="230425"/>
                    </a:cubicBezTo>
                    <a:cubicBezTo>
                      <a:pt x="97176" y="226656"/>
                      <a:pt x="102577" y="224334"/>
                      <a:pt x="107156" y="220900"/>
                    </a:cubicBezTo>
                    <a:cubicBezTo>
                      <a:pt x="113506" y="216138"/>
                      <a:pt x="119107" y="210163"/>
                      <a:pt x="126206" y="206613"/>
                    </a:cubicBezTo>
                    <a:lnTo>
                      <a:pt x="145256" y="197088"/>
                    </a:lnTo>
                    <a:cubicBezTo>
                      <a:pt x="152771" y="193330"/>
                      <a:pt x="163322" y="188546"/>
                      <a:pt x="169068" y="182800"/>
                    </a:cubicBezTo>
                    <a:cubicBezTo>
                      <a:pt x="171449" y="180419"/>
                      <a:pt x="173606" y="177789"/>
                      <a:pt x="176212" y="175656"/>
                    </a:cubicBezTo>
                    <a:cubicBezTo>
                      <a:pt x="182355" y="170630"/>
                      <a:pt x="195262" y="161369"/>
                      <a:pt x="195262" y="161369"/>
                    </a:cubicBezTo>
                    <a:cubicBezTo>
                      <a:pt x="197147" y="155712"/>
                      <a:pt x="199029" y="150673"/>
                      <a:pt x="200025" y="144700"/>
                    </a:cubicBezTo>
                    <a:cubicBezTo>
                      <a:pt x="201077" y="138388"/>
                      <a:pt x="201433" y="131975"/>
                      <a:pt x="202406" y="125650"/>
                    </a:cubicBezTo>
                    <a:cubicBezTo>
                      <a:pt x="203021" y="121650"/>
                      <a:pt x="203993" y="117713"/>
                      <a:pt x="204787" y="113744"/>
                    </a:cubicBezTo>
                    <a:cubicBezTo>
                      <a:pt x="205581" y="105013"/>
                      <a:pt x="204590" y="95930"/>
                      <a:pt x="207168" y="87550"/>
                    </a:cubicBezTo>
                    <a:cubicBezTo>
                      <a:pt x="208010" y="84815"/>
                      <a:pt x="211571" y="83610"/>
                      <a:pt x="214312" y="82788"/>
                    </a:cubicBezTo>
                    <a:cubicBezTo>
                      <a:pt x="247212" y="72918"/>
                      <a:pt x="204788" y="87153"/>
                      <a:pt x="209550" y="85169"/>
                    </a:cubicBezTo>
                    <a:close/>
                  </a:path>
                </a:pathLst>
              </a:custGeom>
              <a:grpFill/>
              <a:ln w="3175">
                <a:solidFill>
                  <a:srgbClr val="FF8300"/>
                </a:solidFill>
                <a:round/>
                <a:headEnd/>
                <a:tailEnd/>
              </a:ln>
            </p:spPr>
            <p:txBody>
              <a:bodyPr/>
              <a:lstStyle/>
              <a:p>
                <a:pPr>
                  <a:defRPr/>
                </a:pPr>
                <a:endParaRPr lang="en-GB" sz="1400">
                  <a:solidFill>
                    <a:schemeClr val="tx2"/>
                  </a:solidFill>
                </a:endParaRPr>
              </a:p>
            </p:txBody>
          </p:sp>
          <p:sp>
            <p:nvSpPr>
              <p:cNvPr id="346" name="Freeform 358"/>
              <p:cNvSpPr>
                <a:spLocks noChangeArrowheads="1"/>
              </p:cNvSpPr>
              <p:nvPr>
                <p:custDataLst>
                  <p:tags r:id="rId3"/>
                </p:custDataLst>
              </p:nvPr>
            </p:nvSpPr>
            <p:spPr bwMode="gray">
              <a:xfrm>
                <a:off x="7514568" y="2563164"/>
                <a:ext cx="994964" cy="1517530"/>
              </a:xfrm>
              <a:custGeom>
                <a:avLst/>
                <a:gdLst>
                  <a:gd name="T0" fmla="*/ 0 w 1184627"/>
                  <a:gd name="T1" fmla="*/ 0 h 1806875"/>
                  <a:gd name="T2" fmla="*/ 1184627 w 1184627"/>
                  <a:gd name="T3" fmla="*/ 1806875 h 1806875"/>
                </a:gdLst>
                <a:ahLst/>
                <a:cxnLst/>
                <a:rect l="T0" t="T1" r="T2" b="T3"/>
                <a:pathLst>
                  <a:path w="1184627" h="1806875">
                    <a:moveTo>
                      <a:pt x="593725" y="10054"/>
                    </a:moveTo>
                    <a:cubicBezTo>
                      <a:pt x="596371" y="20108"/>
                      <a:pt x="593471" y="31349"/>
                      <a:pt x="603250" y="67204"/>
                    </a:cubicBezTo>
                    <a:cubicBezTo>
                      <a:pt x="604398" y="71414"/>
                      <a:pt x="605226" y="75708"/>
                      <a:pt x="606425" y="79904"/>
                    </a:cubicBezTo>
                    <a:cubicBezTo>
                      <a:pt x="607344" y="83122"/>
                      <a:pt x="608681" y="86211"/>
                      <a:pt x="609600" y="89429"/>
                    </a:cubicBezTo>
                    <a:cubicBezTo>
                      <a:pt x="610799" y="93625"/>
                      <a:pt x="611056" y="98118"/>
                      <a:pt x="612775" y="102129"/>
                    </a:cubicBezTo>
                    <a:cubicBezTo>
                      <a:pt x="614278" y="105636"/>
                      <a:pt x="617008" y="108479"/>
                      <a:pt x="619125" y="111654"/>
                    </a:cubicBezTo>
                    <a:cubicBezTo>
                      <a:pt x="620779" y="119925"/>
                      <a:pt x="622913" y="131902"/>
                      <a:pt x="625475" y="140229"/>
                    </a:cubicBezTo>
                    <a:cubicBezTo>
                      <a:pt x="628428" y="149825"/>
                      <a:pt x="631825" y="159279"/>
                      <a:pt x="635000" y="168804"/>
                    </a:cubicBezTo>
                    <a:cubicBezTo>
                      <a:pt x="636058" y="171979"/>
                      <a:pt x="637519" y="175047"/>
                      <a:pt x="638175" y="178329"/>
                    </a:cubicBezTo>
                    <a:cubicBezTo>
                      <a:pt x="647886" y="226885"/>
                      <a:pt x="632992" y="150406"/>
                      <a:pt x="644525" y="219604"/>
                    </a:cubicBezTo>
                    <a:cubicBezTo>
                      <a:pt x="646299" y="230250"/>
                      <a:pt x="649349" y="240670"/>
                      <a:pt x="650875" y="251354"/>
                    </a:cubicBezTo>
                    <a:cubicBezTo>
                      <a:pt x="653308" y="268384"/>
                      <a:pt x="655436" y="285609"/>
                      <a:pt x="660400" y="302154"/>
                    </a:cubicBezTo>
                    <a:cubicBezTo>
                      <a:pt x="662323" y="308565"/>
                      <a:pt x="666750" y="321204"/>
                      <a:pt x="666750" y="321204"/>
                    </a:cubicBezTo>
                    <a:cubicBezTo>
                      <a:pt x="667808" y="328612"/>
                      <a:pt x="668457" y="336091"/>
                      <a:pt x="669925" y="343429"/>
                    </a:cubicBezTo>
                    <a:cubicBezTo>
                      <a:pt x="670581" y="346711"/>
                      <a:pt x="674822" y="350084"/>
                      <a:pt x="673100" y="352954"/>
                    </a:cubicBezTo>
                    <a:cubicBezTo>
                      <a:pt x="670665" y="357013"/>
                      <a:pt x="664096" y="356347"/>
                      <a:pt x="660400" y="359304"/>
                    </a:cubicBezTo>
                    <a:cubicBezTo>
                      <a:pt x="653388" y="364914"/>
                      <a:pt x="647700" y="372004"/>
                      <a:pt x="641350" y="378354"/>
                    </a:cubicBezTo>
                    <a:cubicBezTo>
                      <a:pt x="638175" y="381529"/>
                      <a:pt x="635561" y="385388"/>
                      <a:pt x="631825" y="387879"/>
                    </a:cubicBezTo>
                    <a:lnTo>
                      <a:pt x="622300" y="394229"/>
                    </a:lnTo>
                    <a:cubicBezTo>
                      <a:pt x="621242" y="398462"/>
                      <a:pt x="620324" y="402733"/>
                      <a:pt x="619125" y="406929"/>
                    </a:cubicBezTo>
                    <a:cubicBezTo>
                      <a:pt x="618206" y="410147"/>
                      <a:pt x="616676" y="413187"/>
                      <a:pt x="615950" y="416454"/>
                    </a:cubicBezTo>
                    <a:cubicBezTo>
                      <a:pt x="614553" y="422738"/>
                      <a:pt x="614038" y="429191"/>
                      <a:pt x="612775" y="435504"/>
                    </a:cubicBezTo>
                    <a:cubicBezTo>
                      <a:pt x="610782" y="445471"/>
                      <a:pt x="609451" y="448651"/>
                      <a:pt x="606425" y="457729"/>
                    </a:cubicBezTo>
                    <a:cubicBezTo>
                      <a:pt x="605367" y="465137"/>
                      <a:pt x="603250" y="472470"/>
                      <a:pt x="603250" y="479954"/>
                    </a:cubicBezTo>
                    <a:cubicBezTo>
                      <a:pt x="603250" y="503574"/>
                      <a:pt x="606295" y="527124"/>
                      <a:pt x="612775" y="549804"/>
                    </a:cubicBezTo>
                    <a:cubicBezTo>
                      <a:pt x="613694" y="553022"/>
                      <a:pt x="614892" y="556154"/>
                      <a:pt x="615950" y="559329"/>
                    </a:cubicBezTo>
                    <a:cubicBezTo>
                      <a:pt x="613833" y="565679"/>
                      <a:pt x="615047" y="574488"/>
                      <a:pt x="609600" y="578379"/>
                    </a:cubicBezTo>
                    <a:cubicBezTo>
                      <a:pt x="605209" y="581516"/>
                      <a:pt x="599034" y="576169"/>
                      <a:pt x="593725" y="575204"/>
                    </a:cubicBezTo>
                    <a:cubicBezTo>
                      <a:pt x="565181" y="570014"/>
                      <a:pt x="584438" y="574470"/>
                      <a:pt x="561975" y="568854"/>
                    </a:cubicBezTo>
                    <a:cubicBezTo>
                      <a:pt x="540441" y="554498"/>
                      <a:pt x="560783" y="567662"/>
                      <a:pt x="568325" y="575204"/>
                    </a:cubicBezTo>
                    <a:cubicBezTo>
                      <a:pt x="571023" y="577902"/>
                      <a:pt x="572558" y="581554"/>
                      <a:pt x="574675" y="584729"/>
                    </a:cubicBezTo>
                    <a:cubicBezTo>
                      <a:pt x="575733" y="588962"/>
                      <a:pt x="578024" y="593069"/>
                      <a:pt x="577850" y="597429"/>
                    </a:cubicBezTo>
                    <a:cubicBezTo>
                      <a:pt x="576958" y="619737"/>
                      <a:pt x="576915" y="642445"/>
                      <a:pt x="571500" y="664104"/>
                    </a:cubicBezTo>
                    <a:cubicBezTo>
                      <a:pt x="570442" y="668337"/>
                      <a:pt x="569857" y="672718"/>
                      <a:pt x="568325" y="676804"/>
                    </a:cubicBezTo>
                    <a:cubicBezTo>
                      <a:pt x="565388" y="684637"/>
                      <a:pt x="560473" y="692242"/>
                      <a:pt x="555625" y="699029"/>
                    </a:cubicBezTo>
                    <a:cubicBezTo>
                      <a:pt x="552549" y="703335"/>
                      <a:pt x="548905" y="707242"/>
                      <a:pt x="546100" y="711729"/>
                    </a:cubicBezTo>
                    <a:cubicBezTo>
                      <a:pt x="543592" y="715743"/>
                      <a:pt x="541867" y="720196"/>
                      <a:pt x="539750" y="724429"/>
                    </a:cubicBezTo>
                    <a:cubicBezTo>
                      <a:pt x="539885" y="725506"/>
                      <a:pt x="541582" y="752577"/>
                      <a:pt x="546100" y="759354"/>
                    </a:cubicBezTo>
                    <a:cubicBezTo>
                      <a:pt x="548591" y="763090"/>
                      <a:pt x="552450" y="765704"/>
                      <a:pt x="555625" y="768879"/>
                    </a:cubicBezTo>
                    <a:cubicBezTo>
                      <a:pt x="557742" y="774171"/>
                      <a:pt x="559043" y="779867"/>
                      <a:pt x="561975" y="784754"/>
                    </a:cubicBezTo>
                    <a:cubicBezTo>
                      <a:pt x="576727" y="809341"/>
                      <a:pt x="570382" y="792388"/>
                      <a:pt x="584200" y="810154"/>
                    </a:cubicBezTo>
                    <a:cubicBezTo>
                      <a:pt x="588885" y="816178"/>
                      <a:pt x="590941" y="824436"/>
                      <a:pt x="596900" y="829204"/>
                    </a:cubicBezTo>
                    <a:cubicBezTo>
                      <a:pt x="605478" y="836066"/>
                      <a:pt x="615142" y="842839"/>
                      <a:pt x="622300" y="851429"/>
                    </a:cubicBezTo>
                    <a:cubicBezTo>
                      <a:pt x="644402" y="877951"/>
                      <a:pt x="610348" y="842652"/>
                      <a:pt x="638175" y="870479"/>
                    </a:cubicBezTo>
                    <a:cubicBezTo>
                      <a:pt x="639233" y="874712"/>
                      <a:pt x="639399" y="879276"/>
                      <a:pt x="641350" y="883179"/>
                    </a:cubicBezTo>
                    <a:cubicBezTo>
                      <a:pt x="643717" y="887912"/>
                      <a:pt x="647431" y="891861"/>
                      <a:pt x="650875" y="895879"/>
                    </a:cubicBezTo>
                    <a:cubicBezTo>
                      <a:pt x="658715" y="905025"/>
                      <a:pt x="668701" y="912729"/>
                      <a:pt x="679450" y="918104"/>
                    </a:cubicBezTo>
                    <a:lnTo>
                      <a:pt x="692150" y="924454"/>
                    </a:lnTo>
                    <a:cubicBezTo>
                      <a:pt x="703048" y="920821"/>
                      <a:pt x="704764" y="921365"/>
                      <a:pt x="714375" y="911754"/>
                    </a:cubicBezTo>
                    <a:cubicBezTo>
                      <a:pt x="718117" y="908012"/>
                      <a:pt x="720158" y="902796"/>
                      <a:pt x="723900" y="899054"/>
                    </a:cubicBezTo>
                    <a:cubicBezTo>
                      <a:pt x="733794" y="889160"/>
                      <a:pt x="749299" y="888471"/>
                      <a:pt x="762000" y="886354"/>
                    </a:cubicBezTo>
                    <a:cubicBezTo>
                      <a:pt x="768350" y="887412"/>
                      <a:pt x="775694" y="885958"/>
                      <a:pt x="781050" y="889529"/>
                    </a:cubicBezTo>
                    <a:cubicBezTo>
                      <a:pt x="790951" y="896130"/>
                      <a:pt x="789353" y="906136"/>
                      <a:pt x="793750" y="914929"/>
                    </a:cubicBezTo>
                    <a:cubicBezTo>
                      <a:pt x="797649" y="922727"/>
                      <a:pt x="804517" y="930666"/>
                      <a:pt x="812800" y="933979"/>
                    </a:cubicBezTo>
                    <a:cubicBezTo>
                      <a:pt x="818777" y="936370"/>
                      <a:pt x="825462" y="936356"/>
                      <a:pt x="831850" y="937154"/>
                    </a:cubicBezTo>
                    <a:cubicBezTo>
                      <a:pt x="839899" y="938160"/>
                      <a:pt x="888734" y="942387"/>
                      <a:pt x="908050" y="946679"/>
                    </a:cubicBezTo>
                    <a:cubicBezTo>
                      <a:pt x="911317" y="947405"/>
                      <a:pt x="914400" y="948796"/>
                      <a:pt x="917575" y="949854"/>
                    </a:cubicBezTo>
                    <a:cubicBezTo>
                      <a:pt x="919692" y="953029"/>
                      <a:pt x="923504" y="955586"/>
                      <a:pt x="923925" y="959379"/>
                    </a:cubicBezTo>
                    <a:cubicBezTo>
                      <a:pt x="924636" y="965777"/>
                      <a:pt x="921936" y="972102"/>
                      <a:pt x="920750" y="978429"/>
                    </a:cubicBezTo>
                    <a:cubicBezTo>
                      <a:pt x="909331" y="1039329"/>
                      <a:pt x="918445" y="985911"/>
                      <a:pt x="911225" y="1029229"/>
                    </a:cubicBezTo>
                    <a:cubicBezTo>
                      <a:pt x="913430" y="1071119"/>
                      <a:pt x="909776" y="1074958"/>
                      <a:pt x="917575" y="1102254"/>
                    </a:cubicBezTo>
                    <a:cubicBezTo>
                      <a:pt x="918494" y="1105472"/>
                      <a:pt x="918894" y="1108994"/>
                      <a:pt x="920750" y="1111779"/>
                    </a:cubicBezTo>
                    <a:cubicBezTo>
                      <a:pt x="924477" y="1117369"/>
                      <a:pt x="948259" y="1136433"/>
                      <a:pt x="949325" y="1137179"/>
                    </a:cubicBezTo>
                    <a:cubicBezTo>
                      <a:pt x="953202" y="1139893"/>
                      <a:pt x="957433" y="1142381"/>
                      <a:pt x="962025" y="1143529"/>
                    </a:cubicBezTo>
                    <a:cubicBezTo>
                      <a:pt x="974516" y="1146652"/>
                      <a:pt x="987500" y="1147354"/>
                      <a:pt x="1000125" y="1149879"/>
                    </a:cubicBezTo>
                    <a:cubicBezTo>
                      <a:pt x="1003407" y="1150535"/>
                      <a:pt x="1006657" y="1151557"/>
                      <a:pt x="1009650" y="1153054"/>
                    </a:cubicBezTo>
                    <a:cubicBezTo>
                      <a:pt x="1013063" y="1154761"/>
                      <a:pt x="1016000" y="1157287"/>
                      <a:pt x="1019175" y="1159404"/>
                    </a:cubicBezTo>
                    <a:cubicBezTo>
                      <a:pt x="1021292" y="1163637"/>
                      <a:pt x="1024028" y="1167614"/>
                      <a:pt x="1025525" y="1172104"/>
                    </a:cubicBezTo>
                    <a:cubicBezTo>
                      <a:pt x="1028285" y="1180383"/>
                      <a:pt x="1029115" y="1189225"/>
                      <a:pt x="1031875" y="1197504"/>
                    </a:cubicBezTo>
                    <a:lnTo>
                      <a:pt x="1035050" y="1207029"/>
                    </a:lnTo>
                    <a:cubicBezTo>
                      <a:pt x="1029502" y="1245864"/>
                      <a:pt x="1036299" y="1215019"/>
                      <a:pt x="1025525" y="1241954"/>
                    </a:cubicBezTo>
                    <a:cubicBezTo>
                      <a:pt x="1023039" y="1248169"/>
                      <a:pt x="1019175" y="1261004"/>
                      <a:pt x="1019175" y="1261004"/>
                    </a:cubicBezTo>
                    <a:cubicBezTo>
                      <a:pt x="1020233" y="1290637"/>
                      <a:pt x="1016885" y="1320760"/>
                      <a:pt x="1022350" y="1349904"/>
                    </a:cubicBezTo>
                    <a:cubicBezTo>
                      <a:pt x="1023599" y="1356565"/>
                      <a:pt x="1032478" y="1359012"/>
                      <a:pt x="1038225" y="1362604"/>
                    </a:cubicBezTo>
                    <a:cubicBezTo>
                      <a:pt x="1042063" y="1365003"/>
                      <a:pt x="1057316" y="1367779"/>
                      <a:pt x="1060450" y="1368954"/>
                    </a:cubicBezTo>
                    <a:cubicBezTo>
                      <a:pt x="1064882" y="1370616"/>
                      <a:pt x="1068917" y="1373187"/>
                      <a:pt x="1073150" y="1375304"/>
                    </a:cubicBezTo>
                    <a:cubicBezTo>
                      <a:pt x="1075267" y="1379537"/>
                      <a:pt x="1077578" y="1383679"/>
                      <a:pt x="1079500" y="1388004"/>
                    </a:cubicBezTo>
                    <a:cubicBezTo>
                      <a:pt x="1081815" y="1393212"/>
                      <a:pt x="1083301" y="1398781"/>
                      <a:pt x="1085850" y="1403879"/>
                    </a:cubicBezTo>
                    <a:cubicBezTo>
                      <a:pt x="1090270" y="1412720"/>
                      <a:pt x="1094703" y="1415907"/>
                      <a:pt x="1101725" y="1422929"/>
                    </a:cubicBezTo>
                    <a:cubicBezTo>
                      <a:pt x="1100667" y="1432454"/>
                      <a:pt x="1098550" y="1441920"/>
                      <a:pt x="1098550" y="1451504"/>
                    </a:cubicBezTo>
                    <a:cubicBezTo>
                      <a:pt x="1098550" y="1458988"/>
                      <a:pt x="1100587" y="1466332"/>
                      <a:pt x="1101725" y="1473729"/>
                    </a:cubicBezTo>
                    <a:cubicBezTo>
                      <a:pt x="1104918" y="1494484"/>
                      <a:pt x="1103141" y="1487502"/>
                      <a:pt x="1108075" y="1502304"/>
                    </a:cubicBezTo>
                    <a:cubicBezTo>
                      <a:pt x="1109133" y="1513946"/>
                      <a:pt x="1110026" y="1525604"/>
                      <a:pt x="1111250" y="1537229"/>
                    </a:cubicBezTo>
                    <a:cubicBezTo>
                      <a:pt x="1112126" y="1545547"/>
                      <a:pt x="1112791" y="1562537"/>
                      <a:pt x="1117600" y="1572154"/>
                    </a:cubicBezTo>
                    <a:cubicBezTo>
                      <a:pt x="1119307" y="1575567"/>
                      <a:pt x="1122057" y="1578366"/>
                      <a:pt x="1123950" y="1581679"/>
                    </a:cubicBezTo>
                    <a:cubicBezTo>
                      <a:pt x="1131587" y="1595044"/>
                      <a:pt x="1129840" y="1598410"/>
                      <a:pt x="1143000" y="1610254"/>
                    </a:cubicBezTo>
                    <a:cubicBezTo>
                      <a:pt x="1153373" y="1619589"/>
                      <a:pt x="1165014" y="1622743"/>
                      <a:pt x="1174750" y="1632479"/>
                    </a:cubicBezTo>
                    <a:cubicBezTo>
                      <a:pt x="1177448" y="1635177"/>
                      <a:pt x="1178983" y="1638829"/>
                      <a:pt x="1181100" y="1642004"/>
                    </a:cubicBezTo>
                    <a:cubicBezTo>
                      <a:pt x="1180042" y="1694921"/>
                      <a:pt x="1184627" y="1748253"/>
                      <a:pt x="1177925" y="1800754"/>
                    </a:cubicBezTo>
                    <a:cubicBezTo>
                      <a:pt x="1177144" y="1806875"/>
                      <a:pt x="1167445" y="1794226"/>
                      <a:pt x="1162050" y="1791229"/>
                    </a:cubicBezTo>
                    <a:cubicBezTo>
                      <a:pt x="1157913" y="1788930"/>
                      <a:pt x="1153331" y="1787438"/>
                      <a:pt x="1149350" y="1784879"/>
                    </a:cubicBezTo>
                    <a:cubicBezTo>
                      <a:pt x="1118446" y="1765012"/>
                      <a:pt x="1122853" y="1762726"/>
                      <a:pt x="1092200" y="1749954"/>
                    </a:cubicBezTo>
                    <a:cubicBezTo>
                      <a:pt x="1088172" y="1748276"/>
                      <a:pt x="1083733" y="1747837"/>
                      <a:pt x="1079500" y="1746779"/>
                    </a:cubicBezTo>
                    <a:cubicBezTo>
                      <a:pt x="1073150" y="1742546"/>
                      <a:pt x="1067150" y="1737733"/>
                      <a:pt x="1060450" y="1734079"/>
                    </a:cubicBezTo>
                    <a:cubicBezTo>
                      <a:pt x="1025419" y="1714971"/>
                      <a:pt x="1061931" y="1739413"/>
                      <a:pt x="1031875" y="1721379"/>
                    </a:cubicBezTo>
                    <a:cubicBezTo>
                      <a:pt x="1025331" y="1717452"/>
                      <a:pt x="1019264" y="1712776"/>
                      <a:pt x="1012825" y="1708679"/>
                    </a:cubicBezTo>
                    <a:cubicBezTo>
                      <a:pt x="977923" y="1686469"/>
                      <a:pt x="1013950" y="1709775"/>
                      <a:pt x="984250" y="1692804"/>
                    </a:cubicBezTo>
                    <a:cubicBezTo>
                      <a:pt x="980937" y="1690911"/>
                      <a:pt x="978038" y="1688347"/>
                      <a:pt x="974725" y="1686454"/>
                    </a:cubicBezTo>
                    <a:cubicBezTo>
                      <a:pt x="963740" y="1680177"/>
                      <a:pt x="963186" y="1680491"/>
                      <a:pt x="952500" y="1676929"/>
                    </a:cubicBezTo>
                    <a:cubicBezTo>
                      <a:pt x="939744" y="1666724"/>
                      <a:pt x="935207" y="1661933"/>
                      <a:pt x="920750" y="1654704"/>
                    </a:cubicBezTo>
                    <a:cubicBezTo>
                      <a:pt x="915652" y="1652155"/>
                      <a:pt x="910063" y="1650712"/>
                      <a:pt x="904875" y="1648354"/>
                    </a:cubicBezTo>
                    <a:cubicBezTo>
                      <a:pt x="889666" y="1641441"/>
                      <a:pt x="883776" y="1637813"/>
                      <a:pt x="869950" y="1629304"/>
                    </a:cubicBezTo>
                    <a:cubicBezTo>
                      <a:pt x="861447" y="1624071"/>
                      <a:pt x="852346" y="1619666"/>
                      <a:pt x="844550" y="1613429"/>
                    </a:cubicBezTo>
                    <a:cubicBezTo>
                      <a:pt x="839258" y="1609196"/>
                      <a:pt x="834314" y="1604488"/>
                      <a:pt x="828675" y="1600729"/>
                    </a:cubicBezTo>
                    <a:cubicBezTo>
                      <a:pt x="820828" y="1595498"/>
                      <a:pt x="814917" y="1594026"/>
                      <a:pt x="806450" y="1591204"/>
                    </a:cubicBezTo>
                    <a:cubicBezTo>
                      <a:pt x="802217" y="1588029"/>
                      <a:pt x="798237" y="1584484"/>
                      <a:pt x="793750" y="1581679"/>
                    </a:cubicBezTo>
                    <a:cubicBezTo>
                      <a:pt x="784130" y="1575667"/>
                      <a:pt x="775597" y="1573611"/>
                      <a:pt x="765175" y="1568979"/>
                    </a:cubicBezTo>
                    <a:cubicBezTo>
                      <a:pt x="760850" y="1567057"/>
                      <a:pt x="756584" y="1564977"/>
                      <a:pt x="752475" y="1562629"/>
                    </a:cubicBezTo>
                    <a:cubicBezTo>
                      <a:pt x="749162" y="1560736"/>
                      <a:pt x="746003" y="1558569"/>
                      <a:pt x="742950" y="1556279"/>
                    </a:cubicBezTo>
                    <a:cubicBezTo>
                      <a:pt x="737529" y="1552213"/>
                      <a:pt x="732886" y="1547066"/>
                      <a:pt x="727075" y="1543579"/>
                    </a:cubicBezTo>
                    <a:cubicBezTo>
                      <a:pt x="722188" y="1540647"/>
                      <a:pt x="716492" y="1539346"/>
                      <a:pt x="711200" y="1537229"/>
                    </a:cubicBezTo>
                    <a:cubicBezTo>
                      <a:pt x="687183" y="1505207"/>
                      <a:pt x="717748" y="1544713"/>
                      <a:pt x="688975" y="1511829"/>
                    </a:cubicBezTo>
                    <a:cubicBezTo>
                      <a:pt x="685490" y="1507847"/>
                      <a:pt x="683192" y="1502871"/>
                      <a:pt x="679450" y="1499129"/>
                    </a:cubicBezTo>
                    <a:cubicBezTo>
                      <a:pt x="675708" y="1495387"/>
                      <a:pt x="670768" y="1493048"/>
                      <a:pt x="666750" y="1489604"/>
                    </a:cubicBezTo>
                    <a:cubicBezTo>
                      <a:pt x="657463" y="1481644"/>
                      <a:pt x="655229" y="1477417"/>
                      <a:pt x="647700" y="1467379"/>
                    </a:cubicBezTo>
                    <a:cubicBezTo>
                      <a:pt x="644336" y="1457286"/>
                      <a:pt x="642998" y="1450977"/>
                      <a:pt x="635000" y="1441979"/>
                    </a:cubicBezTo>
                    <a:cubicBezTo>
                      <a:pt x="630498" y="1436914"/>
                      <a:pt x="624417" y="1433512"/>
                      <a:pt x="619125" y="1429279"/>
                    </a:cubicBezTo>
                    <a:cubicBezTo>
                      <a:pt x="618067" y="1425046"/>
                      <a:pt x="617901" y="1420482"/>
                      <a:pt x="615950" y="1416579"/>
                    </a:cubicBezTo>
                    <a:cubicBezTo>
                      <a:pt x="613583" y="1411846"/>
                      <a:pt x="609230" y="1408366"/>
                      <a:pt x="606425" y="1403879"/>
                    </a:cubicBezTo>
                    <a:cubicBezTo>
                      <a:pt x="603917" y="1399865"/>
                      <a:pt x="602192" y="1395412"/>
                      <a:pt x="600075" y="1391179"/>
                    </a:cubicBezTo>
                    <a:cubicBezTo>
                      <a:pt x="599017" y="1381654"/>
                      <a:pt x="597696" y="1372155"/>
                      <a:pt x="596900" y="1362604"/>
                    </a:cubicBezTo>
                    <a:cubicBezTo>
                      <a:pt x="596870" y="1362246"/>
                      <a:pt x="595657" y="1312722"/>
                      <a:pt x="590550" y="1299104"/>
                    </a:cubicBezTo>
                    <a:cubicBezTo>
                      <a:pt x="587046" y="1289759"/>
                      <a:pt x="575450" y="1281629"/>
                      <a:pt x="568325" y="1276879"/>
                    </a:cubicBezTo>
                    <a:cubicBezTo>
                      <a:pt x="557058" y="1269368"/>
                      <a:pt x="553129" y="1270030"/>
                      <a:pt x="539750" y="1267354"/>
                    </a:cubicBezTo>
                    <a:cubicBezTo>
                      <a:pt x="538730" y="1266334"/>
                      <a:pt x="523195" y="1252044"/>
                      <a:pt x="523875" y="1248304"/>
                    </a:cubicBezTo>
                    <a:cubicBezTo>
                      <a:pt x="525568" y="1238991"/>
                      <a:pt x="532342" y="1231371"/>
                      <a:pt x="536575" y="1222904"/>
                    </a:cubicBezTo>
                    <a:cubicBezTo>
                      <a:pt x="554254" y="1187546"/>
                      <a:pt x="533131" y="1232087"/>
                      <a:pt x="546100" y="1197504"/>
                    </a:cubicBezTo>
                    <a:cubicBezTo>
                      <a:pt x="547762" y="1193072"/>
                      <a:pt x="550333" y="1189037"/>
                      <a:pt x="552450" y="1184804"/>
                    </a:cubicBezTo>
                    <a:cubicBezTo>
                      <a:pt x="551392" y="1168929"/>
                      <a:pt x="552960" y="1152657"/>
                      <a:pt x="549275" y="1137179"/>
                    </a:cubicBezTo>
                    <a:cubicBezTo>
                      <a:pt x="547507" y="1129755"/>
                      <a:pt x="538988" y="1125369"/>
                      <a:pt x="536575" y="1118129"/>
                    </a:cubicBezTo>
                    <a:lnTo>
                      <a:pt x="530225" y="1099079"/>
                    </a:lnTo>
                    <a:cubicBezTo>
                      <a:pt x="525378" y="1074846"/>
                      <a:pt x="524000" y="1069726"/>
                      <a:pt x="520700" y="1048279"/>
                    </a:cubicBezTo>
                    <a:cubicBezTo>
                      <a:pt x="519562" y="1040882"/>
                      <a:pt x="518864" y="1033417"/>
                      <a:pt x="517525" y="1026054"/>
                    </a:cubicBezTo>
                    <a:cubicBezTo>
                      <a:pt x="516100" y="1018216"/>
                      <a:pt x="509159" y="995767"/>
                      <a:pt x="508000" y="991129"/>
                    </a:cubicBezTo>
                    <a:cubicBezTo>
                      <a:pt x="507096" y="987513"/>
                      <a:pt x="503606" y="967117"/>
                      <a:pt x="501650" y="962554"/>
                    </a:cubicBezTo>
                    <a:cubicBezTo>
                      <a:pt x="500147" y="959047"/>
                      <a:pt x="497417" y="956204"/>
                      <a:pt x="495300" y="953029"/>
                    </a:cubicBezTo>
                    <a:cubicBezTo>
                      <a:pt x="492587" y="942176"/>
                      <a:pt x="487069" y="912814"/>
                      <a:pt x="479425" y="899054"/>
                    </a:cubicBezTo>
                    <a:cubicBezTo>
                      <a:pt x="468652" y="879662"/>
                      <a:pt x="464339" y="889511"/>
                      <a:pt x="457200" y="860954"/>
                    </a:cubicBezTo>
                    <a:cubicBezTo>
                      <a:pt x="449925" y="831852"/>
                      <a:pt x="455691" y="842816"/>
                      <a:pt x="444500" y="826029"/>
                    </a:cubicBezTo>
                    <a:cubicBezTo>
                      <a:pt x="443442" y="820737"/>
                      <a:pt x="442146" y="815488"/>
                      <a:pt x="441325" y="810154"/>
                    </a:cubicBezTo>
                    <a:cubicBezTo>
                      <a:pt x="440028" y="801721"/>
                      <a:pt x="439722" y="793140"/>
                      <a:pt x="438150" y="784754"/>
                    </a:cubicBezTo>
                    <a:cubicBezTo>
                      <a:pt x="433335" y="759073"/>
                      <a:pt x="430951" y="763563"/>
                      <a:pt x="428625" y="740304"/>
                    </a:cubicBezTo>
                    <a:cubicBezTo>
                      <a:pt x="426089" y="714942"/>
                      <a:pt x="426010" y="689317"/>
                      <a:pt x="422275" y="664104"/>
                    </a:cubicBezTo>
                    <a:cubicBezTo>
                      <a:pt x="421716" y="660329"/>
                      <a:pt x="417632" y="657992"/>
                      <a:pt x="415925" y="654579"/>
                    </a:cubicBezTo>
                    <a:cubicBezTo>
                      <a:pt x="414428" y="651586"/>
                      <a:pt x="414841" y="647667"/>
                      <a:pt x="412750" y="645054"/>
                    </a:cubicBezTo>
                    <a:cubicBezTo>
                      <a:pt x="372238" y="594414"/>
                      <a:pt x="404920" y="638007"/>
                      <a:pt x="381000" y="616479"/>
                    </a:cubicBezTo>
                    <a:cubicBezTo>
                      <a:pt x="351981" y="590362"/>
                      <a:pt x="366615" y="601853"/>
                      <a:pt x="346075" y="578379"/>
                    </a:cubicBezTo>
                    <a:cubicBezTo>
                      <a:pt x="343118" y="575000"/>
                      <a:pt x="339425" y="572303"/>
                      <a:pt x="336550" y="568854"/>
                    </a:cubicBezTo>
                    <a:cubicBezTo>
                      <a:pt x="334107" y="565923"/>
                      <a:pt x="332643" y="562260"/>
                      <a:pt x="330200" y="559329"/>
                    </a:cubicBezTo>
                    <a:cubicBezTo>
                      <a:pt x="309828" y="534883"/>
                      <a:pt x="330091" y="563928"/>
                      <a:pt x="314325" y="540279"/>
                    </a:cubicBezTo>
                    <a:cubicBezTo>
                      <a:pt x="318813" y="517840"/>
                      <a:pt x="315793" y="529524"/>
                      <a:pt x="323850" y="505354"/>
                    </a:cubicBezTo>
                    <a:lnTo>
                      <a:pt x="327025" y="495829"/>
                    </a:lnTo>
                    <a:cubicBezTo>
                      <a:pt x="325967" y="489479"/>
                      <a:pt x="328040" y="481667"/>
                      <a:pt x="323850" y="476779"/>
                    </a:cubicBezTo>
                    <a:cubicBezTo>
                      <a:pt x="320338" y="472682"/>
                      <a:pt x="313284" y="474569"/>
                      <a:pt x="307975" y="473604"/>
                    </a:cubicBezTo>
                    <a:cubicBezTo>
                      <a:pt x="283389" y="469134"/>
                      <a:pt x="296194" y="472852"/>
                      <a:pt x="279400" y="467254"/>
                    </a:cubicBezTo>
                    <a:cubicBezTo>
                      <a:pt x="276225" y="471487"/>
                      <a:pt x="273319" y="475936"/>
                      <a:pt x="269875" y="479954"/>
                    </a:cubicBezTo>
                    <a:cubicBezTo>
                      <a:pt x="266953" y="483363"/>
                      <a:pt x="263107" y="485935"/>
                      <a:pt x="260350" y="489479"/>
                    </a:cubicBezTo>
                    <a:cubicBezTo>
                      <a:pt x="253168" y="498713"/>
                      <a:pt x="246013" y="510233"/>
                      <a:pt x="241300" y="521229"/>
                    </a:cubicBezTo>
                    <a:cubicBezTo>
                      <a:pt x="239982" y="524305"/>
                      <a:pt x="239183" y="527579"/>
                      <a:pt x="238125" y="530754"/>
                    </a:cubicBezTo>
                    <a:cubicBezTo>
                      <a:pt x="239183" y="539221"/>
                      <a:pt x="238018" y="548278"/>
                      <a:pt x="241300" y="556154"/>
                    </a:cubicBezTo>
                    <a:cubicBezTo>
                      <a:pt x="243603" y="561680"/>
                      <a:pt x="249211" y="565262"/>
                      <a:pt x="254000" y="568854"/>
                    </a:cubicBezTo>
                    <a:cubicBezTo>
                      <a:pt x="257786" y="571694"/>
                      <a:pt x="262350" y="573340"/>
                      <a:pt x="266700" y="575204"/>
                    </a:cubicBezTo>
                    <a:cubicBezTo>
                      <a:pt x="273077" y="577937"/>
                      <a:pt x="282480" y="579943"/>
                      <a:pt x="288925" y="581554"/>
                    </a:cubicBezTo>
                    <a:cubicBezTo>
                      <a:pt x="293158" y="584729"/>
                      <a:pt x="298237" y="587014"/>
                      <a:pt x="301625" y="591079"/>
                    </a:cubicBezTo>
                    <a:cubicBezTo>
                      <a:pt x="303768" y="593650"/>
                      <a:pt x="303303" y="597611"/>
                      <a:pt x="304800" y="600604"/>
                    </a:cubicBezTo>
                    <a:cubicBezTo>
                      <a:pt x="306507" y="604017"/>
                      <a:pt x="309443" y="606716"/>
                      <a:pt x="311150" y="610129"/>
                    </a:cubicBezTo>
                    <a:cubicBezTo>
                      <a:pt x="314779" y="617387"/>
                      <a:pt x="315689" y="628283"/>
                      <a:pt x="317500" y="635529"/>
                    </a:cubicBezTo>
                    <a:cubicBezTo>
                      <a:pt x="318312" y="638776"/>
                      <a:pt x="319617" y="641879"/>
                      <a:pt x="320675" y="645054"/>
                    </a:cubicBezTo>
                    <a:cubicBezTo>
                      <a:pt x="322049" y="654674"/>
                      <a:pt x="327412" y="676223"/>
                      <a:pt x="320675" y="686329"/>
                    </a:cubicBezTo>
                    <a:cubicBezTo>
                      <a:pt x="318819" y="689114"/>
                      <a:pt x="319356" y="679589"/>
                      <a:pt x="317500" y="676804"/>
                    </a:cubicBezTo>
                    <a:cubicBezTo>
                      <a:pt x="315009" y="673068"/>
                      <a:pt x="310850" y="670728"/>
                      <a:pt x="307975" y="667279"/>
                    </a:cubicBezTo>
                    <a:cubicBezTo>
                      <a:pt x="305532" y="664348"/>
                      <a:pt x="304068" y="660685"/>
                      <a:pt x="301625" y="657754"/>
                    </a:cubicBezTo>
                    <a:cubicBezTo>
                      <a:pt x="298750" y="654305"/>
                      <a:pt x="294975" y="651678"/>
                      <a:pt x="292100" y="648229"/>
                    </a:cubicBezTo>
                    <a:cubicBezTo>
                      <a:pt x="289657" y="645298"/>
                      <a:pt x="288448" y="641402"/>
                      <a:pt x="285750" y="638704"/>
                    </a:cubicBezTo>
                    <a:cubicBezTo>
                      <a:pt x="283052" y="636006"/>
                      <a:pt x="279400" y="634471"/>
                      <a:pt x="276225" y="632354"/>
                    </a:cubicBezTo>
                    <a:cubicBezTo>
                      <a:pt x="270044" y="613811"/>
                      <a:pt x="277886" y="630840"/>
                      <a:pt x="263525" y="616479"/>
                    </a:cubicBezTo>
                    <a:cubicBezTo>
                      <a:pt x="251811" y="604765"/>
                      <a:pt x="263254" y="607832"/>
                      <a:pt x="247650" y="597429"/>
                    </a:cubicBezTo>
                    <a:cubicBezTo>
                      <a:pt x="244865" y="595573"/>
                      <a:pt x="241118" y="595751"/>
                      <a:pt x="238125" y="594254"/>
                    </a:cubicBezTo>
                    <a:cubicBezTo>
                      <a:pt x="234712" y="592547"/>
                      <a:pt x="232013" y="589611"/>
                      <a:pt x="228600" y="587904"/>
                    </a:cubicBezTo>
                    <a:cubicBezTo>
                      <a:pt x="217158" y="582183"/>
                      <a:pt x="196431" y="582465"/>
                      <a:pt x="187325" y="581554"/>
                    </a:cubicBezTo>
                    <a:cubicBezTo>
                      <a:pt x="184150" y="580496"/>
                      <a:pt x="180585" y="580235"/>
                      <a:pt x="177800" y="578379"/>
                    </a:cubicBezTo>
                    <a:cubicBezTo>
                      <a:pt x="170756" y="573683"/>
                      <a:pt x="157377" y="555210"/>
                      <a:pt x="155575" y="549804"/>
                    </a:cubicBezTo>
                    <a:cubicBezTo>
                      <a:pt x="152993" y="542057"/>
                      <a:pt x="152205" y="536909"/>
                      <a:pt x="146050" y="530754"/>
                    </a:cubicBezTo>
                    <a:cubicBezTo>
                      <a:pt x="143352" y="528056"/>
                      <a:pt x="139700" y="526521"/>
                      <a:pt x="136525" y="524404"/>
                    </a:cubicBezTo>
                    <a:cubicBezTo>
                      <a:pt x="132058" y="517704"/>
                      <a:pt x="127727" y="509857"/>
                      <a:pt x="120650" y="505354"/>
                    </a:cubicBezTo>
                    <a:cubicBezTo>
                      <a:pt x="112664" y="500272"/>
                      <a:pt x="103126" y="497905"/>
                      <a:pt x="95250" y="492654"/>
                    </a:cubicBezTo>
                    <a:cubicBezTo>
                      <a:pt x="71601" y="476888"/>
                      <a:pt x="100646" y="497151"/>
                      <a:pt x="76200" y="476779"/>
                    </a:cubicBezTo>
                    <a:cubicBezTo>
                      <a:pt x="73269" y="474336"/>
                      <a:pt x="69850" y="472546"/>
                      <a:pt x="66675" y="470429"/>
                    </a:cubicBezTo>
                    <a:cubicBezTo>
                      <a:pt x="64558" y="467254"/>
                      <a:pt x="63197" y="463417"/>
                      <a:pt x="60325" y="460904"/>
                    </a:cubicBezTo>
                    <a:cubicBezTo>
                      <a:pt x="54582" y="455878"/>
                      <a:pt x="47625" y="452437"/>
                      <a:pt x="41275" y="448204"/>
                    </a:cubicBezTo>
                    <a:cubicBezTo>
                      <a:pt x="38100" y="446087"/>
                      <a:pt x="35370" y="443061"/>
                      <a:pt x="31750" y="441854"/>
                    </a:cubicBezTo>
                    <a:cubicBezTo>
                      <a:pt x="8560" y="434124"/>
                      <a:pt x="19194" y="437127"/>
                      <a:pt x="0" y="432329"/>
                    </a:cubicBezTo>
                    <a:cubicBezTo>
                      <a:pt x="236" y="431386"/>
                      <a:pt x="4672" y="412262"/>
                      <a:pt x="6350" y="410104"/>
                    </a:cubicBezTo>
                    <a:cubicBezTo>
                      <a:pt x="11863" y="403015"/>
                      <a:pt x="25400" y="391054"/>
                      <a:pt x="25400" y="391054"/>
                    </a:cubicBezTo>
                    <a:lnTo>
                      <a:pt x="31750" y="372004"/>
                    </a:lnTo>
                    <a:cubicBezTo>
                      <a:pt x="32808" y="368829"/>
                      <a:pt x="32558" y="364846"/>
                      <a:pt x="34925" y="362479"/>
                    </a:cubicBezTo>
                    <a:cubicBezTo>
                      <a:pt x="52981" y="344423"/>
                      <a:pt x="35595" y="358969"/>
                      <a:pt x="53975" y="349779"/>
                    </a:cubicBezTo>
                    <a:cubicBezTo>
                      <a:pt x="78594" y="337469"/>
                      <a:pt x="49084" y="348234"/>
                      <a:pt x="73025" y="340254"/>
                    </a:cubicBezTo>
                    <a:cubicBezTo>
                      <a:pt x="76200" y="336021"/>
                      <a:pt x="78808" y="331296"/>
                      <a:pt x="82550" y="327554"/>
                    </a:cubicBezTo>
                    <a:cubicBezTo>
                      <a:pt x="106539" y="303565"/>
                      <a:pt x="85019" y="333551"/>
                      <a:pt x="104775" y="305329"/>
                    </a:cubicBezTo>
                    <a:cubicBezTo>
                      <a:pt x="109152" y="299077"/>
                      <a:pt x="113242" y="292629"/>
                      <a:pt x="117475" y="286279"/>
                    </a:cubicBezTo>
                    <a:lnTo>
                      <a:pt x="123825" y="276754"/>
                    </a:lnTo>
                    <a:cubicBezTo>
                      <a:pt x="132224" y="243159"/>
                      <a:pt x="120821" y="282720"/>
                      <a:pt x="133350" y="254529"/>
                    </a:cubicBezTo>
                    <a:cubicBezTo>
                      <a:pt x="136068" y="248412"/>
                      <a:pt x="134131" y="239192"/>
                      <a:pt x="139700" y="235479"/>
                    </a:cubicBezTo>
                    <a:lnTo>
                      <a:pt x="158750" y="222779"/>
                    </a:lnTo>
                    <a:cubicBezTo>
                      <a:pt x="161925" y="220662"/>
                      <a:pt x="164655" y="217636"/>
                      <a:pt x="168275" y="216429"/>
                    </a:cubicBezTo>
                    <a:lnTo>
                      <a:pt x="187325" y="210079"/>
                    </a:lnTo>
                    <a:cubicBezTo>
                      <a:pt x="190500" y="209021"/>
                      <a:pt x="193857" y="208401"/>
                      <a:pt x="196850" y="206904"/>
                    </a:cubicBezTo>
                    <a:cubicBezTo>
                      <a:pt x="201083" y="204787"/>
                      <a:pt x="205491" y="202989"/>
                      <a:pt x="209550" y="200554"/>
                    </a:cubicBezTo>
                    <a:cubicBezTo>
                      <a:pt x="236843" y="184178"/>
                      <a:pt x="218966" y="191065"/>
                      <a:pt x="238125" y="184679"/>
                    </a:cubicBezTo>
                    <a:cubicBezTo>
                      <a:pt x="252942" y="185737"/>
                      <a:pt x="268115" y="184452"/>
                      <a:pt x="282575" y="187854"/>
                    </a:cubicBezTo>
                    <a:cubicBezTo>
                      <a:pt x="293383" y="190397"/>
                      <a:pt x="291488" y="200087"/>
                      <a:pt x="295275" y="206904"/>
                    </a:cubicBezTo>
                    <a:cubicBezTo>
                      <a:pt x="298981" y="213575"/>
                      <a:pt x="305562" y="218714"/>
                      <a:pt x="307975" y="225954"/>
                    </a:cubicBezTo>
                    <a:cubicBezTo>
                      <a:pt x="309033" y="229129"/>
                      <a:pt x="309294" y="232694"/>
                      <a:pt x="311150" y="235479"/>
                    </a:cubicBezTo>
                    <a:cubicBezTo>
                      <a:pt x="313641" y="239215"/>
                      <a:pt x="316750" y="242823"/>
                      <a:pt x="320675" y="245004"/>
                    </a:cubicBezTo>
                    <a:cubicBezTo>
                      <a:pt x="326526" y="248255"/>
                      <a:pt x="339725" y="251354"/>
                      <a:pt x="339725" y="251354"/>
                    </a:cubicBezTo>
                    <a:cubicBezTo>
                      <a:pt x="347133" y="250296"/>
                      <a:pt x="355002" y="250958"/>
                      <a:pt x="361950" y="248179"/>
                    </a:cubicBezTo>
                    <a:cubicBezTo>
                      <a:pt x="382420" y="239991"/>
                      <a:pt x="360821" y="237313"/>
                      <a:pt x="381000" y="235479"/>
                    </a:cubicBezTo>
                    <a:cubicBezTo>
                      <a:pt x="401053" y="233656"/>
                      <a:pt x="421217" y="233362"/>
                      <a:pt x="441325" y="232304"/>
                    </a:cubicBezTo>
                    <a:cubicBezTo>
                      <a:pt x="444500" y="230187"/>
                      <a:pt x="447998" y="228489"/>
                      <a:pt x="450850" y="225954"/>
                    </a:cubicBezTo>
                    <a:cubicBezTo>
                      <a:pt x="457562" y="219988"/>
                      <a:pt x="469900" y="206904"/>
                      <a:pt x="469900" y="206904"/>
                    </a:cubicBezTo>
                    <a:cubicBezTo>
                      <a:pt x="470958" y="203729"/>
                      <a:pt x="471450" y="200305"/>
                      <a:pt x="473075" y="197379"/>
                    </a:cubicBezTo>
                    <a:cubicBezTo>
                      <a:pt x="476781" y="190708"/>
                      <a:pt x="481542" y="184679"/>
                      <a:pt x="485775" y="178329"/>
                    </a:cubicBezTo>
                    <a:cubicBezTo>
                      <a:pt x="487892" y="175154"/>
                      <a:pt x="489427" y="171502"/>
                      <a:pt x="492125" y="168804"/>
                    </a:cubicBezTo>
                    <a:lnTo>
                      <a:pt x="501650" y="159279"/>
                    </a:lnTo>
                    <a:cubicBezTo>
                      <a:pt x="502708" y="144462"/>
                      <a:pt x="503089" y="129582"/>
                      <a:pt x="504825" y="114829"/>
                    </a:cubicBezTo>
                    <a:cubicBezTo>
                      <a:pt x="505216" y="111505"/>
                      <a:pt x="507630" y="108630"/>
                      <a:pt x="508000" y="105304"/>
                    </a:cubicBezTo>
                    <a:cubicBezTo>
                      <a:pt x="509757" y="89491"/>
                      <a:pt x="509509" y="73502"/>
                      <a:pt x="511175" y="57679"/>
                    </a:cubicBezTo>
                    <a:cubicBezTo>
                      <a:pt x="512002" y="49821"/>
                      <a:pt x="515393" y="42915"/>
                      <a:pt x="517525" y="35454"/>
                    </a:cubicBezTo>
                    <a:cubicBezTo>
                      <a:pt x="518724" y="31258"/>
                      <a:pt x="518749" y="26657"/>
                      <a:pt x="520700" y="22754"/>
                    </a:cubicBezTo>
                    <a:cubicBezTo>
                      <a:pt x="524113" y="15928"/>
                      <a:pt x="533400" y="3704"/>
                      <a:pt x="533400" y="3704"/>
                    </a:cubicBezTo>
                    <a:cubicBezTo>
                      <a:pt x="551392" y="4762"/>
                      <a:pt x="569552" y="4205"/>
                      <a:pt x="587375" y="6879"/>
                    </a:cubicBezTo>
                    <a:cubicBezTo>
                      <a:pt x="591149" y="7445"/>
                      <a:pt x="591079" y="0"/>
                      <a:pt x="593725" y="10054"/>
                    </a:cubicBezTo>
                    <a:close/>
                  </a:path>
                </a:pathLst>
              </a:custGeom>
              <a:grpFill/>
              <a:ln w="3175">
                <a:solidFill>
                  <a:srgbClr val="FF8300"/>
                </a:solidFill>
                <a:round/>
                <a:headEnd/>
                <a:tailEnd/>
              </a:ln>
            </p:spPr>
            <p:txBody>
              <a:bodyPr/>
              <a:lstStyle/>
              <a:p>
                <a:pPr>
                  <a:defRPr/>
                </a:pPr>
                <a:endParaRPr lang="en-GB" sz="1400">
                  <a:solidFill>
                    <a:schemeClr val="tx2"/>
                  </a:solidFill>
                </a:endParaRPr>
              </a:p>
            </p:txBody>
          </p:sp>
          <p:sp>
            <p:nvSpPr>
              <p:cNvPr id="347" name="Freeform 172"/>
              <p:cNvSpPr>
                <a:spLocks noChangeArrowheads="1"/>
              </p:cNvSpPr>
              <p:nvPr>
                <p:custDataLst>
                  <p:tags r:id="rId4"/>
                </p:custDataLst>
              </p:nvPr>
            </p:nvSpPr>
            <p:spPr bwMode="gray">
              <a:xfrm>
                <a:off x="5883335" y="4967141"/>
                <a:ext cx="765036" cy="1118986"/>
              </a:xfrm>
              <a:custGeom>
                <a:avLst/>
                <a:gdLst>
                  <a:gd name="T0" fmla="*/ 0 w 870915"/>
                  <a:gd name="T1" fmla="*/ 0 h 1273969"/>
                  <a:gd name="T2" fmla="*/ 870915 w 870915"/>
                  <a:gd name="T3" fmla="*/ 1273969 h 1273969"/>
                </a:gdLst>
                <a:ahLst/>
                <a:cxnLst/>
                <a:rect l="T0" t="T1" r="T2" b="T3"/>
                <a:pathLst>
                  <a:path w="870915" h="1273969">
                    <a:moveTo>
                      <a:pt x="9910" y="1216819"/>
                    </a:moveTo>
                    <a:cubicBezTo>
                      <a:pt x="12688" y="1216025"/>
                      <a:pt x="16712" y="1216253"/>
                      <a:pt x="19435" y="1214438"/>
                    </a:cubicBezTo>
                    <a:cubicBezTo>
                      <a:pt x="40975" y="1200077"/>
                      <a:pt x="7987" y="1212696"/>
                      <a:pt x="31341" y="1204913"/>
                    </a:cubicBezTo>
                    <a:cubicBezTo>
                      <a:pt x="32135" y="1202532"/>
                      <a:pt x="33722" y="1200279"/>
                      <a:pt x="33722" y="1197769"/>
                    </a:cubicBezTo>
                    <a:cubicBezTo>
                      <a:pt x="33722" y="1190172"/>
                      <a:pt x="30365" y="1185212"/>
                      <a:pt x="24197" y="1181100"/>
                    </a:cubicBezTo>
                    <a:cubicBezTo>
                      <a:pt x="22109" y="1179708"/>
                      <a:pt x="19299" y="1179841"/>
                      <a:pt x="17054" y="1178719"/>
                    </a:cubicBezTo>
                    <a:cubicBezTo>
                      <a:pt x="14494" y="1177439"/>
                      <a:pt x="12291" y="1175544"/>
                      <a:pt x="9910" y="1173957"/>
                    </a:cubicBezTo>
                    <a:cubicBezTo>
                      <a:pt x="8322" y="1171576"/>
                      <a:pt x="6427" y="1169373"/>
                      <a:pt x="5147" y="1166813"/>
                    </a:cubicBezTo>
                    <a:cubicBezTo>
                      <a:pt x="1477" y="1159473"/>
                      <a:pt x="1205" y="1147182"/>
                      <a:pt x="385" y="1140619"/>
                    </a:cubicBezTo>
                    <a:cubicBezTo>
                      <a:pt x="4570" y="1128063"/>
                      <a:pt x="0" y="1138224"/>
                      <a:pt x="9910" y="1126332"/>
                    </a:cubicBezTo>
                    <a:cubicBezTo>
                      <a:pt x="19834" y="1114423"/>
                      <a:pt x="8716" y="1123159"/>
                      <a:pt x="21816" y="1114425"/>
                    </a:cubicBezTo>
                    <a:cubicBezTo>
                      <a:pt x="21022" y="1109663"/>
                      <a:pt x="21292" y="1104595"/>
                      <a:pt x="19435" y="1100138"/>
                    </a:cubicBezTo>
                    <a:cubicBezTo>
                      <a:pt x="17234" y="1094854"/>
                      <a:pt x="11720" y="1091280"/>
                      <a:pt x="9910" y="1085850"/>
                    </a:cubicBezTo>
                    <a:lnTo>
                      <a:pt x="7529" y="1078707"/>
                    </a:lnTo>
                    <a:cubicBezTo>
                      <a:pt x="8323" y="1075532"/>
                      <a:pt x="7755" y="1071645"/>
                      <a:pt x="9910" y="1069182"/>
                    </a:cubicBezTo>
                    <a:cubicBezTo>
                      <a:pt x="25034" y="1051897"/>
                      <a:pt x="49429" y="1058329"/>
                      <a:pt x="69441" y="1057275"/>
                    </a:cubicBezTo>
                    <a:cubicBezTo>
                      <a:pt x="83103" y="1052722"/>
                      <a:pt x="70352" y="1058155"/>
                      <a:pt x="83729" y="1047750"/>
                    </a:cubicBezTo>
                    <a:cubicBezTo>
                      <a:pt x="88247" y="1044236"/>
                      <a:pt x="98016" y="1038225"/>
                      <a:pt x="98016" y="1038225"/>
                    </a:cubicBezTo>
                    <a:cubicBezTo>
                      <a:pt x="99604" y="1035844"/>
                      <a:pt x="100947" y="1033280"/>
                      <a:pt x="102779" y="1031082"/>
                    </a:cubicBezTo>
                    <a:cubicBezTo>
                      <a:pt x="117026" y="1013986"/>
                      <a:pt x="119368" y="1023413"/>
                      <a:pt x="152785" y="1021557"/>
                    </a:cubicBezTo>
                    <a:cubicBezTo>
                      <a:pt x="155166" y="1019969"/>
                      <a:pt x="157730" y="1018626"/>
                      <a:pt x="159929" y="1016794"/>
                    </a:cubicBezTo>
                    <a:cubicBezTo>
                      <a:pt x="162516" y="1014638"/>
                      <a:pt x="164231" y="1011458"/>
                      <a:pt x="167072" y="1009650"/>
                    </a:cubicBezTo>
                    <a:cubicBezTo>
                      <a:pt x="197413" y="990341"/>
                      <a:pt x="177175" y="1009071"/>
                      <a:pt x="193266" y="992982"/>
                    </a:cubicBezTo>
                    <a:cubicBezTo>
                      <a:pt x="194060" y="985044"/>
                      <a:pt x="194519" y="977066"/>
                      <a:pt x="195647" y="969169"/>
                    </a:cubicBezTo>
                    <a:cubicBezTo>
                      <a:pt x="196558" y="962796"/>
                      <a:pt x="198108" y="957183"/>
                      <a:pt x="202791" y="952500"/>
                    </a:cubicBezTo>
                    <a:cubicBezTo>
                      <a:pt x="204815" y="950476"/>
                      <a:pt x="207554" y="949325"/>
                      <a:pt x="209935" y="947738"/>
                    </a:cubicBezTo>
                    <a:cubicBezTo>
                      <a:pt x="212316" y="944563"/>
                      <a:pt x="214496" y="941226"/>
                      <a:pt x="217079" y="938213"/>
                    </a:cubicBezTo>
                    <a:cubicBezTo>
                      <a:pt x="219270" y="935656"/>
                      <a:pt x="222155" y="933727"/>
                      <a:pt x="224222" y="931069"/>
                    </a:cubicBezTo>
                    <a:cubicBezTo>
                      <a:pt x="227736" y="926551"/>
                      <a:pt x="229700" y="920829"/>
                      <a:pt x="233747" y="916782"/>
                    </a:cubicBezTo>
                    <a:lnTo>
                      <a:pt x="248035" y="902494"/>
                    </a:lnTo>
                    <a:cubicBezTo>
                      <a:pt x="252174" y="890077"/>
                      <a:pt x="247355" y="899659"/>
                      <a:pt x="257560" y="890588"/>
                    </a:cubicBezTo>
                    <a:cubicBezTo>
                      <a:pt x="265679" y="883371"/>
                      <a:pt x="269724" y="876171"/>
                      <a:pt x="278991" y="871538"/>
                    </a:cubicBezTo>
                    <a:cubicBezTo>
                      <a:pt x="281236" y="870416"/>
                      <a:pt x="283754" y="869951"/>
                      <a:pt x="286135" y="869157"/>
                    </a:cubicBezTo>
                    <a:cubicBezTo>
                      <a:pt x="297326" y="857966"/>
                      <a:pt x="290477" y="863882"/>
                      <a:pt x="307566" y="852488"/>
                    </a:cubicBezTo>
                    <a:lnTo>
                      <a:pt x="321854" y="842963"/>
                    </a:lnTo>
                    <a:lnTo>
                      <a:pt x="328997" y="840582"/>
                    </a:lnTo>
                    <a:cubicBezTo>
                      <a:pt x="331378" y="838201"/>
                      <a:pt x="333339" y="835306"/>
                      <a:pt x="336141" y="833438"/>
                    </a:cubicBezTo>
                    <a:cubicBezTo>
                      <a:pt x="338230" y="832046"/>
                      <a:pt x="341325" y="832625"/>
                      <a:pt x="343285" y="831057"/>
                    </a:cubicBezTo>
                    <a:cubicBezTo>
                      <a:pt x="345520" y="829269"/>
                      <a:pt x="346023" y="825937"/>
                      <a:pt x="348047" y="823913"/>
                    </a:cubicBezTo>
                    <a:cubicBezTo>
                      <a:pt x="350071" y="821889"/>
                      <a:pt x="352810" y="820738"/>
                      <a:pt x="355191" y="819150"/>
                    </a:cubicBezTo>
                    <a:cubicBezTo>
                      <a:pt x="366108" y="802774"/>
                      <a:pt x="359286" y="806673"/>
                      <a:pt x="371860" y="802482"/>
                    </a:cubicBezTo>
                    <a:cubicBezTo>
                      <a:pt x="375936" y="790254"/>
                      <a:pt x="376622" y="789942"/>
                      <a:pt x="376622" y="771525"/>
                    </a:cubicBezTo>
                    <a:cubicBezTo>
                      <a:pt x="376622" y="761176"/>
                      <a:pt x="376148" y="750741"/>
                      <a:pt x="374241" y="740569"/>
                    </a:cubicBezTo>
                    <a:cubicBezTo>
                      <a:pt x="373714" y="737756"/>
                      <a:pt x="371311" y="735624"/>
                      <a:pt x="369479" y="733425"/>
                    </a:cubicBezTo>
                    <a:cubicBezTo>
                      <a:pt x="365719" y="728913"/>
                      <a:pt x="360540" y="724194"/>
                      <a:pt x="355191" y="721519"/>
                    </a:cubicBezTo>
                    <a:cubicBezTo>
                      <a:pt x="351776" y="719811"/>
                      <a:pt x="341572" y="717520"/>
                      <a:pt x="338522" y="716757"/>
                    </a:cubicBezTo>
                    <a:cubicBezTo>
                      <a:pt x="336141" y="715169"/>
                      <a:pt x="332966" y="714375"/>
                      <a:pt x="331379" y="711994"/>
                    </a:cubicBezTo>
                    <a:cubicBezTo>
                      <a:pt x="329564" y="709271"/>
                      <a:pt x="328997" y="705742"/>
                      <a:pt x="328997" y="702469"/>
                    </a:cubicBezTo>
                    <a:cubicBezTo>
                      <a:pt x="328997" y="689744"/>
                      <a:pt x="330113" y="677031"/>
                      <a:pt x="331379" y="664369"/>
                    </a:cubicBezTo>
                    <a:cubicBezTo>
                      <a:pt x="331705" y="661113"/>
                      <a:pt x="331945" y="657567"/>
                      <a:pt x="333760" y="654844"/>
                    </a:cubicBezTo>
                    <a:cubicBezTo>
                      <a:pt x="335348" y="652463"/>
                      <a:pt x="338705" y="651914"/>
                      <a:pt x="340904" y="650082"/>
                    </a:cubicBezTo>
                    <a:cubicBezTo>
                      <a:pt x="352796" y="640172"/>
                      <a:pt x="342635" y="644742"/>
                      <a:pt x="355191" y="640557"/>
                    </a:cubicBezTo>
                    <a:cubicBezTo>
                      <a:pt x="362215" y="635874"/>
                      <a:pt x="363749" y="635526"/>
                      <a:pt x="369479" y="628650"/>
                    </a:cubicBezTo>
                    <a:cubicBezTo>
                      <a:pt x="371311" y="626452"/>
                      <a:pt x="372654" y="623888"/>
                      <a:pt x="374241" y="621507"/>
                    </a:cubicBezTo>
                    <a:cubicBezTo>
                      <a:pt x="379972" y="604311"/>
                      <a:pt x="373741" y="624755"/>
                      <a:pt x="379004" y="590550"/>
                    </a:cubicBezTo>
                    <a:cubicBezTo>
                      <a:pt x="379386" y="588069"/>
                      <a:pt x="379844" y="585388"/>
                      <a:pt x="381385" y="583407"/>
                    </a:cubicBezTo>
                    <a:cubicBezTo>
                      <a:pt x="385520" y="578090"/>
                      <a:pt x="395672" y="569119"/>
                      <a:pt x="395672" y="569119"/>
                    </a:cubicBezTo>
                    <a:cubicBezTo>
                      <a:pt x="401660" y="551161"/>
                      <a:pt x="392887" y="572600"/>
                      <a:pt x="405197" y="557213"/>
                    </a:cubicBezTo>
                    <a:cubicBezTo>
                      <a:pt x="406765" y="555253"/>
                      <a:pt x="406456" y="552314"/>
                      <a:pt x="407579" y="550069"/>
                    </a:cubicBezTo>
                    <a:cubicBezTo>
                      <a:pt x="411548" y="542130"/>
                      <a:pt x="412340" y="542926"/>
                      <a:pt x="419485" y="538163"/>
                    </a:cubicBezTo>
                    <a:cubicBezTo>
                      <a:pt x="425212" y="529572"/>
                      <a:pt x="428745" y="523259"/>
                      <a:pt x="438535" y="516732"/>
                    </a:cubicBezTo>
                    <a:cubicBezTo>
                      <a:pt x="443297" y="513557"/>
                      <a:pt x="448775" y="511254"/>
                      <a:pt x="452822" y="507207"/>
                    </a:cubicBezTo>
                    <a:cubicBezTo>
                      <a:pt x="455203" y="504826"/>
                      <a:pt x="457810" y="502650"/>
                      <a:pt x="459966" y="500063"/>
                    </a:cubicBezTo>
                    <a:cubicBezTo>
                      <a:pt x="461798" y="497864"/>
                      <a:pt x="462705" y="494943"/>
                      <a:pt x="464729" y="492919"/>
                    </a:cubicBezTo>
                    <a:cubicBezTo>
                      <a:pt x="466752" y="490896"/>
                      <a:pt x="469491" y="489744"/>
                      <a:pt x="471872" y="488157"/>
                    </a:cubicBezTo>
                    <a:cubicBezTo>
                      <a:pt x="471078" y="478632"/>
                      <a:pt x="473322" y="468339"/>
                      <a:pt x="469491" y="459582"/>
                    </a:cubicBezTo>
                    <a:cubicBezTo>
                      <a:pt x="466696" y="453193"/>
                      <a:pt x="454678" y="449882"/>
                      <a:pt x="448060" y="447675"/>
                    </a:cubicBezTo>
                    <a:cubicBezTo>
                      <a:pt x="446472" y="444500"/>
                      <a:pt x="445570" y="440877"/>
                      <a:pt x="443297" y="438150"/>
                    </a:cubicBezTo>
                    <a:cubicBezTo>
                      <a:pt x="441465" y="435952"/>
                      <a:pt x="438483" y="435051"/>
                      <a:pt x="436154" y="433388"/>
                    </a:cubicBezTo>
                    <a:cubicBezTo>
                      <a:pt x="432924" y="431081"/>
                      <a:pt x="430256" y="427856"/>
                      <a:pt x="426629" y="426244"/>
                    </a:cubicBezTo>
                    <a:cubicBezTo>
                      <a:pt x="422930" y="424600"/>
                      <a:pt x="418666" y="424773"/>
                      <a:pt x="414722" y="423863"/>
                    </a:cubicBezTo>
                    <a:cubicBezTo>
                      <a:pt x="408344" y="422391"/>
                      <a:pt x="402022" y="420688"/>
                      <a:pt x="395672" y="419100"/>
                    </a:cubicBezTo>
                    <a:cubicBezTo>
                      <a:pt x="382577" y="410370"/>
                      <a:pt x="393688" y="419100"/>
                      <a:pt x="383766" y="407194"/>
                    </a:cubicBezTo>
                    <a:cubicBezTo>
                      <a:pt x="368489" y="388862"/>
                      <a:pt x="383682" y="410640"/>
                      <a:pt x="371860" y="392907"/>
                    </a:cubicBezTo>
                    <a:cubicBezTo>
                      <a:pt x="371066" y="390526"/>
                      <a:pt x="370698" y="387957"/>
                      <a:pt x="369479" y="385763"/>
                    </a:cubicBezTo>
                    <a:cubicBezTo>
                      <a:pt x="366699" y="380759"/>
                      <a:pt x="361764" y="376905"/>
                      <a:pt x="359954" y="371475"/>
                    </a:cubicBezTo>
                    <a:lnTo>
                      <a:pt x="355191" y="357188"/>
                    </a:lnTo>
                    <a:cubicBezTo>
                      <a:pt x="354397" y="354807"/>
                      <a:pt x="354202" y="352132"/>
                      <a:pt x="352810" y="350044"/>
                    </a:cubicBezTo>
                    <a:lnTo>
                      <a:pt x="348047" y="342900"/>
                    </a:lnTo>
                    <a:cubicBezTo>
                      <a:pt x="347253" y="340519"/>
                      <a:pt x="347058" y="337845"/>
                      <a:pt x="345666" y="335757"/>
                    </a:cubicBezTo>
                    <a:cubicBezTo>
                      <a:pt x="342000" y="330258"/>
                      <a:pt x="336649" y="327364"/>
                      <a:pt x="331379" y="323850"/>
                    </a:cubicBezTo>
                    <a:cubicBezTo>
                      <a:pt x="328204" y="319088"/>
                      <a:pt x="323243" y="315116"/>
                      <a:pt x="321854" y="309563"/>
                    </a:cubicBezTo>
                    <a:cubicBezTo>
                      <a:pt x="321060" y="306388"/>
                      <a:pt x="320936" y="302965"/>
                      <a:pt x="319472" y="300038"/>
                    </a:cubicBezTo>
                    <a:cubicBezTo>
                      <a:pt x="316912" y="294918"/>
                      <a:pt x="309947" y="285750"/>
                      <a:pt x="309947" y="285750"/>
                    </a:cubicBezTo>
                    <a:cubicBezTo>
                      <a:pt x="306221" y="274572"/>
                      <a:pt x="305185" y="273127"/>
                      <a:pt x="305185" y="257175"/>
                    </a:cubicBezTo>
                    <a:cubicBezTo>
                      <a:pt x="305185" y="253902"/>
                      <a:pt x="305522" y="250206"/>
                      <a:pt x="307566" y="247650"/>
                    </a:cubicBezTo>
                    <a:cubicBezTo>
                      <a:pt x="309134" y="245690"/>
                      <a:pt x="312329" y="246063"/>
                      <a:pt x="314710" y="245269"/>
                    </a:cubicBezTo>
                    <a:cubicBezTo>
                      <a:pt x="333988" y="251694"/>
                      <a:pt x="332543" y="252180"/>
                      <a:pt x="367097" y="245269"/>
                    </a:cubicBezTo>
                    <a:cubicBezTo>
                      <a:pt x="372710" y="244146"/>
                      <a:pt x="376622" y="238919"/>
                      <a:pt x="381385" y="235744"/>
                    </a:cubicBezTo>
                    <a:cubicBezTo>
                      <a:pt x="390616" y="229590"/>
                      <a:pt x="385815" y="231887"/>
                      <a:pt x="395672" y="228600"/>
                    </a:cubicBezTo>
                    <a:cubicBezTo>
                      <a:pt x="411735" y="212538"/>
                      <a:pt x="407830" y="220703"/>
                      <a:pt x="412341" y="207169"/>
                    </a:cubicBezTo>
                    <a:cubicBezTo>
                      <a:pt x="411547" y="196850"/>
                      <a:pt x="412594" y="186221"/>
                      <a:pt x="409960" y="176213"/>
                    </a:cubicBezTo>
                    <a:cubicBezTo>
                      <a:pt x="408503" y="170678"/>
                      <a:pt x="400435" y="161925"/>
                      <a:pt x="400435" y="161925"/>
                    </a:cubicBezTo>
                    <a:cubicBezTo>
                      <a:pt x="400414" y="161840"/>
                      <a:pt x="396813" y="146398"/>
                      <a:pt x="395672" y="145257"/>
                    </a:cubicBezTo>
                    <a:cubicBezTo>
                      <a:pt x="391625" y="141210"/>
                      <a:pt x="386147" y="138907"/>
                      <a:pt x="381385" y="135732"/>
                    </a:cubicBezTo>
                    <a:lnTo>
                      <a:pt x="374241" y="130969"/>
                    </a:lnTo>
                    <a:cubicBezTo>
                      <a:pt x="372654" y="128588"/>
                      <a:pt x="370759" y="126385"/>
                      <a:pt x="369479" y="123825"/>
                    </a:cubicBezTo>
                    <a:cubicBezTo>
                      <a:pt x="368356" y="121580"/>
                      <a:pt x="368489" y="118770"/>
                      <a:pt x="367097" y="116682"/>
                    </a:cubicBezTo>
                    <a:cubicBezTo>
                      <a:pt x="365229" y="113880"/>
                      <a:pt x="362110" y="112125"/>
                      <a:pt x="359954" y="109538"/>
                    </a:cubicBezTo>
                    <a:cubicBezTo>
                      <a:pt x="358122" y="107339"/>
                      <a:pt x="356779" y="104775"/>
                      <a:pt x="355191" y="102394"/>
                    </a:cubicBezTo>
                    <a:cubicBezTo>
                      <a:pt x="353604" y="97632"/>
                      <a:pt x="348842" y="92869"/>
                      <a:pt x="350429" y="88107"/>
                    </a:cubicBezTo>
                    <a:lnTo>
                      <a:pt x="355191" y="73819"/>
                    </a:lnTo>
                    <a:cubicBezTo>
                      <a:pt x="355985" y="57944"/>
                      <a:pt x="353121" y="41453"/>
                      <a:pt x="357572" y="26194"/>
                    </a:cubicBezTo>
                    <a:cubicBezTo>
                      <a:pt x="359175" y="20699"/>
                      <a:pt x="367097" y="19844"/>
                      <a:pt x="371860" y="16669"/>
                    </a:cubicBezTo>
                    <a:lnTo>
                      <a:pt x="379004" y="11907"/>
                    </a:lnTo>
                    <a:cubicBezTo>
                      <a:pt x="394761" y="1402"/>
                      <a:pt x="383282" y="7364"/>
                      <a:pt x="417104" y="4763"/>
                    </a:cubicBezTo>
                    <a:cubicBezTo>
                      <a:pt x="425437" y="2680"/>
                      <a:pt x="434770" y="0"/>
                      <a:pt x="443297" y="0"/>
                    </a:cubicBezTo>
                    <a:cubicBezTo>
                      <a:pt x="451274" y="0"/>
                      <a:pt x="459172" y="1588"/>
                      <a:pt x="467110" y="2382"/>
                    </a:cubicBezTo>
                    <a:cubicBezTo>
                      <a:pt x="469491" y="3969"/>
                      <a:pt x="472466" y="4909"/>
                      <a:pt x="474254" y="7144"/>
                    </a:cubicBezTo>
                    <a:cubicBezTo>
                      <a:pt x="475822" y="9104"/>
                      <a:pt x="475416" y="12094"/>
                      <a:pt x="476635" y="14288"/>
                    </a:cubicBezTo>
                    <a:cubicBezTo>
                      <a:pt x="479415" y="19291"/>
                      <a:pt x="482985" y="23813"/>
                      <a:pt x="486160" y="28575"/>
                    </a:cubicBezTo>
                    <a:lnTo>
                      <a:pt x="490922" y="35719"/>
                    </a:lnTo>
                    <a:cubicBezTo>
                      <a:pt x="491716" y="38894"/>
                      <a:pt x="492594" y="42049"/>
                      <a:pt x="493304" y="45244"/>
                    </a:cubicBezTo>
                    <a:cubicBezTo>
                      <a:pt x="494182" y="49195"/>
                      <a:pt x="494703" y="53224"/>
                      <a:pt x="495685" y="57150"/>
                    </a:cubicBezTo>
                    <a:cubicBezTo>
                      <a:pt x="496294" y="59585"/>
                      <a:pt x="496291" y="62519"/>
                      <a:pt x="498066" y="64294"/>
                    </a:cubicBezTo>
                    <a:cubicBezTo>
                      <a:pt x="499841" y="66069"/>
                      <a:pt x="502829" y="65881"/>
                      <a:pt x="505210" y="66675"/>
                    </a:cubicBezTo>
                    <a:cubicBezTo>
                      <a:pt x="507591" y="69056"/>
                      <a:pt x="509696" y="71751"/>
                      <a:pt x="512354" y="73819"/>
                    </a:cubicBezTo>
                    <a:cubicBezTo>
                      <a:pt x="516872" y="77333"/>
                      <a:pt x="526641" y="83344"/>
                      <a:pt x="526641" y="83344"/>
                    </a:cubicBezTo>
                    <a:cubicBezTo>
                      <a:pt x="528578" y="89155"/>
                      <a:pt x="529168" y="93015"/>
                      <a:pt x="533785" y="97632"/>
                    </a:cubicBezTo>
                    <a:cubicBezTo>
                      <a:pt x="535809" y="99656"/>
                      <a:pt x="538548" y="100807"/>
                      <a:pt x="540929" y="102394"/>
                    </a:cubicBezTo>
                    <a:cubicBezTo>
                      <a:pt x="552748" y="120125"/>
                      <a:pt x="537561" y="98353"/>
                      <a:pt x="552835" y="116682"/>
                    </a:cubicBezTo>
                    <a:cubicBezTo>
                      <a:pt x="554667" y="118880"/>
                      <a:pt x="555574" y="121802"/>
                      <a:pt x="557597" y="123825"/>
                    </a:cubicBezTo>
                    <a:cubicBezTo>
                      <a:pt x="562214" y="128442"/>
                      <a:pt x="566073" y="129032"/>
                      <a:pt x="571885" y="130969"/>
                    </a:cubicBezTo>
                    <a:cubicBezTo>
                      <a:pt x="577153" y="136237"/>
                      <a:pt x="580475" y="138625"/>
                      <a:pt x="583791" y="145257"/>
                    </a:cubicBezTo>
                    <a:cubicBezTo>
                      <a:pt x="584913" y="147502"/>
                      <a:pt x="585378" y="150019"/>
                      <a:pt x="586172" y="152400"/>
                    </a:cubicBezTo>
                    <a:cubicBezTo>
                      <a:pt x="586966" y="161131"/>
                      <a:pt x="585182" y="170501"/>
                      <a:pt x="588554" y="178594"/>
                    </a:cubicBezTo>
                    <a:cubicBezTo>
                      <a:pt x="589813" y="181615"/>
                      <a:pt x="594932" y="180076"/>
                      <a:pt x="598079" y="180975"/>
                    </a:cubicBezTo>
                    <a:cubicBezTo>
                      <a:pt x="615855" y="186055"/>
                      <a:pt x="591804" y="181866"/>
                      <a:pt x="626654" y="185738"/>
                    </a:cubicBezTo>
                    <a:cubicBezTo>
                      <a:pt x="629588" y="187694"/>
                      <a:pt x="640024" y="193977"/>
                      <a:pt x="640941" y="197644"/>
                    </a:cubicBezTo>
                    <a:cubicBezTo>
                      <a:pt x="642814" y="205134"/>
                      <a:pt x="637400" y="211290"/>
                      <a:pt x="633797" y="216694"/>
                    </a:cubicBezTo>
                    <a:cubicBezTo>
                      <a:pt x="632250" y="221336"/>
                      <a:pt x="628371" y="228712"/>
                      <a:pt x="633797" y="233363"/>
                    </a:cubicBezTo>
                    <a:cubicBezTo>
                      <a:pt x="637609" y="236630"/>
                      <a:pt x="648085" y="238125"/>
                      <a:pt x="648085" y="238125"/>
                    </a:cubicBezTo>
                    <a:cubicBezTo>
                      <a:pt x="674573" y="234341"/>
                      <a:pt x="656895" y="240269"/>
                      <a:pt x="671897" y="228600"/>
                    </a:cubicBezTo>
                    <a:cubicBezTo>
                      <a:pt x="676415" y="225086"/>
                      <a:pt x="686185" y="219075"/>
                      <a:pt x="686185" y="219075"/>
                    </a:cubicBezTo>
                    <a:cubicBezTo>
                      <a:pt x="687772" y="216694"/>
                      <a:pt x="688141" y="212493"/>
                      <a:pt x="690947" y="211932"/>
                    </a:cubicBezTo>
                    <a:cubicBezTo>
                      <a:pt x="705470" y="209028"/>
                      <a:pt x="711385" y="216924"/>
                      <a:pt x="724285" y="219075"/>
                    </a:cubicBezTo>
                    <a:lnTo>
                      <a:pt x="738572" y="221457"/>
                    </a:lnTo>
                    <a:cubicBezTo>
                      <a:pt x="760155" y="235845"/>
                      <a:pt x="747160" y="230464"/>
                      <a:pt x="779054" y="233363"/>
                    </a:cubicBezTo>
                    <a:cubicBezTo>
                      <a:pt x="780641" y="235744"/>
                      <a:pt x="781581" y="238719"/>
                      <a:pt x="783816" y="240507"/>
                    </a:cubicBezTo>
                    <a:cubicBezTo>
                      <a:pt x="785776" y="242075"/>
                      <a:pt x="788715" y="241766"/>
                      <a:pt x="790960" y="242888"/>
                    </a:cubicBezTo>
                    <a:cubicBezTo>
                      <a:pt x="793520" y="244168"/>
                      <a:pt x="795723" y="246063"/>
                      <a:pt x="798104" y="247650"/>
                    </a:cubicBezTo>
                    <a:cubicBezTo>
                      <a:pt x="799691" y="252413"/>
                      <a:pt x="802243" y="256957"/>
                      <a:pt x="802866" y="261938"/>
                    </a:cubicBezTo>
                    <a:cubicBezTo>
                      <a:pt x="803117" y="263945"/>
                      <a:pt x="806253" y="291149"/>
                      <a:pt x="807629" y="295275"/>
                    </a:cubicBezTo>
                    <a:cubicBezTo>
                      <a:pt x="808534" y="297990"/>
                      <a:pt x="810804" y="300038"/>
                      <a:pt x="812391" y="302419"/>
                    </a:cubicBezTo>
                    <a:cubicBezTo>
                      <a:pt x="813185" y="312738"/>
                      <a:pt x="811194" y="323664"/>
                      <a:pt x="814772" y="333375"/>
                    </a:cubicBezTo>
                    <a:cubicBezTo>
                      <a:pt x="817100" y="339695"/>
                      <a:pt x="829060" y="347663"/>
                      <a:pt x="829060" y="347663"/>
                    </a:cubicBezTo>
                    <a:cubicBezTo>
                      <a:pt x="829854" y="351632"/>
                      <a:pt x="830939" y="355553"/>
                      <a:pt x="831441" y="359569"/>
                    </a:cubicBezTo>
                    <a:cubicBezTo>
                      <a:pt x="832528" y="368269"/>
                      <a:pt x="832582" y="377084"/>
                      <a:pt x="833822" y="385763"/>
                    </a:cubicBezTo>
                    <a:cubicBezTo>
                      <a:pt x="834177" y="388248"/>
                      <a:pt x="834812" y="390818"/>
                      <a:pt x="836204" y="392907"/>
                    </a:cubicBezTo>
                    <a:cubicBezTo>
                      <a:pt x="841421" y="400732"/>
                      <a:pt x="843903" y="399323"/>
                      <a:pt x="850491" y="404813"/>
                    </a:cubicBezTo>
                    <a:cubicBezTo>
                      <a:pt x="853078" y="406969"/>
                      <a:pt x="855254" y="409576"/>
                      <a:pt x="857635" y="411957"/>
                    </a:cubicBezTo>
                    <a:cubicBezTo>
                      <a:pt x="858429" y="414338"/>
                      <a:pt x="858894" y="416855"/>
                      <a:pt x="860016" y="419100"/>
                    </a:cubicBezTo>
                    <a:cubicBezTo>
                      <a:pt x="863082" y="425231"/>
                      <a:pt x="870915" y="429632"/>
                      <a:pt x="862397" y="438150"/>
                    </a:cubicBezTo>
                    <a:cubicBezTo>
                      <a:pt x="862395" y="438152"/>
                      <a:pt x="844539" y="444103"/>
                      <a:pt x="840966" y="445294"/>
                    </a:cubicBezTo>
                    <a:lnTo>
                      <a:pt x="833822" y="447675"/>
                    </a:lnTo>
                    <a:lnTo>
                      <a:pt x="826679" y="450057"/>
                    </a:lnTo>
                    <a:cubicBezTo>
                      <a:pt x="825091" y="452438"/>
                      <a:pt x="823940" y="455176"/>
                      <a:pt x="821916" y="457200"/>
                    </a:cubicBezTo>
                    <a:cubicBezTo>
                      <a:pt x="819892" y="459224"/>
                      <a:pt x="816657" y="459809"/>
                      <a:pt x="814772" y="461963"/>
                    </a:cubicBezTo>
                    <a:cubicBezTo>
                      <a:pt x="811003" y="466270"/>
                      <a:pt x="809294" y="472203"/>
                      <a:pt x="805247" y="476250"/>
                    </a:cubicBezTo>
                    <a:cubicBezTo>
                      <a:pt x="800485" y="481013"/>
                      <a:pt x="794696" y="484934"/>
                      <a:pt x="790960" y="490538"/>
                    </a:cubicBezTo>
                    <a:cubicBezTo>
                      <a:pt x="784329" y="500484"/>
                      <a:pt x="788221" y="495658"/>
                      <a:pt x="779054" y="504825"/>
                    </a:cubicBezTo>
                    <a:cubicBezTo>
                      <a:pt x="778260" y="507206"/>
                      <a:pt x="776672" y="509459"/>
                      <a:pt x="776672" y="511969"/>
                    </a:cubicBezTo>
                    <a:cubicBezTo>
                      <a:pt x="776672" y="562315"/>
                      <a:pt x="774862" y="552351"/>
                      <a:pt x="781435" y="578644"/>
                    </a:cubicBezTo>
                    <a:cubicBezTo>
                      <a:pt x="782229" y="588963"/>
                      <a:pt x="781182" y="599592"/>
                      <a:pt x="783816" y="609600"/>
                    </a:cubicBezTo>
                    <a:cubicBezTo>
                      <a:pt x="785273" y="615135"/>
                      <a:pt x="793341" y="623888"/>
                      <a:pt x="793341" y="623888"/>
                    </a:cubicBezTo>
                    <a:cubicBezTo>
                      <a:pt x="794135" y="627063"/>
                      <a:pt x="793678" y="630857"/>
                      <a:pt x="795722" y="633413"/>
                    </a:cubicBezTo>
                    <a:cubicBezTo>
                      <a:pt x="797290" y="635373"/>
                      <a:pt x="800362" y="635621"/>
                      <a:pt x="802866" y="635794"/>
                    </a:cubicBezTo>
                    <a:cubicBezTo>
                      <a:pt x="823470" y="637215"/>
                      <a:pt x="844141" y="637381"/>
                      <a:pt x="864779" y="638175"/>
                    </a:cubicBezTo>
                    <a:cubicBezTo>
                      <a:pt x="863191" y="643731"/>
                      <a:pt x="863855" y="650525"/>
                      <a:pt x="860016" y="654844"/>
                    </a:cubicBezTo>
                    <a:cubicBezTo>
                      <a:pt x="860014" y="654846"/>
                      <a:pt x="842158" y="660797"/>
                      <a:pt x="838585" y="661988"/>
                    </a:cubicBezTo>
                    <a:lnTo>
                      <a:pt x="831441" y="664369"/>
                    </a:lnTo>
                    <a:cubicBezTo>
                      <a:pt x="829034" y="667979"/>
                      <a:pt x="824297" y="673730"/>
                      <a:pt x="824297" y="678657"/>
                    </a:cubicBezTo>
                    <a:cubicBezTo>
                      <a:pt x="824297" y="681167"/>
                      <a:pt x="825885" y="683419"/>
                      <a:pt x="826679" y="685800"/>
                    </a:cubicBezTo>
                    <a:cubicBezTo>
                      <a:pt x="827473" y="696119"/>
                      <a:pt x="828030" y="706459"/>
                      <a:pt x="829060" y="716757"/>
                    </a:cubicBezTo>
                    <a:cubicBezTo>
                      <a:pt x="829618" y="722342"/>
                      <a:pt x="831260" y="727816"/>
                      <a:pt x="831441" y="733425"/>
                    </a:cubicBezTo>
                    <a:cubicBezTo>
                      <a:pt x="832849" y="777066"/>
                      <a:pt x="832317" y="820756"/>
                      <a:pt x="833822" y="864394"/>
                    </a:cubicBezTo>
                    <a:cubicBezTo>
                      <a:pt x="833909" y="866903"/>
                      <a:pt x="835081" y="869293"/>
                      <a:pt x="836204" y="871538"/>
                    </a:cubicBezTo>
                    <a:cubicBezTo>
                      <a:pt x="837484" y="874098"/>
                      <a:pt x="839686" y="876122"/>
                      <a:pt x="840966" y="878682"/>
                    </a:cubicBezTo>
                    <a:cubicBezTo>
                      <a:pt x="850820" y="898391"/>
                      <a:pt x="834465" y="872503"/>
                      <a:pt x="848110" y="892969"/>
                    </a:cubicBezTo>
                    <a:cubicBezTo>
                      <a:pt x="848904" y="895350"/>
                      <a:pt x="851285" y="897732"/>
                      <a:pt x="850491" y="900113"/>
                    </a:cubicBezTo>
                    <a:cubicBezTo>
                      <a:pt x="849426" y="903308"/>
                      <a:pt x="845503" y="904670"/>
                      <a:pt x="843347" y="907257"/>
                    </a:cubicBezTo>
                    <a:cubicBezTo>
                      <a:pt x="833425" y="919163"/>
                      <a:pt x="844539" y="910431"/>
                      <a:pt x="831441" y="919163"/>
                    </a:cubicBezTo>
                    <a:lnTo>
                      <a:pt x="817154" y="940594"/>
                    </a:lnTo>
                    <a:lnTo>
                      <a:pt x="812391" y="947738"/>
                    </a:lnTo>
                    <a:lnTo>
                      <a:pt x="807629" y="954882"/>
                    </a:lnTo>
                    <a:cubicBezTo>
                      <a:pt x="806041" y="961232"/>
                      <a:pt x="804936" y="967722"/>
                      <a:pt x="802866" y="973932"/>
                    </a:cubicBezTo>
                    <a:cubicBezTo>
                      <a:pt x="802072" y="976313"/>
                      <a:pt x="801704" y="978881"/>
                      <a:pt x="800485" y="981075"/>
                    </a:cubicBezTo>
                    <a:cubicBezTo>
                      <a:pt x="797705" y="986079"/>
                      <a:pt x="794135" y="990600"/>
                      <a:pt x="790960" y="995363"/>
                    </a:cubicBezTo>
                    <a:lnTo>
                      <a:pt x="786197" y="1002507"/>
                    </a:lnTo>
                    <a:cubicBezTo>
                      <a:pt x="784610" y="1004888"/>
                      <a:pt x="784150" y="1008745"/>
                      <a:pt x="781435" y="1009650"/>
                    </a:cubicBezTo>
                    <a:lnTo>
                      <a:pt x="774291" y="1012032"/>
                    </a:lnTo>
                    <a:cubicBezTo>
                      <a:pt x="763972" y="1011238"/>
                      <a:pt x="753604" y="1010934"/>
                      <a:pt x="743335" y="1009650"/>
                    </a:cubicBezTo>
                    <a:cubicBezTo>
                      <a:pt x="740844" y="1009339"/>
                      <a:pt x="738641" y="1007813"/>
                      <a:pt x="736191" y="1007269"/>
                    </a:cubicBezTo>
                    <a:cubicBezTo>
                      <a:pt x="731478" y="1006222"/>
                      <a:pt x="726617" y="1005935"/>
                      <a:pt x="721904" y="1004888"/>
                    </a:cubicBezTo>
                    <a:cubicBezTo>
                      <a:pt x="719454" y="1004344"/>
                      <a:pt x="717221" y="1002999"/>
                      <a:pt x="714760" y="1002507"/>
                    </a:cubicBezTo>
                    <a:cubicBezTo>
                      <a:pt x="709256" y="1001406"/>
                      <a:pt x="703647" y="1000919"/>
                      <a:pt x="698091" y="1000125"/>
                    </a:cubicBezTo>
                    <a:cubicBezTo>
                      <a:pt x="669516" y="1000919"/>
                      <a:pt x="640879" y="1000470"/>
                      <a:pt x="612366" y="1002507"/>
                    </a:cubicBezTo>
                    <a:cubicBezTo>
                      <a:pt x="607359" y="1002865"/>
                      <a:pt x="602841" y="1005682"/>
                      <a:pt x="598079" y="1007269"/>
                    </a:cubicBezTo>
                    <a:cubicBezTo>
                      <a:pt x="595698" y="1008063"/>
                      <a:pt x="593442" y="1009531"/>
                      <a:pt x="590935" y="1009650"/>
                    </a:cubicBezTo>
                    <a:lnTo>
                      <a:pt x="490922" y="1014413"/>
                    </a:lnTo>
                    <a:lnTo>
                      <a:pt x="474254" y="1019175"/>
                    </a:lnTo>
                    <a:cubicBezTo>
                      <a:pt x="471097" y="1020036"/>
                      <a:pt x="467737" y="1020268"/>
                      <a:pt x="464729" y="1021557"/>
                    </a:cubicBezTo>
                    <a:cubicBezTo>
                      <a:pt x="462099" y="1022684"/>
                      <a:pt x="460145" y="1025039"/>
                      <a:pt x="457585" y="1026319"/>
                    </a:cubicBezTo>
                    <a:cubicBezTo>
                      <a:pt x="455340" y="1027441"/>
                      <a:pt x="452822" y="1027906"/>
                      <a:pt x="450441" y="1028700"/>
                    </a:cubicBezTo>
                    <a:cubicBezTo>
                      <a:pt x="448060" y="1030288"/>
                      <a:pt x="445857" y="1032183"/>
                      <a:pt x="443297" y="1033463"/>
                    </a:cubicBezTo>
                    <a:cubicBezTo>
                      <a:pt x="441052" y="1034585"/>
                      <a:pt x="438114" y="1034276"/>
                      <a:pt x="436154" y="1035844"/>
                    </a:cubicBezTo>
                    <a:cubicBezTo>
                      <a:pt x="433919" y="1037632"/>
                      <a:pt x="433292" y="1040849"/>
                      <a:pt x="431391" y="1042988"/>
                    </a:cubicBezTo>
                    <a:cubicBezTo>
                      <a:pt x="426344" y="1048666"/>
                      <a:pt x="417921" y="1058057"/>
                      <a:pt x="409960" y="1062038"/>
                    </a:cubicBezTo>
                    <a:cubicBezTo>
                      <a:pt x="407715" y="1063161"/>
                      <a:pt x="405197" y="1063625"/>
                      <a:pt x="402816" y="1064419"/>
                    </a:cubicBezTo>
                    <a:cubicBezTo>
                      <a:pt x="400435" y="1066007"/>
                      <a:pt x="398001" y="1067518"/>
                      <a:pt x="395672" y="1069182"/>
                    </a:cubicBezTo>
                    <a:cubicBezTo>
                      <a:pt x="374979" y="1083962"/>
                      <a:pt x="395851" y="1069854"/>
                      <a:pt x="379004" y="1081088"/>
                    </a:cubicBezTo>
                    <a:cubicBezTo>
                      <a:pt x="377416" y="1083469"/>
                      <a:pt x="376073" y="1086033"/>
                      <a:pt x="374241" y="1088232"/>
                    </a:cubicBezTo>
                    <a:cubicBezTo>
                      <a:pt x="372085" y="1090819"/>
                      <a:pt x="368965" y="1092573"/>
                      <a:pt x="367097" y="1095375"/>
                    </a:cubicBezTo>
                    <a:cubicBezTo>
                      <a:pt x="365705" y="1097464"/>
                      <a:pt x="365406" y="1100105"/>
                      <a:pt x="364716" y="1102519"/>
                    </a:cubicBezTo>
                    <a:cubicBezTo>
                      <a:pt x="360664" y="1116701"/>
                      <a:pt x="363328" y="1110156"/>
                      <a:pt x="359954" y="1128713"/>
                    </a:cubicBezTo>
                    <a:cubicBezTo>
                      <a:pt x="359368" y="1131933"/>
                      <a:pt x="358471" y="1135091"/>
                      <a:pt x="357572" y="1138238"/>
                    </a:cubicBezTo>
                    <a:cubicBezTo>
                      <a:pt x="355898" y="1144097"/>
                      <a:pt x="354589" y="1149617"/>
                      <a:pt x="348047" y="1152525"/>
                    </a:cubicBezTo>
                    <a:cubicBezTo>
                      <a:pt x="343635" y="1154486"/>
                      <a:pt x="338522" y="1154113"/>
                      <a:pt x="333760" y="1154907"/>
                    </a:cubicBezTo>
                    <a:cubicBezTo>
                      <a:pt x="329791" y="1157288"/>
                      <a:pt x="325436" y="1159119"/>
                      <a:pt x="321854" y="1162050"/>
                    </a:cubicBezTo>
                    <a:cubicBezTo>
                      <a:pt x="316641" y="1166315"/>
                      <a:pt x="307566" y="1176338"/>
                      <a:pt x="307566" y="1176338"/>
                    </a:cubicBezTo>
                    <a:cubicBezTo>
                      <a:pt x="303375" y="1188912"/>
                      <a:pt x="306577" y="1181394"/>
                      <a:pt x="295660" y="1197769"/>
                    </a:cubicBezTo>
                    <a:cubicBezTo>
                      <a:pt x="290897" y="1204913"/>
                      <a:pt x="291691" y="1205706"/>
                      <a:pt x="283754" y="1209675"/>
                    </a:cubicBezTo>
                    <a:cubicBezTo>
                      <a:pt x="277889" y="1212608"/>
                      <a:pt x="267816" y="1213522"/>
                      <a:pt x="262322" y="1214438"/>
                    </a:cubicBezTo>
                    <a:cubicBezTo>
                      <a:pt x="246237" y="1219800"/>
                      <a:pt x="263672" y="1212364"/>
                      <a:pt x="250416" y="1223963"/>
                    </a:cubicBezTo>
                    <a:cubicBezTo>
                      <a:pt x="240338" y="1232782"/>
                      <a:pt x="238797" y="1232599"/>
                      <a:pt x="228985" y="1235869"/>
                    </a:cubicBezTo>
                    <a:cubicBezTo>
                      <a:pt x="225810" y="1238250"/>
                      <a:pt x="222266" y="1240207"/>
                      <a:pt x="219460" y="1243013"/>
                    </a:cubicBezTo>
                    <a:cubicBezTo>
                      <a:pt x="217436" y="1245037"/>
                      <a:pt x="216932" y="1248369"/>
                      <a:pt x="214697" y="1250157"/>
                    </a:cubicBezTo>
                    <a:cubicBezTo>
                      <a:pt x="212737" y="1251725"/>
                      <a:pt x="209799" y="1251416"/>
                      <a:pt x="207554" y="1252538"/>
                    </a:cubicBezTo>
                    <a:cubicBezTo>
                      <a:pt x="204994" y="1253818"/>
                      <a:pt x="203208" y="1256700"/>
                      <a:pt x="200410" y="1257300"/>
                    </a:cubicBezTo>
                    <a:cubicBezTo>
                      <a:pt x="191837" y="1259137"/>
                      <a:pt x="182947" y="1258888"/>
                      <a:pt x="174216" y="1259682"/>
                    </a:cubicBezTo>
                    <a:cubicBezTo>
                      <a:pt x="169690" y="1260587"/>
                      <a:pt x="160046" y="1262004"/>
                      <a:pt x="155166" y="1264444"/>
                    </a:cubicBezTo>
                    <a:cubicBezTo>
                      <a:pt x="152606" y="1265724"/>
                      <a:pt x="150653" y="1268080"/>
                      <a:pt x="148022" y="1269207"/>
                    </a:cubicBezTo>
                    <a:cubicBezTo>
                      <a:pt x="145014" y="1270496"/>
                      <a:pt x="141644" y="1270689"/>
                      <a:pt x="138497" y="1271588"/>
                    </a:cubicBezTo>
                    <a:cubicBezTo>
                      <a:pt x="136084" y="1272277"/>
                      <a:pt x="133735" y="1273175"/>
                      <a:pt x="131354" y="1273969"/>
                    </a:cubicBezTo>
                    <a:cubicBezTo>
                      <a:pt x="126591" y="1273175"/>
                      <a:pt x="121647" y="1273115"/>
                      <a:pt x="117066" y="1271588"/>
                    </a:cubicBezTo>
                    <a:cubicBezTo>
                      <a:pt x="114351" y="1270683"/>
                      <a:pt x="112407" y="1268245"/>
                      <a:pt x="109922" y="1266825"/>
                    </a:cubicBezTo>
                    <a:cubicBezTo>
                      <a:pt x="106840" y="1265064"/>
                      <a:pt x="103693" y="1263381"/>
                      <a:pt x="100397" y="1262063"/>
                    </a:cubicBezTo>
                    <a:cubicBezTo>
                      <a:pt x="100374" y="1262054"/>
                      <a:pt x="82550" y="1256113"/>
                      <a:pt x="78966" y="1254919"/>
                    </a:cubicBezTo>
                    <a:cubicBezTo>
                      <a:pt x="76585" y="1254125"/>
                      <a:pt x="74322" y="1252765"/>
                      <a:pt x="71822" y="1252538"/>
                    </a:cubicBezTo>
                    <a:lnTo>
                      <a:pt x="45629" y="1250157"/>
                    </a:lnTo>
                    <a:cubicBezTo>
                      <a:pt x="43248" y="1248569"/>
                      <a:pt x="40509" y="1247418"/>
                      <a:pt x="38485" y="1245394"/>
                    </a:cubicBezTo>
                    <a:cubicBezTo>
                      <a:pt x="24731" y="1231640"/>
                      <a:pt x="44126" y="1244754"/>
                      <a:pt x="26579" y="1231107"/>
                    </a:cubicBezTo>
                    <a:cubicBezTo>
                      <a:pt x="13150" y="1220662"/>
                      <a:pt x="15796" y="1222459"/>
                      <a:pt x="2766" y="1219200"/>
                    </a:cubicBezTo>
                    <a:cubicBezTo>
                      <a:pt x="15773" y="1216599"/>
                      <a:pt x="7132" y="1217613"/>
                      <a:pt x="9910" y="1216819"/>
                    </a:cubicBezTo>
                    <a:close/>
                  </a:path>
                </a:pathLst>
              </a:custGeom>
              <a:grpFill/>
              <a:ln w="3175">
                <a:solidFill>
                  <a:srgbClr val="FF8300"/>
                </a:solidFill>
                <a:round/>
                <a:headEnd/>
                <a:tailEnd/>
              </a:ln>
            </p:spPr>
            <p:txBody>
              <a:bodyPr/>
              <a:lstStyle/>
              <a:p>
                <a:pPr>
                  <a:defRPr/>
                </a:pPr>
                <a:endParaRPr lang="nl-NL" sz="1400">
                  <a:solidFill>
                    <a:schemeClr val="tx2"/>
                  </a:solidFill>
                </a:endParaRPr>
              </a:p>
            </p:txBody>
          </p:sp>
          <p:sp>
            <p:nvSpPr>
              <p:cNvPr id="348" name="Freeform 9"/>
              <p:cNvSpPr/>
              <p:nvPr/>
            </p:nvSpPr>
            <p:spPr bwMode="gray">
              <a:xfrm>
                <a:off x="4160430" y="3040090"/>
                <a:ext cx="1281816" cy="1366076"/>
              </a:xfrm>
              <a:custGeom>
                <a:avLst/>
                <a:gdLst>
                  <a:gd name="connsiteX0" fmla="*/ 145810 w 1460260"/>
                  <a:gd name="connsiteY0" fmla="*/ 1549107 h 1556250"/>
                  <a:gd name="connsiteX1" fmla="*/ 143429 w 1460260"/>
                  <a:gd name="connsiteY1" fmla="*/ 1530057 h 1556250"/>
                  <a:gd name="connsiteX2" fmla="*/ 141048 w 1460260"/>
                  <a:gd name="connsiteY2" fmla="*/ 1522913 h 1556250"/>
                  <a:gd name="connsiteX3" fmla="*/ 138666 w 1460260"/>
                  <a:gd name="connsiteY3" fmla="*/ 1503863 h 1556250"/>
                  <a:gd name="connsiteX4" fmla="*/ 136285 w 1460260"/>
                  <a:gd name="connsiteY4" fmla="*/ 1463382 h 1556250"/>
                  <a:gd name="connsiteX5" fmla="*/ 131523 w 1460260"/>
                  <a:gd name="connsiteY5" fmla="*/ 1449094 h 1556250"/>
                  <a:gd name="connsiteX6" fmla="*/ 129141 w 1460260"/>
                  <a:gd name="connsiteY6" fmla="*/ 1434807 h 1556250"/>
                  <a:gd name="connsiteX7" fmla="*/ 124379 w 1460260"/>
                  <a:gd name="connsiteY7" fmla="*/ 1394325 h 1556250"/>
                  <a:gd name="connsiteX8" fmla="*/ 121998 w 1460260"/>
                  <a:gd name="connsiteY8" fmla="*/ 1384800 h 1556250"/>
                  <a:gd name="connsiteX9" fmla="*/ 117235 w 1460260"/>
                  <a:gd name="connsiteY9" fmla="*/ 1370513 h 1556250"/>
                  <a:gd name="connsiteX10" fmla="*/ 121998 w 1460260"/>
                  <a:gd name="connsiteY10" fmla="*/ 1320507 h 1556250"/>
                  <a:gd name="connsiteX11" fmla="*/ 126760 w 1460260"/>
                  <a:gd name="connsiteY11" fmla="*/ 1313363 h 1556250"/>
                  <a:gd name="connsiteX12" fmla="*/ 129141 w 1460260"/>
                  <a:gd name="connsiteY12" fmla="*/ 1303838 h 1556250"/>
                  <a:gd name="connsiteX13" fmla="*/ 136285 w 1460260"/>
                  <a:gd name="connsiteY13" fmla="*/ 1299075 h 1556250"/>
                  <a:gd name="connsiteX14" fmla="*/ 141048 w 1460260"/>
                  <a:gd name="connsiteY14" fmla="*/ 1284788 h 1556250"/>
                  <a:gd name="connsiteX15" fmla="*/ 138666 w 1460260"/>
                  <a:gd name="connsiteY15" fmla="*/ 1210969 h 1556250"/>
                  <a:gd name="connsiteX16" fmla="*/ 119616 w 1460260"/>
                  <a:gd name="connsiteY16" fmla="*/ 1187157 h 1556250"/>
                  <a:gd name="connsiteX17" fmla="*/ 112473 w 1460260"/>
                  <a:gd name="connsiteY17" fmla="*/ 1182394 h 1556250"/>
                  <a:gd name="connsiteX18" fmla="*/ 98185 w 1460260"/>
                  <a:gd name="connsiteY18" fmla="*/ 1177632 h 1556250"/>
                  <a:gd name="connsiteX19" fmla="*/ 91041 w 1460260"/>
                  <a:gd name="connsiteY19" fmla="*/ 1175250 h 1556250"/>
                  <a:gd name="connsiteX20" fmla="*/ 71991 w 1460260"/>
                  <a:gd name="connsiteY20" fmla="*/ 1172869 h 1556250"/>
                  <a:gd name="connsiteX21" fmla="*/ 62466 w 1460260"/>
                  <a:gd name="connsiteY21" fmla="*/ 1165725 h 1556250"/>
                  <a:gd name="connsiteX22" fmla="*/ 48179 w 1460260"/>
                  <a:gd name="connsiteY22" fmla="*/ 1153819 h 1556250"/>
                  <a:gd name="connsiteX23" fmla="*/ 36273 w 1460260"/>
                  <a:gd name="connsiteY23" fmla="*/ 1139532 h 1556250"/>
                  <a:gd name="connsiteX24" fmla="*/ 29129 w 1460260"/>
                  <a:gd name="connsiteY24" fmla="*/ 1134769 h 1556250"/>
                  <a:gd name="connsiteX25" fmla="*/ 17223 w 1460260"/>
                  <a:gd name="connsiteY25" fmla="*/ 1122863 h 1556250"/>
                  <a:gd name="connsiteX26" fmla="*/ 5316 w 1460260"/>
                  <a:gd name="connsiteY26" fmla="*/ 1110957 h 1556250"/>
                  <a:gd name="connsiteX27" fmla="*/ 554 w 1460260"/>
                  <a:gd name="connsiteY27" fmla="*/ 1096669 h 1556250"/>
                  <a:gd name="connsiteX28" fmla="*/ 2935 w 1460260"/>
                  <a:gd name="connsiteY28" fmla="*/ 1075238 h 1556250"/>
                  <a:gd name="connsiteX29" fmla="*/ 7698 w 1460260"/>
                  <a:gd name="connsiteY29" fmla="*/ 1068094 h 1556250"/>
                  <a:gd name="connsiteX30" fmla="*/ 21985 w 1460260"/>
                  <a:gd name="connsiteY30" fmla="*/ 1056188 h 1556250"/>
                  <a:gd name="connsiteX31" fmla="*/ 26748 w 1460260"/>
                  <a:gd name="connsiteY31" fmla="*/ 1049044 h 1556250"/>
                  <a:gd name="connsiteX32" fmla="*/ 33891 w 1460260"/>
                  <a:gd name="connsiteY32" fmla="*/ 1046663 h 1556250"/>
                  <a:gd name="connsiteX33" fmla="*/ 41035 w 1460260"/>
                  <a:gd name="connsiteY33" fmla="*/ 1041900 h 1556250"/>
                  <a:gd name="connsiteX34" fmla="*/ 50560 w 1460260"/>
                  <a:gd name="connsiteY34" fmla="*/ 1037138 h 1556250"/>
                  <a:gd name="connsiteX35" fmla="*/ 57704 w 1460260"/>
                  <a:gd name="connsiteY35" fmla="*/ 1003800 h 1556250"/>
                  <a:gd name="connsiteX36" fmla="*/ 62466 w 1460260"/>
                  <a:gd name="connsiteY36" fmla="*/ 894263 h 1556250"/>
                  <a:gd name="connsiteX37" fmla="*/ 64848 w 1460260"/>
                  <a:gd name="connsiteY37" fmla="*/ 884738 h 1556250"/>
                  <a:gd name="connsiteX38" fmla="*/ 67229 w 1460260"/>
                  <a:gd name="connsiteY38" fmla="*/ 872832 h 1556250"/>
                  <a:gd name="connsiteX39" fmla="*/ 71991 w 1460260"/>
                  <a:gd name="connsiteY39" fmla="*/ 853782 h 1556250"/>
                  <a:gd name="connsiteX40" fmla="*/ 81516 w 1460260"/>
                  <a:gd name="connsiteY40" fmla="*/ 813300 h 1556250"/>
                  <a:gd name="connsiteX41" fmla="*/ 95804 w 1460260"/>
                  <a:gd name="connsiteY41" fmla="*/ 806157 h 1556250"/>
                  <a:gd name="connsiteX42" fmla="*/ 112473 w 1460260"/>
                  <a:gd name="connsiteY42" fmla="*/ 799013 h 1556250"/>
                  <a:gd name="connsiteX43" fmla="*/ 121998 w 1460260"/>
                  <a:gd name="connsiteY43" fmla="*/ 801394 h 1556250"/>
                  <a:gd name="connsiteX44" fmla="*/ 129141 w 1460260"/>
                  <a:gd name="connsiteY44" fmla="*/ 806157 h 1556250"/>
                  <a:gd name="connsiteX45" fmla="*/ 136285 w 1460260"/>
                  <a:gd name="connsiteY45" fmla="*/ 808538 h 1556250"/>
                  <a:gd name="connsiteX46" fmla="*/ 141048 w 1460260"/>
                  <a:gd name="connsiteY46" fmla="*/ 815682 h 1556250"/>
                  <a:gd name="connsiteX47" fmla="*/ 148191 w 1460260"/>
                  <a:gd name="connsiteY47" fmla="*/ 822825 h 1556250"/>
                  <a:gd name="connsiteX48" fmla="*/ 155335 w 1460260"/>
                  <a:gd name="connsiteY48" fmla="*/ 837113 h 1556250"/>
                  <a:gd name="connsiteX49" fmla="*/ 162479 w 1460260"/>
                  <a:gd name="connsiteY49" fmla="*/ 841875 h 1556250"/>
                  <a:gd name="connsiteX50" fmla="*/ 167241 w 1460260"/>
                  <a:gd name="connsiteY50" fmla="*/ 849019 h 1556250"/>
                  <a:gd name="connsiteX51" fmla="*/ 179148 w 1460260"/>
                  <a:gd name="connsiteY51" fmla="*/ 860925 h 1556250"/>
                  <a:gd name="connsiteX52" fmla="*/ 179148 w 1460260"/>
                  <a:gd name="connsiteY52" fmla="*/ 877594 h 1556250"/>
                  <a:gd name="connsiteX53" fmla="*/ 172004 w 1460260"/>
                  <a:gd name="connsiteY53" fmla="*/ 884738 h 1556250"/>
                  <a:gd name="connsiteX54" fmla="*/ 162479 w 1460260"/>
                  <a:gd name="connsiteY54" fmla="*/ 899025 h 1556250"/>
                  <a:gd name="connsiteX55" fmla="*/ 157716 w 1460260"/>
                  <a:gd name="connsiteY55" fmla="*/ 913313 h 1556250"/>
                  <a:gd name="connsiteX56" fmla="*/ 155335 w 1460260"/>
                  <a:gd name="connsiteY56" fmla="*/ 920457 h 1556250"/>
                  <a:gd name="connsiteX57" fmla="*/ 150573 w 1460260"/>
                  <a:gd name="connsiteY57" fmla="*/ 960938 h 1556250"/>
                  <a:gd name="connsiteX58" fmla="*/ 145810 w 1460260"/>
                  <a:gd name="connsiteY58" fmla="*/ 968082 h 1556250"/>
                  <a:gd name="connsiteX59" fmla="*/ 138666 w 1460260"/>
                  <a:gd name="connsiteY59" fmla="*/ 972844 h 1556250"/>
                  <a:gd name="connsiteX60" fmla="*/ 141048 w 1460260"/>
                  <a:gd name="connsiteY60" fmla="*/ 1020469 h 1556250"/>
                  <a:gd name="connsiteX61" fmla="*/ 143429 w 1460260"/>
                  <a:gd name="connsiteY61" fmla="*/ 1027613 h 1556250"/>
                  <a:gd name="connsiteX62" fmla="*/ 148191 w 1460260"/>
                  <a:gd name="connsiteY62" fmla="*/ 1034757 h 1556250"/>
                  <a:gd name="connsiteX63" fmla="*/ 155335 w 1460260"/>
                  <a:gd name="connsiteY63" fmla="*/ 1041900 h 1556250"/>
                  <a:gd name="connsiteX64" fmla="*/ 172004 w 1460260"/>
                  <a:gd name="connsiteY64" fmla="*/ 1046663 h 1556250"/>
                  <a:gd name="connsiteX65" fmla="*/ 195816 w 1460260"/>
                  <a:gd name="connsiteY65" fmla="*/ 1041900 h 1556250"/>
                  <a:gd name="connsiteX66" fmla="*/ 202960 w 1460260"/>
                  <a:gd name="connsiteY66" fmla="*/ 1034757 h 1556250"/>
                  <a:gd name="connsiteX67" fmla="*/ 217248 w 1460260"/>
                  <a:gd name="connsiteY67" fmla="*/ 1025232 h 1556250"/>
                  <a:gd name="connsiteX68" fmla="*/ 224391 w 1460260"/>
                  <a:gd name="connsiteY68" fmla="*/ 1020469 h 1556250"/>
                  <a:gd name="connsiteX69" fmla="*/ 226773 w 1460260"/>
                  <a:gd name="connsiteY69" fmla="*/ 1013325 h 1556250"/>
                  <a:gd name="connsiteX70" fmla="*/ 214866 w 1460260"/>
                  <a:gd name="connsiteY70" fmla="*/ 999038 h 1556250"/>
                  <a:gd name="connsiteX71" fmla="*/ 214866 w 1460260"/>
                  <a:gd name="connsiteY71" fmla="*/ 944269 h 1556250"/>
                  <a:gd name="connsiteX72" fmla="*/ 212485 w 1460260"/>
                  <a:gd name="connsiteY72" fmla="*/ 937125 h 1556250"/>
                  <a:gd name="connsiteX73" fmla="*/ 205341 w 1460260"/>
                  <a:gd name="connsiteY73" fmla="*/ 932363 h 1556250"/>
                  <a:gd name="connsiteX74" fmla="*/ 200579 w 1460260"/>
                  <a:gd name="connsiteY74" fmla="*/ 925219 h 1556250"/>
                  <a:gd name="connsiteX75" fmla="*/ 202960 w 1460260"/>
                  <a:gd name="connsiteY75" fmla="*/ 894263 h 1556250"/>
                  <a:gd name="connsiteX76" fmla="*/ 207723 w 1460260"/>
                  <a:gd name="connsiteY76" fmla="*/ 887119 h 1556250"/>
                  <a:gd name="connsiteX77" fmla="*/ 222010 w 1460260"/>
                  <a:gd name="connsiteY77" fmla="*/ 875213 h 1556250"/>
                  <a:gd name="connsiteX78" fmla="*/ 233916 w 1460260"/>
                  <a:gd name="connsiteY78" fmla="*/ 860925 h 1556250"/>
                  <a:gd name="connsiteX79" fmla="*/ 236298 w 1460260"/>
                  <a:gd name="connsiteY79" fmla="*/ 853782 h 1556250"/>
                  <a:gd name="connsiteX80" fmla="*/ 219629 w 1460260"/>
                  <a:gd name="connsiteY80" fmla="*/ 846638 h 1556250"/>
                  <a:gd name="connsiteX81" fmla="*/ 212485 w 1460260"/>
                  <a:gd name="connsiteY81" fmla="*/ 841875 h 1556250"/>
                  <a:gd name="connsiteX82" fmla="*/ 207723 w 1460260"/>
                  <a:gd name="connsiteY82" fmla="*/ 822825 h 1556250"/>
                  <a:gd name="connsiteX83" fmla="*/ 205341 w 1460260"/>
                  <a:gd name="connsiteY83" fmla="*/ 768057 h 1556250"/>
                  <a:gd name="connsiteX84" fmla="*/ 191054 w 1460260"/>
                  <a:gd name="connsiteY84" fmla="*/ 763294 h 1556250"/>
                  <a:gd name="connsiteX85" fmla="*/ 181529 w 1460260"/>
                  <a:gd name="connsiteY85" fmla="*/ 760913 h 1556250"/>
                  <a:gd name="connsiteX86" fmla="*/ 150573 w 1460260"/>
                  <a:gd name="connsiteY86" fmla="*/ 756150 h 1556250"/>
                  <a:gd name="connsiteX87" fmla="*/ 131523 w 1460260"/>
                  <a:gd name="connsiteY87" fmla="*/ 751388 h 1556250"/>
                  <a:gd name="connsiteX88" fmla="*/ 129141 w 1460260"/>
                  <a:gd name="connsiteY88" fmla="*/ 741863 h 1556250"/>
                  <a:gd name="connsiteX89" fmla="*/ 133904 w 1460260"/>
                  <a:gd name="connsiteY89" fmla="*/ 713288 h 1556250"/>
                  <a:gd name="connsiteX90" fmla="*/ 141048 w 1460260"/>
                  <a:gd name="connsiteY90" fmla="*/ 699000 h 1556250"/>
                  <a:gd name="connsiteX91" fmla="*/ 138666 w 1460260"/>
                  <a:gd name="connsiteY91" fmla="*/ 668044 h 1556250"/>
                  <a:gd name="connsiteX92" fmla="*/ 131523 w 1460260"/>
                  <a:gd name="connsiteY92" fmla="*/ 665663 h 1556250"/>
                  <a:gd name="connsiteX93" fmla="*/ 124379 w 1460260"/>
                  <a:gd name="connsiteY93" fmla="*/ 658519 h 1556250"/>
                  <a:gd name="connsiteX94" fmla="*/ 117235 w 1460260"/>
                  <a:gd name="connsiteY94" fmla="*/ 653757 h 1556250"/>
                  <a:gd name="connsiteX95" fmla="*/ 110091 w 1460260"/>
                  <a:gd name="connsiteY95" fmla="*/ 629944 h 1556250"/>
                  <a:gd name="connsiteX96" fmla="*/ 112473 w 1460260"/>
                  <a:gd name="connsiteY96" fmla="*/ 608513 h 1556250"/>
                  <a:gd name="connsiteX97" fmla="*/ 119616 w 1460260"/>
                  <a:gd name="connsiteY97" fmla="*/ 603750 h 1556250"/>
                  <a:gd name="connsiteX98" fmla="*/ 138666 w 1460260"/>
                  <a:gd name="connsiteY98" fmla="*/ 601369 h 1556250"/>
                  <a:gd name="connsiteX99" fmla="*/ 162479 w 1460260"/>
                  <a:gd name="connsiteY99" fmla="*/ 584700 h 1556250"/>
                  <a:gd name="connsiteX100" fmla="*/ 176766 w 1460260"/>
                  <a:gd name="connsiteY100" fmla="*/ 579938 h 1556250"/>
                  <a:gd name="connsiteX101" fmla="*/ 229154 w 1460260"/>
                  <a:gd name="connsiteY101" fmla="*/ 582319 h 1556250"/>
                  <a:gd name="connsiteX102" fmla="*/ 241060 w 1460260"/>
                  <a:gd name="connsiteY102" fmla="*/ 584700 h 1556250"/>
                  <a:gd name="connsiteX103" fmla="*/ 383935 w 1460260"/>
                  <a:gd name="connsiteY103" fmla="*/ 582319 h 1556250"/>
                  <a:gd name="connsiteX104" fmla="*/ 395841 w 1460260"/>
                  <a:gd name="connsiteY104" fmla="*/ 560888 h 1556250"/>
                  <a:gd name="connsiteX105" fmla="*/ 391079 w 1460260"/>
                  <a:gd name="connsiteY105" fmla="*/ 537075 h 1556250"/>
                  <a:gd name="connsiteX106" fmla="*/ 386316 w 1460260"/>
                  <a:gd name="connsiteY106" fmla="*/ 529932 h 1556250"/>
                  <a:gd name="connsiteX107" fmla="*/ 374410 w 1460260"/>
                  <a:gd name="connsiteY107" fmla="*/ 513263 h 1556250"/>
                  <a:gd name="connsiteX108" fmla="*/ 364885 w 1460260"/>
                  <a:gd name="connsiteY108" fmla="*/ 496594 h 1556250"/>
                  <a:gd name="connsiteX109" fmla="*/ 362504 w 1460260"/>
                  <a:gd name="connsiteY109" fmla="*/ 489450 h 1556250"/>
                  <a:gd name="connsiteX110" fmla="*/ 357741 w 1460260"/>
                  <a:gd name="connsiteY110" fmla="*/ 482307 h 1556250"/>
                  <a:gd name="connsiteX111" fmla="*/ 352979 w 1460260"/>
                  <a:gd name="connsiteY111" fmla="*/ 468019 h 1556250"/>
                  <a:gd name="connsiteX112" fmla="*/ 364885 w 1460260"/>
                  <a:gd name="connsiteY112" fmla="*/ 441825 h 1556250"/>
                  <a:gd name="connsiteX113" fmla="*/ 372029 w 1460260"/>
                  <a:gd name="connsiteY113" fmla="*/ 437063 h 1556250"/>
                  <a:gd name="connsiteX114" fmla="*/ 393460 w 1460260"/>
                  <a:gd name="connsiteY114" fmla="*/ 418013 h 1556250"/>
                  <a:gd name="connsiteX115" fmla="*/ 407748 w 1460260"/>
                  <a:gd name="connsiteY115" fmla="*/ 413250 h 1556250"/>
                  <a:gd name="connsiteX116" fmla="*/ 414891 w 1460260"/>
                  <a:gd name="connsiteY116" fmla="*/ 410869 h 1556250"/>
                  <a:gd name="connsiteX117" fmla="*/ 429179 w 1460260"/>
                  <a:gd name="connsiteY117" fmla="*/ 401344 h 1556250"/>
                  <a:gd name="connsiteX118" fmla="*/ 436323 w 1460260"/>
                  <a:gd name="connsiteY118" fmla="*/ 396582 h 1556250"/>
                  <a:gd name="connsiteX119" fmla="*/ 445848 w 1460260"/>
                  <a:gd name="connsiteY119" fmla="*/ 389438 h 1556250"/>
                  <a:gd name="connsiteX120" fmla="*/ 455373 w 1460260"/>
                  <a:gd name="connsiteY120" fmla="*/ 384675 h 1556250"/>
                  <a:gd name="connsiteX121" fmla="*/ 469660 w 1460260"/>
                  <a:gd name="connsiteY121" fmla="*/ 375150 h 1556250"/>
                  <a:gd name="connsiteX122" fmla="*/ 486329 w 1460260"/>
                  <a:gd name="connsiteY122" fmla="*/ 363244 h 1556250"/>
                  <a:gd name="connsiteX123" fmla="*/ 500616 w 1460260"/>
                  <a:gd name="connsiteY123" fmla="*/ 351338 h 1556250"/>
                  <a:gd name="connsiteX124" fmla="*/ 522048 w 1460260"/>
                  <a:gd name="connsiteY124" fmla="*/ 334669 h 1556250"/>
                  <a:gd name="connsiteX125" fmla="*/ 543479 w 1460260"/>
                  <a:gd name="connsiteY125" fmla="*/ 327525 h 1556250"/>
                  <a:gd name="connsiteX126" fmla="*/ 550623 w 1460260"/>
                  <a:gd name="connsiteY126" fmla="*/ 325144 h 1556250"/>
                  <a:gd name="connsiteX127" fmla="*/ 560148 w 1460260"/>
                  <a:gd name="connsiteY127" fmla="*/ 322763 h 1556250"/>
                  <a:gd name="connsiteX128" fmla="*/ 567291 w 1460260"/>
                  <a:gd name="connsiteY128" fmla="*/ 320382 h 1556250"/>
                  <a:gd name="connsiteX129" fmla="*/ 583960 w 1460260"/>
                  <a:gd name="connsiteY129" fmla="*/ 318000 h 1556250"/>
                  <a:gd name="connsiteX130" fmla="*/ 593485 w 1460260"/>
                  <a:gd name="connsiteY130" fmla="*/ 310857 h 1556250"/>
                  <a:gd name="connsiteX131" fmla="*/ 600629 w 1460260"/>
                  <a:gd name="connsiteY131" fmla="*/ 306094 h 1556250"/>
                  <a:gd name="connsiteX132" fmla="*/ 610154 w 1460260"/>
                  <a:gd name="connsiteY132" fmla="*/ 291807 h 1556250"/>
                  <a:gd name="connsiteX133" fmla="*/ 612535 w 1460260"/>
                  <a:gd name="connsiteY133" fmla="*/ 277519 h 1556250"/>
                  <a:gd name="connsiteX134" fmla="*/ 614916 w 1460260"/>
                  <a:gd name="connsiteY134" fmla="*/ 265613 h 1556250"/>
                  <a:gd name="connsiteX135" fmla="*/ 617298 w 1460260"/>
                  <a:gd name="connsiteY135" fmla="*/ 258469 h 1556250"/>
                  <a:gd name="connsiteX136" fmla="*/ 626823 w 1460260"/>
                  <a:gd name="connsiteY136" fmla="*/ 256088 h 1556250"/>
                  <a:gd name="connsiteX137" fmla="*/ 672066 w 1460260"/>
                  <a:gd name="connsiteY137" fmla="*/ 253707 h 1556250"/>
                  <a:gd name="connsiteX138" fmla="*/ 679210 w 1460260"/>
                  <a:gd name="connsiteY138" fmla="*/ 251325 h 1556250"/>
                  <a:gd name="connsiteX139" fmla="*/ 686354 w 1460260"/>
                  <a:gd name="connsiteY139" fmla="*/ 244182 h 1556250"/>
                  <a:gd name="connsiteX140" fmla="*/ 693498 w 1460260"/>
                  <a:gd name="connsiteY140" fmla="*/ 239419 h 1556250"/>
                  <a:gd name="connsiteX141" fmla="*/ 710166 w 1460260"/>
                  <a:gd name="connsiteY141" fmla="*/ 241800 h 1556250"/>
                  <a:gd name="connsiteX142" fmla="*/ 714929 w 1460260"/>
                  <a:gd name="connsiteY142" fmla="*/ 248944 h 1556250"/>
                  <a:gd name="connsiteX143" fmla="*/ 717310 w 1460260"/>
                  <a:gd name="connsiteY143" fmla="*/ 275138 h 1556250"/>
                  <a:gd name="connsiteX144" fmla="*/ 724454 w 1460260"/>
                  <a:gd name="connsiteY144" fmla="*/ 277519 h 1556250"/>
                  <a:gd name="connsiteX145" fmla="*/ 731598 w 1460260"/>
                  <a:gd name="connsiteY145" fmla="*/ 275138 h 1556250"/>
                  <a:gd name="connsiteX146" fmla="*/ 748266 w 1460260"/>
                  <a:gd name="connsiteY146" fmla="*/ 260850 h 1556250"/>
                  <a:gd name="connsiteX147" fmla="*/ 753029 w 1460260"/>
                  <a:gd name="connsiteY147" fmla="*/ 253707 h 1556250"/>
                  <a:gd name="connsiteX148" fmla="*/ 760173 w 1460260"/>
                  <a:gd name="connsiteY148" fmla="*/ 248944 h 1556250"/>
                  <a:gd name="connsiteX149" fmla="*/ 767316 w 1460260"/>
                  <a:gd name="connsiteY149" fmla="*/ 241800 h 1556250"/>
                  <a:gd name="connsiteX150" fmla="*/ 781604 w 1460260"/>
                  <a:gd name="connsiteY150" fmla="*/ 244182 h 1556250"/>
                  <a:gd name="connsiteX151" fmla="*/ 788748 w 1460260"/>
                  <a:gd name="connsiteY151" fmla="*/ 246563 h 1556250"/>
                  <a:gd name="connsiteX152" fmla="*/ 829229 w 1460260"/>
                  <a:gd name="connsiteY152" fmla="*/ 244182 h 1556250"/>
                  <a:gd name="connsiteX153" fmla="*/ 826848 w 1460260"/>
                  <a:gd name="connsiteY153" fmla="*/ 237038 h 1556250"/>
                  <a:gd name="connsiteX154" fmla="*/ 814941 w 1460260"/>
                  <a:gd name="connsiteY154" fmla="*/ 222750 h 1556250"/>
                  <a:gd name="connsiteX155" fmla="*/ 800654 w 1460260"/>
                  <a:gd name="connsiteY155" fmla="*/ 213225 h 1556250"/>
                  <a:gd name="connsiteX156" fmla="*/ 810179 w 1460260"/>
                  <a:gd name="connsiteY156" fmla="*/ 194175 h 1556250"/>
                  <a:gd name="connsiteX157" fmla="*/ 817323 w 1460260"/>
                  <a:gd name="connsiteY157" fmla="*/ 189413 h 1556250"/>
                  <a:gd name="connsiteX158" fmla="*/ 824466 w 1460260"/>
                  <a:gd name="connsiteY158" fmla="*/ 187032 h 1556250"/>
                  <a:gd name="connsiteX159" fmla="*/ 836373 w 1460260"/>
                  <a:gd name="connsiteY159" fmla="*/ 184650 h 1556250"/>
                  <a:gd name="connsiteX160" fmla="*/ 850660 w 1460260"/>
                  <a:gd name="connsiteY160" fmla="*/ 179888 h 1556250"/>
                  <a:gd name="connsiteX161" fmla="*/ 860185 w 1460260"/>
                  <a:gd name="connsiteY161" fmla="*/ 165600 h 1556250"/>
                  <a:gd name="connsiteX162" fmla="*/ 862566 w 1460260"/>
                  <a:gd name="connsiteY162" fmla="*/ 89400 h 1556250"/>
                  <a:gd name="connsiteX163" fmla="*/ 864948 w 1460260"/>
                  <a:gd name="connsiteY163" fmla="*/ 79875 h 1556250"/>
                  <a:gd name="connsiteX164" fmla="*/ 893523 w 1460260"/>
                  <a:gd name="connsiteY164" fmla="*/ 67969 h 1556250"/>
                  <a:gd name="connsiteX165" fmla="*/ 898285 w 1460260"/>
                  <a:gd name="connsiteY165" fmla="*/ 41775 h 1556250"/>
                  <a:gd name="connsiteX166" fmla="*/ 900666 w 1460260"/>
                  <a:gd name="connsiteY166" fmla="*/ 34632 h 1556250"/>
                  <a:gd name="connsiteX167" fmla="*/ 914954 w 1460260"/>
                  <a:gd name="connsiteY167" fmla="*/ 20344 h 1556250"/>
                  <a:gd name="connsiteX168" fmla="*/ 929241 w 1460260"/>
                  <a:gd name="connsiteY168" fmla="*/ 13200 h 1556250"/>
                  <a:gd name="connsiteX169" fmla="*/ 936385 w 1460260"/>
                  <a:gd name="connsiteY169" fmla="*/ 8438 h 1556250"/>
                  <a:gd name="connsiteX170" fmla="*/ 950673 w 1460260"/>
                  <a:gd name="connsiteY170" fmla="*/ 3675 h 1556250"/>
                  <a:gd name="connsiteX171" fmla="*/ 993535 w 1460260"/>
                  <a:gd name="connsiteY171" fmla="*/ 10819 h 1556250"/>
                  <a:gd name="connsiteX172" fmla="*/ 995916 w 1460260"/>
                  <a:gd name="connsiteY172" fmla="*/ 17963 h 1556250"/>
                  <a:gd name="connsiteX173" fmla="*/ 986391 w 1460260"/>
                  <a:gd name="connsiteY173" fmla="*/ 29869 h 1556250"/>
                  <a:gd name="connsiteX174" fmla="*/ 984010 w 1460260"/>
                  <a:gd name="connsiteY174" fmla="*/ 37013 h 1556250"/>
                  <a:gd name="connsiteX175" fmla="*/ 976866 w 1460260"/>
                  <a:gd name="connsiteY175" fmla="*/ 51300 h 1556250"/>
                  <a:gd name="connsiteX176" fmla="*/ 1026873 w 1460260"/>
                  <a:gd name="connsiteY176" fmla="*/ 65588 h 1556250"/>
                  <a:gd name="connsiteX177" fmla="*/ 1031635 w 1460260"/>
                  <a:gd name="connsiteY177" fmla="*/ 72732 h 1556250"/>
                  <a:gd name="connsiteX178" fmla="*/ 1038779 w 1460260"/>
                  <a:gd name="connsiteY178" fmla="*/ 87019 h 1556250"/>
                  <a:gd name="connsiteX179" fmla="*/ 1041160 w 1460260"/>
                  <a:gd name="connsiteY179" fmla="*/ 94163 h 1556250"/>
                  <a:gd name="connsiteX180" fmla="*/ 1043541 w 1460260"/>
                  <a:gd name="connsiteY180" fmla="*/ 125119 h 1556250"/>
                  <a:gd name="connsiteX181" fmla="*/ 1053066 w 1460260"/>
                  <a:gd name="connsiteY181" fmla="*/ 127500 h 1556250"/>
                  <a:gd name="connsiteX182" fmla="*/ 1079260 w 1460260"/>
                  <a:gd name="connsiteY182" fmla="*/ 120357 h 1556250"/>
                  <a:gd name="connsiteX183" fmla="*/ 1081641 w 1460260"/>
                  <a:gd name="connsiteY183" fmla="*/ 113213 h 1556250"/>
                  <a:gd name="connsiteX184" fmla="*/ 1084023 w 1460260"/>
                  <a:gd name="connsiteY184" fmla="*/ 91782 h 1556250"/>
                  <a:gd name="connsiteX185" fmla="*/ 1091166 w 1460260"/>
                  <a:gd name="connsiteY185" fmla="*/ 89400 h 1556250"/>
                  <a:gd name="connsiteX186" fmla="*/ 1129266 w 1460260"/>
                  <a:gd name="connsiteY186" fmla="*/ 87019 h 1556250"/>
                  <a:gd name="connsiteX187" fmla="*/ 1134029 w 1460260"/>
                  <a:gd name="connsiteY187" fmla="*/ 77494 h 1556250"/>
                  <a:gd name="connsiteX188" fmla="*/ 1143554 w 1460260"/>
                  <a:gd name="connsiteY188" fmla="*/ 75113 h 1556250"/>
                  <a:gd name="connsiteX189" fmla="*/ 1188798 w 1460260"/>
                  <a:gd name="connsiteY189" fmla="*/ 77494 h 1556250"/>
                  <a:gd name="connsiteX190" fmla="*/ 1193560 w 1460260"/>
                  <a:gd name="connsiteY190" fmla="*/ 91782 h 1556250"/>
                  <a:gd name="connsiteX191" fmla="*/ 1200704 w 1460260"/>
                  <a:gd name="connsiteY191" fmla="*/ 96544 h 1556250"/>
                  <a:gd name="connsiteX192" fmla="*/ 1224516 w 1460260"/>
                  <a:gd name="connsiteY192" fmla="*/ 106069 h 1556250"/>
                  <a:gd name="connsiteX193" fmla="*/ 1238804 w 1460260"/>
                  <a:gd name="connsiteY193" fmla="*/ 117975 h 1556250"/>
                  <a:gd name="connsiteX194" fmla="*/ 1253091 w 1460260"/>
                  <a:gd name="connsiteY194" fmla="*/ 127500 h 1556250"/>
                  <a:gd name="connsiteX195" fmla="*/ 1260235 w 1460260"/>
                  <a:gd name="connsiteY195" fmla="*/ 132263 h 1556250"/>
                  <a:gd name="connsiteX196" fmla="*/ 1274523 w 1460260"/>
                  <a:gd name="connsiteY196" fmla="*/ 137025 h 1556250"/>
                  <a:gd name="connsiteX197" fmla="*/ 1281666 w 1460260"/>
                  <a:gd name="connsiteY197" fmla="*/ 141788 h 1556250"/>
                  <a:gd name="connsiteX198" fmla="*/ 1279285 w 1460260"/>
                  <a:gd name="connsiteY198" fmla="*/ 189413 h 1556250"/>
                  <a:gd name="connsiteX199" fmla="*/ 1274523 w 1460260"/>
                  <a:gd name="connsiteY199" fmla="*/ 210844 h 1556250"/>
                  <a:gd name="connsiteX200" fmla="*/ 1269760 w 1460260"/>
                  <a:gd name="connsiteY200" fmla="*/ 217988 h 1556250"/>
                  <a:gd name="connsiteX201" fmla="*/ 1264998 w 1460260"/>
                  <a:gd name="connsiteY201" fmla="*/ 232275 h 1556250"/>
                  <a:gd name="connsiteX202" fmla="*/ 1260235 w 1460260"/>
                  <a:gd name="connsiteY202" fmla="*/ 251325 h 1556250"/>
                  <a:gd name="connsiteX203" fmla="*/ 1257854 w 1460260"/>
                  <a:gd name="connsiteY203" fmla="*/ 263232 h 1556250"/>
                  <a:gd name="connsiteX204" fmla="*/ 1248329 w 1460260"/>
                  <a:gd name="connsiteY204" fmla="*/ 296569 h 1556250"/>
                  <a:gd name="connsiteX205" fmla="*/ 1231660 w 1460260"/>
                  <a:gd name="connsiteY205" fmla="*/ 320382 h 1556250"/>
                  <a:gd name="connsiteX206" fmla="*/ 1226898 w 1460260"/>
                  <a:gd name="connsiteY206" fmla="*/ 327525 h 1556250"/>
                  <a:gd name="connsiteX207" fmla="*/ 1222135 w 1460260"/>
                  <a:gd name="connsiteY207" fmla="*/ 334669 h 1556250"/>
                  <a:gd name="connsiteX208" fmla="*/ 1212610 w 1460260"/>
                  <a:gd name="connsiteY208" fmla="*/ 356100 h 1556250"/>
                  <a:gd name="connsiteX209" fmla="*/ 1203085 w 1460260"/>
                  <a:gd name="connsiteY209" fmla="*/ 377532 h 1556250"/>
                  <a:gd name="connsiteX210" fmla="*/ 1195941 w 1460260"/>
                  <a:gd name="connsiteY210" fmla="*/ 391819 h 1556250"/>
                  <a:gd name="connsiteX211" fmla="*/ 1186416 w 1460260"/>
                  <a:gd name="connsiteY211" fmla="*/ 408488 h 1556250"/>
                  <a:gd name="connsiteX212" fmla="*/ 1176891 w 1460260"/>
                  <a:gd name="connsiteY212" fmla="*/ 427538 h 1556250"/>
                  <a:gd name="connsiteX213" fmla="*/ 1169748 w 1460260"/>
                  <a:gd name="connsiteY213" fmla="*/ 444207 h 1556250"/>
                  <a:gd name="connsiteX214" fmla="*/ 1164985 w 1460260"/>
                  <a:gd name="connsiteY214" fmla="*/ 451350 h 1556250"/>
                  <a:gd name="connsiteX215" fmla="*/ 1153079 w 1460260"/>
                  <a:gd name="connsiteY215" fmla="*/ 468019 h 1556250"/>
                  <a:gd name="connsiteX216" fmla="*/ 1148316 w 1460260"/>
                  <a:gd name="connsiteY216" fmla="*/ 482307 h 1556250"/>
                  <a:gd name="connsiteX217" fmla="*/ 1138791 w 1460260"/>
                  <a:gd name="connsiteY217" fmla="*/ 498975 h 1556250"/>
                  <a:gd name="connsiteX218" fmla="*/ 1131648 w 1460260"/>
                  <a:gd name="connsiteY218" fmla="*/ 520407 h 1556250"/>
                  <a:gd name="connsiteX219" fmla="*/ 1129266 w 1460260"/>
                  <a:gd name="connsiteY219" fmla="*/ 527550 h 1556250"/>
                  <a:gd name="connsiteX220" fmla="*/ 1119741 w 1460260"/>
                  <a:gd name="connsiteY220" fmla="*/ 541838 h 1556250"/>
                  <a:gd name="connsiteX221" fmla="*/ 1117360 w 1460260"/>
                  <a:gd name="connsiteY221" fmla="*/ 548982 h 1556250"/>
                  <a:gd name="connsiteX222" fmla="*/ 1107835 w 1460260"/>
                  <a:gd name="connsiteY222" fmla="*/ 563269 h 1556250"/>
                  <a:gd name="connsiteX223" fmla="*/ 1098310 w 1460260"/>
                  <a:gd name="connsiteY223" fmla="*/ 584700 h 1556250"/>
                  <a:gd name="connsiteX224" fmla="*/ 1093548 w 1460260"/>
                  <a:gd name="connsiteY224" fmla="*/ 598988 h 1556250"/>
                  <a:gd name="connsiteX225" fmla="*/ 1091166 w 1460260"/>
                  <a:gd name="connsiteY225" fmla="*/ 606132 h 1556250"/>
                  <a:gd name="connsiteX226" fmla="*/ 1093548 w 1460260"/>
                  <a:gd name="connsiteY226" fmla="*/ 615657 h 1556250"/>
                  <a:gd name="connsiteX227" fmla="*/ 1107835 w 1460260"/>
                  <a:gd name="connsiteY227" fmla="*/ 620419 h 1556250"/>
                  <a:gd name="connsiteX228" fmla="*/ 1114979 w 1460260"/>
                  <a:gd name="connsiteY228" fmla="*/ 625182 h 1556250"/>
                  <a:gd name="connsiteX229" fmla="*/ 1124504 w 1460260"/>
                  <a:gd name="connsiteY229" fmla="*/ 639469 h 1556250"/>
                  <a:gd name="connsiteX230" fmla="*/ 1141173 w 1460260"/>
                  <a:gd name="connsiteY230" fmla="*/ 637088 h 1556250"/>
                  <a:gd name="connsiteX231" fmla="*/ 1148316 w 1460260"/>
                  <a:gd name="connsiteY231" fmla="*/ 634707 h 1556250"/>
                  <a:gd name="connsiteX232" fmla="*/ 1153079 w 1460260"/>
                  <a:gd name="connsiteY232" fmla="*/ 627563 h 1556250"/>
                  <a:gd name="connsiteX233" fmla="*/ 1160223 w 1460260"/>
                  <a:gd name="connsiteY233" fmla="*/ 622800 h 1556250"/>
                  <a:gd name="connsiteX234" fmla="*/ 1164985 w 1460260"/>
                  <a:gd name="connsiteY234" fmla="*/ 615657 h 1556250"/>
                  <a:gd name="connsiteX235" fmla="*/ 1179273 w 1460260"/>
                  <a:gd name="connsiteY235" fmla="*/ 606132 h 1556250"/>
                  <a:gd name="connsiteX236" fmla="*/ 1193560 w 1460260"/>
                  <a:gd name="connsiteY236" fmla="*/ 598988 h 1556250"/>
                  <a:gd name="connsiteX237" fmla="*/ 1200704 w 1460260"/>
                  <a:gd name="connsiteY237" fmla="*/ 594225 h 1556250"/>
                  <a:gd name="connsiteX238" fmla="*/ 1224516 w 1460260"/>
                  <a:gd name="connsiteY238" fmla="*/ 572794 h 1556250"/>
                  <a:gd name="connsiteX239" fmla="*/ 1234041 w 1460260"/>
                  <a:gd name="connsiteY239" fmla="*/ 558507 h 1556250"/>
                  <a:gd name="connsiteX240" fmla="*/ 1243566 w 1460260"/>
                  <a:gd name="connsiteY240" fmla="*/ 548982 h 1556250"/>
                  <a:gd name="connsiteX241" fmla="*/ 1255473 w 1460260"/>
                  <a:gd name="connsiteY241" fmla="*/ 534694 h 1556250"/>
                  <a:gd name="connsiteX242" fmla="*/ 1269760 w 1460260"/>
                  <a:gd name="connsiteY242" fmla="*/ 525169 h 1556250"/>
                  <a:gd name="connsiteX243" fmla="*/ 1284048 w 1460260"/>
                  <a:gd name="connsiteY243" fmla="*/ 510882 h 1556250"/>
                  <a:gd name="connsiteX244" fmla="*/ 1291191 w 1460260"/>
                  <a:gd name="connsiteY244" fmla="*/ 503738 h 1556250"/>
                  <a:gd name="connsiteX245" fmla="*/ 1298335 w 1460260"/>
                  <a:gd name="connsiteY245" fmla="*/ 496594 h 1556250"/>
                  <a:gd name="connsiteX246" fmla="*/ 1310241 w 1460260"/>
                  <a:gd name="connsiteY246" fmla="*/ 498975 h 1556250"/>
                  <a:gd name="connsiteX247" fmla="*/ 1322148 w 1460260"/>
                  <a:gd name="connsiteY247" fmla="*/ 515644 h 1556250"/>
                  <a:gd name="connsiteX248" fmla="*/ 1326910 w 1460260"/>
                  <a:gd name="connsiteY248" fmla="*/ 537075 h 1556250"/>
                  <a:gd name="connsiteX249" fmla="*/ 1334054 w 1460260"/>
                  <a:gd name="connsiteY249" fmla="*/ 577557 h 1556250"/>
                  <a:gd name="connsiteX250" fmla="*/ 1341198 w 1460260"/>
                  <a:gd name="connsiteY250" fmla="*/ 591844 h 1556250"/>
                  <a:gd name="connsiteX251" fmla="*/ 1350723 w 1460260"/>
                  <a:gd name="connsiteY251" fmla="*/ 606132 h 1556250"/>
                  <a:gd name="connsiteX252" fmla="*/ 1353104 w 1460260"/>
                  <a:gd name="connsiteY252" fmla="*/ 613275 h 1556250"/>
                  <a:gd name="connsiteX253" fmla="*/ 1357866 w 1460260"/>
                  <a:gd name="connsiteY253" fmla="*/ 620419 h 1556250"/>
                  <a:gd name="connsiteX254" fmla="*/ 1372154 w 1460260"/>
                  <a:gd name="connsiteY254" fmla="*/ 639469 h 1556250"/>
                  <a:gd name="connsiteX255" fmla="*/ 1376916 w 1460260"/>
                  <a:gd name="connsiteY255" fmla="*/ 646613 h 1556250"/>
                  <a:gd name="connsiteX256" fmla="*/ 1386441 w 1460260"/>
                  <a:gd name="connsiteY256" fmla="*/ 651375 h 1556250"/>
                  <a:gd name="connsiteX257" fmla="*/ 1400729 w 1460260"/>
                  <a:gd name="connsiteY257" fmla="*/ 660900 h 1556250"/>
                  <a:gd name="connsiteX258" fmla="*/ 1407873 w 1460260"/>
                  <a:gd name="connsiteY258" fmla="*/ 668044 h 1556250"/>
                  <a:gd name="connsiteX259" fmla="*/ 1429304 w 1460260"/>
                  <a:gd name="connsiteY259" fmla="*/ 684713 h 1556250"/>
                  <a:gd name="connsiteX260" fmla="*/ 1434066 w 1460260"/>
                  <a:gd name="connsiteY260" fmla="*/ 694238 h 1556250"/>
                  <a:gd name="connsiteX261" fmla="*/ 1441210 w 1460260"/>
                  <a:gd name="connsiteY261" fmla="*/ 701382 h 1556250"/>
                  <a:gd name="connsiteX262" fmla="*/ 1450735 w 1460260"/>
                  <a:gd name="connsiteY262" fmla="*/ 713288 h 1556250"/>
                  <a:gd name="connsiteX263" fmla="*/ 1453116 w 1460260"/>
                  <a:gd name="connsiteY263" fmla="*/ 720432 h 1556250"/>
                  <a:gd name="connsiteX264" fmla="*/ 1460260 w 1460260"/>
                  <a:gd name="connsiteY264" fmla="*/ 751388 h 1556250"/>
                  <a:gd name="connsiteX265" fmla="*/ 1457879 w 1460260"/>
                  <a:gd name="connsiteY265" fmla="*/ 799013 h 1556250"/>
                  <a:gd name="connsiteX266" fmla="*/ 1445973 w 1460260"/>
                  <a:gd name="connsiteY266" fmla="*/ 813300 h 1556250"/>
                  <a:gd name="connsiteX267" fmla="*/ 1431685 w 1460260"/>
                  <a:gd name="connsiteY267" fmla="*/ 829969 h 1556250"/>
                  <a:gd name="connsiteX268" fmla="*/ 1429304 w 1460260"/>
                  <a:gd name="connsiteY268" fmla="*/ 837113 h 1556250"/>
                  <a:gd name="connsiteX269" fmla="*/ 1419779 w 1460260"/>
                  <a:gd name="connsiteY269" fmla="*/ 851400 h 1556250"/>
                  <a:gd name="connsiteX270" fmla="*/ 1412635 w 1460260"/>
                  <a:gd name="connsiteY270" fmla="*/ 870450 h 1556250"/>
                  <a:gd name="connsiteX271" fmla="*/ 1405491 w 1460260"/>
                  <a:gd name="connsiteY271" fmla="*/ 894263 h 1556250"/>
                  <a:gd name="connsiteX272" fmla="*/ 1403110 w 1460260"/>
                  <a:gd name="connsiteY272" fmla="*/ 918075 h 1556250"/>
                  <a:gd name="connsiteX273" fmla="*/ 1398348 w 1460260"/>
                  <a:gd name="connsiteY273" fmla="*/ 968082 h 1556250"/>
                  <a:gd name="connsiteX274" fmla="*/ 1395966 w 1460260"/>
                  <a:gd name="connsiteY274" fmla="*/ 975225 h 1556250"/>
                  <a:gd name="connsiteX275" fmla="*/ 1386441 w 1460260"/>
                  <a:gd name="connsiteY275" fmla="*/ 989513 h 1556250"/>
                  <a:gd name="connsiteX276" fmla="*/ 1372154 w 1460260"/>
                  <a:gd name="connsiteY276" fmla="*/ 999038 h 1556250"/>
                  <a:gd name="connsiteX277" fmla="*/ 1365010 w 1460260"/>
                  <a:gd name="connsiteY277" fmla="*/ 1003800 h 1556250"/>
                  <a:gd name="connsiteX278" fmla="*/ 1350723 w 1460260"/>
                  <a:gd name="connsiteY278" fmla="*/ 1008563 h 1556250"/>
                  <a:gd name="connsiteX279" fmla="*/ 1343579 w 1460260"/>
                  <a:gd name="connsiteY279" fmla="*/ 1010944 h 1556250"/>
                  <a:gd name="connsiteX280" fmla="*/ 1336435 w 1460260"/>
                  <a:gd name="connsiteY280" fmla="*/ 1013325 h 1556250"/>
                  <a:gd name="connsiteX281" fmla="*/ 1319766 w 1460260"/>
                  <a:gd name="connsiteY281" fmla="*/ 1029994 h 1556250"/>
                  <a:gd name="connsiteX282" fmla="*/ 1312623 w 1460260"/>
                  <a:gd name="connsiteY282" fmla="*/ 1037138 h 1556250"/>
                  <a:gd name="connsiteX283" fmla="*/ 1307860 w 1460260"/>
                  <a:gd name="connsiteY283" fmla="*/ 1044282 h 1556250"/>
                  <a:gd name="connsiteX284" fmla="*/ 1300716 w 1460260"/>
                  <a:gd name="connsiteY284" fmla="*/ 1051425 h 1556250"/>
                  <a:gd name="connsiteX285" fmla="*/ 1295954 w 1460260"/>
                  <a:gd name="connsiteY285" fmla="*/ 1058569 h 1556250"/>
                  <a:gd name="connsiteX286" fmla="*/ 1291191 w 1460260"/>
                  <a:gd name="connsiteY286" fmla="*/ 1072857 h 1556250"/>
                  <a:gd name="connsiteX287" fmla="*/ 1293573 w 1460260"/>
                  <a:gd name="connsiteY287" fmla="*/ 1132388 h 1556250"/>
                  <a:gd name="connsiteX288" fmla="*/ 1298335 w 1460260"/>
                  <a:gd name="connsiteY288" fmla="*/ 1139532 h 1556250"/>
                  <a:gd name="connsiteX289" fmla="*/ 1312623 w 1460260"/>
                  <a:gd name="connsiteY289" fmla="*/ 1153819 h 1556250"/>
                  <a:gd name="connsiteX290" fmla="*/ 1319766 w 1460260"/>
                  <a:gd name="connsiteY290" fmla="*/ 1168107 h 1556250"/>
                  <a:gd name="connsiteX291" fmla="*/ 1324529 w 1460260"/>
                  <a:gd name="connsiteY291" fmla="*/ 1182394 h 1556250"/>
                  <a:gd name="connsiteX292" fmla="*/ 1326910 w 1460260"/>
                  <a:gd name="connsiteY292" fmla="*/ 1189538 h 1556250"/>
                  <a:gd name="connsiteX293" fmla="*/ 1329291 w 1460260"/>
                  <a:gd name="connsiteY293" fmla="*/ 1196682 h 1556250"/>
                  <a:gd name="connsiteX294" fmla="*/ 1331673 w 1460260"/>
                  <a:gd name="connsiteY294" fmla="*/ 1206207 h 1556250"/>
                  <a:gd name="connsiteX295" fmla="*/ 1331673 w 1460260"/>
                  <a:gd name="connsiteY295" fmla="*/ 1389563 h 1556250"/>
                  <a:gd name="connsiteX296" fmla="*/ 1338816 w 1460260"/>
                  <a:gd name="connsiteY296" fmla="*/ 1422900 h 1556250"/>
                  <a:gd name="connsiteX297" fmla="*/ 1345960 w 1460260"/>
                  <a:gd name="connsiteY297" fmla="*/ 1427663 h 1556250"/>
                  <a:gd name="connsiteX298" fmla="*/ 1355485 w 1460260"/>
                  <a:gd name="connsiteY298" fmla="*/ 1441950 h 1556250"/>
                  <a:gd name="connsiteX299" fmla="*/ 1360248 w 1460260"/>
                  <a:gd name="connsiteY299" fmla="*/ 1449094 h 1556250"/>
                  <a:gd name="connsiteX300" fmla="*/ 1362629 w 1460260"/>
                  <a:gd name="connsiteY300" fmla="*/ 1458619 h 1556250"/>
                  <a:gd name="connsiteX301" fmla="*/ 1365010 w 1460260"/>
                  <a:gd name="connsiteY301" fmla="*/ 1472907 h 1556250"/>
                  <a:gd name="connsiteX302" fmla="*/ 1369773 w 1460260"/>
                  <a:gd name="connsiteY302" fmla="*/ 1487194 h 1556250"/>
                  <a:gd name="connsiteX303" fmla="*/ 1372154 w 1460260"/>
                  <a:gd name="connsiteY303" fmla="*/ 1494338 h 1556250"/>
                  <a:gd name="connsiteX304" fmla="*/ 1376916 w 1460260"/>
                  <a:gd name="connsiteY304" fmla="*/ 1501482 h 1556250"/>
                  <a:gd name="connsiteX305" fmla="*/ 1391204 w 1460260"/>
                  <a:gd name="connsiteY305" fmla="*/ 1525294 h 1556250"/>
                  <a:gd name="connsiteX306" fmla="*/ 1407873 w 1460260"/>
                  <a:gd name="connsiteY306" fmla="*/ 1546725 h 1556250"/>
                  <a:gd name="connsiteX307" fmla="*/ 1412635 w 1460260"/>
                  <a:gd name="connsiteY307" fmla="*/ 1556250 h 1556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Lst>
                <a:rect l="l" t="t" r="r" b="b"/>
                <a:pathLst>
                  <a:path w="1460260" h="1556250">
                    <a:moveTo>
                      <a:pt x="145810" y="1549107"/>
                    </a:moveTo>
                    <a:cubicBezTo>
                      <a:pt x="145016" y="1542757"/>
                      <a:pt x="144574" y="1536353"/>
                      <a:pt x="143429" y="1530057"/>
                    </a:cubicBezTo>
                    <a:cubicBezTo>
                      <a:pt x="142980" y="1527587"/>
                      <a:pt x="141497" y="1525383"/>
                      <a:pt x="141048" y="1522913"/>
                    </a:cubicBezTo>
                    <a:cubicBezTo>
                      <a:pt x="139903" y="1516617"/>
                      <a:pt x="139460" y="1510213"/>
                      <a:pt x="138666" y="1503863"/>
                    </a:cubicBezTo>
                    <a:cubicBezTo>
                      <a:pt x="137872" y="1490369"/>
                      <a:pt x="138033" y="1476785"/>
                      <a:pt x="136285" y="1463382"/>
                    </a:cubicBezTo>
                    <a:cubicBezTo>
                      <a:pt x="135636" y="1458404"/>
                      <a:pt x="132349" y="1454046"/>
                      <a:pt x="131523" y="1449094"/>
                    </a:cubicBezTo>
                    <a:lnTo>
                      <a:pt x="129141" y="1434807"/>
                    </a:lnTo>
                    <a:cubicBezTo>
                      <a:pt x="125334" y="1381497"/>
                      <a:pt x="130564" y="1415974"/>
                      <a:pt x="124379" y="1394325"/>
                    </a:cubicBezTo>
                    <a:cubicBezTo>
                      <a:pt x="123480" y="1391178"/>
                      <a:pt x="122938" y="1387935"/>
                      <a:pt x="121998" y="1384800"/>
                    </a:cubicBezTo>
                    <a:cubicBezTo>
                      <a:pt x="120555" y="1379992"/>
                      <a:pt x="117235" y="1370513"/>
                      <a:pt x="117235" y="1370513"/>
                    </a:cubicBezTo>
                    <a:cubicBezTo>
                      <a:pt x="117296" y="1369406"/>
                      <a:pt x="115520" y="1333461"/>
                      <a:pt x="121998" y="1320507"/>
                    </a:cubicBezTo>
                    <a:cubicBezTo>
                      <a:pt x="123278" y="1317947"/>
                      <a:pt x="125173" y="1315744"/>
                      <a:pt x="126760" y="1313363"/>
                    </a:cubicBezTo>
                    <a:cubicBezTo>
                      <a:pt x="127554" y="1310188"/>
                      <a:pt x="127326" y="1306561"/>
                      <a:pt x="129141" y="1303838"/>
                    </a:cubicBezTo>
                    <a:cubicBezTo>
                      <a:pt x="130729" y="1301457"/>
                      <a:pt x="134768" y="1301502"/>
                      <a:pt x="136285" y="1299075"/>
                    </a:cubicBezTo>
                    <a:cubicBezTo>
                      <a:pt x="138946" y="1294818"/>
                      <a:pt x="141048" y="1284788"/>
                      <a:pt x="141048" y="1284788"/>
                    </a:cubicBezTo>
                    <a:cubicBezTo>
                      <a:pt x="140254" y="1260182"/>
                      <a:pt x="140656" y="1235508"/>
                      <a:pt x="138666" y="1210969"/>
                    </a:cubicBezTo>
                    <a:cubicBezTo>
                      <a:pt x="137351" y="1194756"/>
                      <a:pt x="132086" y="1195471"/>
                      <a:pt x="119616" y="1187157"/>
                    </a:cubicBezTo>
                    <a:cubicBezTo>
                      <a:pt x="117235" y="1185570"/>
                      <a:pt x="115188" y="1183299"/>
                      <a:pt x="112473" y="1182394"/>
                    </a:cubicBezTo>
                    <a:lnTo>
                      <a:pt x="98185" y="1177632"/>
                    </a:lnTo>
                    <a:cubicBezTo>
                      <a:pt x="95804" y="1176838"/>
                      <a:pt x="93532" y="1175561"/>
                      <a:pt x="91041" y="1175250"/>
                    </a:cubicBezTo>
                    <a:lnTo>
                      <a:pt x="71991" y="1172869"/>
                    </a:lnTo>
                    <a:cubicBezTo>
                      <a:pt x="68816" y="1170488"/>
                      <a:pt x="65479" y="1168308"/>
                      <a:pt x="62466" y="1165725"/>
                    </a:cubicBezTo>
                    <a:cubicBezTo>
                      <a:pt x="46423" y="1151974"/>
                      <a:pt x="63969" y="1164346"/>
                      <a:pt x="48179" y="1153819"/>
                    </a:cubicBezTo>
                    <a:cubicBezTo>
                      <a:pt x="43496" y="1146795"/>
                      <a:pt x="43148" y="1145261"/>
                      <a:pt x="36273" y="1139532"/>
                    </a:cubicBezTo>
                    <a:cubicBezTo>
                      <a:pt x="34074" y="1137700"/>
                      <a:pt x="31510" y="1136357"/>
                      <a:pt x="29129" y="1134769"/>
                    </a:cubicBezTo>
                    <a:cubicBezTo>
                      <a:pt x="16427" y="1115717"/>
                      <a:pt x="33098" y="1138738"/>
                      <a:pt x="17223" y="1122863"/>
                    </a:cubicBezTo>
                    <a:cubicBezTo>
                      <a:pt x="1351" y="1106991"/>
                      <a:pt x="24362" y="1123653"/>
                      <a:pt x="5316" y="1110957"/>
                    </a:cubicBezTo>
                    <a:cubicBezTo>
                      <a:pt x="3729" y="1106194"/>
                      <a:pt x="0" y="1101659"/>
                      <a:pt x="554" y="1096669"/>
                    </a:cubicBezTo>
                    <a:cubicBezTo>
                      <a:pt x="1348" y="1089525"/>
                      <a:pt x="1192" y="1082211"/>
                      <a:pt x="2935" y="1075238"/>
                    </a:cubicBezTo>
                    <a:cubicBezTo>
                      <a:pt x="3629" y="1072461"/>
                      <a:pt x="5866" y="1070293"/>
                      <a:pt x="7698" y="1068094"/>
                    </a:cubicBezTo>
                    <a:cubicBezTo>
                      <a:pt x="13429" y="1061216"/>
                      <a:pt x="14958" y="1060872"/>
                      <a:pt x="21985" y="1056188"/>
                    </a:cubicBezTo>
                    <a:cubicBezTo>
                      <a:pt x="23573" y="1053807"/>
                      <a:pt x="24513" y="1050832"/>
                      <a:pt x="26748" y="1049044"/>
                    </a:cubicBezTo>
                    <a:cubicBezTo>
                      <a:pt x="28708" y="1047476"/>
                      <a:pt x="31646" y="1047785"/>
                      <a:pt x="33891" y="1046663"/>
                    </a:cubicBezTo>
                    <a:cubicBezTo>
                      <a:pt x="36451" y="1045383"/>
                      <a:pt x="38550" y="1043320"/>
                      <a:pt x="41035" y="1041900"/>
                    </a:cubicBezTo>
                    <a:cubicBezTo>
                      <a:pt x="44117" y="1040139"/>
                      <a:pt x="47385" y="1038725"/>
                      <a:pt x="50560" y="1037138"/>
                    </a:cubicBezTo>
                    <a:cubicBezTo>
                      <a:pt x="63635" y="1017525"/>
                      <a:pt x="60795" y="1028530"/>
                      <a:pt x="57704" y="1003800"/>
                    </a:cubicBezTo>
                    <a:cubicBezTo>
                      <a:pt x="58394" y="978282"/>
                      <a:pt x="57302" y="927824"/>
                      <a:pt x="62466" y="894263"/>
                    </a:cubicBezTo>
                    <a:cubicBezTo>
                      <a:pt x="62964" y="891028"/>
                      <a:pt x="64138" y="887933"/>
                      <a:pt x="64848" y="884738"/>
                    </a:cubicBezTo>
                    <a:cubicBezTo>
                      <a:pt x="65726" y="880787"/>
                      <a:pt x="66319" y="876776"/>
                      <a:pt x="67229" y="872832"/>
                    </a:cubicBezTo>
                    <a:cubicBezTo>
                      <a:pt x="68701" y="866454"/>
                      <a:pt x="71991" y="853782"/>
                      <a:pt x="71991" y="853782"/>
                    </a:cubicBezTo>
                    <a:cubicBezTo>
                      <a:pt x="73039" y="842258"/>
                      <a:pt x="71581" y="823235"/>
                      <a:pt x="81516" y="813300"/>
                    </a:cubicBezTo>
                    <a:cubicBezTo>
                      <a:pt x="86131" y="808685"/>
                      <a:pt x="89995" y="808093"/>
                      <a:pt x="95804" y="806157"/>
                    </a:cubicBezTo>
                    <a:cubicBezTo>
                      <a:pt x="101637" y="802268"/>
                      <a:pt x="104784" y="799013"/>
                      <a:pt x="112473" y="799013"/>
                    </a:cubicBezTo>
                    <a:cubicBezTo>
                      <a:pt x="115746" y="799013"/>
                      <a:pt x="118823" y="800600"/>
                      <a:pt x="121998" y="801394"/>
                    </a:cubicBezTo>
                    <a:cubicBezTo>
                      <a:pt x="124379" y="802982"/>
                      <a:pt x="126581" y="804877"/>
                      <a:pt x="129141" y="806157"/>
                    </a:cubicBezTo>
                    <a:cubicBezTo>
                      <a:pt x="131386" y="807280"/>
                      <a:pt x="134325" y="806970"/>
                      <a:pt x="136285" y="808538"/>
                    </a:cubicBezTo>
                    <a:cubicBezTo>
                      <a:pt x="138520" y="810326"/>
                      <a:pt x="139216" y="813483"/>
                      <a:pt x="141048" y="815682"/>
                    </a:cubicBezTo>
                    <a:cubicBezTo>
                      <a:pt x="143204" y="818269"/>
                      <a:pt x="145810" y="820444"/>
                      <a:pt x="148191" y="822825"/>
                    </a:cubicBezTo>
                    <a:cubicBezTo>
                      <a:pt x="150128" y="828633"/>
                      <a:pt x="150721" y="832499"/>
                      <a:pt x="155335" y="837113"/>
                    </a:cubicBezTo>
                    <a:cubicBezTo>
                      <a:pt x="157359" y="839137"/>
                      <a:pt x="160098" y="840288"/>
                      <a:pt x="162479" y="841875"/>
                    </a:cubicBezTo>
                    <a:cubicBezTo>
                      <a:pt x="164066" y="844256"/>
                      <a:pt x="165217" y="846995"/>
                      <a:pt x="167241" y="849019"/>
                    </a:cubicBezTo>
                    <a:cubicBezTo>
                      <a:pt x="183122" y="864901"/>
                      <a:pt x="166442" y="841870"/>
                      <a:pt x="179148" y="860925"/>
                    </a:cubicBezTo>
                    <a:cubicBezTo>
                      <a:pt x="181478" y="867914"/>
                      <a:pt x="183554" y="869883"/>
                      <a:pt x="179148" y="877594"/>
                    </a:cubicBezTo>
                    <a:cubicBezTo>
                      <a:pt x="177477" y="880518"/>
                      <a:pt x="174072" y="882080"/>
                      <a:pt x="172004" y="884738"/>
                    </a:cubicBezTo>
                    <a:cubicBezTo>
                      <a:pt x="168490" y="889256"/>
                      <a:pt x="162479" y="899025"/>
                      <a:pt x="162479" y="899025"/>
                    </a:cubicBezTo>
                    <a:lnTo>
                      <a:pt x="157716" y="913313"/>
                    </a:lnTo>
                    <a:lnTo>
                      <a:pt x="155335" y="920457"/>
                    </a:lnTo>
                    <a:cubicBezTo>
                      <a:pt x="154959" y="925717"/>
                      <a:pt x="155984" y="950115"/>
                      <a:pt x="150573" y="960938"/>
                    </a:cubicBezTo>
                    <a:cubicBezTo>
                      <a:pt x="149293" y="963498"/>
                      <a:pt x="147834" y="966058"/>
                      <a:pt x="145810" y="968082"/>
                    </a:cubicBezTo>
                    <a:cubicBezTo>
                      <a:pt x="143786" y="970106"/>
                      <a:pt x="141047" y="971257"/>
                      <a:pt x="138666" y="972844"/>
                    </a:cubicBezTo>
                    <a:cubicBezTo>
                      <a:pt x="139460" y="988719"/>
                      <a:pt x="139671" y="1004634"/>
                      <a:pt x="141048" y="1020469"/>
                    </a:cubicBezTo>
                    <a:cubicBezTo>
                      <a:pt x="141265" y="1022970"/>
                      <a:pt x="142307" y="1025368"/>
                      <a:pt x="143429" y="1027613"/>
                    </a:cubicBezTo>
                    <a:cubicBezTo>
                      <a:pt x="144709" y="1030173"/>
                      <a:pt x="146359" y="1032558"/>
                      <a:pt x="148191" y="1034757"/>
                    </a:cubicBezTo>
                    <a:cubicBezTo>
                      <a:pt x="150347" y="1037344"/>
                      <a:pt x="152533" y="1040032"/>
                      <a:pt x="155335" y="1041900"/>
                    </a:cubicBezTo>
                    <a:cubicBezTo>
                      <a:pt x="157388" y="1043268"/>
                      <a:pt x="170729" y="1046344"/>
                      <a:pt x="172004" y="1046663"/>
                    </a:cubicBezTo>
                    <a:cubicBezTo>
                      <a:pt x="173423" y="1046460"/>
                      <a:pt x="191279" y="1044925"/>
                      <a:pt x="195816" y="1041900"/>
                    </a:cubicBezTo>
                    <a:cubicBezTo>
                      <a:pt x="198618" y="1040032"/>
                      <a:pt x="200302" y="1036824"/>
                      <a:pt x="202960" y="1034757"/>
                    </a:cubicBezTo>
                    <a:cubicBezTo>
                      <a:pt x="207478" y="1031243"/>
                      <a:pt x="212485" y="1028407"/>
                      <a:pt x="217248" y="1025232"/>
                    </a:cubicBezTo>
                    <a:lnTo>
                      <a:pt x="224391" y="1020469"/>
                    </a:lnTo>
                    <a:cubicBezTo>
                      <a:pt x="225185" y="1018088"/>
                      <a:pt x="227186" y="1015801"/>
                      <a:pt x="226773" y="1013325"/>
                    </a:cubicBezTo>
                    <a:cubicBezTo>
                      <a:pt x="226110" y="1009349"/>
                      <a:pt x="217010" y="1001182"/>
                      <a:pt x="214866" y="999038"/>
                    </a:cubicBezTo>
                    <a:cubicBezTo>
                      <a:pt x="218574" y="973093"/>
                      <a:pt x="218674" y="980442"/>
                      <a:pt x="214866" y="944269"/>
                    </a:cubicBezTo>
                    <a:cubicBezTo>
                      <a:pt x="214603" y="941773"/>
                      <a:pt x="214053" y="939085"/>
                      <a:pt x="212485" y="937125"/>
                    </a:cubicBezTo>
                    <a:cubicBezTo>
                      <a:pt x="210697" y="934890"/>
                      <a:pt x="207722" y="933950"/>
                      <a:pt x="205341" y="932363"/>
                    </a:cubicBezTo>
                    <a:cubicBezTo>
                      <a:pt x="203754" y="929982"/>
                      <a:pt x="200758" y="928075"/>
                      <a:pt x="200579" y="925219"/>
                    </a:cubicBezTo>
                    <a:cubicBezTo>
                      <a:pt x="199934" y="914890"/>
                      <a:pt x="201053" y="904435"/>
                      <a:pt x="202960" y="894263"/>
                    </a:cubicBezTo>
                    <a:cubicBezTo>
                      <a:pt x="203487" y="891450"/>
                      <a:pt x="205891" y="889318"/>
                      <a:pt x="207723" y="887119"/>
                    </a:cubicBezTo>
                    <a:cubicBezTo>
                      <a:pt x="217212" y="875731"/>
                      <a:pt x="211790" y="883730"/>
                      <a:pt x="222010" y="875213"/>
                    </a:cubicBezTo>
                    <a:cubicBezTo>
                      <a:pt x="226526" y="871450"/>
                      <a:pt x="231239" y="866278"/>
                      <a:pt x="233916" y="860925"/>
                    </a:cubicBezTo>
                    <a:cubicBezTo>
                      <a:pt x="235039" y="858680"/>
                      <a:pt x="235504" y="856163"/>
                      <a:pt x="236298" y="853782"/>
                    </a:cubicBezTo>
                    <a:cubicBezTo>
                      <a:pt x="218362" y="841824"/>
                      <a:pt x="241157" y="855865"/>
                      <a:pt x="219629" y="846638"/>
                    </a:cubicBezTo>
                    <a:cubicBezTo>
                      <a:pt x="216998" y="845511"/>
                      <a:pt x="214866" y="843463"/>
                      <a:pt x="212485" y="841875"/>
                    </a:cubicBezTo>
                    <a:cubicBezTo>
                      <a:pt x="210898" y="835525"/>
                      <a:pt x="208007" y="829364"/>
                      <a:pt x="207723" y="822825"/>
                    </a:cubicBezTo>
                    <a:cubicBezTo>
                      <a:pt x="206929" y="804569"/>
                      <a:pt x="210268" y="785653"/>
                      <a:pt x="205341" y="768057"/>
                    </a:cubicBezTo>
                    <a:cubicBezTo>
                      <a:pt x="203987" y="763223"/>
                      <a:pt x="195924" y="764511"/>
                      <a:pt x="191054" y="763294"/>
                    </a:cubicBezTo>
                    <a:cubicBezTo>
                      <a:pt x="187879" y="762500"/>
                      <a:pt x="184749" y="761498"/>
                      <a:pt x="181529" y="760913"/>
                    </a:cubicBezTo>
                    <a:cubicBezTo>
                      <a:pt x="168102" y="758472"/>
                      <a:pt x="163496" y="758919"/>
                      <a:pt x="150573" y="756150"/>
                    </a:cubicBezTo>
                    <a:cubicBezTo>
                      <a:pt x="144173" y="754778"/>
                      <a:pt x="131523" y="751388"/>
                      <a:pt x="131523" y="751388"/>
                    </a:cubicBezTo>
                    <a:cubicBezTo>
                      <a:pt x="130729" y="748213"/>
                      <a:pt x="129141" y="745136"/>
                      <a:pt x="129141" y="741863"/>
                    </a:cubicBezTo>
                    <a:cubicBezTo>
                      <a:pt x="129141" y="736584"/>
                      <a:pt x="130179" y="720739"/>
                      <a:pt x="133904" y="713288"/>
                    </a:cubicBezTo>
                    <a:cubicBezTo>
                      <a:pt x="143139" y="694815"/>
                      <a:pt x="135058" y="716964"/>
                      <a:pt x="141048" y="699000"/>
                    </a:cubicBezTo>
                    <a:cubicBezTo>
                      <a:pt x="140254" y="688681"/>
                      <a:pt x="141509" y="677995"/>
                      <a:pt x="138666" y="668044"/>
                    </a:cubicBezTo>
                    <a:cubicBezTo>
                      <a:pt x="137976" y="665631"/>
                      <a:pt x="133611" y="667055"/>
                      <a:pt x="131523" y="665663"/>
                    </a:cubicBezTo>
                    <a:cubicBezTo>
                      <a:pt x="128721" y="663795"/>
                      <a:pt x="126966" y="660675"/>
                      <a:pt x="124379" y="658519"/>
                    </a:cubicBezTo>
                    <a:cubicBezTo>
                      <a:pt x="122180" y="656687"/>
                      <a:pt x="119616" y="655344"/>
                      <a:pt x="117235" y="653757"/>
                    </a:cubicBezTo>
                    <a:cubicBezTo>
                      <a:pt x="111438" y="636364"/>
                      <a:pt x="113691" y="644339"/>
                      <a:pt x="110091" y="629944"/>
                    </a:cubicBezTo>
                    <a:cubicBezTo>
                      <a:pt x="110885" y="622800"/>
                      <a:pt x="110017" y="615268"/>
                      <a:pt x="112473" y="608513"/>
                    </a:cubicBezTo>
                    <a:cubicBezTo>
                      <a:pt x="113451" y="605824"/>
                      <a:pt x="116855" y="604503"/>
                      <a:pt x="119616" y="603750"/>
                    </a:cubicBezTo>
                    <a:cubicBezTo>
                      <a:pt x="125790" y="602066"/>
                      <a:pt x="132316" y="602163"/>
                      <a:pt x="138666" y="601369"/>
                    </a:cubicBezTo>
                    <a:cubicBezTo>
                      <a:pt x="157626" y="582410"/>
                      <a:pt x="145274" y="589862"/>
                      <a:pt x="162479" y="584700"/>
                    </a:cubicBezTo>
                    <a:cubicBezTo>
                      <a:pt x="167287" y="583257"/>
                      <a:pt x="176766" y="579938"/>
                      <a:pt x="176766" y="579938"/>
                    </a:cubicBezTo>
                    <a:cubicBezTo>
                      <a:pt x="194229" y="580732"/>
                      <a:pt x="211721" y="581028"/>
                      <a:pt x="229154" y="582319"/>
                    </a:cubicBezTo>
                    <a:cubicBezTo>
                      <a:pt x="233190" y="582618"/>
                      <a:pt x="237013" y="584700"/>
                      <a:pt x="241060" y="584700"/>
                    </a:cubicBezTo>
                    <a:cubicBezTo>
                      <a:pt x="288692" y="584700"/>
                      <a:pt x="336310" y="583113"/>
                      <a:pt x="383935" y="582319"/>
                    </a:cubicBezTo>
                    <a:cubicBezTo>
                      <a:pt x="394852" y="565943"/>
                      <a:pt x="391650" y="573462"/>
                      <a:pt x="395841" y="560888"/>
                    </a:cubicBezTo>
                    <a:cubicBezTo>
                      <a:pt x="394964" y="554750"/>
                      <a:pt x="394403" y="543723"/>
                      <a:pt x="391079" y="537075"/>
                    </a:cubicBezTo>
                    <a:cubicBezTo>
                      <a:pt x="389799" y="534515"/>
                      <a:pt x="387979" y="532261"/>
                      <a:pt x="386316" y="529932"/>
                    </a:cubicBezTo>
                    <a:cubicBezTo>
                      <a:pt x="371560" y="509275"/>
                      <a:pt x="385626" y="530086"/>
                      <a:pt x="374410" y="513263"/>
                    </a:cubicBezTo>
                    <a:cubicBezTo>
                      <a:pt x="369374" y="493117"/>
                      <a:pt x="376235" y="513619"/>
                      <a:pt x="364885" y="496594"/>
                    </a:cubicBezTo>
                    <a:cubicBezTo>
                      <a:pt x="363493" y="494505"/>
                      <a:pt x="363627" y="491695"/>
                      <a:pt x="362504" y="489450"/>
                    </a:cubicBezTo>
                    <a:cubicBezTo>
                      <a:pt x="361224" y="486890"/>
                      <a:pt x="359329" y="484688"/>
                      <a:pt x="357741" y="482307"/>
                    </a:cubicBezTo>
                    <a:cubicBezTo>
                      <a:pt x="356154" y="477544"/>
                      <a:pt x="351995" y="472942"/>
                      <a:pt x="352979" y="468019"/>
                    </a:cubicBezTo>
                    <a:cubicBezTo>
                      <a:pt x="354882" y="458503"/>
                      <a:pt x="355379" y="448162"/>
                      <a:pt x="364885" y="441825"/>
                    </a:cubicBezTo>
                    <a:cubicBezTo>
                      <a:pt x="367266" y="440238"/>
                      <a:pt x="369890" y="438964"/>
                      <a:pt x="372029" y="437063"/>
                    </a:cubicBezTo>
                    <a:cubicBezTo>
                      <a:pt x="377424" y="432267"/>
                      <a:pt x="385350" y="421617"/>
                      <a:pt x="393460" y="418013"/>
                    </a:cubicBezTo>
                    <a:cubicBezTo>
                      <a:pt x="398048" y="415974"/>
                      <a:pt x="402985" y="414838"/>
                      <a:pt x="407748" y="413250"/>
                    </a:cubicBezTo>
                    <a:cubicBezTo>
                      <a:pt x="410129" y="412456"/>
                      <a:pt x="412803" y="412261"/>
                      <a:pt x="414891" y="410869"/>
                    </a:cubicBezTo>
                    <a:lnTo>
                      <a:pt x="429179" y="401344"/>
                    </a:lnTo>
                    <a:cubicBezTo>
                      <a:pt x="431560" y="399757"/>
                      <a:pt x="434034" y="398299"/>
                      <a:pt x="436323" y="396582"/>
                    </a:cubicBezTo>
                    <a:cubicBezTo>
                      <a:pt x="439498" y="394201"/>
                      <a:pt x="442483" y="391542"/>
                      <a:pt x="445848" y="389438"/>
                    </a:cubicBezTo>
                    <a:cubicBezTo>
                      <a:pt x="448858" y="387557"/>
                      <a:pt x="452329" y="386501"/>
                      <a:pt x="455373" y="384675"/>
                    </a:cubicBezTo>
                    <a:cubicBezTo>
                      <a:pt x="460281" y="381730"/>
                      <a:pt x="465613" y="379197"/>
                      <a:pt x="469660" y="375150"/>
                    </a:cubicBezTo>
                    <a:cubicBezTo>
                      <a:pt x="480960" y="363850"/>
                      <a:pt x="474925" y="367045"/>
                      <a:pt x="486329" y="363244"/>
                    </a:cubicBezTo>
                    <a:cubicBezTo>
                      <a:pt x="507202" y="342371"/>
                      <a:pt x="480724" y="367915"/>
                      <a:pt x="500616" y="351338"/>
                    </a:cubicBezTo>
                    <a:cubicBezTo>
                      <a:pt x="508834" y="344489"/>
                      <a:pt x="510011" y="338681"/>
                      <a:pt x="522048" y="334669"/>
                    </a:cubicBezTo>
                    <a:lnTo>
                      <a:pt x="543479" y="327525"/>
                    </a:lnTo>
                    <a:cubicBezTo>
                      <a:pt x="545860" y="326731"/>
                      <a:pt x="548188" y="325753"/>
                      <a:pt x="550623" y="325144"/>
                    </a:cubicBezTo>
                    <a:cubicBezTo>
                      <a:pt x="553798" y="324350"/>
                      <a:pt x="557001" y="323662"/>
                      <a:pt x="560148" y="322763"/>
                    </a:cubicBezTo>
                    <a:cubicBezTo>
                      <a:pt x="562561" y="322074"/>
                      <a:pt x="564830" y="320874"/>
                      <a:pt x="567291" y="320382"/>
                    </a:cubicBezTo>
                    <a:cubicBezTo>
                      <a:pt x="572795" y="319281"/>
                      <a:pt x="578404" y="318794"/>
                      <a:pt x="583960" y="318000"/>
                    </a:cubicBezTo>
                    <a:cubicBezTo>
                      <a:pt x="587135" y="315619"/>
                      <a:pt x="590256" y="313164"/>
                      <a:pt x="593485" y="310857"/>
                    </a:cubicBezTo>
                    <a:cubicBezTo>
                      <a:pt x="595814" y="309193"/>
                      <a:pt x="598744" y="308248"/>
                      <a:pt x="600629" y="306094"/>
                    </a:cubicBezTo>
                    <a:cubicBezTo>
                      <a:pt x="604398" y="301787"/>
                      <a:pt x="610154" y="291807"/>
                      <a:pt x="610154" y="291807"/>
                    </a:cubicBezTo>
                    <a:cubicBezTo>
                      <a:pt x="610948" y="287044"/>
                      <a:pt x="611671" y="282269"/>
                      <a:pt x="612535" y="277519"/>
                    </a:cubicBezTo>
                    <a:cubicBezTo>
                      <a:pt x="613259" y="273537"/>
                      <a:pt x="613934" y="269539"/>
                      <a:pt x="614916" y="265613"/>
                    </a:cubicBezTo>
                    <a:cubicBezTo>
                      <a:pt x="615525" y="263178"/>
                      <a:pt x="615338" y="260037"/>
                      <a:pt x="617298" y="258469"/>
                    </a:cubicBezTo>
                    <a:cubicBezTo>
                      <a:pt x="619854" y="256425"/>
                      <a:pt x="623563" y="256371"/>
                      <a:pt x="626823" y="256088"/>
                    </a:cubicBezTo>
                    <a:cubicBezTo>
                      <a:pt x="641868" y="254780"/>
                      <a:pt x="656985" y="254501"/>
                      <a:pt x="672066" y="253707"/>
                    </a:cubicBezTo>
                    <a:cubicBezTo>
                      <a:pt x="674447" y="252913"/>
                      <a:pt x="677121" y="252717"/>
                      <a:pt x="679210" y="251325"/>
                    </a:cubicBezTo>
                    <a:cubicBezTo>
                      <a:pt x="682012" y="249457"/>
                      <a:pt x="683767" y="246338"/>
                      <a:pt x="686354" y="244182"/>
                    </a:cubicBezTo>
                    <a:cubicBezTo>
                      <a:pt x="688553" y="242350"/>
                      <a:pt x="691117" y="241007"/>
                      <a:pt x="693498" y="239419"/>
                    </a:cubicBezTo>
                    <a:cubicBezTo>
                      <a:pt x="699054" y="240213"/>
                      <a:pt x="705037" y="239521"/>
                      <a:pt x="710166" y="241800"/>
                    </a:cubicBezTo>
                    <a:cubicBezTo>
                      <a:pt x="712781" y="242962"/>
                      <a:pt x="714329" y="246145"/>
                      <a:pt x="714929" y="248944"/>
                    </a:cubicBezTo>
                    <a:cubicBezTo>
                      <a:pt x="716766" y="257517"/>
                      <a:pt x="714538" y="266821"/>
                      <a:pt x="717310" y="275138"/>
                    </a:cubicBezTo>
                    <a:cubicBezTo>
                      <a:pt x="718104" y="277519"/>
                      <a:pt x="722073" y="276725"/>
                      <a:pt x="724454" y="277519"/>
                    </a:cubicBezTo>
                    <a:cubicBezTo>
                      <a:pt x="726835" y="276725"/>
                      <a:pt x="729419" y="276383"/>
                      <a:pt x="731598" y="275138"/>
                    </a:cubicBezTo>
                    <a:cubicBezTo>
                      <a:pt x="736617" y="272270"/>
                      <a:pt x="744426" y="265458"/>
                      <a:pt x="748266" y="260850"/>
                    </a:cubicBezTo>
                    <a:cubicBezTo>
                      <a:pt x="750098" y="258652"/>
                      <a:pt x="751005" y="255731"/>
                      <a:pt x="753029" y="253707"/>
                    </a:cubicBezTo>
                    <a:cubicBezTo>
                      <a:pt x="755053" y="251683"/>
                      <a:pt x="757974" y="250776"/>
                      <a:pt x="760173" y="248944"/>
                    </a:cubicBezTo>
                    <a:cubicBezTo>
                      <a:pt x="762760" y="246788"/>
                      <a:pt x="764935" y="244181"/>
                      <a:pt x="767316" y="241800"/>
                    </a:cubicBezTo>
                    <a:cubicBezTo>
                      <a:pt x="772079" y="242594"/>
                      <a:pt x="776891" y="243135"/>
                      <a:pt x="781604" y="244182"/>
                    </a:cubicBezTo>
                    <a:cubicBezTo>
                      <a:pt x="784054" y="244727"/>
                      <a:pt x="786238" y="246563"/>
                      <a:pt x="788748" y="246563"/>
                    </a:cubicBezTo>
                    <a:cubicBezTo>
                      <a:pt x="802265" y="246563"/>
                      <a:pt x="815735" y="244976"/>
                      <a:pt x="829229" y="244182"/>
                    </a:cubicBezTo>
                    <a:cubicBezTo>
                      <a:pt x="828435" y="241801"/>
                      <a:pt x="827971" y="239283"/>
                      <a:pt x="826848" y="237038"/>
                    </a:cubicBezTo>
                    <a:cubicBezTo>
                      <a:pt x="824347" y="232035"/>
                      <a:pt x="819249" y="226101"/>
                      <a:pt x="814941" y="222750"/>
                    </a:cubicBezTo>
                    <a:cubicBezTo>
                      <a:pt x="810423" y="219236"/>
                      <a:pt x="800654" y="213225"/>
                      <a:pt x="800654" y="213225"/>
                    </a:cubicBezTo>
                    <a:cubicBezTo>
                      <a:pt x="802928" y="207539"/>
                      <a:pt x="805422" y="198931"/>
                      <a:pt x="810179" y="194175"/>
                    </a:cubicBezTo>
                    <a:cubicBezTo>
                      <a:pt x="812203" y="192151"/>
                      <a:pt x="814763" y="190693"/>
                      <a:pt x="817323" y="189413"/>
                    </a:cubicBezTo>
                    <a:cubicBezTo>
                      <a:pt x="819568" y="188291"/>
                      <a:pt x="822031" y="187641"/>
                      <a:pt x="824466" y="187032"/>
                    </a:cubicBezTo>
                    <a:cubicBezTo>
                      <a:pt x="828393" y="186050"/>
                      <a:pt x="832468" y="185715"/>
                      <a:pt x="836373" y="184650"/>
                    </a:cubicBezTo>
                    <a:cubicBezTo>
                      <a:pt x="841216" y="183329"/>
                      <a:pt x="850660" y="179888"/>
                      <a:pt x="850660" y="179888"/>
                    </a:cubicBezTo>
                    <a:cubicBezTo>
                      <a:pt x="853835" y="175125"/>
                      <a:pt x="860006" y="171321"/>
                      <a:pt x="860185" y="165600"/>
                    </a:cubicBezTo>
                    <a:cubicBezTo>
                      <a:pt x="860979" y="140200"/>
                      <a:pt x="861156" y="114773"/>
                      <a:pt x="862566" y="89400"/>
                    </a:cubicBezTo>
                    <a:cubicBezTo>
                      <a:pt x="862748" y="86132"/>
                      <a:pt x="862793" y="82338"/>
                      <a:pt x="864948" y="79875"/>
                    </a:cubicBezTo>
                    <a:cubicBezTo>
                      <a:pt x="874324" y="69159"/>
                      <a:pt x="881121" y="70036"/>
                      <a:pt x="893523" y="67969"/>
                    </a:cubicBezTo>
                    <a:cubicBezTo>
                      <a:pt x="898984" y="51585"/>
                      <a:pt x="892900" y="71395"/>
                      <a:pt x="898285" y="41775"/>
                    </a:cubicBezTo>
                    <a:cubicBezTo>
                      <a:pt x="898734" y="39306"/>
                      <a:pt x="899125" y="36613"/>
                      <a:pt x="900666" y="34632"/>
                    </a:cubicBezTo>
                    <a:cubicBezTo>
                      <a:pt x="904801" y="29315"/>
                      <a:pt x="909350" y="24080"/>
                      <a:pt x="914954" y="20344"/>
                    </a:cubicBezTo>
                    <a:cubicBezTo>
                      <a:pt x="935428" y="6696"/>
                      <a:pt x="909524" y="23059"/>
                      <a:pt x="929241" y="13200"/>
                    </a:cubicBezTo>
                    <a:cubicBezTo>
                      <a:pt x="931801" y="11920"/>
                      <a:pt x="933770" y="9600"/>
                      <a:pt x="936385" y="8438"/>
                    </a:cubicBezTo>
                    <a:cubicBezTo>
                      <a:pt x="940973" y="6399"/>
                      <a:pt x="950673" y="3675"/>
                      <a:pt x="950673" y="3675"/>
                    </a:cubicBezTo>
                    <a:cubicBezTo>
                      <a:pt x="954150" y="3907"/>
                      <a:pt x="984880" y="0"/>
                      <a:pt x="993535" y="10819"/>
                    </a:cubicBezTo>
                    <a:cubicBezTo>
                      <a:pt x="995103" y="12779"/>
                      <a:pt x="995122" y="15582"/>
                      <a:pt x="995916" y="17963"/>
                    </a:cubicBezTo>
                    <a:cubicBezTo>
                      <a:pt x="989931" y="35920"/>
                      <a:pt x="998701" y="14482"/>
                      <a:pt x="986391" y="29869"/>
                    </a:cubicBezTo>
                    <a:cubicBezTo>
                      <a:pt x="984823" y="31829"/>
                      <a:pt x="985132" y="34768"/>
                      <a:pt x="984010" y="37013"/>
                    </a:cubicBezTo>
                    <a:cubicBezTo>
                      <a:pt x="974774" y="55488"/>
                      <a:pt x="982856" y="33336"/>
                      <a:pt x="976866" y="51300"/>
                    </a:cubicBezTo>
                    <a:cubicBezTo>
                      <a:pt x="982726" y="80593"/>
                      <a:pt x="973791" y="55937"/>
                      <a:pt x="1026873" y="65588"/>
                    </a:cubicBezTo>
                    <a:cubicBezTo>
                      <a:pt x="1029689" y="66100"/>
                      <a:pt x="1030355" y="70172"/>
                      <a:pt x="1031635" y="72732"/>
                    </a:cubicBezTo>
                    <a:cubicBezTo>
                      <a:pt x="1041489" y="92441"/>
                      <a:pt x="1025134" y="66553"/>
                      <a:pt x="1038779" y="87019"/>
                    </a:cubicBezTo>
                    <a:cubicBezTo>
                      <a:pt x="1039573" y="89400"/>
                      <a:pt x="1040849" y="91672"/>
                      <a:pt x="1041160" y="94163"/>
                    </a:cubicBezTo>
                    <a:cubicBezTo>
                      <a:pt x="1042444" y="104432"/>
                      <a:pt x="1040060" y="115373"/>
                      <a:pt x="1043541" y="125119"/>
                    </a:cubicBezTo>
                    <a:cubicBezTo>
                      <a:pt x="1044642" y="128201"/>
                      <a:pt x="1049891" y="126706"/>
                      <a:pt x="1053066" y="127500"/>
                    </a:cubicBezTo>
                    <a:cubicBezTo>
                      <a:pt x="1060497" y="126571"/>
                      <a:pt x="1073257" y="127860"/>
                      <a:pt x="1079260" y="120357"/>
                    </a:cubicBezTo>
                    <a:cubicBezTo>
                      <a:pt x="1080828" y="118397"/>
                      <a:pt x="1080847" y="115594"/>
                      <a:pt x="1081641" y="113213"/>
                    </a:cubicBezTo>
                    <a:cubicBezTo>
                      <a:pt x="1082435" y="106069"/>
                      <a:pt x="1081354" y="98456"/>
                      <a:pt x="1084023" y="91782"/>
                    </a:cubicBezTo>
                    <a:cubicBezTo>
                      <a:pt x="1084955" y="89452"/>
                      <a:pt x="1088670" y="89663"/>
                      <a:pt x="1091166" y="89400"/>
                    </a:cubicBezTo>
                    <a:cubicBezTo>
                      <a:pt x="1103821" y="88068"/>
                      <a:pt x="1116566" y="87813"/>
                      <a:pt x="1129266" y="87019"/>
                    </a:cubicBezTo>
                    <a:cubicBezTo>
                      <a:pt x="1130854" y="83844"/>
                      <a:pt x="1131302" y="79766"/>
                      <a:pt x="1134029" y="77494"/>
                    </a:cubicBezTo>
                    <a:cubicBezTo>
                      <a:pt x="1136543" y="75399"/>
                      <a:pt x="1140281" y="75113"/>
                      <a:pt x="1143554" y="75113"/>
                    </a:cubicBezTo>
                    <a:cubicBezTo>
                      <a:pt x="1158656" y="75113"/>
                      <a:pt x="1173717" y="76700"/>
                      <a:pt x="1188798" y="77494"/>
                    </a:cubicBezTo>
                    <a:cubicBezTo>
                      <a:pt x="1190385" y="82257"/>
                      <a:pt x="1189383" y="88998"/>
                      <a:pt x="1193560" y="91782"/>
                    </a:cubicBezTo>
                    <a:cubicBezTo>
                      <a:pt x="1195941" y="93369"/>
                      <a:pt x="1198089" y="95382"/>
                      <a:pt x="1200704" y="96544"/>
                    </a:cubicBezTo>
                    <a:cubicBezTo>
                      <a:pt x="1222645" y="106296"/>
                      <a:pt x="1207470" y="96328"/>
                      <a:pt x="1224516" y="106069"/>
                    </a:cubicBezTo>
                    <a:cubicBezTo>
                      <a:pt x="1238256" y="113920"/>
                      <a:pt x="1225172" y="107372"/>
                      <a:pt x="1238804" y="117975"/>
                    </a:cubicBezTo>
                    <a:cubicBezTo>
                      <a:pt x="1243322" y="121489"/>
                      <a:pt x="1248329" y="124325"/>
                      <a:pt x="1253091" y="127500"/>
                    </a:cubicBezTo>
                    <a:cubicBezTo>
                      <a:pt x="1255472" y="129088"/>
                      <a:pt x="1257520" y="131358"/>
                      <a:pt x="1260235" y="132263"/>
                    </a:cubicBezTo>
                    <a:lnTo>
                      <a:pt x="1274523" y="137025"/>
                    </a:lnTo>
                    <a:cubicBezTo>
                      <a:pt x="1276904" y="138613"/>
                      <a:pt x="1281407" y="138938"/>
                      <a:pt x="1281666" y="141788"/>
                    </a:cubicBezTo>
                    <a:cubicBezTo>
                      <a:pt x="1283105" y="157618"/>
                      <a:pt x="1280504" y="173565"/>
                      <a:pt x="1279285" y="189413"/>
                    </a:cubicBezTo>
                    <a:cubicBezTo>
                      <a:pt x="1278953" y="193734"/>
                      <a:pt x="1277151" y="205588"/>
                      <a:pt x="1274523" y="210844"/>
                    </a:cubicBezTo>
                    <a:cubicBezTo>
                      <a:pt x="1273243" y="213404"/>
                      <a:pt x="1271348" y="215607"/>
                      <a:pt x="1269760" y="217988"/>
                    </a:cubicBezTo>
                    <a:cubicBezTo>
                      <a:pt x="1268173" y="222750"/>
                      <a:pt x="1266216" y="227405"/>
                      <a:pt x="1264998" y="232275"/>
                    </a:cubicBezTo>
                    <a:lnTo>
                      <a:pt x="1260235" y="251325"/>
                    </a:lnTo>
                    <a:cubicBezTo>
                      <a:pt x="1259253" y="255252"/>
                      <a:pt x="1258764" y="259288"/>
                      <a:pt x="1257854" y="263232"/>
                    </a:cubicBezTo>
                    <a:cubicBezTo>
                      <a:pt x="1257488" y="264817"/>
                      <a:pt x="1250855" y="293202"/>
                      <a:pt x="1248329" y="296569"/>
                    </a:cubicBezTo>
                    <a:cubicBezTo>
                      <a:pt x="1237750" y="310674"/>
                      <a:pt x="1243388" y="302790"/>
                      <a:pt x="1231660" y="320382"/>
                    </a:cubicBezTo>
                    <a:lnTo>
                      <a:pt x="1226898" y="327525"/>
                    </a:lnTo>
                    <a:lnTo>
                      <a:pt x="1222135" y="334669"/>
                    </a:lnTo>
                    <a:cubicBezTo>
                      <a:pt x="1216468" y="351672"/>
                      <a:pt x="1220158" y="344780"/>
                      <a:pt x="1212610" y="356100"/>
                    </a:cubicBezTo>
                    <a:cubicBezTo>
                      <a:pt x="1206943" y="373103"/>
                      <a:pt x="1210633" y="366211"/>
                      <a:pt x="1203085" y="377532"/>
                    </a:cubicBezTo>
                    <a:cubicBezTo>
                      <a:pt x="1197100" y="395488"/>
                      <a:pt x="1205175" y="373352"/>
                      <a:pt x="1195941" y="391819"/>
                    </a:cubicBezTo>
                    <a:cubicBezTo>
                      <a:pt x="1186849" y="410002"/>
                      <a:pt x="1203692" y="385454"/>
                      <a:pt x="1186416" y="408488"/>
                    </a:cubicBezTo>
                    <a:cubicBezTo>
                      <a:pt x="1182238" y="425202"/>
                      <a:pt x="1187011" y="411346"/>
                      <a:pt x="1176891" y="427538"/>
                    </a:cubicBezTo>
                    <a:cubicBezTo>
                      <a:pt x="1164498" y="447367"/>
                      <a:pt x="1177854" y="427997"/>
                      <a:pt x="1169748" y="444207"/>
                    </a:cubicBezTo>
                    <a:cubicBezTo>
                      <a:pt x="1168468" y="446767"/>
                      <a:pt x="1166649" y="449021"/>
                      <a:pt x="1164985" y="451350"/>
                    </a:cubicBezTo>
                    <a:cubicBezTo>
                      <a:pt x="1163947" y="452803"/>
                      <a:pt x="1154401" y="465044"/>
                      <a:pt x="1153079" y="468019"/>
                    </a:cubicBezTo>
                    <a:cubicBezTo>
                      <a:pt x="1151040" y="472607"/>
                      <a:pt x="1150561" y="477817"/>
                      <a:pt x="1148316" y="482307"/>
                    </a:cubicBezTo>
                    <a:cubicBezTo>
                      <a:pt x="1142274" y="494392"/>
                      <a:pt x="1145523" y="488879"/>
                      <a:pt x="1138791" y="498975"/>
                    </a:cubicBezTo>
                    <a:lnTo>
                      <a:pt x="1131648" y="520407"/>
                    </a:lnTo>
                    <a:cubicBezTo>
                      <a:pt x="1130854" y="522788"/>
                      <a:pt x="1130658" y="525462"/>
                      <a:pt x="1129266" y="527550"/>
                    </a:cubicBezTo>
                    <a:lnTo>
                      <a:pt x="1119741" y="541838"/>
                    </a:lnTo>
                    <a:cubicBezTo>
                      <a:pt x="1118947" y="544219"/>
                      <a:pt x="1118579" y="546788"/>
                      <a:pt x="1117360" y="548982"/>
                    </a:cubicBezTo>
                    <a:cubicBezTo>
                      <a:pt x="1114580" y="553985"/>
                      <a:pt x="1107835" y="563269"/>
                      <a:pt x="1107835" y="563269"/>
                    </a:cubicBezTo>
                    <a:cubicBezTo>
                      <a:pt x="1102168" y="580272"/>
                      <a:pt x="1105858" y="573380"/>
                      <a:pt x="1098310" y="584700"/>
                    </a:cubicBezTo>
                    <a:lnTo>
                      <a:pt x="1093548" y="598988"/>
                    </a:lnTo>
                    <a:lnTo>
                      <a:pt x="1091166" y="606132"/>
                    </a:lnTo>
                    <a:cubicBezTo>
                      <a:pt x="1091960" y="609307"/>
                      <a:pt x="1091063" y="613527"/>
                      <a:pt x="1093548" y="615657"/>
                    </a:cubicBezTo>
                    <a:cubicBezTo>
                      <a:pt x="1097359" y="618924"/>
                      <a:pt x="1107835" y="620419"/>
                      <a:pt x="1107835" y="620419"/>
                    </a:cubicBezTo>
                    <a:cubicBezTo>
                      <a:pt x="1110216" y="622007"/>
                      <a:pt x="1113559" y="622697"/>
                      <a:pt x="1114979" y="625182"/>
                    </a:cubicBezTo>
                    <a:cubicBezTo>
                      <a:pt x="1124444" y="641746"/>
                      <a:pt x="1109432" y="634446"/>
                      <a:pt x="1124504" y="639469"/>
                    </a:cubicBezTo>
                    <a:cubicBezTo>
                      <a:pt x="1130060" y="638675"/>
                      <a:pt x="1135669" y="638189"/>
                      <a:pt x="1141173" y="637088"/>
                    </a:cubicBezTo>
                    <a:cubicBezTo>
                      <a:pt x="1143634" y="636596"/>
                      <a:pt x="1146356" y="636275"/>
                      <a:pt x="1148316" y="634707"/>
                    </a:cubicBezTo>
                    <a:cubicBezTo>
                      <a:pt x="1150551" y="632919"/>
                      <a:pt x="1151055" y="629587"/>
                      <a:pt x="1153079" y="627563"/>
                    </a:cubicBezTo>
                    <a:cubicBezTo>
                      <a:pt x="1155103" y="625539"/>
                      <a:pt x="1157842" y="624388"/>
                      <a:pt x="1160223" y="622800"/>
                    </a:cubicBezTo>
                    <a:cubicBezTo>
                      <a:pt x="1161810" y="620419"/>
                      <a:pt x="1162831" y="617541"/>
                      <a:pt x="1164985" y="615657"/>
                    </a:cubicBezTo>
                    <a:cubicBezTo>
                      <a:pt x="1169293" y="611888"/>
                      <a:pt x="1174510" y="609307"/>
                      <a:pt x="1179273" y="606132"/>
                    </a:cubicBezTo>
                    <a:cubicBezTo>
                      <a:pt x="1188507" y="599975"/>
                      <a:pt x="1183698" y="602275"/>
                      <a:pt x="1193560" y="598988"/>
                    </a:cubicBezTo>
                    <a:cubicBezTo>
                      <a:pt x="1195941" y="597400"/>
                      <a:pt x="1198577" y="596140"/>
                      <a:pt x="1200704" y="594225"/>
                    </a:cubicBezTo>
                    <a:cubicBezTo>
                      <a:pt x="1227411" y="570189"/>
                      <a:pt x="1207917" y="583863"/>
                      <a:pt x="1224516" y="572794"/>
                    </a:cubicBezTo>
                    <a:cubicBezTo>
                      <a:pt x="1230180" y="555807"/>
                      <a:pt x="1222149" y="576344"/>
                      <a:pt x="1234041" y="558507"/>
                    </a:cubicBezTo>
                    <a:cubicBezTo>
                      <a:pt x="1241298" y="547622"/>
                      <a:pt x="1229961" y="553517"/>
                      <a:pt x="1243566" y="548982"/>
                    </a:cubicBezTo>
                    <a:cubicBezTo>
                      <a:pt x="1247800" y="542632"/>
                      <a:pt x="1249126" y="539630"/>
                      <a:pt x="1255473" y="534694"/>
                    </a:cubicBezTo>
                    <a:cubicBezTo>
                      <a:pt x="1259991" y="531180"/>
                      <a:pt x="1265713" y="529216"/>
                      <a:pt x="1269760" y="525169"/>
                    </a:cubicBezTo>
                    <a:lnTo>
                      <a:pt x="1284048" y="510882"/>
                    </a:lnTo>
                    <a:lnTo>
                      <a:pt x="1291191" y="503738"/>
                    </a:lnTo>
                    <a:lnTo>
                      <a:pt x="1298335" y="496594"/>
                    </a:lnTo>
                    <a:cubicBezTo>
                      <a:pt x="1302304" y="497388"/>
                      <a:pt x="1306809" y="496830"/>
                      <a:pt x="1310241" y="498975"/>
                    </a:cubicBezTo>
                    <a:cubicBezTo>
                      <a:pt x="1311928" y="500030"/>
                      <a:pt x="1320357" y="512957"/>
                      <a:pt x="1322148" y="515644"/>
                    </a:cubicBezTo>
                    <a:cubicBezTo>
                      <a:pt x="1325395" y="525387"/>
                      <a:pt x="1325386" y="524122"/>
                      <a:pt x="1326910" y="537075"/>
                    </a:cubicBezTo>
                    <a:cubicBezTo>
                      <a:pt x="1327939" y="545822"/>
                      <a:pt x="1327553" y="567805"/>
                      <a:pt x="1334054" y="577557"/>
                    </a:cubicBezTo>
                    <a:cubicBezTo>
                      <a:pt x="1355190" y="609261"/>
                      <a:pt x="1324769" y="562272"/>
                      <a:pt x="1341198" y="591844"/>
                    </a:cubicBezTo>
                    <a:cubicBezTo>
                      <a:pt x="1343978" y="596848"/>
                      <a:pt x="1350723" y="606132"/>
                      <a:pt x="1350723" y="606132"/>
                    </a:cubicBezTo>
                    <a:cubicBezTo>
                      <a:pt x="1351517" y="608513"/>
                      <a:pt x="1351982" y="611030"/>
                      <a:pt x="1353104" y="613275"/>
                    </a:cubicBezTo>
                    <a:cubicBezTo>
                      <a:pt x="1354384" y="615835"/>
                      <a:pt x="1356183" y="618104"/>
                      <a:pt x="1357866" y="620419"/>
                    </a:cubicBezTo>
                    <a:cubicBezTo>
                      <a:pt x="1362535" y="626838"/>
                      <a:pt x="1367751" y="632864"/>
                      <a:pt x="1372154" y="639469"/>
                    </a:cubicBezTo>
                    <a:cubicBezTo>
                      <a:pt x="1373741" y="641850"/>
                      <a:pt x="1374717" y="644781"/>
                      <a:pt x="1376916" y="646613"/>
                    </a:cubicBezTo>
                    <a:cubicBezTo>
                      <a:pt x="1379643" y="648885"/>
                      <a:pt x="1383266" y="649788"/>
                      <a:pt x="1386441" y="651375"/>
                    </a:cubicBezTo>
                    <a:cubicBezTo>
                      <a:pt x="1409231" y="674165"/>
                      <a:pt x="1380051" y="647115"/>
                      <a:pt x="1400729" y="660900"/>
                    </a:cubicBezTo>
                    <a:cubicBezTo>
                      <a:pt x="1403531" y="662768"/>
                      <a:pt x="1405215" y="665976"/>
                      <a:pt x="1407873" y="668044"/>
                    </a:cubicBezTo>
                    <a:cubicBezTo>
                      <a:pt x="1433507" y="687982"/>
                      <a:pt x="1413085" y="668494"/>
                      <a:pt x="1429304" y="684713"/>
                    </a:cubicBezTo>
                    <a:cubicBezTo>
                      <a:pt x="1430891" y="687888"/>
                      <a:pt x="1432003" y="691349"/>
                      <a:pt x="1434066" y="694238"/>
                    </a:cubicBezTo>
                    <a:cubicBezTo>
                      <a:pt x="1436023" y="696978"/>
                      <a:pt x="1439342" y="698580"/>
                      <a:pt x="1441210" y="701382"/>
                    </a:cubicBezTo>
                    <a:cubicBezTo>
                      <a:pt x="1450412" y="715184"/>
                      <a:pt x="1434757" y="702635"/>
                      <a:pt x="1450735" y="713288"/>
                    </a:cubicBezTo>
                    <a:cubicBezTo>
                      <a:pt x="1451529" y="715669"/>
                      <a:pt x="1452456" y="718010"/>
                      <a:pt x="1453116" y="720432"/>
                    </a:cubicBezTo>
                    <a:cubicBezTo>
                      <a:pt x="1457426" y="736237"/>
                      <a:pt x="1457482" y="737498"/>
                      <a:pt x="1460260" y="751388"/>
                    </a:cubicBezTo>
                    <a:cubicBezTo>
                      <a:pt x="1459466" y="767263"/>
                      <a:pt x="1459935" y="783252"/>
                      <a:pt x="1457879" y="799013"/>
                    </a:cubicBezTo>
                    <a:cubicBezTo>
                      <a:pt x="1457339" y="803151"/>
                      <a:pt x="1447973" y="810966"/>
                      <a:pt x="1445973" y="813300"/>
                    </a:cubicBezTo>
                    <a:cubicBezTo>
                      <a:pt x="1427645" y="834683"/>
                      <a:pt x="1449411" y="812243"/>
                      <a:pt x="1431685" y="829969"/>
                    </a:cubicBezTo>
                    <a:cubicBezTo>
                      <a:pt x="1430891" y="832350"/>
                      <a:pt x="1430523" y="834919"/>
                      <a:pt x="1429304" y="837113"/>
                    </a:cubicBezTo>
                    <a:cubicBezTo>
                      <a:pt x="1426524" y="842116"/>
                      <a:pt x="1419779" y="851400"/>
                      <a:pt x="1419779" y="851400"/>
                    </a:cubicBezTo>
                    <a:cubicBezTo>
                      <a:pt x="1414623" y="872026"/>
                      <a:pt x="1420938" y="849692"/>
                      <a:pt x="1412635" y="870450"/>
                    </a:cubicBezTo>
                    <a:cubicBezTo>
                      <a:pt x="1408774" y="880104"/>
                      <a:pt x="1407829" y="884913"/>
                      <a:pt x="1405491" y="894263"/>
                    </a:cubicBezTo>
                    <a:cubicBezTo>
                      <a:pt x="1404697" y="902200"/>
                      <a:pt x="1403722" y="910122"/>
                      <a:pt x="1403110" y="918075"/>
                    </a:cubicBezTo>
                    <a:cubicBezTo>
                      <a:pt x="1401304" y="941557"/>
                      <a:pt x="1402961" y="949632"/>
                      <a:pt x="1398348" y="968082"/>
                    </a:cubicBezTo>
                    <a:cubicBezTo>
                      <a:pt x="1397739" y="970517"/>
                      <a:pt x="1397185" y="973031"/>
                      <a:pt x="1395966" y="975225"/>
                    </a:cubicBezTo>
                    <a:cubicBezTo>
                      <a:pt x="1393186" y="980229"/>
                      <a:pt x="1391204" y="986338"/>
                      <a:pt x="1386441" y="989513"/>
                    </a:cubicBezTo>
                    <a:lnTo>
                      <a:pt x="1372154" y="999038"/>
                    </a:lnTo>
                    <a:cubicBezTo>
                      <a:pt x="1369773" y="1000625"/>
                      <a:pt x="1367725" y="1002895"/>
                      <a:pt x="1365010" y="1003800"/>
                    </a:cubicBezTo>
                    <a:lnTo>
                      <a:pt x="1350723" y="1008563"/>
                    </a:lnTo>
                    <a:lnTo>
                      <a:pt x="1343579" y="1010944"/>
                    </a:lnTo>
                    <a:lnTo>
                      <a:pt x="1336435" y="1013325"/>
                    </a:lnTo>
                    <a:cubicBezTo>
                      <a:pt x="1323630" y="1021862"/>
                      <a:pt x="1333622" y="1014157"/>
                      <a:pt x="1319766" y="1029994"/>
                    </a:cubicBezTo>
                    <a:cubicBezTo>
                      <a:pt x="1317549" y="1032528"/>
                      <a:pt x="1314779" y="1034551"/>
                      <a:pt x="1312623" y="1037138"/>
                    </a:cubicBezTo>
                    <a:cubicBezTo>
                      <a:pt x="1310791" y="1039337"/>
                      <a:pt x="1309692" y="1042083"/>
                      <a:pt x="1307860" y="1044282"/>
                    </a:cubicBezTo>
                    <a:cubicBezTo>
                      <a:pt x="1305704" y="1046869"/>
                      <a:pt x="1302872" y="1048838"/>
                      <a:pt x="1300716" y="1051425"/>
                    </a:cubicBezTo>
                    <a:cubicBezTo>
                      <a:pt x="1298884" y="1053624"/>
                      <a:pt x="1297116" y="1055954"/>
                      <a:pt x="1295954" y="1058569"/>
                    </a:cubicBezTo>
                    <a:cubicBezTo>
                      <a:pt x="1293915" y="1063157"/>
                      <a:pt x="1291191" y="1072857"/>
                      <a:pt x="1291191" y="1072857"/>
                    </a:cubicBezTo>
                    <a:cubicBezTo>
                      <a:pt x="1291985" y="1092701"/>
                      <a:pt x="1291457" y="1112641"/>
                      <a:pt x="1293573" y="1132388"/>
                    </a:cubicBezTo>
                    <a:cubicBezTo>
                      <a:pt x="1293878" y="1135234"/>
                      <a:pt x="1296434" y="1137393"/>
                      <a:pt x="1298335" y="1139532"/>
                    </a:cubicBezTo>
                    <a:cubicBezTo>
                      <a:pt x="1302810" y="1144566"/>
                      <a:pt x="1312623" y="1153819"/>
                      <a:pt x="1312623" y="1153819"/>
                    </a:cubicBezTo>
                    <a:cubicBezTo>
                      <a:pt x="1321302" y="1179859"/>
                      <a:pt x="1307463" y="1140426"/>
                      <a:pt x="1319766" y="1168107"/>
                    </a:cubicBezTo>
                    <a:cubicBezTo>
                      <a:pt x="1321805" y="1172694"/>
                      <a:pt x="1322941" y="1177632"/>
                      <a:pt x="1324529" y="1182394"/>
                    </a:cubicBezTo>
                    <a:lnTo>
                      <a:pt x="1326910" y="1189538"/>
                    </a:lnTo>
                    <a:cubicBezTo>
                      <a:pt x="1327704" y="1191919"/>
                      <a:pt x="1328682" y="1194247"/>
                      <a:pt x="1329291" y="1196682"/>
                    </a:cubicBezTo>
                    <a:lnTo>
                      <a:pt x="1331673" y="1206207"/>
                    </a:lnTo>
                    <a:cubicBezTo>
                      <a:pt x="1338107" y="1457152"/>
                      <a:pt x="1331673" y="1143482"/>
                      <a:pt x="1331673" y="1389563"/>
                    </a:cubicBezTo>
                    <a:cubicBezTo>
                      <a:pt x="1331673" y="1401222"/>
                      <a:pt x="1330052" y="1414136"/>
                      <a:pt x="1338816" y="1422900"/>
                    </a:cubicBezTo>
                    <a:cubicBezTo>
                      <a:pt x="1340840" y="1424924"/>
                      <a:pt x="1343579" y="1426075"/>
                      <a:pt x="1345960" y="1427663"/>
                    </a:cubicBezTo>
                    <a:lnTo>
                      <a:pt x="1355485" y="1441950"/>
                    </a:lnTo>
                    <a:lnTo>
                      <a:pt x="1360248" y="1449094"/>
                    </a:lnTo>
                    <a:cubicBezTo>
                      <a:pt x="1361042" y="1452269"/>
                      <a:pt x="1361987" y="1455410"/>
                      <a:pt x="1362629" y="1458619"/>
                    </a:cubicBezTo>
                    <a:cubicBezTo>
                      <a:pt x="1363576" y="1463354"/>
                      <a:pt x="1363839" y="1468223"/>
                      <a:pt x="1365010" y="1472907"/>
                    </a:cubicBezTo>
                    <a:cubicBezTo>
                      <a:pt x="1366228" y="1477777"/>
                      <a:pt x="1368185" y="1482432"/>
                      <a:pt x="1369773" y="1487194"/>
                    </a:cubicBezTo>
                    <a:cubicBezTo>
                      <a:pt x="1370567" y="1489575"/>
                      <a:pt x="1370762" y="1492249"/>
                      <a:pt x="1372154" y="1494338"/>
                    </a:cubicBezTo>
                    <a:cubicBezTo>
                      <a:pt x="1373741" y="1496719"/>
                      <a:pt x="1375496" y="1498997"/>
                      <a:pt x="1376916" y="1501482"/>
                    </a:cubicBezTo>
                    <a:cubicBezTo>
                      <a:pt x="1381926" y="1510249"/>
                      <a:pt x="1383440" y="1517530"/>
                      <a:pt x="1391204" y="1525294"/>
                    </a:cubicBezTo>
                    <a:cubicBezTo>
                      <a:pt x="1402394" y="1536484"/>
                      <a:pt x="1396482" y="1529638"/>
                      <a:pt x="1407873" y="1546725"/>
                    </a:cubicBezTo>
                    <a:cubicBezTo>
                      <a:pt x="1413075" y="1554528"/>
                      <a:pt x="1412635" y="1551007"/>
                      <a:pt x="1412635" y="1556250"/>
                    </a:cubicBezTo>
                  </a:path>
                </a:pathLst>
              </a:custGeom>
              <a:grpFill/>
              <a:ln w="3175">
                <a:solidFill>
                  <a:srgbClr val="FF8300"/>
                </a:solidFill>
                <a:round/>
                <a:headEnd/>
                <a:tailEnd/>
              </a:ln>
            </p:spPr>
            <p:txBody>
              <a:bodyPr/>
              <a:lstStyle/>
              <a:p>
                <a:pPr>
                  <a:defRPr/>
                </a:pPr>
                <a:endParaRPr lang="en-GB" sz="1400">
                  <a:solidFill>
                    <a:schemeClr val="tx2"/>
                  </a:solidFill>
                </a:endParaRPr>
              </a:p>
            </p:txBody>
          </p:sp>
          <p:sp>
            <p:nvSpPr>
              <p:cNvPr id="349" name="Freeform 352"/>
              <p:cNvSpPr>
                <a:spLocks/>
              </p:cNvSpPr>
              <p:nvPr>
                <p:custDataLst>
                  <p:tags r:id="rId5"/>
                </p:custDataLst>
              </p:nvPr>
            </p:nvSpPr>
            <p:spPr bwMode="gray">
              <a:xfrm>
                <a:off x="7724987" y="5248541"/>
                <a:ext cx="323294" cy="790119"/>
              </a:xfrm>
              <a:custGeom>
                <a:avLst/>
                <a:gdLst>
                  <a:gd name="T0" fmla="*/ 2147483647 w 237"/>
                  <a:gd name="T1" fmla="*/ 2147483647 h 601"/>
                  <a:gd name="T2" fmla="*/ 2147483647 w 237"/>
                  <a:gd name="T3" fmla="*/ 2147483647 h 601"/>
                  <a:gd name="T4" fmla="*/ 0 w 237"/>
                  <a:gd name="T5" fmla="*/ 2147483647 h 601"/>
                  <a:gd name="T6" fmla="*/ 2147483647 w 237"/>
                  <a:gd name="T7" fmla="*/ 2147483647 h 601"/>
                  <a:gd name="T8" fmla="*/ 2147483647 w 237"/>
                  <a:gd name="T9" fmla="*/ 2147483647 h 601"/>
                  <a:gd name="T10" fmla="*/ 2147483647 w 237"/>
                  <a:gd name="T11" fmla="*/ 2147483647 h 601"/>
                  <a:gd name="T12" fmla="*/ 2147483647 w 237"/>
                  <a:gd name="T13" fmla="*/ 2147483647 h 601"/>
                  <a:gd name="T14" fmla="*/ 2147483647 w 237"/>
                  <a:gd name="T15" fmla="*/ 2147483647 h 601"/>
                  <a:gd name="T16" fmla="*/ 2147483647 w 237"/>
                  <a:gd name="T17" fmla="*/ 2147483647 h 601"/>
                  <a:gd name="T18" fmla="*/ 2147483647 w 237"/>
                  <a:gd name="T19" fmla="*/ 2147483647 h 601"/>
                  <a:gd name="T20" fmla="*/ 2147483647 w 237"/>
                  <a:gd name="T21" fmla="*/ 2147483647 h 601"/>
                  <a:gd name="T22" fmla="*/ 2147483647 w 237"/>
                  <a:gd name="T23" fmla="*/ 2147483647 h 601"/>
                  <a:gd name="T24" fmla="*/ 2147483647 w 237"/>
                  <a:gd name="T25" fmla="*/ 2147483647 h 601"/>
                  <a:gd name="T26" fmla="*/ 2147483647 w 237"/>
                  <a:gd name="T27" fmla="*/ 2147483647 h 601"/>
                  <a:gd name="T28" fmla="*/ 2147483647 w 237"/>
                  <a:gd name="T29" fmla="*/ 2147483647 h 601"/>
                  <a:gd name="T30" fmla="*/ 2147483647 w 237"/>
                  <a:gd name="T31" fmla="*/ 2147483647 h 601"/>
                  <a:gd name="T32" fmla="*/ 2147483647 w 237"/>
                  <a:gd name="T33" fmla="*/ 2147483647 h 601"/>
                  <a:gd name="T34" fmla="*/ 2147483647 w 237"/>
                  <a:gd name="T35" fmla="*/ 2147483647 h 601"/>
                  <a:gd name="T36" fmla="*/ 2147483647 w 237"/>
                  <a:gd name="T37" fmla="*/ 2147483647 h 601"/>
                  <a:gd name="T38" fmla="*/ 2147483647 w 237"/>
                  <a:gd name="T39" fmla="*/ 2147483647 h 601"/>
                  <a:gd name="T40" fmla="*/ 2147483647 w 237"/>
                  <a:gd name="T41" fmla="*/ 2147483647 h 601"/>
                  <a:gd name="T42" fmla="*/ 2147483647 w 237"/>
                  <a:gd name="T43" fmla="*/ 2147483647 h 601"/>
                  <a:gd name="T44" fmla="*/ 2147483647 w 237"/>
                  <a:gd name="T45" fmla="*/ 2147483647 h 601"/>
                  <a:gd name="T46" fmla="*/ 2147483647 w 237"/>
                  <a:gd name="T47" fmla="*/ 2147483647 h 601"/>
                  <a:gd name="T48" fmla="*/ 2147483647 w 237"/>
                  <a:gd name="T49" fmla="*/ 2147483647 h 601"/>
                  <a:gd name="T50" fmla="*/ 2147483647 w 237"/>
                  <a:gd name="T51" fmla="*/ 2147483647 h 601"/>
                  <a:gd name="T52" fmla="*/ 2147483647 w 237"/>
                  <a:gd name="T53" fmla="*/ 2147483647 h 601"/>
                  <a:gd name="T54" fmla="*/ 2147483647 w 237"/>
                  <a:gd name="T55" fmla="*/ 2147483647 h 601"/>
                  <a:gd name="T56" fmla="*/ 2147483647 w 237"/>
                  <a:gd name="T57" fmla="*/ 2147483647 h 601"/>
                  <a:gd name="T58" fmla="*/ 2147483647 w 237"/>
                  <a:gd name="T59" fmla="*/ 2147483647 h 601"/>
                  <a:gd name="T60" fmla="*/ 2147483647 w 237"/>
                  <a:gd name="T61" fmla="*/ 2147483647 h 601"/>
                  <a:gd name="T62" fmla="*/ 2147483647 w 237"/>
                  <a:gd name="T63" fmla="*/ 2147483647 h 601"/>
                  <a:gd name="T64" fmla="*/ 2147483647 w 237"/>
                  <a:gd name="T65" fmla="*/ 2147483647 h 601"/>
                  <a:gd name="T66" fmla="*/ 2147483647 w 237"/>
                  <a:gd name="T67" fmla="*/ 2147483647 h 601"/>
                  <a:gd name="T68" fmla="*/ 2147483647 w 237"/>
                  <a:gd name="T69" fmla="*/ 0 h 601"/>
                  <a:gd name="T70" fmla="*/ 2147483647 w 237"/>
                  <a:gd name="T71" fmla="*/ 2147483647 h 601"/>
                  <a:gd name="T72" fmla="*/ 2147483647 w 237"/>
                  <a:gd name="T73" fmla="*/ 2147483647 h 601"/>
                  <a:gd name="T74" fmla="*/ 2147483647 w 237"/>
                  <a:gd name="T75" fmla="*/ 2147483647 h 601"/>
                  <a:gd name="T76" fmla="*/ 2147483647 w 237"/>
                  <a:gd name="T77" fmla="*/ 2147483647 h 601"/>
                  <a:gd name="T78" fmla="*/ 2147483647 w 237"/>
                  <a:gd name="T79" fmla="*/ 2147483647 h 601"/>
                  <a:gd name="T80" fmla="*/ 2147483647 w 237"/>
                  <a:gd name="T81" fmla="*/ 2147483647 h 601"/>
                  <a:gd name="T82" fmla="*/ 2147483647 w 237"/>
                  <a:gd name="T83" fmla="*/ 2147483647 h 601"/>
                  <a:gd name="T84" fmla="*/ 2147483647 w 237"/>
                  <a:gd name="T85" fmla="*/ 2147483647 h 601"/>
                  <a:gd name="T86" fmla="*/ 2147483647 w 237"/>
                  <a:gd name="T87" fmla="*/ 2147483647 h 601"/>
                  <a:gd name="T88" fmla="*/ 2147483647 w 237"/>
                  <a:gd name="T89" fmla="*/ 2147483647 h 601"/>
                  <a:gd name="T90" fmla="*/ 2147483647 w 237"/>
                  <a:gd name="T91" fmla="*/ 2147483647 h 601"/>
                  <a:gd name="T92" fmla="*/ 2147483647 w 237"/>
                  <a:gd name="T93" fmla="*/ 2147483647 h 601"/>
                  <a:gd name="T94" fmla="*/ 2147483647 w 237"/>
                  <a:gd name="T95" fmla="*/ 2147483647 h 601"/>
                  <a:gd name="T96" fmla="*/ 2147483647 w 237"/>
                  <a:gd name="T97" fmla="*/ 2147483647 h 60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237"/>
                  <a:gd name="T148" fmla="*/ 0 h 601"/>
                  <a:gd name="T149" fmla="*/ 237 w 237"/>
                  <a:gd name="T150" fmla="*/ 601 h 601"/>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237" h="601">
                    <a:moveTo>
                      <a:pt x="69" y="560"/>
                    </a:moveTo>
                    <a:lnTo>
                      <a:pt x="61" y="543"/>
                    </a:lnTo>
                    <a:lnTo>
                      <a:pt x="53" y="528"/>
                    </a:lnTo>
                    <a:lnTo>
                      <a:pt x="46" y="510"/>
                    </a:lnTo>
                    <a:lnTo>
                      <a:pt x="40" y="493"/>
                    </a:lnTo>
                    <a:lnTo>
                      <a:pt x="25" y="493"/>
                    </a:lnTo>
                    <a:lnTo>
                      <a:pt x="9" y="493"/>
                    </a:lnTo>
                    <a:lnTo>
                      <a:pt x="5" y="478"/>
                    </a:lnTo>
                    <a:lnTo>
                      <a:pt x="0" y="464"/>
                    </a:lnTo>
                    <a:lnTo>
                      <a:pt x="0" y="455"/>
                    </a:lnTo>
                    <a:lnTo>
                      <a:pt x="0" y="445"/>
                    </a:lnTo>
                    <a:lnTo>
                      <a:pt x="5" y="445"/>
                    </a:lnTo>
                    <a:lnTo>
                      <a:pt x="9" y="445"/>
                    </a:lnTo>
                    <a:lnTo>
                      <a:pt x="15" y="439"/>
                    </a:lnTo>
                    <a:lnTo>
                      <a:pt x="19" y="436"/>
                    </a:lnTo>
                    <a:lnTo>
                      <a:pt x="38" y="430"/>
                    </a:lnTo>
                    <a:lnTo>
                      <a:pt x="57" y="426"/>
                    </a:lnTo>
                    <a:lnTo>
                      <a:pt x="63" y="426"/>
                    </a:lnTo>
                    <a:lnTo>
                      <a:pt x="69" y="426"/>
                    </a:lnTo>
                    <a:lnTo>
                      <a:pt x="78" y="426"/>
                    </a:lnTo>
                    <a:lnTo>
                      <a:pt x="88" y="426"/>
                    </a:lnTo>
                    <a:lnTo>
                      <a:pt x="78" y="386"/>
                    </a:lnTo>
                    <a:lnTo>
                      <a:pt x="69" y="347"/>
                    </a:lnTo>
                    <a:lnTo>
                      <a:pt x="59" y="309"/>
                    </a:lnTo>
                    <a:lnTo>
                      <a:pt x="49" y="271"/>
                    </a:lnTo>
                    <a:lnTo>
                      <a:pt x="53" y="269"/>
                    </a:lnTo>
                    <a:lnTo>
                      <a:pt x="57" y="265"/>
                    </a:lnTo>
                    <a:lnTo>
                      <a:pt x="61" y="263"/>
                    </a:lnTo>
                    <a:lnTo>
                      <a:pt x="63" y="261"/>
                    </a:lnTo>
                    <a:lnTo>
                      <a:pt x="63" y="251"/>
                    </a:lnTo>
                    <a:lnTo>
                      <a:pt x="63" y="242"/>
                    </a:lnTo>
                    <a:lnTo>
                      <a:pt x="61" y="240"/>
                    </a:lnTo>
                    <a:lnTo>
                      <a:pt x="57" y="236"/>
                    </a:lnTo>
                    <a:lnTo>
                      <a:pt x="57" y="226"/>
                    </a:lnTo>
                    <a:lnTo>
                      <a:pt x="57" y="217"/>
                    </a:lnTo>
                    <a:lnTo>
                      <a:pt x="61" y="215"/>
                    </a:lnTo>
                    <a:lnTo>
                      <a:pt x="63" y="213"/>
                    </a:lnTo>
                    <a:lnTo>
                      <a:pt x="65" y="211"/>
                    </a:lnTo>
                    <a:lnTo>
                      <a:pt x="69" y="207"/>
                    </a:lnTo>
                    <a:lnTo>
                      <a:pt x="71" y="205"/>
                    </a:lnTo>
                    <a:lnTo>
                      <a:pt x="72" y="203"/>
                    </a:lnTo>
                    <a:lnTo>
                      <a:pt x="74" y="200"/>
                    </a:lnTo>
                    <a:lnTo>
                      <a:pt x="78" y="198"/>
                    </a:lnTo>
                    <a:lnTo>
                      <a:pt x="80" y="196"/>
                    </a:lnTo>
                    <a:lnTo>
                      <a:pt x="82" y="194"/>
                    </a:lnTo>
                    <a:lnTo>
                      <a:pt x="97" y="192"/>
                    </a:lnTo>
                    <a:lnTo>
                      <a:pt x="113" y="190"/>
                    </a:lnTo>
                    <a:lnTo>
                      <a:pt x="128" y="190"/>
                    </a:lnTo>
                    <a:lnTo>
                      <a:pt x="145" y="188"/>
                    </a:lnTo>
                    <a:lnTo>
                      <a:pt x="147" y="186"/>
                    </a:lnTo>
                    <a:lnTo>
                      <a:pt x="149" y="184"/>
                    </a:lnTo>
                    <a:lnTo>
                      <a:pt x="153" y="180"/>
                    </a:lnTo>
                    <a:lnTo>
                      <a:pt x="155" y="178"/>
                    </a:lnTo>
                    <a:lnTo>
                      <a:pt x="157" y="177"/>
                    </a:lnTo>
                    <a:lnTo>
                      <a:pt x="161" y="175"/>
                    </a:lnTo>
                    <a:lnTo>
                      <a:pt x="163" y="171"/>
                    </a:lnTo>
                    <a:lnTo>
                      <a:pt x="165" y="169"/>
                    </a:lnTo>
                    <a:lnTo>
                      <a:pt x="167" y="167"/>
                    </a:lnTo>
                    <a:lnTo>
                      <a:pt x="168" y="165"/>
                    </a:lnTo>
                    <a:lnTo>
                      <a:pt x="172" y="161"/>
                    </a:lnTo>
                    <a:lnTo>
                      <a:pt x="172" y="155"/>
                    </a:lnTo>
                    <a:lnTo>
                      <a:pt x="172" y="148"/>
                    </a:lnTo>
                    <a:lnTo>
                      <a:pt x="168" y="146"/>
                    </a:lnTo>
                    <a:lnTo>
                      <a:pt x="167" y="142"/>
                    </a:lnTo>
                    <a:lnTo>
                      <a:pt x="165" y="140"/>
                    </a:lnTo>
                    <a:lnTo>
                      <a:pt x="165" y="131"/>
                    </a:lnTo>
                    <a:lnTo>
                      <a:pt x="165" y="121"/>
                    </a:lnTo>
                    <a:lnTo>
                      <a:pt x="167" y="119"/>
                    </a:lnTo>
                    <a:lnTo>
                      <a:pt x="168" y="115"/>
                    </a:lnTo>
                    <a:lnTo>
                      <a:pt x="172" y="113"/>
                    </a:lnTo>
                    <a:lnTo>
                      <a:pt x="174" y="111"/>
                    </a:lnTo>
                    <a:lnTo>
                      <a:pt x="176" y="109"/>
                    </a:lnTo>
                    <a:lnTo>
                      <a:pt x="178" y="106"/>
                    </a:lnTo>
                    <a:lnTo>
                      <a:pt x="182" y="104"/>
                    </a:lnTo>
                    <a:lnTo>
                      <a:pt x="184" y="102"/>
                    </a:lnTo>
                    <a:lnTo>
                      <a:pt x="186" y="100"/>
                    </a:lnTo>
                    <a:lnTo>
                      <a:pt x="190" y="96"/>
                    </a:lnTo>
                    <a:lnTo>
                      <a:pt x="190" y="83"/>
                    </a:lnTo>
                    <a:lnTo>
                      <a:pt x="190" y="67"/>
                    </a:lnTo>
                    <a:lnTo>
                      <a:pt x="186" y="65"/>
                    </a:lnTo>
                    <a:lnTo>
                      <a:pt x="184" y="63"/>
                    </a:lnTo>
                    <a:lnTo>
                      <a:pt x="163" y="60"/>
                    </a:lnTo>
                    <a:lnTo>
                      <a:pt x="140" y="58"/>
                    </a:lnTo>
                    <a:lnTo>
                      <a:pt x="138" y="56"/>
                    </a:lnTo>
                    <a:lnTo>
                      <a:pt x="136" y="54"/>
                    </a:lnTo>
                    <a:lnTo>
                      <a:pt x="134" y="50"/>
                    </a:lnTo>
                    <a:lnTo>
                      <a:pt x="130" y="48"/>
                    </a:lnTo>
                    <a:lnTo>
                      <a:pt x="128" y="46"/>
                    </a:lnTo>
                    <a:lnTo>
                      <a:pt x="126" y="44"/>
                    </a:lnTo>
                    <a:lnTo>
                      <a:pt x="126" y="38"/>
                    </a:lnTo>
                    <a:lnTo>
                      <a:pt x="126" y="33"/>
                    </a:lnTo>
                    <a:lnTo>
                      <a:pt x="128" y="31"/>
                    </a:lnTo>
                    <a:lnTo>
                      <a:pt x="130" y="29"/>
                    </a:lnTo>
                    <a:lnTo>
                      <a:pt x="134" y="27"/>
                    </a:lnTo>
                    <a:lnTo>
                      <a:pt x="136" y="25"/>
                    </a:lnTo>
                    <a:lnTo>
                      <a:pt x="138" y="21"/>
                    </a:lnTo>
                    <a:lnTo>
                      <a:pt x="140" y="19"/>
                    </a:lnTo>
                    <a:lnTo>
                      <a:pt x="142" y="17"/>
                    </a:lnTo>
                    <a:lnTo>
                      <a:pt x="145" y="15"/>
                    </a:lnTo>
                    <a:lnTo>
                      <a:pt x="147" y="12"/>
                    </a:lnTo>
                    <a:lnTo>
                      <a:pt x="149" y="10"/>
                    </a:lnTo>
                    <a:lnTo>
                      <a:pt x="153" y="8"/>
                    </a:lnTo>
                    <a:lnTo>
                      <a:pt x="155" y="4"/>
                    </a:lnTo>
                    <a:lnTo>
                      <a:pt x="157" y="2"/>
                    </a:lnTo>
                    <a:lnTo>
                      <a:pt x="161" y="0"/>
                    </a:lnTo>
                    <a:lnTo>
                      <a:pt x="165" y="0"/>
                    </a:lnTo>
                    <a:lnTo>
                      <a:pt x="168" y="0"/>
                    </a:lnTo>
                    <a:lnTo>
                      <a:pt x="172" y="2"/>
                    </a:lnTo>
                    <a:lnTo>
                      <a:pt x="174" y="4"/>
                    </a:lnTo>
                    <a:lnTo>
                      <a:pt x="176" y="8"/>
                    </a:lnTo>
                    <a:lnTo>
                      <a:pt x="178" y="10"/>
                    </a:lnTo>
                    <a:lnTo>
                      <a:pt x="182" y="12"/>
                    </a:lnTo>
                    <a:lnTo>
                      <a:pt x="184" y="15"/>
                    </a:lnTo>
                    <a:lnTo>
                      <a:pt x="186" y="17"/>
                    </a:lnTo>
                    <a:lnTo>
                      <a:pt x="190" y="19"/>
                    </a:lnTo>
                    <a:lnTo>
                      <a:pt x="191" y="21"/>
                    </a:lnTo>
                    <a:lnTo>
                      <a:pt x="193" y="25"/>
                    </a:lnTo>
                    <a:lnTo>
                      <a:pt x="197" y="27"/>
                    </a:lnTo>
                    <a:lnTo>
                      <a:pt x="203" y="29"/>
                    </a:lnTo>
                    <a:lnTo>
                      <a:pt x="203" y="38"/>
                    </a:lnTo>
                    <a:lnTo>
                      <a:pt x="203" y="48"/>
                    </a:lnTo>
                    <a:lnTo>
                      <a:pt x="216" y="107"/>
                    </a:lnTo>
                    <a:lnTo>
                      <a:pt x="228" y="171"/>
                    </a:lnTo>
                    <a:lnTo>
                      <a:pt x="232" y="203"/>
                    </a:lnTo>
                    <a:lnTo>
                      <a:pt x="236" y="236"/>
                    </a:lnTo>
                    <a:lnTo>
                      <a:pt x="237" y="271"/>
                    </a:lnTo>
                    <a:lnTo>
                      <a:pt x="237" y="305"/>
                    </a:lnTo>
                    <a:lnTo>
                      <a:pt x="236" y="338"/>
                    </a:lnTo>
                    <a:lnTo>
                      <a:pt x="234" y="370"/>
                    </a:lnTo>
                    <a:lnTo>
                      <a:pt x="228" y="403"/>
                    </a:lnTo>
                    <a:lnTo>
                      <a:pt x="222" y="436"/>
                    </a:lnTo>
                    <a:lnTo>
                      <a:pt x="214" y="464"/>
                    </a:lnTo>
                    <a:lnTo>
                      <a:pt x="203" y="493"/>
                    </a:lnTo>
                    <a:lnTo>
                      <a:pt x="190" y="522"/>
                    </a:lnTo>
                    <a:lnTo>
                      <a:pt x="174" y="547"/>
                    </a:lnTo>
                    <a:lnTo>
                      <a:pt x="155" y="545"/>
                    </a:lnTo>
                    <a:lnTo>
                      <a:pt x="136" y="543"/>
                    </a:lnTo>
                    <a:lnTo>
                      <a:pt x="117" y="543"/>
                    </a:lnTo>
                    <a:lnTo>
                      <a:pt x="97" y="541"/>
                    </a:lnTo>
                    <a:lnTo>
                      <a:pt x="97" y="551"/>
                    </a:lnTo>
                    <a:lnTo>
                      <a:pt x="97" y="560"/>
                    </a:lnTo>
                    <a:lnTo>
                      <a:pt x="88" y="564"/>
                    </a:lnTo>
                    <a:lnTo>
                      <a:pt x="80" y="568"/>
                    </a:lnTo>
                    <a:lnTo>
                      <a:pt x="84" y="583"/>
                    </a:lnTo>
                    <a:lnTo>
                      <a:pt x="88" y="601"/>
                    </a:lnTo>
                    <a:lnTo>
                      <a:pt x="78" y="580"/>
                    </a:lnTo>
                    <a:lnTo>
                      <a:pt x="69" y="560"/>
                    </a:lnTo>
                  </a:path>
                </a:pathLst>
              </a:custGeom>
              <a:grpFill/>
              <a:ln w="3175">
                <a:solidFill>
                  <a:srgbClr val="FF8300"/>
                </a:solidFill>
                <a:round/>
                <a:headEnd/>
                <a:tailEnd/>
              </a:ln>
            </p:spPr>
            <p:txBody>
              <a:bodyPr/>
              <a:lstStyle/>
              <a:p>
                <a:pPr>
                  <a:defRPr/>
                </a:pPr>
                <a:endParaRPr lang="en-GB" sz="1400">
                  <a:solidFill>
                    <a:schemeClr val="tx2"/>
                  </a:solidFill>
                </a:endParaRPr>
              </a:p>
            </p:txBody>
          </p:sp>
          <p:sp>
            <p:nvSpPr>
              <p:cNvPr id="350" name="Freeform 93"/>
              <p:cNvSpPr>
                <a:spLocks/>
              </p:cNvSpPr>
              <p:nvPr>
                <p:custDataLst>
                  <p:tags r:id="rId6"/>
                </p:custDataLst>
              </p:nvPr>
            </p:nvSpPr>
            <p:spPr bwMode="gray">
              <a:xfrm>
                <a:off x="5280599" y="2673993"/>
                <a:ext cx="2015011" cy="2414947"/>
              </a:xfrm>
              <a:custGeom>
                <a:avLst/>
                <a:gdLst>
                  <a:gd name="T0" fmla="*/ 2147483647 w 1479"/>
                  <a:gd name="T1" fmla="*/ 2147483647 h 1836"/>
                  <a:gd name="T2" fmla="*/ 2147483647 w 1479"/>
                  <a:gd name="T3" fmla="*/ 2147483647 h 1836"/>
                  <a:gd name="T4" fmla="*/ 2147483647 w 1479"/>
                  <a:gd name="T5" fmla="*/ 2147483647 h 1836"/>
                  <a:gd name="T6" fmla="*/ 2147483647 w 1479"/>
                  <a:gd name="T7" fmla="*/ 2147483647 h 1836"/>
                  <a:gd name="T8" fmla="*/ 2147483647 w 1479"/>
                  <a:gd name="T9" fmla="*/ 2147483647 h 1836"/>
                  <a:gd name="T10" fmla="*/ 2147483647 w 1479"/>
                  <a:gd name="T11" fmla="*/ 2147483647 h 1836"/>
                  <a:gd name="T12" fmla="*/ 2147483647 w 1479"/>
                  <a:gd name="T13" fmla="*/ 2147483647 h 1836"/>
                  <a:gd name="T14" fmla="*/ 2147483647 w 1479"/>
                  <a:gd name="T15" fmla="*/ 2147483647 h 1836"/>
                  <a:gd name="T16" fmla="*/ 2147483647 w 1479"/>
                  <a:gd name="T17" fmla="*/ 2147483647 h 1836"/>
                  <a:gd name="T18" fmla="*/ 2147483647 w 1479"/>
                  <a:gd name="T19" fmla="*/ 2147483647 h 1836"/>
                  <a:gd name="T20" fmla="*/ 2147483647 w 1479"/>
                  <a:gd name="T21" fmla="*/ 2147483647 h 1836"/>
                  <a:gd name="T22" fmla="*/ 2147483647 w 1479"/>
                  <a:gd name="T23" fmla="*/ 2147483647 h 1836"/>
                  <a:gd name="T24" fmla="*/ 2147483647 w 1479"/>
                  <a:gd name="T25" fmla="*/ 2147483647 h 1836"/>
                  <a:gd name="T26" fmla="*/ 2147483647 w 1479"/>
                  <a:gd name="T27" fmla="*/ 2147483647 h 1836"/>
                  <a:gd name="T28" fmla="*/ 2147483647 w 1479"/>
                  <a:gd name="T29" fmla="*/ 2147483647 h 1836"/>
                  <a:gd name="T30" fmla="*/ 2147483647 w 1479"/>
                  <a:gd name="T31" fmla="*/ 2147483647 h 1836"/>
                  <a:gd name="T32" fmla="*/ 2147483647 w 1479"/>
                  <a:gd name="T33" fmla="*/ 2147483647 h 1836"/>
                  <a:gd name="T34" fmla="*/ 2147483647 w 1479"/>
                  <a:gd name="T35" fmla="*/ 2147483647 h 1836"/>
                  <a:gd name="T36" fmla="*/ 2147483647 w 1479"/>
                  <a:gd name="T37" fmla="*/ 2147483647 h 1836"/>
                  <a:gd name="T38" fmla="*/ 2147483647 w 1479"/>
                  <a:gd name="T39" fmla="*/ 2147483647 h 1836"/>
                  <a:gd name="T40" fmla="*/ 2147483647 w 1479"/>
                  <a:gd name="T41" fmla="*/ 2147483647 h 1836"/>
                  <a:gd name="T42" fmla="*/ 2147483647 w 1479"/>
                  <a:gd name="T43" fmla="*/ 2147483647 h 1836"/>
                  <a:gd name="T44" fmla="*/ 2147483647 w 1479"/>
                  <a:gd name="T45" fmla="*/ 2147483647 h 1836"/>
                  <a:gd name="T46" fmla="*/ 2147483647 w 1479"/>
                  <a:gd name="T47" fmla="*/ 2147483647 h 1836"/>
                  <a:gd name="T48" fmla="*/ 2147483647 w 1479"/>
                  <a:gd name="T49" fmla="*/ 2147483647 h 1836"/>
                  <a:gd name="T50" fmla="*/ 2147483647 w 1479"/>
                  <a:gd name="T51" fmla="*/ 2147483647 h 1836"/>
                  <a:gd name="T52" fmla="*/ 2147483647 w 1479"/>
                  <a:gd name="T53" fmla="*/ 2147483647 h 1836"/>
                  <a:gd name="T54" fmla="*/ 2147483647 w 1479"/>
                  <a:gd name="T55" fmla="*/ 2147483647 h 1836"/>
                  <a:gd name="T56" fmla="*/ 2147483647 w 1479"/>
                  <a:gd name="T57" fmla="*/ 2147483647 h 1836"/>
                  <a:gd name="T58" fmla="*/ 2147483647 w 1479"/>
                  <a:gd name="T59" fmla="*/ 2147483647 h 1836"/>
                  <a:gd name="T60" fmla="*/ 2147483647 w 1479"/>
                  <a:gd name="T61" fmla="*/ 2147483647 h 1836"/>
                  <a:gd name="T62" fmla="*/ 2147483647 w 1479"/>
                  <a:gd name="T63" fmla="*/ 2147483647 h 1836"/>
                  <a:gd name="T64" fmla="*/ 2147483647 w 1479"/>
                  <a:gd name="T65" fmla="*/ 2147483647 h 1836"/>
                  <a:gd name="T66" fmla="*/ 2147483647 w 1479"/>
                  <a:gd name="T67" fmla="*/ 2147483647 h 1836"/>
                  <a:gd name="T68" fmla="*/ 2147483647 w 1479"/>
                  <a:gd name="T69" fmla="*/ 2147483647 h 1836"/>
                  <a:gd name="T70" fmla="*/ 2147483647 w 1479"/>
                  <a:gd name="T71" fmla="*/ 2147483647 h 1836"/>
                  <a:gd name="T72" fmla="*/ 2147483647 w 1479"/>
                  <a:gd name="T73" fmla="*/ 2147483647 h 1836"/>
                  <a:gd name="T74" fmla="*/ 2147483647 w 1479"/>
                  <a:gd name="T75" fmla="*/ 2147483647 h 1836"/>
                  <a:gd name="T76" fmla="*/ 2147483647 w 1479"/>
                  <a:gd name="T77" fmla="*/ 2147483647 h 1836"/>
                  <a:gd name="T78" fmla="*/ 2147483647 w 1479"/>
                  <a:gd name="T79" fmla="*/ 2147483647 h 1836"/>
                  <a:gd name="T80" fmla="*/ 2147483647 w 1479"/>
                  <a:gd name="T81" fmla="*/ 2147483647 h 1836"/>
                  <a:gd name="T82" fmla="*/ 2147483647 w 1479"/>
                  <a:gd name="T83" fmla="*/ 2147483647 h 1836"/>
                  <a:gd name="T84" fmla="*/ 2147483647 w 1479"/>
                  <a:gd name="T85" fmla="*/ 2147483647 h 1836"/>
                  <a:gd name="T86" fmla="*/ 2147483647 w 1479"/>
                  <a:gd name="T87" fmla="*/ 2147483647 h 1836"/>
                  <a:gd name="T88" fmla="*/ 2147483647 w 1479"/>
                  <a:gd name="T89" fmla="*/ 2147483647 h 1836"/>
                  <a:gd name="T90" fmla="*/ 2147483647 w 1479"/>
                  <a:gd name="T91" fmla="*/ 2147483647 h 1836"/>
                  <a:gd name="T92" fmla="*/ 2147483647 w 1479"/>
                  <a:gd name="T93" fmla="*/ 2147483647 h 1836"/>
                  <a:gd name="T94" fmla="*/ 2147483647 w 1479"/>
                  <a:gd name="T95" fmla="*/ 2147483647 h 1836"/>
                  <a:gd name="T96" fmla="*/ 2147483647 w 1479"/>
                  <a:gd name="T97" fmla="*/ 2147483647 h 1836"/>
                  <a:gd name="T98" fmla="*/ 2147483647 w 1479"/>
                  <a:gd name="T99" fmla="*/ 2147483647 h 1836"/>
                  <a:gd name="T100" fmla="*/ 2147483647 w 1479"/>
                  <a:gd name="T101" fmla="*/ 2147483647 h 1836"/>
                  <a:gd name="T102" fmla="*/ 2147483647 w 1479"/>
                  <a:gd name="T103" fmla="*/ 2147483647 h 1836"/>
                  <a:gd name="T104" fmla="*/ 2147483647 w 1479"/>
                  <a:gd name="T105" fmla="*/ 2147483647 h 1836"/>
                  <a:gd name="T106" fmla="*/ 2147483647 w 1479"/>
                  <a:gd name="T107" fmla="*/ 2147483647 h 1836"/>
                  <a:gd name="T108" fmla="*/ 2147483647 w 1479"/>
                  <a:gd name="T109" fmla="*/ 2147483647 h 1836"/>
                  <a:gd name="T110" fmla="*/ 2147483647 w 1479"/>
                  <a:gd name="T111" fmla="*/ 2147483647 h 1836"/>
                  <a:gd name="T112" fmla="*/ 2147483647 w 1479"/>
                  <a:gd name="T113" fmla="*/ 2147483647 h 1836"/>
                  <a:gd name="T114" fmla="*/ 2147483647 w 1479"/>
                  <a:gd name="T115" fmla="*/ 2147483647 h 1836"/>
                  <a:gd name="T116" fmla="*/ 2147483647 w 1479"/>
                  <a:gd name="T117" fmla="*/ 2147483647 h 1836"/>
                  <a:gd name="T118" fmla="*/ 2147483647 w 1479"/>
                  <a:gd name="T119" fmla="*/ 2147483647 h 1836"/>
                  <a:gd name="T120" fmla="*/ 2147483647 w 1479"/>
                  <a:gd name="T121" fmla="*/ 2147483647 h 1836"/>
                  <a:gd name="T122" fmla="*/ 2147483647 w 1479"/>
                  <a:gd name="T123" fmla="*/ 2147483647 h 1836"/>
                  <a:gd name="T124" fmla="*/ 2147483647 w 1479"/>
                  <a:gd name="T125" fmla="*/ 2147483647 h 18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479"/>
                  <a:gd name="T190" fmla="*/ 0 h 1836"/>
                  <a:gd name="T191" fmla="*/ 1479 w 1479"/>
                  <a:gd name="T192" fmla="*/ 1836 h 18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479" h="1836">
                    <a:moveTo>
                      <a:pt x="1410" y="831"/>
                    </a:moveTo>
                    <a:lnTo>
                      <a:pt x="1414" y="841"/>
                    </a:lnTo>
                    <a:lnTo>
                      <a:pt x="1416" y="850"/>
                    </a:lnTo>
                    <a:lnTo>
                      <a:pt x="1418" y="852"/>
                    </a:lnTo>
                    <a:lnTo>
                      <a:pt x="1421" y="856"/>
                    </a:lnTo>
                    <a:lnTo>
                      <a:pt x="1423" y="862"/>
                    </a:lnTo>
                    <a:lnTo>
                      <a:pt x="1425" y="869"/>
                    </a:lnTo>
                    <a:lnTo>
                      <a:pt x="1427" y="873"/>
                    </a:lnTo>
                    <a:lnTo>
                      <a:pt x="1431" y="875"/>
                    </a:lnTo>
                    <a:lnTo>
                      <a:pt x="1435" y="892"/>
                    </a:lnTo>
                    <a:lnTo>
                      <a:pt x="1441" y="908"/>
                    </a:lnTo>
                    <a:lnTo>
                      <a:pt x="1423" y="908"/>
                    </a:lnTo>
                    <a:lnTo>
                      <a:pt x="1414" y="910"/>
                    </a:lnTo>
                    <a:lnTo>
                      <a:pt x="1412" y="910"/>
                    </a:lnTo>
                    <a:lnTo>
                      <a:pt x="1410" y="913"/>
                    </a:lnTo>
                    <a:lnTo>
                      <a:pt x="1408" y="915"/>
                    </a:lnTo>
                    <a:lnTo>
                      <a:pt x="1406" y="917"/>
                    </a:lnTo>
                    <a:lnTo>
                      <a:pt x="1398" y="921"/>
                    </a:lnTo>
                    <a:lnTo>
                      <a:pt x="1393" y="923"/>
                    </a:lnTo>
                    <a:lnTo>
                      <a:pt x="1389" y="925"/>
                    </a:lnTo>
                    <a:lnTo>
                      <a:pt x="1387" y="929"/>
                    </a:lnTo>
                    <a:lnTo>
                      <a:pt x="1385" y="935"/>
                    </a:lnTo>
                    <a:lnTo>
                      <a:pt x="1381" y="942"/>
                    </a:lnTo>
                    <a:lnTo>
                      <a:pt x="1379" y="944"/>
                    </a:lnTo>
                    <a:lnTo>
                      <a:pt x="1377" y="948"/>
                    </a:lnTo>
                    <a:lnTo>
                      <a:pt x="1356" y="948"/>
                    </a:lnTo>
                    <a:lnTo>
                      <a:pt x="1335" y="950"/>
                    </a:lnTo>
                    <a:lnTo>
                      <a:pt x="1316" y="952"/>
                    </a:lnTo>
                    <a:lnTo>
                      <a:pt x="1295" y="952"/>
                    </a:lnTo>
                    <a:lnTo>
                      <a:pt x="1293" y="954"/>
                    </a:lnTo>
                    <a:lnTo>
                      <a:pt x="1289" y="958"/>
                    </a:lnTo>
                    <a:lnTo>
                      <a:pt x="1289" y="977"/>
                    </a:lnTo>
                    <a:lnTo>
                      <a:pt x="1289" y="996"/>
                    </a:lnTo>
                    <a:lnTo>
                      <a:pt x="1293" y="998"/>
                    </a:lnTo>
                    <a:lnTo>
                      <a:pt x="1295" y="1000"/>
                    </a:lnTo>
                    <a:lnTo>
                      <a:pt x="1297" y="1013"/>
                    </a:lnTo>
                    <a:lnTo>
                      <a:pt x="1300" y="1025"/>
                    </a:lnTo>
                    <a:lnTo>
                      <a:pt x="1302" y="1027"/>
                    </a:lnTo>
                    <a:lnTo>
                      <a:pt x="1304" y="1029"/>
                    </a:lnTo>
                    <a:lnTo>
                      <a:pt x="1304" y="1054"/>
                    </a:lnTo>
                    <a:lnTo>
                      <a:pt x="1304" y="1079"/>
                    </a:lnTo>
                    <a:lnTo>
                      <a:pt x="1302" y="1080"/>
                    </a:lnTo>
                    <a:lnTo>
                      <a:pt x="1300" y="1082"/>
                    </a:lnTo>
                    <a:lnTo>
                      <a:pt x="1300" y="1102"/>
                    </a:lnTo>
                    <a:lnTo>
                      <a:pt x="1300" y="1121"/>
                    </a:lnTo>
                    <a:lnTo>
                      <a:pt x="1302" y="1125"/>
                    </a:lnTo>
                    <a:lnTo>
                      <a:pt x="1304" y="1126"/>
                    </a:lnTo>
                    <a:lnTo>
                      <a:pt x="1306" y="1138"/>
                    </a:lnTo>
                    <a:lnTo>
                      <a:pt x="1310" y="1149"/>
                    </a:lnTo>
                    <a:lnTo>
                      <a:pt x="1312" y="1153"/>
                    </a:lnTo>
                    <a:lnTo>
                      <a:pt x="1314" y="1155"/>
                    </a:lnTo>
                    <a:lnTo>
                      <a:pt x="1316" y="1157"/>
                    </a:lnTo>
                    <a:lnTo>
                      <a:pt x="1320" y="1161"/>
                    </a:lnTo>
                    <a:lnTo>
                      <a:pt x="1322" y="1163"/>
                    </a:lnTo>
                    <a:lnTo>
                      <a:pt x="1323" y="1165"/>
                    </a:lnTo>
                    <a:lnTo>
                      <a:pt x="1325" y="1167"/>
                    </a:lnTo>
                    <a:lnTo>
                      <a:pt x="1329" y="1171"/>
                    </a:lnTo>
                    <a:lnTo>
                      <a:pt x="1331" y="1173"/>
                    </a:lnTo>
                    <a:lnTo>
                      <a:pt x="1333" y="1174"/>
                    </a:lnTo>
                    <a:lnTo>
                      <a:pt x="1335" y="1176"/>
                    </a:lnTo>
                    <a:lnTo>
                      <a:pt x="1339" y="1180"/>
                    </a:lnTo>
                    <a:lnTo>
                      <a:pt x="1341" y="1182"/>
                    </a:lnTo>
                    <a:lnTo>
                      <a:pt x="1343" y="1184"/>
                    </a:lnTo>
                    <a:lnTo>
                      <a:pt x="1348" y="1203"/>
                    </a:lnTo>
                    <a:lnTo>
                      <a:pt x="1352" y="1222"/>
                    </a:lnTo>
                    <a:lnTo>
                      <a:pt x="1350" y="1226"/>
                    </a:lnTo>
                    <a:lnTo>
                      <a:pt x="1348" y="1228"/>
                    </a:lnTo>
                    <a:lnTo>
                      <a:pt x="1345" y="1249"/>
                    </a:lnTo>
                    <a:lnTo>
                      <a:pt x="1343" y="1270"/>
                    </a:lnTo>
                    <a:lnTo>
                      <a:pt x="1341" y="1274"/>
                    </a:lnTo>
                    <a:lnTo>
                      <a:pt x="1339" y="1276"/>
                    </a:lnTo>
                    <a:lnTo>
                      <a:pt x="1335" y="1278"/>
                    </a:lnTo>
                    <a:lnTo>
                      <a:pt x="1333" y="1282"/>
                    </a:lnTo>
                    <a:lnTo>
                      <a:pt x="1331" y="1284"/>
                    </a:lnTo>
                    <a:lnTo>
                      <a:pt x="1329" y="1286"/>
                    </a:lnTo>
                    <a:lnTo>
                      <a:pt x="1318" y="1288"/>
                    </a:lnTo>
                    <a:lnTo>
                      <a:pt x="1304" y="1291"/>
                    </a:lnTo>
                    <a:lnTo>
                      <a:pt x="1302" y="1293"/>
                    </a:lnTo>
                    <a:lnTo>
                      <a:pt x="1300" y="1295"/>
                    </a:lnTo>
                    <a:lnTo>
                      <a:pt x="1297" y="1297"/>
                    </a:lnTo>
                    <a:lnTo>
                      <a:pt x="1295" y="1299"/>
                    </a:lnTo>
                    <a:lnTo>
                      <a:pt x="1293" y="1303"/>
                    </a:lnTo>
                    <a:lnTo>
                      <a:pt x="1289" y="1305"/>
                    </a:lnTo>
                    <a:lnTo>
                      <a:pt x="1287" y="1322"/>
                    </a:lnTo>
                    <a:lnTo>
                      <a:pt x="1285" y="1339"/>
                    </a:lnTo>
                    <a:lnTo>
                      <a:pt x="1283" y="1341"/>
                    </a:lnTo>
                    <a:lnTo>
                      <a:pt x="1281" y="1343"/>
                    </a:lnTo>
                    <a:lnTo>
                      <a:pt x="1274" y="1345"/>
                    </a:lnTo>
                    <a:lnTo>
                      <a:pt x="1266" y="1349"/>
                    </a:lnTo>
                    <a:lnTo>
                      <a:pt x="1264" y="1351"/>
                    </a:lnTo>
                    <a:lnTo>
                      <a:pt x="1260" y="1353"/>
                    </a:lnTo>
                    <a:lnTo>
                      <a:pt x="1258" y="1357"/>
                    </a:lnTo>
                    <a:lnTo>
                      <a:pt x="1256" y="1359"/>
                    </a:lnTo>
                    <a:lnTo>
                      <a:pt x="1254" y="1361"/>
                    </a:lnTo>
                    <a:lnTo>
                      <a:pt x="1251" y="1364"/>
                    </a:lnTo>
                    <a:lnTo>
                      <a:pt x="1249" y="1366"/>
                    </a:lnTo>
                    <a:lnTo>
                      <a:pt x="1247" y="1368"/>
                    </a:lnTo>
                    <a:lnTo>
                      <a:pt x="1245" y="1370"/>
                    </a:lnTo>
                    <a:lnTo>
                      <a:pt x="1243" y="1372"/>
                    </a:lnTo>
                    <a:lnTo>
                      <a:pt x="1233" y="1376"/>
                    </a:lnTo>
                    <a:lnTo>
                      <a:pt x="1228" y="1378"/>
                    </a:lnTo>
                    <a:lnTo>
                      <a:pt x="1224" y="1380"/>
                    </a:lnTo>
                    <a:lnTo>
                      <a:pt x="1222" y="1382"/>
                    </a:lnTo>
                    <a:lnTo>
                      <a:pt x="1222" y="1407"/>
                    </a:lnTo>
                    <a:lnTo>
                      <a:pt x="1222" y="1432"/>
                    </a:lnTo>
                    <a:lnTo>
                      <a:pt x="1224" y="1433"/>
                    </a:lnTo>
                    <a:lnTo>
                      <a:pt x="1228" y="1435"/>
                    </a:lnTo>
                    <a:lnTo>
                      <a:pt x="1228" y="1460"/>
                    </a:lnTo>
                    <a:lnTo>
                      <a:pt x="1228" y="1483"/>
                    </a:lnTo>
                    <a:lnTo>
                      <a:pt x="1224" y="1487"/>
                    </a:lnTo>
                    <a:lnTo>
                      <a:pt x="1222" y="1489"/>
                    </a:lnTo>
                    <a:lnTo>
                      <a:pt x="1214" y="1491"/>
                    </a:lnTo>
                    <a:lnTo>
                      <a:pt x="1208" y="1493"/>
                    </a:lnTo>
                    <a:lnTo>
                      <a:pt x="1214" y="1501"/>
                    </a:lnTo>
                    <a:lnTo>
                      <a:pt x="1222" y="1508"/>
                    </a:lnTo>
                    <a:lnTo>
                      <a:pt x="1224" y="1510"/>
                    </a:lnTo>
                    <a:lnTo>
                      <a:pt x="1228" y="1514"/>
                    </a:lnTo>
                    <a:lnTo>
                      <a:pt x="1233" y="1516"/>
                    </a:lnTo>
                    <a:lnTo>
                      <a:pt x="1243" y="1518"/>
                    </a:lnTo>
                    <a:lnTo>
                      <a:pt x="1245" y="1520"/>
                    </a:lnTo>
                    <a:lnTo>
                      <a:pt x="1247" y="1524"/>
                    </a:lnTo>
                    <a:lnTo>
                      <a:pt x="1251" y="1533"/>
                    </a:lnTo>
                    <a:lnTo>
                      <a:pt x="1256" y="1543"/>
                    </a:lnTo>
                    <a:lnTo>
                      <a:pt x="1254" y="1545"/>
                    </a:lnTo>
                    <a:lnTo>
                      <a:pt x="1251" y="1547"/>
                    </a:lnTo>
                    <a:lnTo>
                      <a:pt x="1251" y="1562"/>
                    </a:lnTo>
                    <a:lnTo>
                      <a:pt x="1251" y="1575"/>
                    </a:lnTo>
                    <a:lnTo>
                      <a:pt x="1254" y="1577"/>
                    </a:lnTo>
                    <a:lnTo>
                      <a:pt x="1256" y="1581"/>
                    </a:lnTo>
                    <a:lnTo>
                      <a:pt x="1264" y="1583"/>
                    </a:lnTo>
                    <a:lnTo>
                      <a:pt x="1272" y="1585"/>
                    </a:lnTo>
                    <a:lnTo>
                      <a:pt x="1274" y="1587"/>
                    </a:lnTo>
                    <a:lnTo>
                      <a:pt x="1276" y="1591"/>
                    </a:lnTo>
                    <a:lnTo>
                      <a:pt x="1283" y="1593"/>
                    </a:lnTo>
                    <a:lnTo>
                      <a:pt x="1289" y="1597"/>
                    </a:lnTo>
                    <a:lnTo>
                      <a:pt x="1293" y="1598"/>
                    </a:lnTo>
                    <a:lnTo>
                      <a:pt x="1295" y="1600"/>
                    </a:lnTo>
                    <a:lnTo>
                      <a:pt x="1297" y="1622"/>
                    </a:lnTo>
                    <a:lnTo>
                      <a:pt x="1300" y="1645"/>
                    </a:lnTo>
                    <a:lnTo>
                      <a:pt x="1302" y="1646"/>
                    </a:lnTo>
                    <a:lnTo>
                      <a:pt x="1304" y="1648"/>
                    </a:lnTo>
                    <a:lnTo>
                      <a:pt x="1306" y="1650"/>
                    </a:lnTo>
                    <a:lnTo>
                      <a:pt x="1310" y="1654"/>
                    </a:lnTo>
                    <a:lnTo>
                      <a:pt x="1312" y="1656"/>
                    </a:lnTo>
                    <a:lnTo>
                      <a:pt x="1314" y="1658"/>
                    </a:lnTo>
                    <a:lnTo>
                      <a:pt x="1316" y="1660"/>
                    </a:lnTo>
                    <a:lnTo>
                      <a:pt x="1320" y="1664"/>
                    </a:lnTo>
                    <a:lnTo>
                      <a:pt x="1322" y="1666"/>
                    </a:lnTo>
                    <a:lnTo>
                      <a:pt x="1323" y="1668"/>
                    </a:lnTo>
                    <a:lnTo>
                      <a:pt x="1323" y="1673"/>
                    </a:lnTo>
                    <a:lnTo>
                      <a:pt x="1323" y="1677"/>
                    </a:lnTo>
                    <a:lnTo>
                      <a:pt x="1322" y="1679"/>
                    </a:lnTo>
                    <a:lnTo>
                      <a:pt x="1320" y="1683"/>
                    </a:lnTo>
                    <a:lnTo>
                      <a:pt x="1306" y="1685"/>
                    </a:lnTo>
                    <a:lnTo>
                      <a:pt x="1295" y="1687"/>
                    </a:lnTo>
                    <a:lnTo>
                      <a:pt x="1293" y="1689"/>
                    </a:lnTo>
                    <a:lnTo>
                      <a:pt x="1289" y="1693"/>
                    </a:lnTo>
                    <a:lnTo>
                      <a:pt x="1277" y="1698"/>
                    </a:lnTo>
                    <a:lnTo>
                      <a:pt x="1266" y="1706"/>
                    </a:lnTo>
                    <a:lnTo>
                      <a:pt x="1264" y="1710"/>
                    </a:lnTo>
                    <a:lnTo>
                      <a:pt x="1260" y="1712"/>
                    </a:lnTo>
                    <a:lnTo>
                      <a:pt x="1258" y="1714"/>
                    </a:lnTo>
                    <a:lnTo>
                      <a:pt x="1256" y="1716"/>
                    </a:lnTo>
                    <a:lnTo>
                      <a:pt x="1254" y="1719"/>
                    </a:lnTo>
                    <a:lnTo>
                      <a:pt x="1251" y="1721"/>
                    </a:lnTo>
                    <a:lnTo>
                      <a:pt x="1249" y="1723"/>
                    </a:lnTo>
                    <a:lnTo>
                      <a:pt x="1247" y="1725"/>
                    </a:lnTo>
                    <a:lnTo>
                      <a:pt x="1245" y="1729"/>
                    </a:lnTo>
                    <a:lnTo>
                      <a:pt x="1243" y="1731"/>
                    </a:lnTo>
                    <a:lnTo>
                      <a:pt x="1239" y="1733"/>
                    </a:lnTo>
                    <a:lnTo>
                      <a:pt x="1237" y="1735"/>
                    </a:lnTo>
                    <a:lnTo>
                      <a:pt x="1233" y="1739"/>
                    </a:lnTo>
                    <a:lnTo>
                      <a:pt x="1231" y="1740"/>
                    </a:lnTo>
                    <a:lnTo>
                      <a:pt x="1229" y="1742"/>
                    </a:lnTo>
                    <a:lnTo>
                      <a:pt x="1228" y="1746"/>
                    </a:lnTo>
                    <a:lnTo>
                      <a:pt x="1224" y="1748"/>
                    </a:lnTo>
                    <a:lnTo>
                      <a:pt x="1222" y="1750"/>
                    </a:lnTo>
                    <a:lnTo>
                      <a:pt x="1220" y="1752"/>
                    </a:lnTo>
                    <a:lnTo>
                      <a:pt x="1218" y="1756"/>
                    </a:lnTo>
                    <a:lnTo>
                      <a:pt x="1216" y="1758"/>
                    </a:lnTo>
                    <a:lnTo>
                      <a:pt x="1212" y="1760"/>
                    </a:lnTo>
                    <a:lnTo>
                      <a:pt x="1201" y="1762"/>
                    </a:lnTo>
                    <a:lnTo>
                      <a:pt x="1189" y="1763"/>
                    </a:lnTo>
                    <a:lnTo>
                      <a:pt x="1185" y="1767"/>
                    </a:lnTo>
                    <a:lnTo>
                      <a:pt x="1183" y="1769"/>
                    </a:lnTo>
                    <a:lnTo>
                      <a:pt x="1176" y="1771"/>
                    </a:lnTo>
                    <a:lnTo>
                      <a:pt x="1170" y="1775"/>
                    </a:lnTo>
                    <a:lnTo>
                      <a:pt x="1166" y="1777"/>
                    </a:lnTo>
                    <a:lnTo>
                      <a:pt x="1164" y="1779"/>
                    </a:lnTo>
                    <a:lnTo>
                      <a:pt x="1162" y="1781"/>
                    </a:lnTo>
                    <a:lnTo>
                      <a:pt x="1160" y="1785"/>
                    </a:lnTo>
                    <a:lnTo>
                      <a:pt x="1157" y="1787"/>
                    </a:lnTo>
                    <a:lnTo>
                      <a:pt x="1155" y="1788"/>
                    </a:lnTo>
                    <a:lnTo>
                      <a:pt x="1153" y="1790"/>
                    </a:lnTo>
                    <a:lnTo>
                      <a:pt x="1149" y="1794"/>
                    </a:lnTo>
                    <a:lnTo>
                      <a:pt x="1147" y="1796"/>
                    </a:lnTo>
                    <a:lnTo>
                      <a:pt x="1145" y="1798"/>
                    </a:lnTo>
                    <a:lnTo>
                      <a:pt x="1137" y="1802"/>
                    </a:lnTo>
                    <a:lnTo>
                      <a:pt x="1130" y="1804"/>
                    </a:lnTo>
                    <a:lnTo>
                      <a:pt x="1128" y="1806"/>
                    </a:lnTo>
                    <a:lnTo>
                      <a:pt x="1126" y="1808"/>
                    </a:lnTo>
                    <a:lnTo>
                      <a:pt x="1114" y="1810"/>
                    </a:lnTo>
                    <a:lnTo>
                      <a:pt x="1101" y="1813"/>
                    </a:lnTo>
                    <a:lnTo>
                      <a:pt x="1099" y="1815"/>
                    </a:lnTo>
                    <a:lnTo>
                      <a:pt x="1097" y="1817"/>
                    </a:lnTo>
                    <a:lnTo>
                      <a:pt x="1080" y="1819"/>
                    </a:lnTo>
                    <a:lnTo>
                      <a:pt x="1063" y="1823"/>
                    </a:lnTo>
                    <a:lnTo>
                      <a:pt x="1061" y="1825"/>
                    </a:lnTo>
                    <a:lnTo>
                      <a:pt x="1059" y="1827"/>
                    </a:lnTo>
                    <a:lnTo>
                      <a:pt x="1049" y="1827"/>
                    </a:lnTo>
                    <a:lnTo>
                      <a:pt x="1040" y="1827"/>
                    </a:lnTo>
                    <a:lnTo>
                      <a:pt x="1036" y="1825"/>
                    </a:lnTo>
                    <a:lnTo>
                      <a:pt x="1034" y="1823"/>
                    </a:lnTo>
                    <a:lnTo>
                      <a:pt x="1026" y="1819"/>
                    </a:lnTo>
                    <a:lnTo>
                      <a:pt x="1018" y="1817"/>
                    </a:lnTo>
                    <a:lnTo>
                      <a:pt x="1017" y="1815"/>
                    </a:lnTo>
                    <a:lnTo>
                      <a:pt x="1015" y="1813"/>
                    </a:lnTo>
                    <a:lnTo>
                      <a:pt x="1007" y="1810"/>
                    </a:lnTo>
                    <a:lnTo>
                      <a:pt x="999" y="1808"/>
                    </a:lnTo>
                    <a:lnTo>
                      <a:pt x="997" y="1806"/>
                    </a:lnTo>
                    <a:lnTo>
                      <a:pt x="995" y="1804"/>
                    </a:lnTo>
                    <a:lnTo>
                      <a:pt x="990" y="1804"/>
                    </a:lnTo>
                    <a:lnTo>
                      <a:pt x="986" y="1804"/>
                    </a:lnTo>
                    <a:lnTo>
                      <a:pt x="984" y="1806"/>
                    </a:lnTo>
                    <a:lnTo>
                      <a:pt x="980" y="1808"/>
                    </a:lnTo>
                    <a:lnTo>
                      <a:pt x="965" y="1810"/>
                    </a:lnTo>
                    <a:lnTo>
                      <a:pt x="949" y="1810"/>
                    </a:lnTo>
                    <a:lnTo>
                      <a:pt x="934" y="1811"/>
                    </a:lnTo>
                    <a:lnTo>
                      <a:pt x="917" y="1813"/>
                    </a:lnTo>
                    <a:lnTo>
                      <a:pt x="915" y="1815"/>
                    </a:lnTo>
                    <a:lnTo>
                      <a:pt x="913" y="1817"/>
                    </a:lnTo>
                    <a:lnTo>
                      <a:pt x="898" y="1817"/>
                    </a:lnTo>
                    <a:lnTo>
                      <a:pt x="884" y="1817"/>
                    </a:lnTo>
                    <a:lnTo>
                      <a:pt x="880" y="1815"/>
                    </a:lnTo>
                    <a:lnTo>
                      <a:pt x="878" y="1813"/>
                    </a:lnTo>
                    <a:lnTo>
                      <a:pt x="869" y="1813"/>
                    </a:lnTo>
                    <a:lnTo>
                      <a:pt x="859" y="1813"/>
                    </a:lnTo>
                    <a:lnTo>
                      <a:pt x="857" y="1815"/>
                    </a:lnTo>
                    <a:lnTo>
                      <a:pt x="855" y="1817"/>
                    </a:lnTo>
                    <a:lnTo>
                      <a:pt x="848" y="1819"/>
                    </a:lnTo>
                    <a:lnTo>
                      <a:pt x="840" y="1823"/>
                    </a:lnTo>
                    <a:lnTo>
                      <a:pt x="838" y="1825"/>
                    </a:lnTo>
                    <a:lnTo>
                      <a:pt x="836" y="1827"/>
                    </a:lnTo>
                    <a:lnTo>
                      <a:pt x="832" y="1831"/>
                    </a:lnTo>
                    <a:lnTo>
                      <a:pt x="830" y="1833"/>
                    </a:lnTo>
                    <a:lnTo>
                      <a:pt x="828" y="1834"/>
                    </a:lnTo>
                    <a:lnTo>
                      <a:pt x="827" y="1836"/>
                    </a:lnTo>
                    <a:lnTo>
                      <a:pt x="817" y="1836"/>
                    </a:lnTo>
                    <a:lnTo>
                      <a:pt x="807" y="1836"/>
                    </a:lnTo>
                    <a:lnTo>
                      <a:pt x="804" y="1834"/>
                    </a:lnTo>
                    <a:lnTo>
                      <a:pt x="802" y="1833"/>
                    </a:lnTo>
                    <a:lnTo>
                      <a:pt x="800" y="1831"/>
                    </a:lnTo>
                    <a:lnTo>
                      <a:pt x="796" y="1827"/>
                    </a:lnTo>
                    <a:lnTo>
                      <a:pt x="794" y="1825"/>
                    </a:lnTo>
                    <a:lnTo>
                      <a:pt x="792" y="1823"/>
                    </a:lnTo>
                    <a:lnTo>
                      <a:pt x="790" y="1819"/>
                    </a:lnTo>
                    <a:lnTo>
                      <a:pt x="786" y="1817"/>
                    </a:lnTo>
                    <a:lnTo>
                      <a:pt x="784" y="1815"/>
                    </a:lnTo>
                    <a:lnTo>
                      <a:pt x="782" y="1813"/>
                    </a:lnTo>
                    <a:lnTo>
                      <a:pt x="781" y="1806"/>
                    </a:lnTo>
                    <a:lnTo>
                      <a:pt x="779" y="1798"/>
                    </a:lnTo>
                    <a:lnTo>
                      <a:pt x="775" y="1796"/>
                    </a:lnTo>
                    <a:lnTo>
                      <a:pt x="773" y="1794"/>
                    </a:lnTo>
                    <a:lnTo>
                      <a:pt x="771" y="1790"/>
                    </a:lnTo>
                    <a:lnTo>
                      <a:pt x="767" y="1788"/>
                    </a:lnTo>
                    <a:lnTo>
                      <a:pt x="765" y="1787"/>
                    </a:lnTo>
                    <a:lnTo>
                      <a:pt x="763" y="1785"/>
                    </a:lnTo>
                    <a:lnTo>
                      <a:pt x="759" y="1777"/>
                    </a:lnTo>
                    <a:lnTo>
                      <a:pt x="757" y="1769"/>
                    </a:lnTo>
                    <a:lnTo>
                      <a:pt x="756" y="1767"/>
                    </a:lnTo>
                    <a:lnTo>
                      <a:pt x="754" y="1763"/>
                    </a:lnTo>
                    <a:lnTo>
                      <a:pt x="752" y="1762"/>
                    </a:lnTo>
                    <a:lnTo>
                      <a:pt x="748" y="1760"/>
                    </a:lnTo>
                    <a:lnTo>
                      <a:pt x="746" y="1758"/>
                    </a:lnTo>
                    <a:lnTo>
                      <a:pt x="744" y="1756"/>
                    </a:lnTo>
                    <a:lnTo>
                      <a:pt x="740" y="1752"/>
                    </a:lnTo>
                    <a:lnTo>
                      <a:pt x="738" y="1750"/>
                    </a:lnTo>
                    <a:lnTo>
                      <a:pt x="736" y="1748"/>
                    </a:lnTo>
                    <a:lnTo>
                      <a:pt x="734" y="1746"/>
                    </a:lnTo>
                    <a:lnTo>
                      <a:pt x="727" y="1739"/>
                    </a:lnTo>
                    <a:lnTo>
                      <a:pt x="719" y="1731"/>
                    </a:lnTo>
                    <a:lnTo>
                      <a:pt x="717" y="1729"/>
                    </a:lnTo>
                    <a:lnTo>
                      <a:pt x="715" y="1725"/>
                    </a:lnTo>
                    <a:lnTo>
                      <a:pt x="711" y="1723"/>
                    </a:lnTo>
                    <a:lnTo>
                      <a:pt x="710" y="1721"/>
                    </a:lnTo>
                    <a:lnTo>
                      <a:pt x="708" y="1719"/>
                    </a:lnTo>
                    <a:lnTo>
                      <a:pt x="706" y="1716"/>
                    </a:lnTo>
                    <a:lnTo>
                      <a:pt x="702" y="1714"/>
                    </a:lnTo>
                    <a:lnTo>
                      <a:pt x="700" y="1712"/>
                    </a:lnTo>
                    <a:lnTo>
                      <a:pt x="698" y="1710"/>
                    </a:lnTo>
                    <a:lnTo>
                      <a:pt x="696" y="1706"/>
                    </a:lnTo>
                    <a:lnTo>
                      <a:pt x="692" y="1704"/>
                    </a:lnTo>
                    <a:lnTo>
                      <a:pt x="690" y="1702"/>
                    </a:lnTo>
                    <a:lnTo>
                      <a:pt x="688" y="1698"/>
                    </a:lnTo>
                    <a:lnTo>
                      <a:pt x="686" y="1696"/>
                    </a:lnTo>
                    <a:lnTo>
                      <a:pt x="683" y="1685"/>
                    </a:lnTo>
                    <a:lnTo>
                      <a:pt x="681" y="1673"/>
                    </a:lnTo>
                    <a:lnTo>
                      <a:pt x="679" y="1669"/>
                    </a:lnTo>
                    <a:lnTo>
                      <a:pt x="675" y="1668"/>
                    </a:lnTo>
                    <a:lnTo>
                      <a:pt x="671" y="1668"/>
                    </a:lnTo>
                    <a:lnTo>
                      <a:pt x="665" y="1668"/>
                    </a:lnTo>
                    <a:lnTo>
                      <a:pt x="663" y="1669"/>
                    </a:lnTo>
                    <a:lnTo>
                      <a:pt x="662" y="1673"/>
                    </a:lnTo>
                    <a:lnTo>
                      <a:pt x="660" y="1675"/>
                    </a:lnTo>
                    <a:lnTo>
                      <a:pt x="658" y="1677"/>
                    </a:lnTo>
                    <a:lnTo>
                      <a:pt x="654" y="1679"/>
                    </a:lnTo>
                    <a:lnTo>
                      <a:pt x="652" y="1683"/>
                    </a:lnTo>
                    <a:lnTo>
                      <a:pt x="648" y="1685"/>
                    </a:lnTo>
                    <a:lnTo>
                      <a:pt x="646" y="1687"/>
                    </a:lnTo>
                    <a:lnTo>
                      <a:pt x="644" y="1689"/>
                    </a:lnTo>
                    <a:lnTo>
                      <a:pt x="642" y="1693"/>
                    </a:lnTo>
                    <a:lnTo>
                      <a:pt x="637" y="1693"/>
                    </a:lnTo>
                    <a:lnTo>
                      <a:pt x="633" y="1693"/>
                    </a:lnTo>
                    <a:lnTo>
                      <a:pt x="631" y="1689"/>
                    </a:lnTo>
                    <a:lnTo>
                      <a:pt x="627" y="1687"/>
                    </a:lnTo>
                    <a:lnTo>
                      <a:pt x="625" y="1685"/>
                    </a:lnTo>
                    <a:lnTo>
                      <a:pt x="623" y="1683"/>
                    </a:lnTo>
                    <a:lnTo>
                      <a:pt x="619" y="1679"/>
                    </a:lnTo>
                    <a:lnTo>
                      <a:pt x="617" y="1677"/>
                    </a:lnTo>
                    <a:lnTo>
                      <a:pt x="616" y="1669"/>
                    </a:lnTo>
                    <a:lnTo>
                      <a:pt x="614" y="1664"/>
                    </a:lnTo>
                    <a:lnTo>
                      <a:pt x="610" y="1660"/>
                    </a:lnTo>
                    <a:lnTo>
                      <a:pt x="608" y="1658"/>
                    </a:lnTo>
                    <a:lnTo>
                      <a:pt x="606" y="1656"/>
                    </a:lnTo>
                    <a:lnTo>
                      <a:pt x="604" y="1654"/>
                    </a:lnTo>
                    <a:lnTo>
                      <a:pt x="600" y="1650"/>
                    </a:lnTo>
                    <a:lnTo>
                      <a:pt x="598" y="1648"/>
                    </a:lnTo>
                    <a:lnTo>
                      <a:pt x="596" y="1646"/>
                    </a:lnTo>
                    <a:lnTo>
                      <a:pt x="594" y="1645"/>
                    </a:lnTo>
                    <a:lnTo>
                      <a:pt x="591" y="1641"/>
                    </a:lnTo>
                    <a:lnTo>
                      <a:pt x="589" y="1639"/>
                    </a:lnTo>
                    <a:lnTo>
                      <a:pt x="581" y="1637"/>
                    </a:lnTo>
                    <a:lnTo>
                      <a:pt x="575" y="1635"/>
                    </a:lnTo>
                    <a:lnTo>
                      <a:pt x="571" y="1631"/>
                    </a:lnTo>
                    <a:lnTo>
                      <a:pt x="569" y="1629"/>
                    </a:lnTo>
                    <a:lnTo>
                      <a:pt x="560" y="1629"/>
                    </a:lnTo>
                    <a:lnTo>
                      <a:pt x="550" y="1629"/>
                    </a:lnTo>
                    <a:lnTo>
                      <a:pt x="548" y="1631"/>
                    </a:lnTo>
                    <a:lnTo>
                      <a:pt x="546" y="1635"/>
                    </a:lnTo>
                    <a:lnTo>
                      <a:pt x="533" y="1637"/>
                    </a:lnTo>
                    <a:lnTo>
                      <a:pt x="521" y="1639"/>
                    </a:lnTo>
                    <a:lnTo>
                      <a:pt x="520" y="1641"/>
                    </a:lnTo>
                    <a:lnTo>
                      <a:pt x="516" y="1645"/>
                    </a:lnTo>
                    <a:lnTo>
                      <a:pt x="514" y="1656"/>
                    </a:lnTo>
                    <a:lnTo>
                      <a:pt x="512" y="1668"/>
                    </a:lnTo>
                    <a:lnTo>
                      <a:pt x="510" y="1669"/>
                    </a:lnTo>
                    <a:lnTo>
                      <a:pt x="506" y="1673"/>
                    </a:lnTo>
                    <a:lnTo>
                      <a:pt x="504" y="1694"/>
                    </a:lnTo>
                    <a:lnTo>
                      <a:pt x="502" y="1716"/>
                    </a:lnTo>
                    <a:lnTo>
                      <a:pt x="498" y="1719"/>
                    </a:lnTo>
                    <a:lnTo>
                      <a:pt x="497" y="1721"/>
                    </a:lnTo>
                    <a:lnTo>
                      <a:pt x="495" y="1729"/>
                    </a:lnTo>
                    <a:lnTo>
                      <a:pt x="493" y="1735"/>
                    </a:lnTo>
                    <a:lnTo>
                      <a:pt x="489" y="1739"/>
                    </a:lnTo>
                    <a:lnTo>
                      <a:pt x="487" y="1740"/>
                    </a:lnTo>
                    <a:lnTo>
                      <a:pt x="485" y="1748"/>
                    </a:lnTo>
                    <a:lnTo>
                      <a:pt x="483" y="1756"/>
                    </a:lnTo>
                    <a:lnTo>
                      <a:pt x="479" y="1758"/>
                    </a:lnTo>
                    <a:lnTo>
                      <a:pt x="477" y="1760"/>
                    </a:lnTo>
                    <a:lnTo>
                      <a:pt x="475" y="1767"/>
                    </a:lnTo>
                    <a:lnTo>
                      <a:pt x="474" y="1775"/>
                    </a:lnTo>
                    <a:lnTo>
                      <a:pt x="470" y="1777"/>
                    </a:lnTo>
                    <a:lnTo>
                      <a:pt x="468" y="1779"/>
                    </a:lnTo>
                    <a:lnTo>
                      <a:pt x="466" y="1781"/>
                    </a:lnTo>
                    <a:lnTo>
                      <a:pt x="464" y="1785"/>
                    </a:lnTo>
                    <a:lnTo>
                      <a:pt x="460" y="1787"/>
                    </a:lnTo>
                    <a:lnTo>
                      <a:pt x="458" y="1788"/>
                    </a:lnTo>
                    <a:lnTo>
                      <a:pt x="452" y="1788"/>
                    </a:lnTo>
                    <a:lnTo>
                      <a:pt x="449" y="1788"/>
                    </a:lnTo>
                    <a:lnTo>
                      <a:pt x="447" y="1787"/>
                    </a:lnTo>
                    <a:lnTo>
                      <a:pt x="443" y="1785"/>
                    </a:lnTo>
                    <a:lnTo>
                      <a:pt x="441" y="1781"/>
                    </a:lnTo>
                    <a:lnTo>
                      <a:pt x="439" y="1779"/>
                    </a:lnTo>
                    <a:lnTo>
                      <a:pt x="437" y="1777"/>
                    </a:lnTo>
                    <a:lnTo>
                      <a:pt x="433" y="1775"/>
                    </a:lnTo>
                    <a:lnTo>
                      <a:pt x="429" y="1775"/>
                    </a:lnTo>
                    <a:lnTo>
                      <a:pt x="426" y="1775"/>
                    </a:lnTo>
                    <a:lnTo>
                      <a:pt x="422" y="1777"/>
                    </a:lnTo>
                    <a:lnTo>
                      <a:pt x="420" y="1779"/>
                    </a:lnTo>
                    <a:lnTo>
                      <a:pt x="412" y="1781"/>
                    </a:lnTo>
                    <a:lnTo>
                      <a:pt x="404" y="1785"/>
                    </a:lnTo>
                    <a:lnTo>
                      <a:pt x="403" y="1787"/>
                    </a:lnTo>
                    <a:lnTo>
                      <a:pt x="401" y="1788"/>
                    </a:lnTo>
                    <a:lnTo>
                      <a:pt x="399" y="1790"/>
                    </a:lnTo>
                    <a:lnTo>
                      <a:pt x="395" y="1794"/>
                    </a:lnTo>
                    <a:lnTo>
                      <a:pt x="393" y="1796"/>
                    </a:lnTo>
                    <a:lnTo>
                      <a:pt x="391" y="1798"/>
                    </a:lnTo>
                    <a:lnTo>
                      <a:pt x="389" y="1802"/>
                    </a:lnTo>
                    <a:lnTo>
                      <a:pt x="385" y="1804"/>
                    </a:lnTo>
                    <a:lnTo>
                      <a:pt x="383" y="1806"/>
                    </a:lnTo>
                    <a:lnTo>
                      <a:pt x="381" y="1808"/>
                    </a:lnTo>
                    <a:lnTo>
                      <a:pt x="378" y="1810"/>
                    </a:lnTo>
                    <a:lnTo>
                      <a:pt x="376" y="1813"/>
                    </a:lnTo>
                    <a:lnTo>
                      <a:pt x="374" y="1815"/>
                    </a:lnTo>
                    <a:lnTo>
                      <a:pt x="372" y="1817"/>
                    </a:lnTo>
                    <a:lnTo>
                      <a:pt x="368" y="1819"/>
                    </a:lnTo>
                    <a:lnTo>
                      <a:pt x="366" y="1823"/>
                    </a:lnTo>
                    <a:lnTo>
                      <a:pt x="364" y="1825"/>
                    </a:lnTo>
                    <a:lnTo>
                      <a:pt x="362" y="1827"/>
                    </a:lnTo>
                    <a:lnTo>
                      <a:pt x="355" y="1831"/>
                    </a:lnTo>
                    <a:lnTo>
                      <a:pt x="347" y="1833"/>
                    </a:lnTo>
                    <a:lnTo>
                      <a:pt x="345" y="1834"/>
                    </a:lnTo>
                    <a:lnTo>
                      <a:pt x="343" y="1836"/>
                    </a:lnTo>
                    <a:lnTo>
                      <a:pt x="337" y="1836"/>
                    </a:lnTo>
                    <a:lnTo>
                      <a:pt x="332" y="1836"/>
                    </a:lnTo>
                    <a:lnTo>
                      <a:pt x="330" y="1834"/>
                    </a:lnTo>
                    <a:lnTo>
                      <a:pt x="328" y="1833"/>
                    </a:lnTo>
                    <a:lnTo>
                      <a:pt x="326" y="1831"/>
                    </a:lnTo>
                    <a:lnTo>
                      <a:pt x="322" y="1827"/>
                    </a:lnTo>
                    <a:lnTo>
                      <a:pt x="320" y="1825"/>
                    </a:lnTo>
                    <a:lnTo>
                      <a:pt x="318" y="1823"/>
                    </a:lnTo>
                    <a:lnTo>
                      <a:pt x="318" y="1790"/>
                    </a:lnTo>
                    <a:lnTo>
                      <a:pt x="318" y="1760"/>
                    </a:lnTo>
                    <a:lnTo>
                      <a:pt x="318" y="1729"/>
                    </a:lnTo>
                    <a:lnTo>
                      <a:pt x="318" y="1696"/>
                    </a:lnTo>
                    <a:lnTo>
                      <a:pt x="320" y="1694"/>
                    </a:lnTo>
                    <a:lnTo>
                      <a:pt x="322" y="1693"/>
                    </a:lnTo>
                    <a:lnTo>
                      <a:pt x="326" y="1685"/>
                    </a:lnTo>
                    <a:lnTo>
                      <a:pt x="326" y="1673"/>
                    </a:lnTo>
                    <a:lnTo>
                      <a:pt x="326" y="1660"/>
                    </a:lnTo>
                    <a:lnTo>
                      <a:pt x="322" y="1654"/>
                    </a:lnTo>
                    <a:lnTo>
                      <a:pt x="320" y="1650"/>
                    </a:lnTo>
                    <a:lnTo>
                      <a:pt x="318" y="1648"/>
                    </a:lnTo>
                    <a:lnTo>
                      <a:pt x="310" y="1646"/>
                    </a:lnTo>
                    <a:lnTo>
                      <a:pt x="303" y="1645"/>
                    </a:lnTo>
                    <a:lnTo>
                      <a:pt x="301" y="1641"/>
                    </a:lnTo>
                    <a:lnTo>
                      <a:pt x="299" y="1639"/>
                    </a:lnTo>
                    <a:lnTo>
                      <a:pt x="295" y="1637"/>
                    </a:lnTo>
                    <a:lnTo>
                      <a:pt x="293" y="1635"/>
                    </a:lnTo>
                    <a:lnTo>
                      <a:pt x="291" y="1631"/>
                    </a:lnTo>
                    <a:lnTo>
                      <a:pt x="289" y="1629"/>
                    </a:lnTo>
                    <a:lnTo>
                      <a:pt x="287" y="1627"/>
                    </a:lnTo>
                    <a:lnTo>
                      <a:pt x="284" y="1625"/>
                    </a:lnTo>
                    <a:lnTo>
                      <a:pt x="282" y="1622"/>
                    </a:lnTo>
                    <a:lnTo>
                      <a:pt x="280" y="1620"/>
                    </a:lnTo>
                    <a:lnTo>
                      <a:pt x="278" y="1593"/>
                    </a:lnTo>
                    <a:lnTo>
                      <a:pt x="274" y="1566"/>
                    </a:lnTo>
                    <a:lnTo>
                      <a:pt x="272" y="1564"/>
                    </a:lnTo>
                    <a:lnTo>
                      <a:pt x="270" y="1562"/>
                    </a:lnTo>
                    <a:lnTo>
                      <a:pt x="262" y="1558"/>
                    </a:lnTo>
                    <a:lnTo>
                      <a:pt x="255" y="1556"/>
                    </a:lnTo>
                    <a:lnTo>
                      <a:pt x="253" y="1554"/>
                    </a:lnTo>
                    <a:lnTo>
                      <a:pt x="251" y="1552"/>
                    </a:lnTo>
                    <a:lnTo>
                      <a:pt x="247" y="1545"/>
                    </a:lnTo>
                    <a:lnTo>
                      <a:pt x="245" y="1537"/>
                    </a:lnTo>
                    <a:lnTo>
                      <a:pt x="243" y="1535"/>
                    </a:lnTo>
                    <a:lnTo>
                      <a:pt x="241" y="1531"/>
                    </a:lnTo>
                    <a:lnTo>
                      <a:pt x="238" y="1520"/>
                    </a:lnTo>
                    <a:lnTo>
                      <a:pt x="236" y="1508"/>
                    </a:lnTo>
                    <a:lnTo>
                      <a:pt x="234" y="1506"/>
                    </a:lnTo>
                    <a:lnTo>
                      <a:pt x="232" y="1503"/>
                    </a:lnTo>
                    <a:lnTo>
                      <a:pt x="228" y="1497"/>
                    </a:lnTo>
                    <a:lnTo>
                      <a:pt x="226" y="1489"/>
                    </a:lnTo>
                    <a:lnTo>
                      <a:pt x="224" y="1487"/>
                    </a:lnTo>
                    <a:lnTo>
                      <a:pt x="222" y="1483"/>
                    </a:lnTo>
                    <a:lnTo>
                      <a:pt x="218" y="1481"/>
                    </a:lnTo>
                    <a:lnTo>
                      <a:pt x="216" y="1480"/>
                    </a:lnTo>
                    <a:lnTo>
                      <a:pt x="215" y="1478"/>
                    </a:lnTo>
                    <a:lnTo>
                      <a:pt x="211" y="1474"/>
                    </a:lnTo>
                    <a:lnTo>
                      <a:pt x="199" y="1472"/>
                    </a:lnTo>
                    <a:lnTo>
                      <a:pt x="188" y="1470"/>
                    </a:lnTo>
                    <a:lnTo>
                      <a:pt x="186" y="1466"/>
                    </a:lnTo>
                    <a:lnTo>
                      <a:pt x="182" y="1464"/>
                    </a:lnTo>
                    <a:lnTo>
                      <a:pt x="182" y="1460"/>
                    </a:lnTo>
                    <a:lnTo>
                      <a:pt x="182" y="1455"/>
                    </a:lnTo>
                    <a:lnTo>
                      <a:pt x="186" y="1453"/>
                    </a:lnTo>
                    <a:lnTo>
                      <a:pt x="188" y="1451"/>
                    </a:lnTo>
                    <a:lnTo>
                      <a:pt x="188" y="1445"/>
                    </a:lnTo>
                    <a:lnTo>
                      <a:pt x="188" y="1441"/>
                    </a:lnTo>
                    <a:lnTo>
                      <a:pt x="186" y="1437"/>
                    </a:lnTo>
                    <a:lnTo>
                      <a:pt x="182" y="1435"/>
                    </a:lnTo>
                    <a:lnTo>
                      <a:pt x="178" y="1432"/>
                    </a:lnTo>
                    <a:lnTo>
                      <a:pt x="168" y="1428"/>
                    </a:lnTo>
                    <a:lnTo>
                      <a:pt x="151" y="1426"/>
                    </a:lnTo>
                    <a:lnTo>
                      <a:pt x="120" y="1422"/>
                    </a:lnTo>
                    <a:lnTo>
                      <a:pt x="117" y="1418"/>
                    </a:lnTo>
                    <a:lnTo>
                      <a:pt x="115" y="1416"/>
                    </a:lnTo>
                    <a:lnTo>
                      <a:pt x="96" y="1414"/>
                    </a:lnTo>
                    <a:lnTo>
                      <a:pt x="76" y="1412"/>
                    </a:lnTo>
                    <a:lnTo>
                      <a:pt x="76" y="1389"/>
                    </a:lnTo>
                    <a:lnTo>
                      <a:pt x="76" y="1368"/>
                    </a:lnTo>
                    <a:lnTo>
                      <a:pt x="78" y="1366"/>
                    </a:lnTo>
                    <a:lnTo>
                      <a:pt x="82" y="1364"/>
                    </a:lnTo>
                    <a:lnTo>
                      <a:pt x="84" y="1357"/>
                    </a:lnTo>
                    <a:lnTo>
                      <a:pt x="86" y="1349"/>
                    </a:lnTo>
                    <a:lnTo>
                      <a:pt x="88" y="1345"/>
                    </a:lnTo>
                    <a:lnTo>
                      <a:pt x="90" y="1343"/>
                    </a:lnTo>
                    <a:lnTo>
                      <a:pt x="94" y="1341"/>
                    </a:lnTo>
                    <a:lnTo>
                      <a:pt x="94" y="1334"/>
                    </a:lnTo>
                    <a:lnTo>
                      <a:pt x="94" y="1328"/>
                    </a:lnTo>
                    <a:lnTo>
                      <a:pt x="90" y="1324"/>
                    </a:lnTo>
                    <a:lnTo>
                      <a:pt x="88" y="1322"/>
                    </a:lnTo>
                    <a:lnTo>
                      <a:pt x="86" y="1320"/>
                    </a:lnTo>
                    <a:lnTo>
                      <a:pt x="84" y="1313"/>
                    </a:lnTo>
                    <a:lnTo>
                      <a:pt x="82" y="1305"/>
                    </a:lnTo>
                    <a:lnTo>
                      <a:pt x="78" y="1303"/>
                    </a:lnTo>
                    <a:lnTo>
                      <a:pt x="76" y="1299"/>
                    </a:lnTo>
                    <a:lnTo>
                      <a:pt x="74" y="1293"/>
                    </a:lnTo>
                    <a:lnTo>
                      <a:pt x="73" y="1286"/>
                    </a:lnTo>
                    <a:lnTo>
                      <a:pt x="69" y="1284"/>
                    </a:lnTo>
                    <a:lnTo>
                      <a:pt x="67" y="1282"/>
                    </a:lnTo>
                    <a:lnTo>
                      <a:pt x="63" y="1278"/>
                    </a:lnTo>
                    <a:lnTo>
                      <a:pt x="61" y="1276"/>
                    </a:lnTo>
                    <a:lnTo>
                      <a:pt x="59" y="1274"/>
                    </a:lnTo>
                    <a:lnTo>
                      <a:pt x="57" y="1270"/>
                    </a:lnTo>
                    <a:lnTo>
                      <a:pt x="55" y="1249"/>
                    </a:lnTo>
                    <a:lnTo>
                      <a:pt x="51" y="1228"/>
                    </a:lnTo>
                    <a:lnTo>
                      <a:pt x="50" y="1226"/>
                    </a:lnTo>
                    <a:lnTo>
                      <a:pt x="48" y="1222"/>
                    </a:lnTo>
                    <a:lnTo>
                      <a:pt x="40" y="1220"/>
                    </a:lnTo>
                    <a:lnTo>
                      <a:pt x="32" y="1219"/>
                    </a:lnTo>
                    <a:lnTo>
                      <a:pt x="30" y="1217"/>
                    </a:lnTo>
                    <a:lnTo>
                      <a:pt x="28" y="1213"/>
                    </a:lnTo>
                    <a:lnTo>
                      <a:pt x="28" y="1209"/>
                    </a:lnTo>
                    <a:lnTo>
                      <a:pt x="28" y="1203"/>
                    </a:lnTo>
                    <a:lnTo>
                      <a:pt x="30" y="1201"/>
                    </a:lnTo>
                    <a:lnTo>
                      <a:pt x="32" y="1199"/>
                    </a:lnTo>
                    <a:lnTo>
                      <a:pt x="34" y="1192"/>
                    </a:lnTo>
                    <a:lnTo>
                      <a:pt x="38" y="1184"/>
                    </a:lnTo>
                    <a:lnTo>
                      <a:pt x="40" y="1182"/>
                    </a:lnTo>
                    <a:lnTo>
                      <a:pt x="42" y="1180"/>
                    </a:lnTo>
                    <a:lnTo>
                      <a:pt x="46" y="1165"/>
                    </a:lnTo>
                    <a:lnTo>
                      <a:pt x="46" y="1132"/>
                    </a:lnTo>
                    <a:lnTo>
                      <a:pt x="46" y="1098"/>
                    </a:lnTo>
                    <a:lnTo>
                      <a:pt x="42" y="1082"/>
                    </a:lnTo>
                    <a:lnTo>
                      <a:pt x="40" y="1080"/>
                    </a:lnTo>
                    <a:lnTo>
                      <a:pt x="38" y="1079"/>
                    </a:lnTo>
                    <a:lnTo>
                      <a:pt x="36" y="1071"/>
                    </a:lnTo>
                    <a:lnTo>
                      <a:pt x="32" y="1063"/>
                    </a:lnTo>
                    <a:lnTo>
                      <a:pt x="26" y="1055"/>
                    </a:lnTo>
                    <a:lnTo>
                      <a:pt x="21" y="1048"/>
                    </a:lnTo>
                    <a:lnTo>
                      <a:pt x="21" y="1040"/>
                    </a:lnTo>
                    <a:lnTo>
                      <a:pt x="17" y="1036"/>
                    </a:lnTo>
                    <a:lnTo>
                      <a:pt x="9" y="1036"/>
                    </a:lnTo>
                    <a:lnTo>
                      <a:pt x="7" y="1036"/>
                    </a:lnTo>
                    <a:lnTo>
                      <a:pt x="5" y="1032"/>
                    </a:lnTo>
                    <a:lnTo>
                      <a:pt x="7" y="1029"/>
                    </a:lnTo>
                    <a:lnTo>
                      <a:pt x="11" y="1021"/>
                    </a:lnTo>
                    <a:lnTo>
                      <a:pt x="13" y="1015"/>
                    </a:lnTo>
                    <a:lnTo>
                      <a:pt x="7" y="1015"/>
                    </a:lnTo>
                    <a:lnTo>
                      <a:pt x="5" y="1015"/>
                    </a:lnTo>
                    <a:lnTo>
                      <a:pt x="5" y="1013"/>
                    </a:lnTo>
                    <a:lnTo>
                      <a:pt x="7" y="1011"/>
                    </a:lnTo>
                    <a:lnTo>
                      <a:pt x="11" y="1009"/>
                    </a:lnTo>
                    <a:lnTo>
                      <a:pt x="11" y="1008"/>
                    </a:lnTo>
                    <a:lnTo>
                      <a:pt x="5" y="1006"/>
                    </a:lnTo>
                    <a:lnTo>
                      <a:pt x="2" y="1006"/>
                    </a:lnTo>
                    <a:lnTo>
                      <a:pt x="0" y="1004"/>
                    </a:lnTo>
                    <a:lnTo>
                      <a:pt x="2" y="1004"/>
                    </a:lnTo>
                    <a:lnTo>
                      <a:pt x="3" y="1000"/>
                    </a:lnTo>
                    <a:lnTo>
                      <a:pt x="3" y="996"/>
                    </a:lnTo>
                    <a:lnTo>
                      <a:pt x="2" y="994"/>
                    </a:lnTo>
                    <a:lnTo>
                      <a:pt x="0" y="990"/>
                    </a:lnTo>
                    <a:lnTo>
                      <a:pt x="3" y="986"/>
                    </a:lnTo>
                    <a:lnTo>
                      <a:pt x="9" y="981"/>
                    </a:lnTo>
                    <a:lnTo>
                      <a:pt x="11" y="979"/>
                    </a:lnTo>
                    <a:lnTo>
                      <a:pt x="13" y="977"/>
                    </a:lnTo>
                    <a:lnTo>
                      <a:pt x="21" y="969"/>
                    </a:lnTo>
                    <a:lnTo>
                      <a:pt x="28" y="961"/>
                    </a:lnTo>
                    <a:lnTo>
                      <a:pt x="30" y="960"/>
                    </a:lnTo>
                    <a:lnTo>
                      <a:pt x="32" y="958"/>
                    </a:lnTo>
                    <a:lnTo>
                      <a:pt x="34" y="954"/>
                    </a:lnTo>
                    <a:lnTo>
                      <a:pt x="38" y="952"/>
                    </a:lnTo>
                    <a:lnTo>
                      <a:pt x="40" y="950"/>
                    </a:lnTo>
                    <a:lnTo>
                      <a:pt x="42" y="948"/>
                    </a:lnTo>
                    <a:lnTo>
                      <a:pt x="55" y="944"/>
                    </a:lnTo>
                    <a:lnTo>
                      <a:pt x="67" y="942"/>
                    </a:lnTo>
                    <a:lnTo>
                      <a:pt x="69" y="940"/>
                    </a:lnTo>
                    <a:lnTo>
                      <a:pt x="73" y="938"/>
                    </a:lnTo>
                    <a:lnTo>
                      <a:pt x="73" y="927"/>
                    </a:lnTo>
                    <a:lnTo>
                      <a:pt x="73" y="917"/>
                    </a:lnTo>
                    <a:lnTo>
                      <a:pt x="69" y="915"/>
                    </a:lnTo>
                    <a:lnTo>
                      <a:pt x="67" y="913"/>
                    </a:lnTo>
                    <a:lnTo>
                      <a:pt x="67" y="898"/>
                    </a:lnTo>
                    <a:lnTo>
                      <a:pt x="67" y="885"/>
                    </a:lnTo>
                    <a:lnTo>
                      <a:pt x="69" y="881"/>
                    </a:lnTo>
                    <a:lnTo>
                      <a:pt x="73" y="879"/>
                    </a:lnTo>
                    <a:lnTo>
                      <a:pt x="74" y="871"/>
                    </a:lnTo>
                    <a:lnTo>
                      <a:pt x="76" y="866"/>
                    </a:lnTo>
                    <a:lnTo>
                      <a:pt x="78" y="862"/>
                    </a:lnTo>
                    <a:lnTo>
                      <a:pt x="82" y="860"/>
                    </a:lnTo>
                    <a:lnTo>
                      <a:pt x="84" y="848"/>
                    </a:lnTo>
                    <a:lnTo>
                      <a:pt x="86" y="837"/>
                    </a:lnTo>
                    <a:lnTo>
                      <a:pt x="88" y="833"/>
                    </a:lnTo>
                    <a:lnTo>
                      <a:pt x="90" y="831"/>
                    </a:lnTo>
                    <a:lnTo>
                      <a:pt x="94" y="829"/>
                    </a:lnTo>
                    <a:lnTo>
                      <a:pt x="96" y="827"/>
                    </a:lnTo>
                    <a:lnTo>
                      <a:pt x="97" y="823"/>
                    </a:lnTo>
                    <a:lnTo>
                      <a:pt x="101" y="821"/>
                    </a:lnTo>
                    <a:lnTo>
                      <a:pt x="103" y="819"/>
                    </a:lnTo>
                    <a:lnTo>
                      <a:pt x="105" y="818"/>
                    </a:lnTo>
                    <a:lnTo>
                      <a:pt x="107" y="814"/>
                    </a:lnTo>
                    <a:lnTo>
                      <a:pt x="111" y="812"/>
                    </a:lnTo>
                    <a:lnTo>
                      <a:pt x="117" y="810"/>
                    </a:lnTo>
                    <a:lnTo>
                      <a:pt x="124" y="808"/>
                    </a:lnTo>
                    <a:lnTo>
                      <a:pt x="126" y="804"/>
                    </a:lnTo>
                    <a:lnTo>
                      <a:pt x="130" y="802"/>
                    </a:lnTo>
                    <a:lnTo>
                      <a:pt x="130" y="796"/>
                    </a:lnTo>
                    <a:lnTo>
                      <a:pt x="130" y="793"/>
                    </a:lnTo>
                    <a:lnTo>
                      <a:pt x="126" y="791"/>
                    </a:lnTo>
                    <a:lnTo>
                      <a:pt x="124" y="789"/>
                    </a:lnTo>
                    <a:lnTo>
                      <a:pt x="122" y="785"/>
                    </a:lnTo>
                    <a:lnTo>
                      <a:pt x="120" y="783"/>
                    </a:lnTo>
                    <a:lnTo>
                      <a:pt x="117" y="781"/>
                    </a:lnTo>
                    <a:lnTo>
                      <a:pt x="115" y="779"/>
                    </a:lnTo>
                    <a:lnTo>
                      <a:pt x="113" y="775"/>
                    </a:lnTo>
                    <a:lnTo>
                      <a:pt x="111" y="773"/>
                    </a:lnTo>
                    <a:lnTo>
                      <a:pt x="107" y="770"/>
                    </a:lnTo>
                    <a:lnTo>
                      <a:pt x="105" y="768"/>
                    </a:lnTo>
                    <a:lnTo>
                      <a:pt x="103" y="750"/>
                    </a:lnTo>
                    <a:lnTo>
                      <a:pt x="101" y="735"/>
                    </a:lnTo>
                    <a:lnTo>
                      <a:pt x="97" y="731"/>
                    </a:lnTo>
                    <a:lnTo>
                      <a:pt x="96" y="729"/>
                    </a:lnTo>
                    <a:lnTo>
                      <a:pt x="94" y="727"/>
                    </a:lnTo>
                    <a:lnTo>
                      <a:pt x="90" y="725"/>
                    </a:lnTo>
                    <a:lnTo>
                      <a:pt x="88" y="722"/>
                    </a:lnTo>
                    <a:lnTo>
                      <a:pt x="86" y="720"/>
                    </a:lnTo>
                    <a:lnTo>
                      <a:pt x="84" y="718"/>
                    </a:lnTo>
                    <a:lnTo>
                      <a:pt x="82" y="716"/>
                    </a:lnTo>
                    <a:lnTo>
                      <a:pt x="78" y="712"/>
                    </a:lnTo>
                    <a:lnTo>
                      <a:pt x="76" y="710"/>
                    </a:lnTo>
                    <a:lnTo>
                      <a:pt x="74" y="708"/>
                    </a:lnTo>
                    <a:lnTo>
                      <a:pt x="73" y="706"/>
                    </a:lnTo>
                    <a:lnTo>
                      <a:pt x="69" y="702"/>
                    </a:lnTo>
                    <a:lnTo>
                      <a:pt x="67" y="701"/>
                    </a:lnTo>
                    <a:lnTo>
                      <a:pt x="63" y="693"/>
                    </a:lnTo>
                    <a:lnTo>
                      <a:pt x="61" y="685"/>
                    </a:lnTo>
                    <a:lnTo>
                      <a:pt x="59" y="683"/>
                    </a:lnTo>
                    <a:lnTo>
                      <a:pt x="57" y="681"/>
                    </a:lnTo>
                    <a:lnTo>
                      <a:pt x="55" y="679"/>
                    </a:lnTo>
                    <a:lnTo>
                      <a:pt x="51" y="676"/>
                    </a:lnTo>
                    <a:lnTo>
                      <a:pt x="50" y="674"/>
                    </a:lnTo>
                    <a:lnTo>
                      <a:pt x="48" y="672"/>
                    </a:lnTo>
                    <a:lnTo>
                      <a:pt x="46" y="670"/>
                    </a:lnTo>
                    <a:lnTo>
                      <a:pt x="42" y="668"/>
                    </a:lnTo>
                    <a:lnTo>
                      <a:pt x="40" y="664"/>
                    </a:lnTo>
                    <a:lnTo>
                      <a:pt x="38" y="662"/>
                    </a:lnTo>
                    <a:lnTo>
                      <a:pt x="34" y="654"/>
                    </a:lnTo>
                    <a:lnTo>
                      <a:pt x="32" y="647"/>
                    </a:lnTo>
                    <a:lnTo>
                      <a:pt x="30" y="645"/>
                    </a:lnTo>
                    <a:lnTo>
                      <a:pt x="28" y="643"/>
                    </a:lnTo>
                    <a:lnTo>
                      <a:pt x="25" y="641"/>
                    </a:lnTo>
                    <a:lnTo>
                      <a:pt x="23" y="637"/>
                    </a:lnTo>
                    <a:lnTo>
                      <a:pt x="21" y="635"/>
                    </a:lnTo>
                    <a:lnTo>
                      <a:pt x="19" y="633"/>
                    </a:lnTo>
                    <a:lnTo>
                      <a:pt x="19" y="616"/>
                    </a:lnTo>
                    <a:lnTo>
                      <a:pt x="19" y="599"/>
                    </a:lnTo>
                    <a:lnTo>
                      <a:pt x="23" y="593"/>
                    </a:lnTo>
                    <a:lnTo>
                      <a:pt x="28" y="589"/>
                    </a:lnTo>
                    <a:lnTo>
                      <a:pt x="28" y="585"/>
                    </a:lnTo>
                    <a:lnTo>
                      <a:pt x="28" y="580"/>
                    </a:lnTo>
                    <a:lnTo>
                      <a:pt x="32" y="576"/>
                    </a:lnTo>
                    <a:lnTo>
                      <a:pt x="38" y="570"/>
                    </a:lnTo>
                    <a:lnTo>
                      <a:pt x="42" y="570"/>
                    </a:lnTo>
                    <a:lnTo>
                      <a:pt x="48" y="570"/>
                    </a:lnTo>
                    <a:lnTo>
                      <a:pt x="51" y="570"/>
                    </a:lnTo>
                    <a:lnTo>
                      <a:pt x="57" y="570"/>
                    </a:lnTo>
                    <a:lnTo>
                      <a:pt x="82" y="570"/>
                    </a:lnTo>
                    <a:lnTo>
                      <a:pt x="105" y="570"/>
                    </a:lnTo>
                    <a:lnTo>
                      <a:pt x="111" y="570"/>
                    </a:lnTo>
                    <a:lnTo>
                      <a:pt x="115" y="570"/>
                    </a:lnTo>
                    <a:lnTo>
                      <a:pt x="115" y="564"/>
                    </a:lnTo>
                    <a:lnTo>
                      <a:pt x="115" y="560"/>
                    </a:lnTo>
                    <a:lnTo>
                      <a:pt x="119" y="560"/>
                    </a:lnTo>
                    <a:lnTo>
                      <a:pt x="124" y="560"/>
                    </a:lnTo>
                    <a:lnTo>
                      <a:pt x="130" y="562"/>
                    </a:lnTo>
                    <a:lnTo>
                      <a:pt x="134" y="564"/>
                    </a:lnTo>
                    <a:lnTo>
                      <a:pt x="136" y="562"/>
                    </a:lnTo>
                    <a:lnTo>
                      <a:pt x="140" y="560"/>
                    </a:lnTo>
                    <a:lnTo>
                      <a:pt x="142" y="555"/>
                    </a:lnTo>
                    <a:lnTo>
                      <a:pt x="144" y="551"/>
                    </a:lnTo>
                    <a:lnTo>
                      <a:pt x="149" y="545"/>
                    </a:lnTo>
                    <a:lnTo>
                      <a:pt x="153" y="541"/>
                    </a:lnTo>
                    <a:lnTo>
                      <a:pt x="159" y="541"/>
                    </a:lnTo>
                    <a:lnTo>
                      <a:pt x="163" y="541"/>
                    </a:lnTo>
                    <a:lnTo>
                      <a:pt x="168" y="541"/>
                    </a:lnTo>
                    <a:lnTo>
                      <a:pt x="172" y="541"/>
                    </a:lnTo>
                    <a:lnTo>
                      <a:pt x="178" y="541"/>
                    </a:lnTo>
                    <a:lnTo>
                      <a:pt x="182" y="541"/>
                    </a:lnTo>
                    <a:lnTo>
                      <a:pt x="191" y="541"/>
                    </a:lnTo>
                    <a:lnTo>
                      <a:pt x="203" y="541"/>
                    </a:lnTo>
                    <a:lnTo>
                      <a:pt x="203" y="553"/>
                    </a:lnTo>
                    <a:lnTo>
                      <a:pt x="203" y="559"/>
                    </a:lnTo>
                    <a:lnTo>
                      <a:pt x="207" y="560"/>
                    </a:lnTo>
                    <a:lnTo>
                      <a:pt x="211" y="560"/>
                    </a:lnTo>
                    <a:lnTo>
                      <a:pt x="220" y="564"/>
                    </a:lnTo>
                    <a:lnTo>
                      <a:pt x="232" y="570"/>
                    </a:lnTo>
                    <a:lnTo>
                      <a:pt x="241" y="564"/>
                    </a:lnTo>
                    <a:lnTo>
                      <a:pt x="251" y="560"/>
                    </a:lnTo>
                    <a:lnTo>
                      <a:pt x="255" y="560"/>
                    </a:lnTo>
                    <a:lnTo>
                      <a:pt x="261" y="560"/>
                    </a:lnTo>
                    <a:lnTo>
                      <a:pt x="264" y="564"/>
                    </a:lnTo>
                    <a:lnTo>
                      <a:pt x="270" y="570"/>
                    </a:lnTo>
                    <a:lnTo>
                      <a:pt x="270" y="564"/>
                    </a:lnTo>
                    <a:lnTo>
                      <a:pt x="270" y="560"/>
                    </a:lnTo>
                    <a:lnTo>
                      <a:pt x="284" y="555"/>
                    </a:lnTo>
                    <a:lnTo>
                      <a:pt x="299" y="551"/>
                    </a:lnTo>
                    <a:lnTo>
                      <a:pt x="303" y="551"/>
                    </a:lnTo>
                    <a:lnTo>
                      <a:pt x="309" y="551"/>
                    </a:lnTo>
                    <a:lnTo>
                      <a:pt x="312" y="551"/>
                    </a:lnTo>
                    <a:lnTo>
                      <a:pt x="318" y="551"/>
                    </a:lnTo>
                    <a:lnTo>
                      <a:pt x="322" y="545"/>
                    </a:lnTo>
                    <a:lnTo>
                      <a:pt x="328" y="541"/>
                    </a:lnTo>
                    <a:lnTo>
                      <a:pt x="328" y="526"/>
                    </a:lnTo>
                    <a:lnTo>
                      <a:pt x="328" y="512"/>
                    </a:lnTo>
                    <a:lnTo>
                      <a:pt x="328" y="497"/>
                    </a:lnTo>
                    <a:lnTo>
                      <a:pt x="328" y="484"/>
                    </a:lnTo>
                    <a:lnTo>
                      <a:pt x="322" y="478"/>
                    </a:lnTo>
                    <a:lnTo>
                      <a:pt x="318" y="474"/>
                    </a:lnTo>
                    <a:lnTo>
                      <a:pt x="318" y="468"/>
                    </a:lnTo>
                    <a:lnTo>
                      <a:pt x="318" y="465"/>
                    </a:lnTo>
                    <a:lnTo>
                      <a:pt x="328" y="465"/>
                    </a:lnTo>
                    <a:lnTo>
                      <a:pt x="337" y="465"/>
                    </a:lnTo>
                    <a:lnTo>
                      <a:pt x="341" y="465"/>
                    </a:lnTo>
                    <a:lnTo>
                      <a:pt x="347" y="465"/>
                    </a:lnTo>
                    <a:lnTo>
                      <a:pt x="362" y="459"/>
                    </a:lnTo>
                    <a:lnTo>
                      <a:pt x="376" y="453"/>
                    </a:lnTo>
                    <a:lnTo>
                      <a:pt x="381" y="453"/>
                    </a:lnTo>
                    <a:lnTo>
                      <a:pt x="385" y="453"/>
                    </a:lnTo>
                    <a:lnTo>
                      <a:pt x="389" y="453"/>
                    </a:lnTo>
                    <a:lnTo>
                      <a:pt x="391" y="453"/>
                    </a:lnTo>
                    <a:lnTo>
                      <a:pt x="393" y="457"/>
                    </a:lnTo>
                    <a:lnTo>
                      <a:pt x="395" y="459"/>
                    </a:lnTo>
                    <a:lnTo>
                      <a:pt x="399" y="457"/>
                    </a:lnTo>
                    <a:lnTo>
                      <a:pt x="401" y="453"/>
                    </a:lnTo>
                    <a:lnTo>
                      <a:pt x="399" y="451"/>
                    </a:lnTo>
                    <a:lnTo>
                      <a:pt x="395" y="449"/>
                    </a:lnTo>
                    <a:lnTo>
                      <a:pt x="395" y="447"/>
                    </a:lnTo>
                    <a:lnTo>
                      <a:pt x="395" y="443"/>
                    </a:lnTo>
                    <a:lnTo>
                      <a:pt x="420" y="443"/>
                    </a:lnTo>
                    <a:lnTo>
                      <a:pt x="443" y="443"/>
                    </a:lnTo>
                    <a:lnTo>
                      <a:pt x="452" y="443"/>
                    </a:lnTo>
                    <a:lnTo>
                      <a:pt x="464" y="443"/>
                    </a:lnTo>
                    <a:lnTo>
                      <a:pt x="468" y="453"/>
                    </a:lnTo>
                    <a:lnTo>
                      <a:pt x="474" y="465"/>
                    </a:lnTo>
                    <a:lnTo>
                      <a:pt x="474" y="468"/>
                    </a:lnTo>
                    <a:lnTo>
                      <a:pt x="474" y="474"/>
                    </a:lnTo>
                    <a:lnTo>
                      <a:pt x="477" y="478"/>
                    </a:lnTo>
                    <a:lnTo>
                      <a:pt x="483" y="484"/>
                    </a:lnTo>
                    <a:lnTo>
                      <a:pt x="493" y="488"/>
                    </a:lnTo>
                    <a:lnTo>
                      <a:pt x="502" y="493"/>
                    </a:lnTo>
                    <a:lnTo>
                      <a:pt x="502" y="497"/>
                    </a:lnTo>
                    <a:lnTo>
                      <a:pt x="502" y="503"/>
                    </a:lnTo>
                    <a:lnTo>
                      <a:pt x="502" y="507"/>
                    </a:lnTo>
                    <a:lnTo>
                      <a:pt x="502" y="512"/>
                    </a:lnTo>
                    <a:lnTo>
                      <a:pt x="498" y="512"/>
                    </a:lnTo>
                    <a:lnTo>
                      <a:pt x="497" y="514"/>
                    </a:lnTo>
                    <a:lnTo>
                      <a:pt x="497" y="520"/>
                    </a:lnTo>
                    <a:lnTo>
                      <a:pt x="497" y="532"/>
                    </a:lnTo>
                    <a:lnTo>
                      <a:pt x="504" y="536"/>
                    </a:lnTo>
                    <a:lnTo>
                      <a:pt x="512" y="541"/>
                    </a:lnTo>
                    <a:lnTo>
                      <a:pt x="516" y="541"/>
                    </a:lnTo>
                    <a:lnTo>
                      <a:pt x="521" y="541"/>
                    </a:lnTo>
                    <a:lnTo>
                      <a:pt x="525" y="545"/>
                    </a:lnTo>
                    <a:lnTo>
                      <a:pt x="531" y="551"/>
                    </a:lnTo>
                    <a:lnTo>
                      <a:pt x="535" y="555"/>
                    </a:lnTo>
                    <a:lnTo>
                      <a:pt x="541" y="560"/>
                    </a:lnTo>
                    <a:lnTo>
                      <a:pt x="550" y="564"/>
                    </a:lnTo>
                    <a:lnTo>
                      <a:pt x="560" y="570"/>
                    </a:lnTo>
                    <a:lnTo>
                      <a:pt x="569" y="576"/>
                    </a:lnTo>
                    <a:lnTo>
                      <a:pt x="579" y="580"/>
                    </a:lnTo>
                    <a:lnTo>
                      <a:pt x="589" y="580"/>
                    </a:lnTo>
                    <a:lnTo>
                      <a:pt x="598" y="580"/>
                    </a:lnTo>
                    <a:lnTo>
                      <a:pt x="604" y="576"/>
                    </a:lnTo>
                    <a:lnTo>
                      <a:pt x="608" y="570"/>
                    </a:lnTo>
                    <a:lnTo>
                      <a:pt x="614" y="570"/>
                    </a:lnTo>
                    <a:lnTo>
                      <a:pt x="617" y="570"/>
                    </a:lnTo>
                    <a:lnTo>
                      <a:pt x="617" y="555"/>
                    </a:lnTo>
                    <a:lnTo>
                      <a:pt x="617" y="541"/>
                    </a:lnTo>
                    <a:lnTo>
                      <a:pt x="614" y="541"/>
                    </a:lnTo>
                    <a:lnTo>
                      <a:pt x="608" y="541"/>
                    </a:lnTo>
                    <a:lnTo>
                      <a:pt x="608" y="536"/>
                    </a:lnTo>
                    <a:lnTo>
                      <a:pt x="608" y="532"/>
                    </a:lnTo>
                    <a:lnTo>
                      <a:pt x="604" y="526"/>
                    </a:lnTo>
                    <a:lnTo>
                      <a:pt x="598" y="522"/>
                    </a:lnTo>
                    <a:lnTo>
                      <a:pt x="594" y="512"/>
                    </a:lnTo>
                    <a:lnTo>
                      <a:pt x="589" y="503"/>
                    </a:lnTo>
                    <a:lnTo>
                      <a:pt x="589" y="493"/>
                    </a:lnTo>
                    <a:lnTo>
                      <a:pt x="589" y="484"/>
                    </a:lnTo>
                    <a:lnTo>
                      <a:pt x="598" y="484"/>
                    </a:lnTo>
                    <a:lnTo>
                      <a:pt x="608" y="484"/>
                    </a:lnTo>
                    <a:lnTo>
                      <a:pt x="614" y="488"/>
                    </a:lnTo>
                    <a:lnTo>
                      <a:pt x="617" y="493"/>
                    </a:lnTo>
                    <a:lnTo>
                      <a:pt x="623" y="493"/>
                    </a:lnTo>
                    <a:lnTo>
                      <a:pt x="627" y="493"/>
                    </a:lnTo>
                    <a:lnTo>
                      <a:pt x="633" y="493"/>
                    </a:lnTo>
                    <a:lnTo>
                      <a:pt x="637" y="493"/>
                    </a:lnTo>
                    <a:lnTo>
                      <a:pt x="642" y="488"/>
                    </a:lnTo>
                    <a:lnTo>
                      <a:pt x="646" y="484"/>
                    </a:lnTo>
                    <a:lnTo>
                      <a:pt x="652" y="484"/>
                    </a:lnTo>
                    <a:lnTo>
                      <a:pt x="658" y="484"/>
                    </a:lnTo>
                    <a:lnTo>
                      <a:pt x="658" y="478"/>
                    </a:lnTo>
                    <a:lnTo>
                      <a:pt x="658" y="474"/>
                    </a:lnTo>
                    <a:lnTo>
                      <a:pt x="662" y="468"/>
                    </a:lnTo>
                    <a:lnTo>
                      <a:pt x="665" y="465"/>
                    </a:lnTo>
                    <a:lnTo>
                      <a:pt x="665" y="459"/>
                    </a:lnTo>
                    <a:lnTo>
                      <a:pt x="665" y="453"/>
                    </a:lnTo>
                    <a:lnTo>
                      <a:pt x="671" y="453"/>
                    </a:lnTo>
                    <a:lnTo>
                      <a:pt x="675" y="453"/>
                    </a:lnTo>
                    <a:lnTo>
                      <a:pt x="681" y="449"/>
                    </a:lnTo>
                    <a:lnTo>
                      <a:pt x="686" y="443"/>
                    </a:lnTo>
                    <a:lnTo>
                      <a:pt x="696" y="443"/>
                    </a:lnTo>
                    <a:lnTo>
                      <a:pt x="706" y="443"/>
                    </a:lnTo>
                    <a:lnTo>
                      <a:pt x="715" y="443"/>
                    </a:lnTo>
                    <a:lnTo>
                      <a:pt x="725" y="443"/>
                    </a:lnTo>
                    <a:lnTo>
                      <a:pt x="725" y="449"/>
                    </a:lnTo>
                    <a:lnTo>
                      <a:pt x="727" y="453"/>
                    </a:lnTo>
                    <a:lnTo>
                      <a:pt x="733" y="453"/>
                    </a:lnTo>
                    <a:lnTo>
                      <a:pt x="744" y="453"/>
                    </a:lnTo>
                    <a:lnTo>
                      <a:pt x="744" y="440"/>
                    </a:lnTo>
                    <a:lnTo>
                      <a:pt x="744" y="424"/>
                    </a:lnTo>
                    <a:lnTo>
                      <a:pt x="738" y="424"/>
                    </a:lnTo>
                    <a:lnTo>
                      <a:pt x="734" y="424"/>
                    </a:lnTo>
                    <a:lnTo>
                      <a:pt x="729" y="420"/>
                    </a:lnTo>
                    <a:lnTo>
                      <a:pt x="725" y="415"/>
                    </a:lnTo>
                    <a:lnTo>
                      <a:pt x="725" y="411"/>
                    </a:lnTo>
                    <a:lnTo>
                      <a:pt x="725" y="405"/>
                    </a:lnTo>
                    <a:lnTo>
                      <a:pt x="738" y="401"/>
                    </a:lnTo>
                    <a:lnTo>
                      <a:pt x="754" y="395"/>
                    </a:lnTo>
                    <a:lnTo>
                      <a:pt x="763" y="395"/>
                    </a:lnTo>
                    <a:lnTo>
                      <a:pt x="773" y="395"/>
                    </a:lnTo>
                    <a:lnTo>
                      <a:pt x="773" y="386"/>
                    </a:lnTo>
                    <a:lnTo>
                      <a:pt x="773" y="376"/>
                    </a:lnTo>
                    <a:lnTo>
                      <a:pt x="763" y="376"/>
                    </a:lnTo>
                    <a:lnTo>
                      <a:pt x="754" y="376"/>
                    </a:lnTo>
                    <a:lnTo>
                      <a:pt x="748" y="372"/>
                    </a:lnTo>
                    <a:lnTo>
                      <a:pt x="744" y="367"/>
                    </a:lnTo>
                    <a:lnTo>
                      <a:pt x="744" y="361"/>
                    </a:lnTo>
                    <a:lnTo>
                      <a:pt x="744" y="357"/>
                    </a:lnTo>
                    <a:lnTo>
                      <a:pt x="744" y="353"/>
                    </a:lnTo>
                    <a:lnTo>
                      <a:pt x="744" y="347"/>
                    </a:lnTo>
                    <a:lnTo>
                      <a:pt x="744" y="344"/>
                    </a:lnTo>
                    <a:lnTo>
                      <a:pt x="744" y="338"/>
                    </a:lnTo>
                    <a:lnTo>
                      <a:pt x="740" y="330"/>
                    </a:lnTo>
                    <a:lnTo>
                      <a:pt x="736" y="326"/>
                    </a:lnTo>
                    <a:lnTo>
                      <a:pt x="734" y="326"/>
                    </a:lnTo>
                    <a:lnTo>
                      <a:pt x="734" y="328"/>
                    </a:lnTo>
                    <a:lnTo>
                      <a:pt x="729" y="328"/>
                    </a:lnTo>
                    <a:lnTo>
                      <a:pt x="725" y="328"/>
                    </a:lnTo>
                    <a:lnTo>
                      <a:pt x="719" y="328"/>
                    </a:lnTo>
                    <a:lnTo>
                      <a:pt x="715" y="328"/>
                    </a:lnTo>
                    <a:lnTo>
                      <a:pt x="710" y="328"/>
                    </a:lnTo>
                    <a:lnTo>
                      <a:pt x="706" y="328"/>
                    </a:lnTo>
                    <a:lnTo>
                      <a:pt x="706" y="323"/>
                    </a:lnTo>
                    <a:lnTo>
                      <a:pt x="706" y="319"/>
                    </a:lnTo>
                    <a:lnTo>
                      <a:pt x="710" y="313"/>
                    </a:lnTo>
                    <a:lnTo>
                      <a:pt x="715" y="309"/>
                    </a:lnTo>
                    <a:lnTo>
                      <a:pt x="719" y="294"/>
                    </a:lnTo>
                    <a:lnTo>
                      <a:pt x="725" y="280"/>
                    </a:lnTo>
                    <a:lnTo>
                      <a:pt x="725" y="275"/>
                    </a:lnTo>
                    <a:lnTo>
                      <a:pt x="725" y="271"/>
                    </a:lnTo>
                    <a:lnTo>
                      <a:pt x="725" y="265"/>
                    </a:lnTo>
                    <a:lnTo>
                      <a:pt x="725" y="261"/>
                    </a:lnTo>
                    <a:lnTo>
                      <a:pt x="734" y="261"/>
                    </a:lnTo>
                    <a:lnTo>
                      <a:pt x="744" y="261"/>
                    </a:lnTo>
                    <a:lnTo>
                      <a:pt x="748" y="261"/>
                    </a:lnTo>
                    <a:lnTo>
                      <a:pt x="754" y="261"/>
                    </a:lnTo>
                    <a:lnTo>
                      <a:pt x="754" y="255"/>
                    </a:lnTo>
                    <a:lnTo>
                      <a:pt x="754" y="252"/>
                    </a:lnTo>
                    <a:lnTo>
                      <a:pt x="757" y="252"/>
                    </a:lnTo>
                    <a:lnTo>
                      <a:pt x="763" y="252"/>
                    </a:lnTo>
                    <a:lnTo>
                      <a:pt x="767" y="252"/>
                    </a:lnTo>
                    <a:lnTo>
                      <a:pt x="773" y="252"/>
                    </a:lnTo>
                    <a:lnTo>
                      <a:pt x="773" y="246"/>
                    </a:lnTo>
                    <a:lnTo>
                      <a:pt x="773" y="242"/>
                    </a:lnTo>
                    <a:lnTo>
                      <a:pt x="777" y="242"/>
                    </a:lnTo>
                    <a:lnTo>
                      <a:pt x="782" y="242"/>
                    </a:lnTo>
                    <a:lnTo>
                      <a:pt x="786" y="244"/>
                    </a:lnTo>
                    <a:lnTo>
                      <a:pt x="792" y="246"/>
                    </a:lnTo>
                    <a:lnTo>
                      <a:pt x="794" y="244"/>
                    </a:lnTo>
                    <a:lnTo>
                      <a:pt x="796" y="242"/>
                    </a:lnTo>
                    <a:lnTo>
                      <a:pt x="800" y="236"/>
                    </a:lnTo>
                    <a:lnTo>
                      <a:pt x="802" y="232"/>
                    </a:lnTo>
                    <a:lnTo>
                      <a:pt x="802" y="227"/>
                    </a:lnTo>
                    <a:lnTo>
                      <a:pt x="802" y="223"/>
                    </a:lnTo>
                    <a:lnTo>
                      <a:pt x="805" y="217"/>
                    </a:lnTo>
                    <a:lnTo>
                      <a:pt x="811" y="211"/>
                    </a:lnTo>
                    <a:lnTo>
                      <a:pt x="815" y="211"/>
                    </a:lnTo>
                    <a:lnTo>
                      <a:pt x="821" y="211"/>
                    </a:lnTo>
                    <a:lnTo>
                      <a:pt x="821" y="221"/>
                    </a:lnTo>
                    <a:lnTo>
                      <a:pt x="821" y="232"/>
                    </a:lnTo>
                    <a:lnTo>
                      <a:pt x="815" y="232"/>
                    </a:lnTo>
                    <a:lnTo>
                      <a:pt x="813" y="234"/>
                    </a:lnTo>
                    <a:lnTo>
                      <a:pt x="811" y="240"/>
                    </a:lnTo>
                    <a:lnTo>
                      <a:pt x="811" y="252"/>
                    </a:lnTo>
                    <a:lnTo>
                      <a:pt x="823" y="252"/>
                    </a:lnTo>
                    <a:lnTo>
                      <a:pt x="828" y="250"/>
                    </a:lnTo>
                    <a:lnTo>
                      <a:pt x="830" y="248"/>
                    </a:lnTo>
                    <a:lnTo>
                      <a:pt x="830" y="242"/>
                    </a:lnTo>
                    <a:lnTo>
                      <a:pt x="836" y="236"/>
                    </a:lnTo>
                    <a:lnTo>
                      <a:pt x="840" y="232"/>
                    </a:lnTo>
                    <a:lnTo>
                      <a:pt x="846" y="232"/>
                    </a:lnTo>
                    <a:lnTo>
                      <a:pt x="850" y="232"/>
                    </a:lnTo>
                    <a:lnTo>
                      <a:pt x="855" y="242"/>
                    </a:lnTo>
                    <a:lnTo>
                      <a:pt x="859" y="252"/>
                    </a:lnTo>
                    <a:lnTo>
                      <a:pt x="865" y="252"/>
                    </a:lnTo>
                    <a:lnTo>
                      <a:pt x="869" y="252"/>
                    </a:lnTo>
                    <a:lnTo>
                      <a:pt x="875" y="252"/>
                    </a:lnTo>
                    <a:lnTo>
                      <a:pt x="878" y="252"/>
                    </a:lnTo>
                    <a:lnTo>
                      <a:pt x="878" y="230"/>
                    </a:lnTo>
                    <a:lnTo>
                      <a:pt x="878" y="211"/>
                    </a:lnTo>
                    <a:lnTo>
                      <a:pt x="875" y="211"/>
                    </a:lnTo>
                    <a:lnTo>
                      <a:pt x="869" y="211"/>
                    </a:lnTo>
                    <a:lnTo>
                      <a:pt x="869" y="192"/>
                    </a:lnTo>
                    <a:lnTo>
                      <a:pt x="869" y="173"/>
                    </a:lnTo>
                    <a:lnTo>
                      <a:pt x="875" y="173"/>
                    </a:lnTo>
                    <a:lnTo>
                      <a:pt x="878" y="173"/>
                    </a:lnTo>
                    <a:lnTo>
                      <a:pt x="884" y="177"/>
                    </a:lnTo>
                    <a:lnTo>
                      <a:pt x="888" y="179"/>
                    </a:lnTo>
                    <a:lnTo>
                      <a:pt x="892" y="177"/>
                    </a:lnTo>
                    <a:lnTo>
                      <a:pt x="894" y="173"/>
                    </a:lnTo>
                    <a:lnTo>
                      <a:pt x="896" y="169"/>
                    </a:lnTo>
                    <a:lnTo>
                      <a:pt x="898" y="163"/>
                    </a:lnTo>
                    <a:lnTo>
                      <a:pt x="903" y="159"/>
                    </a:lnTo>
                    <a:lnTo>
                      <a:pt x="907" y="154"/>
                    </a:lnTo>
                    <a:lnTo>
                      <a:pt x="917" y="154"/>
                    </a:lnTo>
                    <a:lnTo>
                      <a:pt x="928" y="154"/>
                    </a:lnTo>
                    <a:lnTo>
                      <a:pt x="932" y="163"/>
                    </a:lnTo>
                    <a:lnTo>
                      <a:pt x="938" y="173"/>
                    </a:lnTo>
                    <a:lnTo>
                      <a:pt x="938" y="179"/>
                    </a:lnTo>
                    <a:lnTo>
                      <a:pt x="940" y="182"/>
                    </a:lnTo>
                    <a:lnTo>
                      <a:pt x="946" y="182"/>
                    </a:lnTo>
                    <a:lnTo>
                      <a:pt x="957" y="182"/>
                    </a:lnTo>
                    <a:lnTo>
                      <a:pt x="957" y="179"/>
                    </a:lnTo>
                    <a:lnTo>
                      <a:pt x="957" y="173"/>
                    </a:lnTo>
                    <a:lnTo>
                      <a:pt x="967" y="173"/>
                    </a:lnTo>
                    <a:lnTo>
                      <a:pt x="976" y="173"/>
                    </a:lnTo>
                    <a:lnTo>
                      <a:pt x="980" y="173"/>
                    </a:lnTo>
                    <a:lnTo>
                      <a:pt x="986" y="173"/>
                    </a:lnTo>
                    <a:lnTo>
                      <a:pt x="990" y="169"/>
                    </a:lnTo>
                    <a:lnTo>
                      <a:pt x="995" y="163"/>
                    </a:lnTo>
                    <a:lnTo>
                      <a:pt x="999" y="163"/>
                    </a:lnTo>
                    <a:lnTo>
                      <a:pt x="1005" y="163"/>
                    </a:lnTo>
                    <a:lnTo>
                      <a:pt x="1009" y="163"/>
                    </a:lnTo>
                    <a:lnTo>
                      <a:pt x="1015" y="163"/>
                    </a:lnTo>
                    <a:lnTo>
                      <a:pt x="1040" y="159"/>
                    </a:lnTo>
                    <a:lnTo>
                      <a:pt x="1063" y="154"/>
                    </a:lnTo>
                    <a:lnTo>
                      <a:pt x="1068" y="150"/>
                    </a:lnTo>
                    <a:lnTo>
                      <a:pt x="1072" y="144"/>
                    </a:lnTo>
                    <a:lnTo>
                      <a:pt x="1072" y="140"/>
                    </a:lnTo>
                    <a:lnTo>
                      <a:pt x="1072" y="134"/>
                    </a:lnTo>
                    <a:lnTo>
                      <a:pt x="1078" y="121"/>
                    </a:lnTo>
                    <a:lnTo>
                      <a:pt x="1082" y="106"/>
                    </a:lnTo>
                    <a:lnTo>
                      <a:pt x="1086" y="96"/>
                    </a:lnTo>
                    <a:lnTo>
                      <a:pt x="1091" y="87"/>
                    </a:lnTo>
                    <a:lnTo>
                      <a:pt x="1091" y="81"/>
                    </a:lnTo>
                    <a:lnTo>
                      <a:pt x="1091" y="77"/>
                    </a:lnTo>
                    <a:lnTo>
                      <a:pt x="1091" y="67"/>
                    </a:lnTo>
                    <a:lnTo>
                      <a:pt x="1091" y="58"/>
                    </a:lnTo>
                    <a:lnTo>
                      <a:pt x="1097" y="52"/>
                    </a:lnTo>
                    <a:lnTo>
                      <a:pt x="1101" y="48"/>
                    </a:lnTo>
                    <a:lnTo>
                      <a:pt x="1107" y="42"/>
                    </a:lnTo>
                    <a:lnTo>
                      <a:pt x="1111" y="39"/>
                    </a:lnTo>
                    <a:lnTo>
                      <a:pt x="1116" y="39"/>
                    </a:lnTo>
                    <a:lnTo>
                      <a:pt x="1120" y="39"/>
                    </a:lnTo>
                    <a:lnTo>
                      <a:pt x="1126" y="33"/>
                    </a:lnTo>
                    <a:lnTo>
                      <a:pt x="1130" y="29"/>
                    </a:lnTo>
                    <a:lnTo>
                      <a:pt x="1135" y="29"/>
                    </a:lnTo>
                    <a:lnTo>
                      <a:pt x="1139" y="29"/>
                    </a:lnTo>
                    <a:lnTo>
                      <a:pt x="1145" y="23"/>
                    </a:lnTo>
                    <a:lnTo>
                      <a:pt x="1149" y="19"/>
                    </a:lnTo>
                    <a:lnTo>
                      <a:pt x="1158" y="19"/>
                    </a:lnTo>
                    <a:lnTo>
                      <a:pt x="1170" y="19"/>
                    </a:lnTo>
                    <a:lnTo>
                      <a:pt x="1174" y="14"/>
                    </a:lnTo>
                    <a:lnTo>
                      <a:pt x="1178" y="10"/>
                    </a:lnTo>
                    <a:lnTo>
                      <a:pt x="1183" y="10"/>
                    </a:lnTo>
                    <a:lnTo>
                      <a:pt x="1189" y="10"/>
                    </a:lnTo>
                    <a:lnTo>
                      <a:pt x="1193" y="10"/>
                    </a:lnTo>
                    <a:lnTo>
                      <a:pt x="1199" y="10"/>
                    </a:lnTo>
                    <a:lnTo>
                      <a:pt x="1212" y="14"/>
                    </a:lnTo>
                    <a:lnTo>
                      <a:pt x="1228" y="19"/>
                    </a:lnTo>
                    <a:lnTo>
                      <a:pt x="1231" y="23"/>
                    </a:lnTo>
                    <a:lnTo>
                      <a:pt x="1237" y="29"/>
                    </a:lnTo>
                    <a:lnTo>
                      <a:pt x="1237" y="35"/>
                    </a:lnTo>
                    <a:lnTo>
                      <a:pt x="1239" y="37"/>
                    </a:lnTo>
                    <a:lnTo>
                      <a:pt x="1245" y="39"/>
                    </a:lnTo>
                    <a:lnTo>
                      <a:pt x="1256" y="39"/>
                    </a:lnTo>
                    <a:lnTo>
                      <a:pt x="1256" y="33"/>
                    </a:lnTo>
                    <a:lnTo>
                      <a:pt x="1256" y="29"/>
                    </a:lnTo>
                    <a:lnTo>
                      <a:pt x="1266" y="29"/>
                    </a:lnTo>
                    <a:lnTo>
                      <a:pt x="1276" y="29"/>
                    </a:lnTo>
                    <a:lnTo>
                      <a:pt x="1279" y="29"/>
                    </a:lnTo>
                    <a:lnTo>
                      <a:pt x="1285" y="29"/>
                    </a:lnTo>
                    <a:lnTo>
                      <a:pt x="1295" y="33"/>
                    </a:lnTo>
                    <a:lnTo>
                      <a:pt x="1304" y="39"/>
                    </a:lnTo>
                    <a:lnTo>
                      <a:pt x="1310" y="42"/>
                    </a:lnTo>
                    <a:lnTo>
                      <a:pt x="1314" y="48"/>
                    </a:lnTo>
                    <a:lnTo>
                      <a:pt x="1329" y="56"/>
                    </a:lnTo>
                    <a:lnTo>
                      <a:pt x="1347" y="65"/>
                    </a:lnTo>
                    <a:lnTo>
                      <a:pt x="1345" y="52"/>
                    </a:lnTo>
                    <a:lnTo>
                      <a:pt x="1343" y="39"/>
                    </a:lnTo>
                    <a:lnTo>
                      <a:pt x="1339" y="33"/>
                    </a:lnTo>
                    <a:lnTo>
                      <a:pt x="1333" y="29"/>
                    </a:lnTo>
                    <a:lnTo>
                      <a:pt x="1333" y="23"/>
                    </a:lnTo>
                    <a:lnTo>
                      <a:pt x="1333" y="19"/>
                    </a:lnTo>
                    <a:lnTo>
                      <a:pt x="1333" y="14"/>
                    </a:lnTo>
                    <a:lnTo>
                      <a:pt x="1333" y="10"/>
                    </a:lnTo>
                    <a:lnTo>
                      <a:pt x="1333" y="4"/>
                    </a:lnTo>
                    <a:lnTo>
                      <a:pt x="1333" y="0"/>
                    </a:lnTo>
                    <a:lnTo>
                      <a:pt x="1341" y="0"/>
                    </a:lnTo>
                    <a:lnTo>
                      <a:pt x="1348" y="0"/>
                    </a:lnTo>
                    <a:lnTo>
                      <a:pt x="1350" y="2"/>
                    </a:lnTo>
                    <a:lnTo>
                      <a:pt x="1352" y="4"/>
                    </a:lnTo>
                    <a:lnTo>
                      <a:pt x="1360" y="6"/>
                    </a:lnTo>
                    <a:lnTo>
                      <a:pt x="1368" y="10"/>
                    </a:lnTo>
                    <a:lnTo>
                      <a:pt x="1370" y="12"/>
                    </a:lnTo>
                    <a:lnTo>
                      <a:pt x="1371" y="14"/>
                    </a:lnTo>
                    <a:lnTo>
                      <a:pt x="1375" y="21"/>
                    </a:lnTo>
                    <a:lnTo>
                      <a:pt x="1377" y="29"/>
                    </a:lnTo>
                    <a:lnTo>
                      <a:pt x="1379" y="31"/>
                    </a:lnTo>
                    <a:lnTo>
                      <a:pt x="1381" y="33"/>
                    </a:lnTo>
                    <a:lnTo>
                      <a:pt x="1381" y="48"/>
                    </a:lnTo>
                    <a:lnTo>
                      <a:pt x="1381" y="62"/>
                    </a:lnTo>
                    <a:lnTo>
                      <a:pt x="1379" y="65"/>
                    </a:lnTo>
                    <a:lnTo>
                      <a:pt x="1377" y="67"/>
                    </a:lnTo>
                    <a:lnTo>
                      <a:pt x="1375" y="85"/>
                    </a:lnTo>
                    <a:lnTo>
                      <a:pt x="1371" y="100"/>
                    </a:lnTo>
                    <a:lnTo>
                      <a:pt x="1370" y="104"/>
                    </a:lnTo>
                    <a:lnTo>
                      <a:pt x="1368" y="106"/>
                    </a:lnTo>
                    <a:lnTo>
                      <a:pt x="1366" y="113"/>
                    </a:lnTo>
                    <a:lnTo>
                      <a:pt x="1362" y="121"/>
                    </a:lnTo>
                    <a:lnTo>
                      <a:pt x="1360" y="123"/>
                    </a:lnTo>
                    <a:lnTo>
                      <a:pt x="1358" y="125"/>
                    </a:lnTo>
                    <a:lnTo>
                      <a:pt x="1356" y="133"/>
                    </a:lnTo>
                    <a:lnTo>
                      <a:pt x="1352" y="140"/>
                    </a:lnTo>
                    <a:lnTo>
                      <a:pt x="1350" y="142"/>
                    </a:lnTo>
                    <a:lnTo>
                      <a:pt x="1348" y="144"/>
                    </a:lnTo>
                    <a:lnTo>
                      <a:pt x="1348" y="154"/>
                    </a:lnTo>
                    <a:lnTo>
                      <a:pt x="1348" y="163"/>
                    </a:lnTo>
                    <a:lnTo>
                      <a:pt x="1350" y="167"/>
                    </a:lnTo>
                    <a:lnTo>
                      <a:pt x="1352" y="169"/>
                    </a:lnTo>
                    <a:lnTo>
                      <a:pt x="1356" y="171"/>
                    </a:lnTo>
                    <a:lnTo>
                      <a:pt x="1358" y="173"/>
                    </a:lnTo>
                    <a:lnTo>
                      <a:pt x="1360" y="177"/>
                    </a:lnTo>
                    <a:lnTo>
                      <a:pt x="1362" y="179"/>
                    </a:lnTo>
                    <a:lnTo>
                      <a:pt x="1366" y="181"/>
                    </a:lnTo>
                    <a:lnTo>
                      <a:pt x="1368" y="182"/>
                    </a:lnTo>
                    <a:lnTo>
                      <a:pt x="1370" y="186"/>
                    </a:lnTo>
                    <a:lnTo>
                      <a:pt x="1371" y="188"/>
                    </a:lnTo>
                    <a:lnTo>
                      <a:pt x="1371" y="200"/>
                    </a:lnTo>
                    <a:lnTo>
                      <a:pt x="1371" y="211"/>
                    </a:lnTo>
                    <a:lnTo>
                      <a:pt x="1387" y="211"/>
                    </a:lnTo>
                    <a:lnTo>
                      <a:pt x="1404" y="211"/>
                    </a:lnTo>
                    <a:lnTo>
                      <a:pt x="1419" y="211"/>
                    </a:lnTo>
                    <a:lnTo>
                      <a:pt x="1435" y="211"/>
                    </a:lnTo>
                    <a:lnTo>
                      <a:pt x="1437" y="215"/>
                    </a:lnTo>
                    <a:lnTo>
                      <a:pt x="1441" y="217"/>
                    </a:lnTo>
                    <a:lnTo>
                      <a:pt x="1446" y="225"/>
                    </a:lnTo>
                    <a:lnTo>
                      <a:pt x="1454" y="232"/>
                    </a:lnTo>
                    <a:lnTo>
                      <a:pt x="1456" y="234"/>
                    </a:lnTo>
                    <a:lnTo>
                      <a:pt x="1460" y="236"/>
                    </a:lnTo>
                    <a:lnTo>
                      <a:pt x="1462" y="238"/>
                    </a:lnTo>
                    <a:lnTo>
                      <a:pt x="1464" y="242"/>
                    </a:lnTo>
                    <a:lnTo>
                      <a:pt x="1465" y="244"/>
                    </a:lnTo>
                    <a:lnTo>
                      <a:pt x="1469" y="246"/>
                    </a:lnTo>
                    <a:lnTo>
                      <a:pt x="1471" y="248"/>
                    </a:lnTo>
                    <a:lnTo>
                      <a:pt x="1473" y="252"/>
                    </a:lnTo>
                    <a:lnTo>
                      <a:pt x="1477" y="253"/>
                    </a:lnTo>
                    <a:lnTo>
                      <a:pt x="1479" y="255"/>
                    </a:lnTo>
                    <a:lnTo>
                      <a:pt x="1479" y="265"/>
                    </a:lnTo>
                    <a:lnTo>
                      <a:pt x="1479" y="275"/>
                    </a:lnTo>
                    <a:lnTo>
                      <a:pt x="1477" y="278"/>
                    </a:lnTo>
                    <a:lnTo>
                      <a:pt x="1473" y="280"/>
                    </a:lnTo>
                    <a:lnTo>
                      <a:pt x="1471" y="292"/>
                    </a:lnTo>
                    <a:lnTo>
                      <a:pt x="1469" y="303"/>
                    </a:lnTo>
                    <a:lnTo>
                      <a:pt x="1465" y="307"/>
                    </a:lnTo>
                    <a:lnTo>
                      <a:pt x="1464" y="309"/>
                    </a:lnTo>
                    <a:lnTo>
                      <a:pt x="1462" y="311"/>
                    </a:lnTo>
                    <a:lnTo>
                      <a:pt x="1460" y="315"/>
                    </a:lnTo>
                    <a:lnTo>
                      <a:pt x="1456" y="317"/>
                    </a:lnTo>
                    <a:lnTo>
                      <a:pt x="1454" y="319"/>
                    </a:lnTo>
                    <a:lnTo>
                      <a:pt x="1446" y="321"/>
                    </a:lnTo>
                    <a:lnTo>
                      <a:pt x="1441" y="324"/>
                    </a:lnTo>
                    <a:lnTo>
                      <a:pt x="1437" y="326"/>
                    </a:lnTo>
                    <a:lnTo>
                      <a:pt x="1435" y="328"/>
                    </a:lnTo>
                    <a:lnTo>
                      <a:pt x="1433" y="330"/>
                    </a:lnTo>
                    <a:lnTo>
                      <a:pt x="1431" y="332"/>
                    </a:lnTo>
                    <a:lnTo>
                      <a:pt x="1427" y="336"/>
                    </a:lnTo>
                    <a:lnTo>
                      <a:pt x="1425" y="338"/>
                    </a:lnTo>
                    <a:lnTo>
                      <a:pt x="1418" y="340"/>
                    </a:lnTo>
                    <a:lnTo>
                      <a:pt x="1410" y="344"/>
                    </a:lnTo>
                    <a:lnTo>
                      <a:pt x="1408" y="346"/>
                    </a:lnTo>
                    <a:lnTo>
                      <a:pt x="1406" y="347"/>
                    </a:lnTo>
                    <a:lnTo>
                      <a:pt x="1406" y="367"/>
                    </a:lnTo>
                    <a:lnTo>
                      <a:pt x="1406" y="386"/>
                    </a:lnTo>
                    <a:lnTo>
                      <a:pt x="1408" y="388"/>
                    </a:lnTo>
                    <a:lnTo>
                      <a:pt x="1410" y="392"/>
                    </a:lnTo>
                    <a:lnTo>
                      <a:pt x="1410" y="395"/>
                    </a:lnTo>
                    <a:lnTo>
                      <a:pt x="1410" y="401"/>
                    </a:lnTo>
                    <a:lnTo>
                      <a:pt x="1408" y="403"/>
                    </a:lnTo>
                    <a:lnTo>
                      <a:pt x="1406" y="405"/>
                    </a:lnTo>
                    <a:lnTo>
                      <a:pt x="1406" y="411"/>
                    </a:lnTo>
                    <a:lnTo>
                      <a:pt x="1406" y="415"/>
                    </a:lnTo>
                    <a:lnTo>
                      <a:pt x="1408" y="417"/>
                    </a:lnTo>
                    <a:lnTo>
                      <a:pt x="1410" y="420"/>
                    </a:lnTo>
                    <a:lnTo>
                      <a:pt x="1414" y="422"/>
                    </a:lnTo>
                    <a:lnTo>
                      <a:pt x="1416" y="424"/>
                    </a:lnTo>
                    <a:lnTo>
                      <a:pt x="1418" y="428"/>
                    </a:lnTo>
                    <a:lnTo>
                      <a:pt x="1421" y="430"/>
                    </a:lnTo>
                    <a:lnTo>
                      <a:pt x="1423" y="438"/>
                    </a:lnTo>
                    <a:lnTo>
                      <a:pt x="1425" y="443"/>
                    </a:lnTo>
                    <a:lnTo>
                      <a:pt x="1427" y="447"/>
                    </a:lnTo>
                    <a:lnTo>
                      <a:pt x="1431" y="449"/>
                    </a:lnTo>
                    <a:lnTo>
                      <a:pt x="1433" y="461"/>
                    </a:lnTo>
                    <a:lnTo>
                      <a:pt x="1435" y="474"/>
                    </a:lnTo>
                    <a:lnTo>
                      <a:pt x="1437" y="476"/>
                    </a:lnTo>
                    <a:lnTo>
                      <a:pt x="1441" y="478"/>
                    </a:lnTo>
                    <a:lnTo>
                      <a:pt x="1442" y="480"/>
                    </a:lnTo>
                    <a:lnTo>
                      <a:pt x="1444" y="484"/>
                    </a:lnTo>
                    <a:lnTo>
                      <a:pt x="1448" y="486"/>
                    </a:lnTo>
                    <a:lnTo>
                      <a:pt x="1450" y="488"/>
                    </a:lnTo>
                    <a:lnTo>
                      <a:pt x="1452" y="489"/>
                    </a:lnTo>
                    <a:lnTo>
                      <a:pt x="1454" y="493"/>
                    </a:lnTo>
                    <a:lnTo>
                      <a:pt x="1456" y="495"/>
                    </a:lnTo>
                    <a:lnTo>
                      <a:pt x="1460" y="497"/>
                    </a:lnTo>
                    <a:lnTo>
                      <a:pt x="1462" y="499"/>
                    </a:lnTo>
                    <a:lnTo>
                      <a:pt x="1464" y="503"/>
                    </a:lnTo>
                    <a:lnTo>
                      <a:pt x="1465" y="505"/>
                    </a:lnTo>
                    <a:lnTo>
                      <a:pt x="1469" y="507"/>
                    </a:lnTo>
                    <a:lnTo>
                      <a:pt x="1469" y="516"/>
                    </a:lnTo>
                    <a:lnTo>
                      <a:pt x="1469" y="526"/>
                    </a:lnTo>
                    <a:lnTo>
                      <a:pt x="1465" y="530"/>
                    </a:lnTo>
                    <a:lnTo>
                      <a:pt x="1464" y="532"/>
                    </a:lnTo>
                    <a:lnTo>
                      <a:pt x="1462" y="539"/>
                    </a:lnTo>
                    <a:lnTo>
                      <a:pt x="1460" y="547"/>
                    </a:lnTo>
                    <a:lnTo>
                      <a:pt x="1456" y="549"/>
                    </a:lnTo>
                    <a:lnTo>
                      <a:pt x="1454" y="551"/>
                    </a:lnTo>
                    <a:lnTo>
                      <a:pt x="1452" y="562"/>
                    </a:lnTo>
                    <a:lnTo>
                      <a:pt x="1450" y="576"/>
                    </a:lnTo>
                    <a:lnTo>
                      <a:pt x="1448" y="578"/>
                    </a:lnTo>
                    <a:lnTo>
                      <a:pt x="1444" y="580"/>
                    </a:lnTo>
                    <a:lnTo>
                      <a:pt x="1442" y="582"/>
                    </a:lnTo>
                    <a:lnTo>
                      <a:pt x="1441" y="585"/>
                    </a:lnTo>
                    <a:lnTo>
                      <a:pt x="1437" y="587"/>
                    </a:lnTo>
                    <a:lnTo>
                      <a:pt x="1435" y="589"/>
                    </a:lnTo>
                    <a:lnTo>
                      <a:pt x="1431" y="589"/>
                    </a:lnTo>
                    <a:lnTo>
                      <a:pt x="1425" y="589"/>
                    </a:lnTo>
                    <a:lnTo>
                      <a:pt x="1423" y="587"/>
                    </a:lnTo>
                    <a:lnTo>
                      <a:pt x="1421" y="585"/>
                    </a:lnTo>
                    <a:lnTo>
                      <a:pt x="1416" y="585"/>
                    </a:lnTo>
                    <a:lnTo>
                      <a:pt x="1410" y="585"/>
                    </a:lnTo>
                    <a:lnTo>
                      <a:pt x="1408" y="587"/>
                    </a:lnTo>
                    <a:lnTo>
                      <a:pt x="1406" y="589"/>
                    </a:lnTo>
                    <a:lnTo>
                      <a:pt x="1404" y="597"/>
                    </a:lnTo>
                    <a:lnTo>
                      <a:pt x="1402" y="605"/>
                    </a:lnTo>
                    <a:lnTo>
                      <a:pt x="1398" y="606"/>
                    </a:lnTo>
                    <a:lnTo>
                      <a:pt x="1396" y="608"/>
                    </a:lnTo>
                    <a:lnTo>
                      <a:pt x="1394" y="610"/>
                    </a:lnTo>
                    <a:lnTo>
                      <a:pt x="1393" y="614"/>
                    </a:lnTo>
                    <a:lnTo>
                      <a:pt x="1389" y="616"/>
                    </a:lnTo>
                    <a:lnTo>
                      <a:pt x="1387" y="618"/>
                    </a:lnTo>
                    <a:lnTo>
                      <a:pt x="1385" y="620"/>
                    </a:lnTo>
                    <a:lnTo>
                      <a:pt x="1381" y="624"/>
                    </a:lnTo>
                    <a:lnTo>
                      <a:pt x="1379" y="626"/>
                    </a:lnTo>
                    <a:lnTo>
                      <a:pt x="1377" y="628"/>
                    </a:lnTo>
                    <a:lnTo>
                      <a:pt x="1375" y="631"/>
                    </a:lnTo>
                    <a:lnTo>
                      <a:pt x="1373" y="637"/>
                    </a:lnTo>
                    <a:lnTo>
                      <a:pt x="1375" y="645"/>
                    </a:lnTo>
                    <a:lnTo>
                      <a:pt x="1377" y="647"/>
                    </a:lnTo>
                    <a:lnTo>
                      <a:pt x="1379" y="649"/>
                    </a:lnTo>
                    <a:lnTo>
                      <a:pt x="1381" y="653"/>
                    </a:lnTo>
                    <a:lnTo>
                      <a:pt x="1385" y="654"/>
                    </a:lnTo>
                    <a:lnTo>
                      <a:pt x="1387" y="656"/>
                    </a:lnTo>
                    <a:lnTo>
                      <a:pt x="1389" y="660"/>
                    </a:lnTo>
                    <a:lnTo>
                      <a:pt x="1393" y="662"/>
                    </a:lnTo>
                    <a:lnTo>
                      <a:pt x="1393" y="666"/>
                    </a:lnTo>
                    <a:lnTo>
                      <a:pt x="1393" y="672"/>
                    </a:lnTo>
                    <a:lnTo>
                      <a:pt x="1389" y="674"/>
                    </a:lnTo>
                    <a:lnTo>
                      <a:pt x="1387" y="676"/>
                    </a:lnTo>
                    <a:lnTo>
                      <a:pt x="1379" y="679"/>
                    </a:lnTo>
                    <a:lnTo>
                      <a:pt x="1371" y="681"/>
                    </a:lnTo>
                    <a:lnTo>
                      <a:pt x="1370" y="683"/>
                    </a:lnTo>
                    <a:lnTo>
                      <a:pt x="1368" y="685"/>
                    </a:lnTo>
                    <a:lnTo>
                      <a:pt x="1366" y="693"/>
                    </a:lnTo>
                    <a:lnTo>
                      <a:pt x="1362" y="701"/>
                    </a:lnTo>
                    <a:lnTo>
                      <a:pt x="1360" y="702"/>
                    </a:lnTo>
                    <a:lnTo>
                      <a:pt x="1358" y="706"/>
                    </a:lnTo>
                    <a:lnTo>
                      <a:pt x="1356" y="708"/>
                    </a:lnTo>
                    <a:lnTo>
                      <a:pt x="1352" y="710"/>
                    </a:lnTo>
                    <a:lnTo>
                      <a:pt x="1350" y="712"/>
                    </a:lnTo>
                    <a:lnTo>
                      <a:pt x="1348" y="716"/>
                    </a:lnTo>
                    <a:lnTo>
                      <a:pt x="1348" y="725"/>
                    </a:lnTo>
                    <a:lnTo>
                      <a:pt x="1348" y="735"/>
                    </a:lnTo>
                    <a:lnTo>
                      <a:pt x="1350" y="737"/>
                    </a:lnTo>
                    <a:lnTo>
                      <a:pt x="1352" y="739"/>
                    </a:lnTo>
                    <a:lnTo>
                      <a:pt x="1356" y="747"/>
                    </a:lnTo>
                    <a:lnTo>
                      <a:pt x="1358" y="754"/>
                    </a:lnTo>
                    <a:lnTo>
                      <a:pt x="1360" y="756"/>
                    </a:lnTo>
                    <a:lnTo>
                      <a:pt x="1362" y="758"/>
                    </a:lnTo>
                    <a:lnTo>
                      <a:pt x="1366" y="772"/>
                    </a:lnTo>
                    <a:lnTo>
                      <a:pt x="1368" y="783"/>
                    </a:lnTo>
                    <a:lnTo>
                      <a:pt x="1370" y="785"/>
                    </a:lnTo>
                    <a:lnTo>
                      <a:pt x="1371" y="789"/>
                    </a:lnTo>
                    <a:lnTo>
                      <a:pt x="1375" y="795"/>
                    </a:lnTo>
                    <a:lnTo>
                      <a:pt x="1377" y="802"/>
                    </a:lnTo>
                    <a:lnTo>
                      <a:pt x="1379" y="804"/>
                    </a:lnTo>
                    <a:lnTo>
                      <a:pt x="1381" y="808"/>
                    </a:lnTo>
                    <a:lnTo>
                      <a:pt x="1385" y="810"/>
                    </a:lnTo>
                    <a:lnTo>
                      <a:pt x="1387" y="812"/>
                    </a:lnTo>
                    <a:lnTo>
                      <a:pt x="1389" y="814"/>
                    </a:lnTo>
                    <a:lnTo>
                      <a:pt x="1393" y="818"/>
                    </a:lnTo>
                    <a:lnTo>
                      <a:pt x="1396" y="819"/>
                    </a:lnTo>
                    <a:lnTo>
                      <a:pt x="1402" y="821"/>
                    </a:lnTo>
                    <a:lnTo>
                      <a:pt x="1408" y="827"/>
                    </a:lnTo>
                    <a:lnTo>
                      <a:pt x="1410" y="831"/>
                    </a:lnTo>
                  </a:path>
                </a:pathLst>
              </a:custGeom>
              <a:grpFill/>
              <a:ln w="3175">
                <a:solidFill>
                  <a:srgbClr val="FF8300"/>
                </a:solidFill>
                <a:round/>
                <a:headEnd/>
                <a:tailEnd/>
              </a:ln>
            </p:spPr>
            <p:txBody>
              <a:bodyPr/>
              <a:lstStyle/>
              <a:p>
                <a:pPr>
                  <a:defRPr/>
                </a:pPr>
                <a:endParaRPr lang="en-GB" sz="1400">
                  <a:solidFill>
                    <a:schemeClr val="tx2"/>
                  </a:solidFill>
                </a:endParaRPr>
              </a:p>
            </p:txBody>
          </p:sp>
          <p:sp>
            <p:nvSpPr>
              <p:cNvPr id="351" name="Freeform 95"/>
              <p:cNvSpPr>
                <a:spLocks/>
              </p:cNvSpPr>
              <p:nvPr>
                <p:custDataLst>
                  <p:tags r:id="rId7"/>
                </p:custDataLst>
              </p:nvPr>
            </p:nvSpPr>
            <p:spPr bwMode="gray">
              <a:xfrm>
                <a:off x="6381558" y="4847952"/>
                <a:ext cx="1081361" cy="670277"/>
              </a:xfrm>
              <a:custGeom>
                <a:avLst/>
                <a:gdLst>
                  <a:gd name="T0" fmla="*/ 2147483647 w 792"/>
                  <a:gd name="T1" fmla="*/ 2147483647 h 510"/>
                  <a:gd name="T2" fmla="*/ 2147483647 w 792"/>
                  <a:gd name="T3" fmla="*/ 2147483647 h 510"/>
                  <a:gd name="T4" fmla="*/ 2147483647 w 792"/>
                  <a:gd name="T5" fmla="*/ 2147483647 h 510"/>
                  <a:gd name="T6" fmla="*/ 2147483647 w 792"/>
                  <a:gd name="T7" fmla="*/ 2147483647 h 510"/>
                  <a:gd name="T8" fmla="*/ 2147483647 w 792"/>
                  <a:gd name="T9" fmla="*/ 2147483647 h 510"/>
                  <a:gd name="T10" fmla="*/ 2147483647 w 792"/>
                  <a:gd name="T11" fmla="*/ 2147483647 h 510"/>
                  <a:gd name="T12" fmla="*/ 2147483647 w 792"/>
                  <a:gd name="T13" fmla="*/ 2147483647 h 510"/>
                  <a:gd name="T14" fmla="*/ 2147483647 w 792"/>
                  <a:gd name="T15" fmla="*/ 2147483647 h 510"/>
                  <a:gd name="T16" fmla="*/ 2147483647 w 792"/>
                  <a:gd name="T17" fmla="*/ 2147483647 h 510"/>
                  <a:gd name="T18" fmla="*/ 2147483647 w 792"/>
                  <a:gd name="T19" fmla="*/ 2147483647 h 510"/>
                  <a:gd name="T20" fmla="*/ 2147483647 w 792"/>
                  <a:gd name="T21" fmla="*/ 2147483647 h 510"/>
                  <a:gd name="T22" fmla="*/ 2147483647 w 792"/>
                  <a:gd name="T23" fmla="*/ 2147483647 h 510"/>
                  <a:gd name="T24" fmla="*/ 2147483647 w 792"/>
                  <a:gd name="T25" fmla="*/ 2147483647 h 510"/>
                  <a:gd name="T26" fmla="*/ 2147483647 w 792"/>
                  <a:gd name="T27" fmla="*/ 2147483647 h 510"/>
                  <a:gd name="T28" fmla="*/ 2147483647 w 792"/>
                  <a:gd name="T29" fmla="*/ 2147483647 h 510"/>
                  <a:gd name="T30" fmla="*/ 2147483647 w 792"/>
                  <a:gd name="T31" fmla="*/ 2147483647 h 510"/>
                  <a:gd name="T32" fmla="*/ 2147483647 w 792"/>
                  <a:gd name="T33" fmla="*/ 2147483647 h 510"/>
                  <a:gd name="T34" fmla="*/ 2147483647 w 792"/>
                  <a:gd name="T35" fmla="*/ 2147483647 h 510"/>
                  <a:gd name="T36" fmla="*/ 2147483647 w 792"/>
                  <a:gd name="T37" fmla="*/ 2147483647 h 510"/>
                  <a:gd name="T38" fmla="*/ 2147483647 w 792"/>
                  <a:gd name="T39" fmla="*/ 2147483647 h 510"/>
                  <a:gd name="T40" fmla="*/ 2147483647 w 792"/>
                  <a:gd name="T41" fmla="*/ 2147483647 h 510"/>
                  <a:gd name="T42" fmla="*/ 2147483647 w 792"/>
                  <a:gd name="T43" fmla="*/ 2147483647 h 510"/>
                  <a:gd name="T44" fmla="*/ 2147483647 w 792"/>
                  <a:gd name="T45" fmla="*/ 2147483647 h 510"/>
                  <a:gd name="T46" fmla="*/ 2147483647 w 792"/>
                  <a:gd name="T47" fmla="*/ 2147483647 h 510"/>
                  <a:gd name="T48" fmla="*/ 2147483647 w 792"/>
                  <a:gd name="T49" fmla="*/ 2147483647 h 510"/>
                  <a:gd name="T50" fmla="*/ 2147483647 w 792"/>
                  <a:gd name="T51" fmla="*/ 2147483647 h 510"/>
                  <a:gd name="T52" fmla="*/ 2147483647 w 792"/>
                  <a:gd name="T53" fmla="*/ 2147483647 h 510"/>
                  <a:gd name="T54" fmla="*/ 2147483647 w 792"/>
                  <a:gd name="T55" fmla="*/ 2147483647 h 510"/>
                  <a:gd name="T56" fmla="*/ 2147483647 w 792"/>
                  <a:gd name="T57" fmla="*/ 2147483647 h 510"/>
                  <a:gd name="T58" fmla="*/ 2147483647 w 792"/>
                  <a:gd name="T59" fmla="*/ 2147483647 h 510"/>
                  <a:gd name="T60" fmla="*/ 2147483647 w 792"/>
                  <a:gd name="T61" fmla="*/ 2147483647 h 510"/>
                  <a:gd name="T62" fmla="*/ 2147483647 w 792"/>
                  <a:gd name="T63" fmla="*/ 2147483647 h 510"/>
                  <a:gd name="T64" fmla="*/ 2147483647 w 792"/>
                  <a:gd name="T65" fmla="*/ 2147483647 h 510"/>
                  <a:gd name="T66" fmla="*/ 2147483647 w 792"/>
                  <a:gd name="T67" fmla="*/ 2147483647 h 510"/>
                  <a:gd name="T68" fmla="*/ 2147483647 w 792"/>
                  <a:gd name="T69" fmla="*/ 2147483647 h 510"/>
                  <a:gd name="T70" fmla="*/ 2147483647 w 792"/>
                  <a:gd name="T71" fmla="*/ 2147483647 h 510"/>
                  <a:gd name="T72" fmla="*/ 2147483647 w 792"/>
                  <a:gd name="T73" fmla="*/ 2147483647 h 510"/>
                  <a:gd name="T74" fmla="*/ 2147483647 w 792"/>
                  <a:gd name="T75" fmla="*/ 2147483647 h 510"/>
                  <a:gd name="T76" fmla="*/ 2147483647 w 792"/>
                  <a:gd name="T77" fmla="*/ 2147483647 h 510"/>
                  <a:gd name="T78" fmla="*/ 2147483647 w 792"/>
                  <a:gd name="T79" fmla="*/ 2147483647 h 510"/>
                  <a:gd name="T80" fmla="*/ 2147483647 w 792"/>
                  <a:gd name="T81" fmla="*/ 2147483647 h 510"/>
                  <a:gd name="T82" fmla="*/ 2147483647 w 792"/>
                  <a:gd name="T83" fmla="*/ 2147483647 h 510"/>
                  <a:gd name="T84" fmla="*/ 2147483647 w 792"/>
                  <a:gd name="T85" fmla="*/ 2147483647 h 510"/>
                  <a:gd name="T86" fmla="*/ 2147483647 w 792"/>
                  <a:gd name="T87" fmla="*/ 2147483647 h 510"/>
                  <a:gd name="T88" fmla="*/ 2147483647 w 792"/>
                  <a:gd name="T89" fmla="*/ 2147483647 h 510"/>
                  <a:gd name="T90" fmla="*/ 2147483647 w 792"/>
                  <a:gd name="T91" fmla="*/ 2147483647 h 510"/>
                  <a:gd name="T92" fmla="*/ 2147483647 w 792"/>
                  <a:gd name="T93" fmla="*/ 2147483647 h 510"/>
                  <a:gd name="T94" fmla="*/ 2147483647 w 792"/>
                  <a:gd name="T95" fmla="*/ 2147483647 h 510"/>
                  <a:gd name="T96" fmla="*/ 2147483647 w 792"/>
                  <a:gd name="T97" fmla="*/ 2147483647 h 510"/>
                  <a:gd name="T98" fmla="*/ 2147483647 w 792"/>
                  <a:gd name="T99" fmla="*/ 2147483647 h 510"/>
                  <a:gd name="T100" fmla="*/ 2147483647 w 792"/>
                  <a:gd name="T101" fmla="*/ 2147483647 h 510"/>
                  <a:gd name="T102" fmla="*/ 2147483647 w 792"/>
                  <a:gd name="T103" fmla="*/ 2147483647 h 510"/>
                  <a:gd name="T104" fmla="*/ 2147483647 w 792"/>
                  <a:gd name="T105" fmla="*/ 2147483647 h 510"/>
                  <a:gd name="T106" fmla="*/ 2147483647 w 792"/>
                  <a:gd name="T107" fmla="*/ 2147483647 h 510"/>
                  <a:gd name="T108" fmla="*/ 2147483647 w 792"/>
                  <a:gd name="T109" fmla="*/ 2147483647 h 510"/>
                  <a:gd name="T110" fmla="*/ 2147483647 w 792"/>
                  <a:gd name="T111" fmla="*/ 2147483647 h 510"/>
                  <a:gd name="T112" fmla="*/ 2147483647 w 792"/>
                  <a:gd name="T113" fmla="*/ 2147483647 h 510"/>
                  <a:gd name="T114" fmla="*/ 2147483647 w 792"/>
                  <a:gd name="T115" fmla="*/ 2147483647 h 510"/>
                  <a:gd name="T116" fmla="*/ 2147483647 w 792"/>
                  <a:gd name="T117" fmla="*/ 2147483647 h 510"/>
                  <a:gd name="T118" fmla="*/ 2147483647 w 792"/>
                  <a:gd name="T119" fmla="*/ 2147483647 h 51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792"/>
                  <a:gd name="T181" fmla="*/ 0 h 510"/>
                  <a:gd name="T182" fmla="*/ 792 w 792"/>
                  <a:gd name="T183" fmla="*/ 510 h 510"/>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792" h="510">
                    <a:moveTo>
                      <a:pt x="299" y="337"/>
                    </a:moveTo>
                    <a:lnTo>
                      <a:pt x="282" y="339"/>
                    </a:lnTo>
                    <a:lnTo>
                      <a:pt x="266" y="339"/>
                    </a:lnTo>
                    <a:lnTo>
                      <a:pt x="253" y="341"/>
                    </a:lnTo>
                    <a:lnTo>
                      <a:pt x="242" y="345"/>
                    </a:lnTo>
                    <a:lnTo>
                      <a:pt x="230" y="349"/>
                    </a:lnTo>
                    <a:lnTo>
                      <a:pt x="219" y="357"/>
                    </a:lnTo>
                    <a:lnTo>
                      <a:pt x="207" y="364"/>
                    </a:lnTo>
                    <a:lnTo>
                      <a:pt x="194" y="376"/>
                    </a:lnTo>
                    <a:lnTo>
                      <a:pt x="192" y="376"/>
                    </a:lnTo>
                    <a:lnTo>
                      <a:pt x="190" y="376"/>
                    </a:lnTo>
                    <a:lnTo>
                      <a:pt x="186" y="374"/>
                    </a:lnTo>
                    <a:lnTo>
                      <a:pt x="184" y="372"/>
                    </a:lnTo>
                    <a:lnTo>
                      <a:pt x="182" y="370"/>
                    </a:lnTo>
                    <a:lnTo>
                      <a:pt x="178" y="366"/>
                    </a:lnTo>
                    <a:lnTo>
                      <a:pt x="176" y="364"/>
                    </a:lnTo>
                    <a:lnTo>
                      <a:pt x="174" y="362"/>
                    </a:lnTo>
                    <a:lnTo>
                      <a:pt x="171" y="359"/>
                    </a:lnTo>
                    <a:lnTo>
                      <a:pt x="169" y="357"/>
                    </a:lnTo>
                    <a:lnTo>
                      <a:pt x="167" y="355"/>
                    </a:lnTo>
                    <a:lnTo>
                      <a:pt x="165" y="353"/>
                    </a:lnTo>
                    <a:lnTo>
                      <a:pt x="165" y="347"/>
                    </a:lnTo>
                    <a:lnTo>
                      <a:pt x="165" y="343"/>
                    </a:lnTo>
                    <a:lnTo>
                      <a:pt x="167" y="339"/>
                    </a:lnTo>
                    <a:lnTo>
                      <a:pt x="169" y="337"/>
                    </a:lnTo>
                    <a:lnTo>
                      <a:pt x="171" y="328"/>
                    </a:lnTo>
                    <a:lnTo>
                      <a:pt x="174" y="318"/>
                    </a:lnTo>
                    <a:lnTo>
                      <a:pt x="167" y="318"/>
                    </a:lnTo>
                    <a:lnTo>
                      <a:pt x="159" y="318"/>
                    </a:lnTo>
                    <a:lnTo>
                      <a:pt x="157" y="316"/>
                    </a:lnTo>
                    <a:lnTo>
                      <a:pt x="155" y="314"/>
                    </a:lnTo>
                    <a:lnTo>
                      <a:pt x="151" y="297"/>
                    </a:lnTo>
                    <a:lnTo>
                      <a:pt x="149" y="280"/>
                    </a:lnTo>
                    <a:lnTo>
                      <a:pt x="148" y="278"/>
                    </a:lnTo>
                    <a:lnTo>
                      <a:pt x="146" y="274"/>
                    </a:lnTo>
                    <a:lnTo>
                      <a:pt x="142" y="266"/>
                    </a:lnTo>
                    <a:lnTo>
                      <a:pt x="140" y="261"/>
                    </a:lnTo>
                    <a:lnTo>
                      <a:pt x="138" y="257"/>
                    </a:lnTo>
                    <a:lnTo>
                      <a:pt x="136" y="255"/>
                    </a:lnTo>
                    <a:lnTo>
                      <a:pt x="119" y="253"/>
                    </a:lnTo>
                    <a:lnTo>
                      <a:pt x="101" y="251"/>
                    </a:lnTo>
                    <a:lnTo>
                      <a:pt x="100" y="247"/>
                    </a:lnTo>
                    <a:lnTo>
                      <a:pt x="96" y="245"/>
                    </a:lnTo>
                    <a:lnTo>
                      <a:pt x="94" y="243"/>
                    </a:lnTo>
                    <a:lnTo>
                      <a:pt x="92" y="241"/>
                    </a:lnTo>
                    <a:lnTo>
                      <a:pt x="90" y="238"/>
                    </a:lnTo>
                    <a:lnTo>
                      <a:pt x="86" y="236"/>
                    </a:lnTo>
                    <a:lnTo>
                      <a:pt x="84" y="234"/>
                    </a:lnTo>
                    <a:lnTo>
                      <a:pt x="77" y="232"/>
                    </a:lnTo>
                    <a:lnTo>
                      <a:pt x="71" y="234"/>
                    </a:lnTo>
                    <a:lnTo>
                      <a:pt x="67" y="236"/>
                    </a:lnTo>
                    <a:lnTo>
                      <a:pt x="65" y="238"/>
                    </a:lnTo>
                    <a:lnTo>
                      <a:pt x="63" y="241"/>
                    </a:lnTo>
                    <a:lnTo>
                      <a:pt x="59" y="243"/>
                    </a:lnTo>
                    <a:lnTo>
                      <a:pt x="57" y="245"/>
                    </a:lnTo>
                    <a:lnTo>
                      <a:pt x="55" y="247"/>
                    </a:lnTo>
                    <a:lnTo>
                      <a:pt x="54" y="251"/>
                    </a:lnTo>
                    <a:lnTo>
                      <a:pt x="48" y="251"/>
                    </a:lnTo>
                    <a:lnTo>
                      <a:pt x="44" y="251"/>
                    </a:lnTo>
                    <a:lnTo>
                      <a:pt x="42" y="247"/>
                    </a:lnTo>
                    <a:lnTo>
                      <a:pt x="38" y="245"/>
                    </a:lnTo>
                    <a:lnTo>
                      <a:pt x="42" y="238"/>
                    </a:lnTo>
                    <a:lnTo>
                      <a:pt x="46" y="228"/>
                    </a:lnTo>
                    <a:lnTo>
                      <a:pt x="40" y="224"/>
                    </a:lnTo>
                    <a:lnTo>
                      <a:pt x="34" y="222"/>
                    </a:lnTo>
                    <a:lnTo>
                      <a:pt x="31" y="218"/>
                    </a:lnTo>
                    <a:lnTo>
                      <a:pt x="29" y="217"/>
                    </a:lnTo>
                    <a:lnTo>
                      <a:pt x="21" y="215"/>
                    </a:lnTo>
                    <a:lnTo>
                      <a:pt x="15" y="213"/>
                    </a:lnTo>
                    <a:lnTo>
                      <a:pt x="11" y="209"/>
                    </a:lnTo>
                    <a:lnTo>
                      <a:pt x="9" y="207"/>
                    </a:lnTo>
                    <a:lnTo>
                      <a:pt x="7" y="199"/>
                    </a:lnTo>
                    <a:lnTo>
                      <a:pt x="6" y="192"/>
                    </a:lnTo>
                    <a:lnTo>
                      <a:pt x="2" y="190"/>
                    </a:lnTo>
                    <a:lnTo>
                      <a:pt x="0" y="188"/>
                    </a:lnTo>
                    <a:lnTo>
                      <a:pt x="6" y="182"/>
                    </a:lnTo>
                    <a:lnTo>
                      <a:pt x="9" y="178"/>
                    </a:lnTo>
                    <a:lnTo>
                      <a:pt x="11" y="176"/>
                    </a:lnTo>
                    <a:lnTo>
                      <a:pt x="15" y="172"/>
                    </a:lnTo>
                    <a:lnTo>
                      <a:pt x="17" y="170"/>
                    </a:lnTo>
                    <a:lnTo>
                      <a:pt x="19" y="169"/>
                    </a:lnTo>
                    <a:lnTo>
                      <a:pt x="21" y="167"/>
                    </a:lnTo>
                    <a:lnTo>
                      <a:pt x="25" y="163"/>
                    </a:lnTo>
                    <a:lnTo>
                      <a:pt x="31" y="161"/>
                    </a:lnTo>
                    <a:lnTo>
                      <a:pt x="38" y="159"/>
                    </a:lnTo>
                    <a:lnTo>
                      <a:pt x="42" y="155"/>
                    </a:lnTo>
                    <a:lnTo>
                      <a:pt x="44" y="153"/>
                    </a:lnTo>
                    <a:lnTo>
                      <a:pt x="48" y="153"/>
                    </a:lnTo>
                    <a:lnTo>
                      <a:pt x="54" y="153"/>
                    </a:lnTo>
                    <a:lnTo>
                      <a:pt x="55" y="155"/>
                    </a:lnTo>
                    <a:lnTo>
                      <a:pt x="57" y="159"/>
                    </a:lnTo>
                    <a:lnTo>
                      <a:pt x="65" y="161"/>
                    </a:lnTo>
                    <a:lnTo>
                      <a:pt x="77" y="163"/>
                    </a:lnTo>
                    <a:lnTo>
                      <a:pt x="90" y="161"/>
                    </a:lnTo>
                    <a:lnTo>
                      <a:pt x="96" y="159"/>
                    </a:lnTo>
                    <a:lnTo>
                      <a:pt x="100" y="155"/>
                    </a:lnTo>
                    <a:lnTo>
                      <a:pt x="101" y="153"/>
                    </a:lnTo>
                    <a:lnTo>
                      <a:pt x="117" y="153"/>
                    </a:lnTo>
                    <a:lnTo>
                      <a:pt x="132" y="151"/>
                    </a:lnTo>
                    <a:lnTo>
                      <a:pt x="149" y="149"/>
                    </a:lnTo>
                    <a:lnTo>
                      <a:pt x="165" y="149"/>
                    </a:lnTo>
                    <a:lnTo>
                      <a:pt x="167" y="146"/>
                    </a:lnTo>
                    <a:lnTo>
                      <a:pt x="169" y="144"/>
                    </a:lnTo>
                    <a:lnTo>
                      <a:pt x="171" y="146"/>
                    </a:lnTo>
                    <a:lnTo>
                      <a:pt x="174" y="149"/>
                    </a:lnTo>
                    <a:lnTo>
                      <a:pt x="182" y="151"/>
                    </a:lnTo>
                    <a:lnTo>
                      <a:pt x="190" y="153"/>
                    </a:lnTo>
                    <a:lnTo>
                      <a:pt x="192" y="155"/>
                    </a:lnTo>
                    <a:lnTo>
                      <a:pt x="194" y="159"/>
                    </a:lnTo>
                    <a:lnTo>
                      <a:pt x="201" y="161"/>
                    </a:lnTo>
                    <a:lnTo>
                      <a:pt x="207" y="163"/>
                    </a:lnTo>
                    <a:lnTo>
                      <a:pt x="211" y="167"/>
                    </a:lnTo>
                    <a:lnTo>
                      <a:pt x="213" y="169"/>
                    </a:lnTo>
                    <a:lnTo>
                      <a:pt x="228" y="169"/>
                    </a:lnTo>
                    <a:lnTo>
                      <a:pt x="242" y="169"/>
                    </a:lnTo>
                    <a:lnTo>
                      <a:pt x="243" y="167"/>
                    </a:lnTo>
                    <a:lnTo>
                      <a:pt x="247" y="163"/>
                    </a:lnTo>
                    <a:lnTo>
                      <a:pt x="263" y="161"/>
                    </a:lnTo>
                    <a:lnTo>
                      <a:pt x="280" y="159"/>
                    </a:lnTo>
                    <a:lnTo>
                      <a:pt x="282" y="155"/>
                    </a:lnTo>
                    <a:lnTo>
                      <a:pt x="286" y="153"/>
                    </a:lnTo>
                    <a:lnTo>
                      <a:pt x="297" y="151"/>
                    </a:lnTo>
                    <a:lnTo>
                      <a:pt x="309" y="149"/>
                    </a:lnTo>
                    <a:lnTo>
                      <a:pt x="313" y="146"/>
                    </a:lnTo>
                    <a:lnTo>
                      <a:pt x="314" y="144"/>
                    </a:lnTo>
                    <a:lnTo>
                      <a:pt x="322" y="142"/>
                    </a:lnTo>
                    <a:lnTo>
                      <a:pt x="328" y="140"/>
                    </a:lnTo>
                    <a:lnTo>
                      <a:pt x="332" y="138"/>
                    </a:lnTo>
                    <a:lnTo>
                      <a:pt x="334" y="134"/>
                    </a:lnTo>
                    <a:lnTo>
                      <a:pt x="336" y="132"/>
                    </a:lnTo>
                    <a:lnTo>
                      <a:pt x="339" y="130"/>
                    </a:lnTo>
                    <a:lnTo>
                      <a:pt x="341" y="126"/>
                    </a:lnTo>
                    <a:lnTo>
                      <a:pt x="343" y="124"/>
                    </a:lnTo>
                    <a:lnTo>
                      <a:pt x="345" y="123"/>
                    </a:lnTo>
                    <a:lnTo>
                      <a:pt x="349" y="121"/>
                    </a:lnTo>
                    <a:lnTo>
                      <a:pt x="351" y="117"/>
                    </a:lnTo>
                    <a:lnTo>
                      <a:pt x="353" y="115"/>
                    </a:lnTo>
                    <a:lnTo>
                      <a:pt x="361" y="113"/>
                    </a:lnTo>
                    <a:lnTo>
                      <a:pt x="368" y="111"/>
                    </a:lnTo>
                    <a:lnTo>
                      <a:pt x="370" y="107"/>
                    </a:lnTo>
                    <a:lnTo>
                      <a:pt x="372" y="105"/>
                    </a:lnTo>
                    <a:lnTo>
                      <a:pt x="385" y="103"/>
                    </a:lnTo>
                    <a:lnTo>
                      <a:pt x="397" y="99"/>
                    </a:lnTo>
                    <a:lnTo>
                      <a:pt x="399" y="98"/>
                    </a:lnTo>
                    <a:lnTo>
                      <a:pt x="401" y="96"/>
                    </a:lnTo>
                    <a:lnTo>
                      <a:pt x="403" y="94"/>
                    </a:lnTo>
                    <a:lnTo>
                      <a:pt x="407" y="92"/>
                    </a:lnTo>
                    <a:lnTo>
                      <a:pt x="408" y="88"/>
                    </a:lnTo>
                    <a:lnTo>
                      <a:pt x="410" y="86"/>
                    </a:lnTo>
                    <a:lnTo>
                      <a:pt x="412" y="84"/>
                    </a:lnTo>
                    <a:lnTo>
                      <a:pt x="416" y="82"/>
                    </a:lnTo>
                    <a:lnTo>
                      <a:pt x="418" y="78"/>
                    </a:lnTo>
                    <a:lnTo>
                      <a:pt x="422" y="76"/>
                    </a:lnTo>
                    <a:lnTo>
                      <a:pt x="424" y="75"/>
                    </a:lnTo>
                    <a:lnTo>
                      <a:pt x="426" y="71"/>
                    </a:lnTo>
                    <a:lnTo>
                      <a:pt x="428" y="69"/>
                    </a:lnTo>
                    <a:lnTo>
                      <a:pt x="430" y="67"/>
                    </a:lnTo>
                    <a:lnTo>
                      <a:pt x="433" y="65"/>
                    </a:lnTo>
                    <a:lnTo>
                      <a:pt x="435" y="61"/>
                    </a:lnTo>
                    <a:lnTo>
                      <a:pt x="437" y="59"/>
                    </a:lnTo>
                    <a:lnTo>
                      <a:pt x="439" y="57"/>
                    </a:lnTo>
                    <a:lnTo>
                      <a:pt x="443" y="55"/>
                    </a:lnTo>
                    <a:lnTo>
                      <a:pt x="445" y="52"/>
                    </a:lnTo>
                    <a:lnTo>
                      <a:pt x="447" y="50"/>
                    </a:lnTo>
                    <a:lnTo>
                      <a:pt x="451" y="48"/>
                    </a:lnTo>
                    <a:lnTo>
                      <a:pt x="462" y="40"/>
                    </a:lnTo>
                    <a:lnTo>
                      <a:pt x="474" y="32"/>
                    </a:lnTo>
                    <a:lnTo>
                      <a:pt x="476" y="30"/>
                    </a:lnTo>
                    <a:lnTo>
                      <a:pt x="479" y="29"/>
                    </a:lnTo>
                    <a:lnTo>
                      <a:pt x="491" y="25"/>
                    </a:lnTo>
                    <a:lnTo>
                      <a:pt x="502" y="23"/>
                    </a:lnTo>
                    <a:lnTo>
                      <a:pt x="504" y="21"/>
                    </a:lnTo>
                    <a:lnTo>
                      <a:pt x="508" y="19"/>
                    </a:lnTo>
                    <a:lnTo>
                      <a:pt x="514" y="11"/>
                    </a:lnTo>
                    <a:lnTo>
                      <a:pt x="522" y="4"/>
                    </a:lnTo>
                    <a:lnTo>
                      <a:pt x="524" y="2"/>
                    </a:lnTo>
                    <a:lnTo>
                      <a:pt x="527" y="0"/>
                    </a:lnTo>
                    <a:lnTo>
                      <a:pt x="547" y="0"/>
                    </a:lnTo>
                    <a:lnTo>
                      <a:pt x="566" y="0"/>
                    </a:lnTo>
                    <a:lnTo>
                      <a:pt x="568" y="2"/>
                    </a:lnTo>
                    <a:lnTo>
                      <a:pt x="572" y="4"/>
                    </a:lnTo>
                    <a:lnTo>
                      <a:pt x="572" y="13"/>
                    </a:lnTo>
                    <a:lnTo>
                      <a:pt x="572" y="23"/>
                    </a:lnTo>
                    <a:lnTo>
                      <a:pt x="568" y="25"/>
                    </a:lnTo>
                    <a:lnTo>
                      <a:pt x="566" y="29"/>
                    </a:lnTo>
                    <a:lnTo>
                      <a:pt x="564" y="40"/>
                    </a:lnTo>
                    <a:lnTo>
                      <a:pt x="560" y="52"/>
                    </a:lnTo>
                    <a:lnTo>
                      <a:pt x="558" y="55"/>
                    </a:lnTo>
                    <a:lnTo>
                      <a:pt x="556" y="57"/>
                    </a:lnTo>
                    <a:lnTo>
                      <a:pt x="554" y="69"/>
                    </a:lnTo>
                    <a:lnTo>
                      <a:pt x="550" y="82"/>
                    </a:lnTo>
                    <a:lnTo>
                      <a:pt x="549" y="84"/>
                    </a:lnTo>
                    <a:lnTo>
                      <a:pt x="547" y="86"/>
                    </a:lnTo>
                    <a:lnTo>
                      <a:pt x="545" y="113"/>
                    </a:lnTo>
                    <a:lnTo>
                      <a:pt x="541" y="140"/>
                    </a:lnTo>
                    <a:lnTo>
                      <a:pt x="539" y="142"/>
                    </a:lnTo>
                    <a:lnTo>
                      <a:pt x="537" y="144"/>
                    </a:lnTo>
                    <a:lnTo>
                      <a:pt x="537" y="149"/>
                    </a:lnTo>
                    <a:lnTo>
                      <a:pt x="537" y="153"/>
                    </a:lnTo>
                    <a:lnTo>
                      <a:pt x="539" y="155"/>
                    </a:lnTo>
                    <a:lnTo>
                      <a:pt x="541" y="159"/>
                    </a:lnTo>
                    <a:lnTo>
                      <a:pt x="568" y="161"/>
                    </a:lnTo>
                    <a:lnTo>
                      <a:pt x="595" y="163"/>
                    </a:lnTo>
                    <a:lnTo>
                      <a:pt x="597" y="167"/>
                    </a:lnTo>
                    <a:lnTo>
                      <a:pt x="600" y="169"/>
                    </a:lnTo>
                    <a:lnTo>
                      <a:pt x="602" y="170"/>
                    </a:lnTo>
                    <a:lnTo>
                      <a:pt x="604" y="172"/>
                    </a:lnTo>
                    <a:lnTo>
                      <a:pt x="606" y="176"/>
                    </a:lnTo>
                    <a:lnTo>
                      <a:pt x="610" y="178"/>
                    </a:lnTo>
                    <a:lnTo>
                      <a:pt x="623" y="178"/>
                    </a:lnTo>
                    <a:lnTo>
                      <a:pt x="639" y="178"/>
                    </a:lnTo>
                    <a:lnTo>
                      <a:pt x="641" y="176"/>
                    </a:lnTo>
                    <a:lnTo>
                      <a:pt x="643" y="172"/>
                    </a:lnTo>
                    <a:lnTo>
                      <a:pt x="644" y="170"/>
                    </a:lnTo>
                    <a:lnTo>
                      <a:pt x="648" y="169"/>
                    </a:lnTo>
                    <a:lnTo>
                      <a:pt x="650" y="167"/>
                    </a:lnTo>
                    <a:lnTo>
                      <a:pt x="652" y="163"/>
                    </a:lnTo>
                    <a:lnTo>
                      <a:pt x="660" y="161"/>
                    </a:lnTo>
                    <a:lnTo>
                      <a:pt x="667" y="159"/>
                    </a:lnTo>
                    <a:lnTo>
                      <a:pt x="669" y="155"/>
                    </a:lnTo>
                    <a:lnTo>
                      <a:pt x="671" y="153"/>
                    </a:lnTo>
                    <a:lnTo>
                      <a:pt x="673" y="147"/>
                    </a:lnTo>
                    <a:lnTo>
                      <a:pt x="677" y="140"/>
                    </a:lnTo>
                    <a:lnTo>
                      <a:pt x="679" y="138"/>
                    </a:lnTo>
                    <a:lnTo>
                      <a:pt x="681" y="134"/>
                    </a:lnTo>
                    <a:lnTo>
                      <a:pt x="685" y="126"/>
                    </a:lnTo>
                    <a:lnTo>
                      <a:pt x="687" y="121"/>
                    </a:lnTo>
                    <a:lnTo>
                      <a:pt x="689" y="117"/>
                    </a:lnTo>
                    <a:lnTo>
                      <a:pt x="692" y="115"/>
                    </a:lnTo>
                    <a:lnTo>
                      <a:pt x="694" y="113"/>
                    </a:lnTo>
                    <a:lnTo>
                      <a:pt x="696" y="111"/>
                    </a:lnTo>
                    <a:lnTo>
                      <a:pt x="698" y="107"/>
                    </a:lnTo>
                    <a:lnTo>
                      <a:pt x="700" y="105"/>
                    </a:lnTo>
                    <a:lnTo>
                      <a:pt x="704" y="103"/>
                    </a:lnTo>
                    <a:lnTo>
                      <a:pt x="706" y="99"/>
                    </a:lnTo>
                    <a:lnTo>
                      <a:pt x="708" y="98"/>
                    </a:lnTo>
                    <a:lnTo>
                      <a:pt x="712" y="96"/>
                    </a:lnTo>
                    <a:lnTo>
                      <a:pt x="714" y="94"/>
                    </a:lnTo>
                    <a:lnTo>
                      <a:pt x="715" y="92"/>
                    </a:lnTo>
                    <a:lnTo>
                      <a:pt x="717" y="88"/>
                    </a:lnTo>
                    <a:lnTo>
                      <a:pt x="721" y="86"/>
                    </a:lnTo>
                    <a:lnTo>
                      <a:pt x="727" y="84"/>
                    </a:lnTo>
                    <a:lnTo>
                      <a:pt x="735" y="82"/>
                    </a:lnTo>
                    <a:lnTo>
                      <a:pt x="737" y="78"/>
                    </a:lnTo>
                    <a:lnTo>
                      <a:pt x="740" y="76"/>
                    </a:lnTo>
                    <a:lnTo>
                      <a:pt x="744" y="76"/>
                    </a:lnTo>
                    <a:lnTo>
                      <a:pt x="750" y="76"/>
                    </a:lnTo>
                    <a:lnTo>
                      <a:pt x="752" y="78"/>
                    </a:lnTo>
                    <a:lnTo>
                      <a:pt x="754" y="82"/>
                    </a:lnTo>
                    <a:lnTo>
                      <a:pt x="756" y="84"/>
                    </a:lnTo>
                    <a:lnTo>
                      <a:pt x="760" y="86"/>
                    </a:lnTo>
                    <a:lnTo>
                      <a:pt x="762" y="88"/>
                    </a:lnTo>
                    <a:lnTo>
                      <a:pt x="763" y="92"/>
                    </a:lnTo>
                    <a:lnTo>
                      <a:pt x="767" y="98"/>
                    </a:lnTo>
                    <a:lnTo>
                      <a:pt x="769" y="105"/>
                    </a:lnTo>
                    <a:lnTo>
                      <a:pt x="771" y="107"/>
                    </a:lnTo>
                    <a:lnTo>
                      <a:pt x="773" y="111"/>
                    </a:lnTo>
                    <a:lnTo>
                      <a:pt x="773" y="130"/>
                    </a:lnTo>
                    <a:lnTo>
                      <a:pt x="773" y="149"/>
                    </a:lnTo>
                    <a:lnTo>
                      <a:pt x="771" y="151"/>
                    </a:lnTo>
                    <a:lnTo>
                      <a:pt x="769" y="153"/>
                    </a:lnTo>
                    <a:lnTo>
                      <a:pt x="742" y="153"/>
                    </a:lnTo>
                    <a:lnTo>
                      <a:pt x="715" y="153"/>
                    </a:lnTo>
                    <a:lnTo>
                      <a:pt x="717" y="169"/>
                    </a:lnTo>
                    <a:lnTo>
                      <a:pt x="721" y="182"/>
                    </a:lnTo>
                    <a:lnTo>
                      <a:pt x="723" y="186"/>
                    </a:lnTo>
                    <a:lnTo>
                      <a:pt x="725" y="188"/>
                    </a:lnTo>
                    <a:lnTo>
                      <a:pt x="727" y="190"/>
                    </a:lnTo>
                    <a:lnTo>
                      <a:pt x="731" y="192"/>
                    </a:lnTo>
                    <a:lnTo>
                      <a:pt x="733" y="195"/>
                    </a:lnTo>
                    <a:lnTo>
                      <a:pt x="735" y="197"/>
                    </a:lnTo>
                    <a:lnTo>
                      <a:pt x="733" y="199"/>
                    </a:lnTo>
                    <a:lnTo>
                      <a:pt x="731" y="203"/>
                    </a:lnTo>
                    <a:lnTo>
                      <a:pt x="727" y="215"/>
                    </a:lnTo>
                    <a:lnTo>
                      <a:pt x="725" y="226"/>
                    </a:lnTo>
                    <a:lnTo>
                      <a:pt x="723" y="228"/>
                    </a:lnTo>
                    <a:lnTo>
                      <a:pt x="721" y="232"/>
                    </a:lnTo>
                    <a:lnTo>
                      <a:pt x="717" y="243"/>
                    </a:lnTo>
                    <a:lnTo>
                      <a:pt x="715" y="255"/>
                    </a:lnTo>
                    <a:lnTo>
                      <a:pt x="714" y="257"/>
                    </a:lnTo>
                    <a:lnTo>
                      <a:pt x="712" y="261"/>
                    </a:lnTo>
                    <a:lnTo>
                      <a:pt x="708" y="266"/>
                    </a:lnTo>
                    <a:lnTo>
                      <a:pt x="706" y="274"/>
                    </a:lnTo>
                    <a:lnTo>
                      <a:pt x="704" y="278"/>
                    </a:lnTo>
                    <a:lnTo>
                      <a:pt x="700" y="280"/>
                    </a:lnTo>
                    <a:lnTo>
                      <a:pt x="698" y="282"/>
                    </a:lnTo>
                    <a:lnTo>
                      <a:pt x="696" y="284"/>
                    </a:lnTo>
                    <a:lnTo>
                      <a:pt x="694" y="288"/>
                    </a:lnTo>
                    <a:lnTo>
                      <a:pt x="692" y="289"/>
                    </a:lnTo>
                    <a:lnTo>
                      <a:pt x="692" y="293"/>
                    </a:lnTo>
                    <a:lnTo>
                      <a:pt x="692" y="299"/>
                    </a:lnTo>
                    <a:lnTo>
                      <a:pt x="694" y="301"/>
                    </a:lnTo>
                    <a:lnTo>
                      <a:pt x="696" y="303"/>
                    </a:lnTo>
                    <a:lnTo>
                      <a:pt x="698" y="324"/>
                    </a:lnTo>
                    <a:lnTo>
                      <a:pt x="698" y="345"/>
                    </a:lnTo>
                    <a:lnTo>
                      <a:pt x="700" y="366"/>
                    </a:lnTo>
                    <a:lnTo>
                      <a:pt x="700" y="385"/>
                    </a:lnTo>
                    <a:lnTo>
                      <a:pt x="704" y="387"/>
                    </a:lnTo>
                    <a:lnTo>
                      <a:pt x="706" y="391"/>
                    </a:lnTo>
                    <a:lnTo>
                      <a:pt x="714" y="393"/>
                    </a:lnTo>
                    <a:lnTo>
                      <a:pt x="721" y="395"/>
                    </a:lnTo>
                    <a:lnTo>
                      <a:pt x="723" y="399"/>
                    </a:lnTo>
                    <a:lnTo>
                      <a:pt x="725" y="401"/>
                    </a:lnTo>
                    <a:lnTo>
                      <a:pt x="737" y="403"/>
                    </a:lnTo>
                    <a:lnTo>
                      <a:pt x="750" y="405"/>
                    </a:lnTo>
                    <a:lnTo>
                      <a:pt x="752" y="408"/>
                    </a:lnTo>
                    <a:lnTo>
                      <a:pt x="754" y="410"/>
                    </a:lnTo>
                    <a:lnTo>
                      <a:pt x="756" y="412"/>
                    </a:lnTo>
                    <a:lnTo>
                      <a:pt x="760" y="414"/>
                    </a:lnTo>
                    <a:lnTo>
                      <a:pt x="762" y="418"/>
                    </a:lnTo>
                    <a:lnTo>
                      <a:pt x="763" y="420"/>
                    </a:lnTo>
                    <a:lnTo>
                      <a:pt x="767" y="422"/>
                    </a:lnTo>
                    <a:lnTo>
                      <a:pt x="769" y="424"/>
                    </a:lnTo>
                    <a:lnTo>
                      <a:pt x="771" y="428"/>
                    </a:lnTo>
                    <a:lnTo>
                      <a:pt x="773" y="430"/>
                    </a:lnTo>
                    <a:lnTo>
                      <a:pt x="777" y="431"/>
                    </a:lnTo>
                    <a:lnTo>
                      <a:pt x="779" y="435"/>
                    </a:lnTo>
                    <a:lnTo>
                      <a:pt x="781" y="437"/>
                    </a:lnTo>
                    <a:lnTo>
                      <a:pt x="783" y="439"/>
                    </a:lnTo>
                    <a:lnTo>
                      <a:pt x="786" y="447"/>
                    </a:lnTo>
                    <a:lnTo>
                      <a:pt x="788" y="453"/>
                    </a:lnTo>
                    <a:lnTo>
                      <a:pt x="790" y="456"/>
                    </a:lnTo>
                    <a:lnTo>
                      <a:pt x="792" y="458"/>
                    </a:lnTo>
                    <a:lnTo>
                      <a:pt x="792" y="479"/>
                    </a:lnTo>
                    <a:lnTo>
                      <a:pt x="792" y="502"/>
                    </a:lnTo>
                    <a:lnTo>
                      <a:pt x="788" y="502"/>
                    </a:lnTo>
                    <a:lnTo>
                      <a:pt x="783" y="502"/>
                    </a:lnTo>
                    <a:lnTo>
                      <a:pt x="775" y="497"/>
                    </a:lnTo>
                    <a:lnTo>
                      <a:pt x="756" y="493"/>
                    </a:lnTo>
                    <a:lnTo>
                      <a:pt x="737" y="491"/>
                    </a:lnTo>
                    <a:lnTo>
                      <a:pt x="725" y="493"/>
                    </a:lnTo>
                    <a:lnTo>
                      <a:pt x="719" y="493"/>
                    </a:lnTo>
                    <a:lnTo>
                      <a:pt x="715" y="493"/>
                    </a:lnTo>
                    <a:lnTo>
                      <a:pt x="683" y="502"/>
                    </a:lnTo>
                    <a:lnTo>
                      <a:pt x="652" y="508"/>
                    </a:lnTo>
                    <a:lnTo>
                      <a:pt x="637" y="510"/>
                    </a:lnTo>
                    <a:lnTo>
                      <a:pt x="621" y="510"/>
                    </a:lnTo>
                    <a:lnTo>
                      <a:pt x="606" y="508"/>
                    </a:lnTo>
                    <a:lnTo>
                      <a:pt x="589" y="502"/>
                    </a:lnTo>
                    <a:lnTo>
                      <a:pt x="589" y="493"/>
                    </a:lnTo>
                    <a:lnTo>
                      <a:pt x="589" y="483"/>
                    </a:lnTo>
                    <a:lnTo>
                      <a:pt x="581" y="483"/>
                    </a:lnTo>
                    <a:lnTo>
                      <a:pt x="572" y="483"/>
                    </a:lnTo>
                    <a:lnTo>
                      <a:pt x="572" y="474"/>
                    </a:lnTo>
                    <a:lnTo>
                      <a:pt x="572" y="464"/>
                    </a:lnTo>
                    <a:lnTo>
                      <a:pt x="560" y="464"/>
                    </a:lnTo>
                    <a:lnTo>
                      <a:pt x="550" y="464"/>
                    </a:lnTo>
                    <a:lnTo>
                      <a:pt x="550" y="454"/>
                    </a:lnTo>
                    <a:lnTo>
                      <a:pt x="550" y="445"/>
                    </a:lnTo>
                    <a:lnTo>
                      <a:pt x="541" y="445"/>
                    </a:lnTo>
                    <a:lnTo>
                      <a:pt x="531" y="445"/>
                    </a:lnTo>
                    <a:lnTo>
                      <a:pt x="531" y="433"/>
                    </a:lnTo>
                    <a:lnTo>
                      <a:pt x="531" y="424"/>
                    </a:lnTo>
                    <a:lnTo>
                      <a:pt x="476" y="382"/>
                    </a:lnTo>
                    <a:lnTo>
                      <a:pt x="426" y="345"/>
                    </a:lnTo>
                    <a:lnTo>
                      <a:pt x="414" y="337"/>
                    </a:lnTo>
                    <a:lnTo>
                      <a:pt x="401" y="332"/>
                    </a:lnTo>
                    <a:lnTo>
                      <a:pt x="387" y="328"/>
                    </a:lnTo>
                    <a:lnTo>
                      <a:pt x="372" y="326"/>
                    </a:lnTo>
                    <a:lnTo>
                      <a:pt x="357" y="326"/>
                    </a:lnTo>
                    <a:lnTo>
                      <a:pt x="339" y="328"/>
                    </a:lnTo>
                    <a:lnTo>
                      <a:pt x="320" y="332"/>
                    </a:lnTo>
                    <a:lnTo>
                      <a:pt x="299" y="337"/>
                    </a:lnTo>
                  </a:path>
                </a:pathLst>
              </a:custGeom>
              <a:grpFill/>
              <a:ln w="3175">
                <a:solidFill>
                  <a:srgbClr val="FF8300"/>
                </a:solidFill>
                <a:round/>
                <a:headEnd/>
                <a:tailEnd/>
              </a:ln>
            </p:spPr>
            <p:txBody>
              <a:bodyPr/>
              <a:lstStyle/>
              <a:p>
                <a:pPr>
                  <a:defRPr/>
                </a:pPr>
                <a:endParaRPr lang="en-GB" sz="1400">
                  <a:solidFill>
                    <a:schemeClr val="tx2"/>
                  </a:solidFill>
                </a:endParaRPr>
              </a:p>
            </p:txBody>
          </p:sp>
          <p:sp>
            <p:nvSpPr>
              <p:cNvPr id="352" name="Freeform 96"/>
              <p:cNvSpPr>
                <a:spLocks/>
              </p:cNvSpPr>
              <p:nvPr>
                <p:custDataLst>
                  <p:tags r:id="rId8"/>
                </p:custDataLst>
              </p:nvPr>
            </p:nvSpPr>
            <p:spPr bwMode="gray">
              <a:xfrm>
                <a:off x="6929947" y="3786752"/>
                <a:ext cx="1078574" cy="1779508"/>
              </a:xfrm>
              <a:custGeom>
                <a:avLst/>
                <a:gdLst>
                  <a:gd name="T0" fmla="*/ 2147483647 w 792"/>
                  <a:gd name="T1" fmla="*/ 2147483647 h 1355"/>
                  <a:gd name="T2" fmla="*/ 2147483647 w 792"/>
                  <a:gd name="T3" fmla="*/ 2147483647 h 1355"/>
                  <a:gd name="T4" fmla="*/ 2147483647 w 792"/>
                  <a:gd name="T5" fmla="*/ 2147483647 h 1355"/>
                  <a:gd name="T6" fmla="*/ 2147483647 w 792"/>
                  <a:gd name="T7" fmla="*/ 2147483647 h 1355"/>
                  <a:gd name="T8" fmla="*/ 2147483647 w 792"/>
                  <a:gd name="T9" fmla="*/ 2147483647 h 1355"/>
                  <a:gd name="T10" fmla="*/ 2147483647 w 792"/>
                  <a:gd name="T11" fmla="*/ 2147483647 h 1355"/>
                  <a:gd name="T12" fmla="*/ 2147483647 w 792"/>
                  <a:gd name="T13" fmla="*/ 2147483647 h 1355"/>
                  <a:gd name="T14" fmla="*/ 2147483647 w 792"/>
                  <a:gd name="T15" fmla="*/ 2147483647 h 1355"/>
                  <a:gd name="T16" fmla="*/ 2147483647 w 792"/>
                  <a:gd name="T17" fmla="*/ 2147483647 h 1355"/>
                  <a:gd name="T18" fmla="*/ 2147483647 w 792"/>
                  <a:gd name="T19" fmla="*/ 2147483647 h 1355"/>
                  <a:gd name="T20" fmla="*/ 2147483647 w 792"/>
                  <a:gd name="T21" fmla="*/ 2147483647 h 1355"/>
                  <a:gd name="T22" fmla="*/ 2147483647 w 792"/>
                  <a:gd name="T23" fmla="*/ 2147483647 h 1355"/>
                  <a:gd name="T24" fmla="*/ 2147483647 w 792"/>
                  <a:gd name="T25" fmla="*/ 2147483647 h 1355"/>
                  <a:gd name="T26" fmla="*/ 2147483647 w 792"/>
                  <a:gd name="T27" fmla="*/ 2147483647 h 1355"/>
                  <a:gd name="T28" fmla="*/ 2147483647 w 792"/>
                  <a:gd name="T29" fmla="*/ 2147483647 h 1355"/>
                  <a:gd name="T30" fmla="*/ 2147483647 w 792"/>
                  <a:gd name="T31" fmla="*/ 2147483647 h 1355"/>
                  <a:gd name="T32" fmla="*/ 2147483647 w 792"/>
                  <a:gd name="T33" fmla="*/ 2147483647 h 1355"/>
                  <a:gd name="T34" fmla="*/ 2147483647 w 792"/>
                  <a:gd name="T35" fmla="*/ 2147483647 h 1355"/>
                  <a:gd name="T36" fmla="*/ 2147483647 w 792"/>
                  <a:gd name="T37" fmla="*/ 2147483647 h 1355"/>
                  <a:gd name="T38" fmla="*/ 2147483647 w 792"/>
                  <a:gd name="T39" fmla="*/ 2147483647 h 1355"/>
                  <a:gd name="T40" fmla="*/ 0 w 792"/>
                  <a:gd name="T41" fmla="*/ 2147483647 h 1355"/>
                  <a:gd name="T42" fmla="*/ 0 w 792"/>
                  <a:gd name="T43" fmla="*/ 2147483647 h 1355"/>
                  <a:gd name="T44" fmla="*/ 2147483647 w 792"/>
                  <a:gd name="T45" fmla="*/ 2147483647 h 1355"/>
                  <a:gd name="T46" fmla="*/ 2147483647 w 792"/>
                  <a:gd name="T47" fmla="*/ 2147483647 h 1355"/>
                  <a:gd name="T48" fmla="*/ 2147483647 w 792"/>
                  <a:gd name="T49" fmla="*/ 2147483647 h 1355"/>
                  <a:gd name="T50" fmla="*/ 2147483647 w 792"/>
                  <a:gd name="T51" fmla="*/ 2147483647 h 1355"/>
                  <a:gd name="T52" fmla="*/ 2147483647 w 792"/>
                  <a:gd name="T53" fmla="*/ 2147483647 h 1355"/>
                  <a:gd name="T54" fmla="*/ 2147483647 w 792"/>
                  <a:gd name="T55" fmla="*/ 2147483647 h 1355"/>
                  <a:gd name="T56" fmla="*/ 2147483647 w 792"/>
                  <a:gd name="T57" fmla="*/ 2147483647 h 1355"/>
                  <a:gd name="T58" fmla="*/ 2147483647 w 792"/>
                  <a:gd name="T59" fmla="*/ 2147483647 h 1355"/>
                  <a:gd name="T60" fmla="*/ 2147483647 w 792"/>
                  <a:gd name="T61" fmla="*/ 2147483647 h 1355"/>
                  <a:gd name="T62" fmla="*/ 2147483647 w 792"/>
                  <a:gd name="T63" fmla="*/ 2147483647 h 1355"/>
                  <a:gd name="T64" fmla="*/ 2147483647 w 792"/>
                  <a:gd name="T65" fmla="*/ 2147483647 h 1355"/>
                  <a:gd name="T66" fmla="*/ 2147483647 w 792"/>
                  <a:gd name="T67" fmla="*/ 2147483647 h 1355"/>
                  <a:gd name="T68" fmla="*/ 2147483647 w 792"/>
                  <a:gd name="T69" fmla="*/ 2147483647 h 1355"/>
                  <a:gd name="T70" fmla="*/ 2147483647 w 792"/>
                  <a:gd name="T71" fmla="*/ 2147483647 h 1355"/>
                  <a:gd name="T72" fmla="*/ 2147483647 w 792"/>
                  <a:gd name="T73" fmla="*/ 2147483647 h 1355"/>
                  <a:gd name="T74" fmla="*/ 2147483647 w 792"/>
                  <a:gd name="T75" fmla="*/ 2147483647 h 1355"/>
                  <a:gd name="T76" fmla="*/ 2147483647 w 792"/>
                  <a:gd name="T77" fmla="*/ 2147483647 h 1355"/>
                  <a:gd name="T78" fmla="*/ 2147483647 w 792"/>
                  <a:gd name="T79" fmla="*/ 2147483647 h 1355"/>
                  <a:gd name="T80" fmla="*/ 2147483647 w 792"/>
                  <a:gd name="T81" fmla="*/ 2147483647 h 1355"/>
                  <a:gd name="T82" fmla="*/ 2147483647 w 792"/>
                  <a:gd name="T83" fmla="*/ 2147483647 h 1355"/>
                  <a:gd name="T84" fmla="*/ 2147483647 w 792"/>
                  <a:gd name="T85" fmla="*/ 2147483647 h 1355"/>
                  <a:gd name="T86" fmla="*/ 2147483647 w 792"/>
                  <a:gd name="T87" fmla="*/ 2147483647 h 1355"/>
                  <a:gd name="T88" fmla="*/ 2147483647 w 792"/>
                  <a:gd name="T89" fmla="*/ 2147483647 h 1355"/>
                  <a:gd name="T90" fmla="*/ 2147483647 w 792"/>
                  <a:gd name="T91" fmla="*/ 2147483647 h 1355"/>
                  <a:gd name="T92" fmla="*/ 2147483647 w 792"/>
                  <a:gd name="T93" fmla="*/ 2147483647 h 1355"/>
                  <a:gd name="T94" fmla="*/ 2147483647 w 792"/>
                  <a:gd name="T95" fmla="*/ 2147483647 h 1355"/>
                  <a:gd name="T96" fmla="*/ 2147483647 w 792"/>
                  <a:gd name="T97" fmla="*/ 2147483647 h 1355"/>
                  <a:gd name="T98" fmla="*/ 2147483647 w 792"/>
                  <a:gd name="T99" fmla="*/ 2147483647 h 1355"/>
                  <a:gd name="T100" fmla="*/ 2147483647 w 792"/>
                  <a:gd name="T101" fmla="*/ 2147483647 h 1355"/>
                  <a:gd name="T102" fmla="*/ 2147483647 w 792"/>
                  <a:gd name="T103" fmla="*/ 2147483647 h 1355"/>
                  <a:gd name="T104" fmla="*/ 2147483647 w 792"/>
                  <a:gd name="T105" fmla="*/ 2147483647 h 1355"/>
                  <a:gd name="T106" fmla="*/ 2147483647 w 792"/>
                  <a:gd name="T107" fmla="*/ 2147483647 h 1355"/>
                  <a:gd name="T108" fmla="*/ 2147483647 w 792"/>
                  <a:gd name="T109" fmla="*/ 2147483647 h 1355"/>
                  <a:gd name="T110" fmla="*/ 2147483647 w 792"/>
                  <a:gd name="T111" fmla="*/ 2147483647 h 1355"/>
                  <a:gd name="T112" fmla="*/ 2147483647 w 792"/>
                  <a:gd name="T113" fmla="*/ 2147483647 h 1355"/>
                  <a:gd name="T114" fmla="*/ 2147483647 w 792"/>
                  <a:gd name="T115" fmla="*/ 2147483647 h 1355"/>
                  <a:gd name="T116" fmla="*/ 2147483647 w 792"/>
                  <a:gd name="T117" fmla="*/ 2147483647 h 1355"/>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792"/>
                  <a:gd name="T178" fmla="*/ 0 h 1355"/>
                  <a:gd name="T179" fmla="*/ 792 w 792"/>
                  <a:gd name="T180" fmla="*/ 1355 h 1355"/>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792" h="1355">
                    <a:moveTo>
                      <a:pt x="608" y="1259"/>
                    </a:moveTo>
                    <a:lnTo>
                      <a:pt x="612" y="1255"/>
                    </a:lnTo>
                    <a:lnTo>
                      <a:pt x="615" y="1251"/>
                    </a:lnTo>
                    <a:lnTo>
                      <a:pt x="606" y="1240"/>
                    </a:lnTo>
                    <a:lnTo>
                      <a:pt x="598" y="1228"/>
                    </a:lnTo>
                    <a:lnTo>
                      <a:pt x="598" y="1224"/>
                    </a:lnTo>
                    <a:lnTo>
                      <a:pt x="598" y="1219"/>
                    </a:lnTo>
                    <a:lnTo>
                      <a:pt x="594" y="1215"/>
                    </a:lnTo>
                    <a:lnTo>
                      <a:pt x="589" y="1209"/>
                    </a:lnTo>
                    <a:lnTo>
                      <a:pt x="575" y="1209"/>
                    </a:lnTo>
                    <a:lnTo>
                      <a:pt x="560" y="1209"/>
                    </a:lnTo>
                    <a:lnTo>
                      <a:pt x="554" y="1215"/>
                    </a:lnTo>
                    <a:lnTo>
                      <a:pt x="550" y="1219"/>
                    </a:lnTo>
                    <a:lnTo>
                      <a:pt x="539" y="1222"/>
                    </a:lnTo>
                    <a:lnTo>
                      <a:pt x="533" y="1224"/>
                    </a:lnTo>
                    <a:lnTo>
                      <a:pt x="527" y="1230"/>
                    </a:lnTo>
                    <a:lnTo>
                      <a:pt x="521" y="1238"/>
                    </a:lnTo>
                    <a:lnTo>
                      <a:pt x="510" y="1238"/>
                    </a:lnTo>
                    <a:lnTo>
                      <a:pt x="496" y="1238"/>
                    </a:lnTo>
                    <a:lnTo>
                      <a:pt x="495" y="1236"/>
                    </a:lnTo>
                    <a:lnTo>
                      <a:pt x="493" y="1234"/>
                    </a:lnTo>
                    <a:lnTo>
                      <a:pt x="487" y="1232"/>
                    </a:lnTo>
                    <a:lnTo>
                      <a:pt x="473" y="1230"/>
                    </a:lnTo>
                    <a:lnTo>
                      <a:pt x="460" y="1232"/>
                    </a:lnTo>
                    <a:lnTo>
                      <a:pt x="454" y="1234"/>
                    </a:lnTo>
                    <a:lnTo>
                      <a:pt x="452" y="1236"/>
                    </a:lnTo>
                    <a:lnTo>
                      <a:pt x="449" y="1238"/>
                    </a:lnTo>
                    <a:lnTo>
                      <a:pt x="437" y="1242"/>
                    </a:lnTo>
                    <a:lnTo>
                      <a:pt x="425" y="1244"/>
                    </a:lnTo>
                    <a:lnTo>
                      <a:pt x="422" y="1245"/>
                    </a:lnTo>
                    <a:lnTo>
                      <a:pt x="420" y="1249"/>
                    </a:lnTo>
                    <a:lnTo>
                      <a:pt x="418" y="1249"/>
                    </a:lnTo>
                    <a:lnTo>
                      <a:pt x="416" y="1251"/>
                    </a:lnTo>
                    <a:lnTo>
                      <a:pt x="414" y="1257"/>
                    </a:lnTo>
                    <a:lnTo>
                      <a:pt x="414" y="1267"/>
                    </a:lnTo>
                    <a:lnTo>
                      <a:pt x="402" y="1267"/>
                    </a:lnTo>
                    <a:lnTo>
                      <a:pt x="391" y="1267"/>
                    </a:lnTo>
                    <a:lnTo>
                      <a:pt x="389" y="1265"/>
                    </a:lnTo>
                    <a:lnTo>
                      <a:pt x="385" y="1263"/>
                    </a:lnTo>
                    <a:lnTo>
                      <a:pt x="383" y="1255"/>
                    </a:lnTo>
                    <a:lnTo>
                      <a:pt x="381" y="1249"/>
                    </a:lnTo>
                    <a:lnTo>
                      <a:pt x="379" y="1245"/>
                    </a:lnTo>
                    <a:lnTo>
                      <a:pt x="376" y="1244"/>
                    </a:lnTo>
                    <a:lnTo>
                      <a:pt x="374" y="1242"/>
                    </a:lnTo>
                    <a:lnTo>
                      <a:pt x="372" y="1238"/>
                    </a:lnTo>
                    <a:lnTo>
                      <a:pt x="370" y="1236"/>
                    </a:lnTo>
                    <a:lnTo>
                      <a:pt x="366" y="1234"/>
                    </a:lnTo>
                    <a:lnTo>
                      <a:pt x="364" y="1232"/>
                    </a:lnTo>
                    <a:lnTo>
                      <a:pt x="362" y="1228"/>
                    </a:lnTo>
                    <a:lnTo>
                      <a:pt x="360" y="1226"/>
                    </a:lnTo>
                    <a:lnTo>
                      <a:pt x="356" y="1224"/>
                    </a:lnTo>
                    <a:lnTo>
                      <a:pt x="355" y="1222"/>
                    </a:lnTo>
                    <a:lnTo>
                      <a:pt x="353" y="1219"/>
                    </a:lnTo>
                    <a:lnTo>
                      <a:pt x="349" y="1217"/>
                    </a:lnTo>
                    <a:lnTo>
                      <a:pt x="347" y="1215"/>
                    </a:lnTo>
                    <a:lnTo>
                      <a:pt x="335" y="1213"/>
                    </a:lnTo>
                    <a:lnTo>
                      <a:pt x="324" y="1209"/>
                    </a:lnTo>
                    <a:lnTo>
                      <a:pt x="320" y="1207"/>
                    </a:lnTo>
                    <a:lnTo>
                      <a:pt x="318" y="1205"/>
                    </a:lnTo>
                    <a:lnTo>
                      <a:pt x="310" y="1201"/>
                    </a:lnTo>
                    <a:lnTo>
                      <a:pt x="305" y="1199"/>
                    </a:lnTo>
                    <a:lnTo>
                      <a:pt x="301" y="1197"/>
                    </a:lnTo>
                    <a:lnTo>
                      <a:pt x="299" y="1196"/>
                    </a:lnTo>
                    <a:lnTo>
                      <a:pt x="297" y="1174"/>
                    </a:lnTo>
                    <a:lnTo>
                      <a:pt x="297" y="1153"/>
                    </a:lnTo>
                    <a:lnTo>
                      <a:pt x="295" y="1134"/>
                    </a:lnTo>
                    <a:lnTo>
                      <a:pt x="293" y="1113"/>
                    </a:lnTo>
                    <a:lnTo>
                      <a:pt x="291" y="1111"/>
                    </a:lnTo>
                    <a:lnTo>
                      <a:pt x="289" y="1107"/>
                    </a:lnTo>
                    <a:lnTo>
                      <a:pt x="291" y="1105"/>
                    </a:lnTo>
                    <a:lnTo>
                      <a:pt x="293" y="1103"/>
                    </a:lnTo>
                    <a:lnTo>
                      <a:pt x="297" y="1102"/>
                    </a:lnTo>
                    <a:lnTo>
                      <a:pt x="299" y="1098"/>
                    </a:lnTo>
                    <a:lnTo>
                      <a:pt x="301" y="1096"/>
                    </a:lnTo>
                    <a:lnTo>
                      <a:pt x="305" y="1094"/>
                    </a:lnTo>
                    <a:lnTo>
                      <a:pt x="307" y="1086"/>
                    </a:lnTo>
                    <a:lnTo>
                      <a:pt x="308" y="1079"/>
                    </a:lnTo>
                    <a:lnTo>
                      <a:pt x="310" y="1077"/>
                    </a:lnTo>
                    <a:lnTo>
                      <a:pt x="314" y="1075"/>
                    </a:lnTo>
                    <a:lnTo>
                      <a:pt x="316" y="1061"/>
                    </a:lnTo>
                    <a:lnTo>
                      <a:pt x="318" y="1050"/>
                    </a:lnTo>
                    <a:lnTo>
                      <a:pt x="320" y="1048"/>
                    </a:lnTo>
                    <a:lnTo>
                      <a:pt x="324" y="1046"/>
                    </a:lnTo>
                    <a:lnTo>
                      <a:pt x="326" y="1032"/>
                    </a:lnTo>
                    <a:lnTo>
                      <a:pt x="328" y="1021"/>
                    </a:lnTo>
                    <a:lnTo>
                      <a:pt x="330" y="1019"/>
                    </a:lnTo>
                    <a:lnTo>
                      <a:pt x="333" y="1017"/>
                    </a:lnTo>
                    <a:lnTo>
                      <a:pt x="333" y="1011"/>
                    </a:lnTo>
                    <a:lnTo>
                      <a:pt x="333" y="1006"/>
                    </a:lnTo>
                    <a:lnTo>
                      <a:pt x="330" y="1004"/>
                    </a:lnTo>
                    <a:lnTo>
                      <a:pt x="328" y="1002"/>
                    </a:lnTo>
                    <a:lnTo>
                      <a:pt x="326" y="1000"/>
                    </a:lnTo>
                    <a:lnTo>
                      <a:pt x="324" y="996"/>
                    </a:lnTo>
                    <a:lnTo>
                      <a:pt x="320" y="994"/>
                    </a:lnTo>
                    <a:lnTo>
                      <a:pt x="318" y="992"/>
                    </a:lnTo>
                    <a:lnTo>
                      <a:pt x="318" y="984"/>
                    </a:lnTo>
                    <a:lnTo>
                      <a:pt x="318" y="977"/>
                    </a:lnTo>
                    <a:lnTo>
                      <a:pt x="347" y="977"/>
                    </a:lnTo>
                    <a:lnTo>
                      <a:pt x="360" y="977"/>
                    </a:lnTo>
                    <a:lnTo>
                      <a:pt x="364" y="977"/>
                    </a:lnTo>
                    <a:lnTo>
                      <a:pt x="366" y="975"/>
                    </a:lnTo>
                    <a:lnTo>
                      <a:pt x="366" y="973"/>
                    </a:lnTo>
                    <a:lnTo>
                      <a:pt x="370" y="969"/>
                    </a:lnTo>
                    <a:lnTo>
                      <a:pt x="372" y="967"/>
                    </a:lnTo>
                    <a:lnTo>
                      <a:pt x="372" y="944"/>
                    </a:lnTo>
                    <a:lnTo>
                      <a:pt x="372" y="919"/>
                    </a:lnTo>
                    <a:lnTo>
                      <a:pt x="370" y="917"/>
                    </a:lnTo>
                    <a:lnTo>
                      <a:pt x="366" y="913"/>
                    </a:lnTo>
                    <a:lnTo>
                      <a:pt x="364" y="908"/>
                    </a:lnTo>
                    <a:lnTo>
                      <a:pt x="362" y="900"/>
                    </a:lnTo>
                    <a:lnTo>
                      <a:pt x="360" y="898"/>
                    </a:lnTo>
                    <a:lnTo>
                      <a:pt x="356" y="896"/>
                    </a:lnTo>
                    <a:lnTo>
                      <a:pt x="355" y="892"/>
                    </a:lnTo>
                    <a:lnTo>
                      <a:pt x="353" y="890"/>
                    </a:lnTo>
                    <a:lnTo>
                      <a:pt x="349" y="889"/>
                    </a:lnTo>
                    <a:lnTo>
                      <a:pt x="347" y="885"/>
                    </a:lnTo>
                    <a:lnTo>
                      <a:pt x="337" y="885"/>
                    </a:lnTo>
                    <a:lnTo>
                      <a:pt x="328" y="885"/>
                    </a:lnTo>
                    <a:lnTo>
                      <a:pt x="326" y="889"/>
                    </a:lnTo>
                    <a:lnTo>
                      <a:pt x="324" y="890"/>
                    </a:lnTo>
                    <a:lnTo>
                      <a:pt x="316" y="892"/>
                    </a:lnTo>
                    <a:lnTo>
                      <a:pt x="308" y="896"/>
                    </a:lnTo>
                    <a:lnTo>
                      <a:pt x="307" y="898"/>
                    </a:lnTo>
                    <a:lnTo>
                      <a:pt x="305" y="900"/>
                    </a:lnTo>
                    <a:lnTo>
                      <a:pt x="301" y="902"/>
                    </a:lnTo>
                    <a:lnTo>
                      <a:pt x="299" y="906"/>
                    </a:lnTo>
                    <a:lnTo>
                      <a:pt x="297" y="908"/>
                    </a:lnTo>
                    <a:lnTo>
                      <a:pt x="293" y="910"/>
                    </a:lnTo>
                    <a:lnTo>
                      <a:pt x="291" y="912"/>
                    </a:lnTo>
                    <a:lnTo>
                      <a:pt x="289" y="913"/>
                    </a:lnTo>
                    <a:lnTo>
                      <a:pt x="287" y="917"/>
                    </a:lnTo>
                    <a:lnTo>
                      <a:pt x="285" y="919"/>
                    </a:lnTo>
                    <a:lnTo>
                      <a:pt x="282" y="921"/>
                    </a:lnTo>
                    <a:lnTo>
                      <a:pt x="280" y="925"/>
                    </a:lnTo>
                    <a:lnTo>
                      <a:pt x="278" y="927"/>
                    </a:lnTo>
                    <a:lnTo>
                      <a:pt x="274" y="929"/>
                    </a:lnTo>
                    <a:lnTo>
                      <a:pt x="272" y="937"/>
                    </a:lnTo>
                    <a:lnTo>
                      <a:pt x="270" y="944"/>
                    </a:lnTo>
                    <a:lnTo>
                      <a:pt x="266" y="946"/>
                    </a:lnTo>
                    <a:lnTo>
                      <a:pt x="264" y="948"/>
                    </a:lnTo>
                    <a:lnTo>
                      <a:pt x="262" y="956"/>
                    </a:lnTo>
                    <a:lnTo>
                      <a:pt x="260" y="963"/>
                    </a:lnTo>
                    <a:lnTo>
                      <a:pt x="259" y="965"/>
                    </a:lnTo>
                    <a:lnTo>
                      <a:pt x="255" y="967"/>
                    </a:lnTo>
                    <a:lnTo>
                      <a:pt x="247" y="969"/>
                    </a:lnTo>
                    <a:lnTo>
                      <a:pt x="241" y="973"/>
                    </a:lnTo>
                    <a:lnTo>
                      <a:pt x="237" y="975"/>
                    </a:lnTo>
                    <a:lnTo>
                      <a:pt x="236" y="977"/>
                    </a:lnTo>
                    <a:lnTo>
                      <a:pt x="234" y="981"/>
                    </a:lnTo>
                    <a:lnTo>
                      <a:pt x="232" y="983"/>
                    </a:lnTo>
                    <a:lnTo>
                      <a:pt x="228" y="984"/>
                    </a:lnTo>
                    <a:lnTo>
                      <a:pt x="226" y="986"/>
                    </a:lnTo>
                    <a:lnTo>
                      <a:pt x="216" y="986"/>
                    </a:lnTo>
                    <a:lnTo>
                      <a:pt x="207" y="986"/>
                    </a:lnTo>
                    <a:lnTo>
                      <a:pt x="205" y="984"/>
                    </a:lnTo>
                    <a:lnTo>
                      <a:pt x="203" y="983"/>
                    </a:lnTo>
                    <a:lnTo>
                      <a:pt x="199" y="981"/>
                    </a:lnTo>
                    <a:lnTo>
                      <a:pt x="197" y="977"/>
                    </a:lnTo>
                    <a:lnTo>
                      <a:pt x="195" y="975"/>
                    </a:lnTo>
                    <a:lnTo>
                      <a:pt x="193" y="973"/>
                    </a:lnTo>
                    <a:lnTo>
                      <a:pt x="166" y="969"/>
                    </a:lnTo>
                    <a:lnTo>
                      <a:pt x="140" y="967"/>
                    </a:lnTo>
                    <a:lnTo>
                      <a:pt x="138" y="965"/>
                    </a:lnTo>
                    <a:lnTo>
                      <a:pt x="134" y="963"/>
                    </a:lnTo>
                    <a:lnTo>
                      <a:pt x="138" y="960"/>
                    </a:lnTo>
                    <a:lnTo>
                      <a:pt x="140" y="958"/>
                    </a:lnTo>
                    <a:lnTo>
                      <a:pt x="142" y="931"/>
                    </a:lnTo>
                    <a:lnTo>
                      <a:pt x="143" y="906"/>
                    </a:lnTo>
                    <a:lnTo>
                      <a:pt x="147" y="902"/>
                    </a:lnTo>
                    <a:lnTo>
                      <a:pt x="149" y="900"/>
                    </a:lnTo>
                    <a:lnTo>
                      <a:pt x="151" y="889"/>
                    </a:lnTo>
                    <a:lnTo>
                      <a:pt x="153" y="875"/>
                    </a:lnTo>
                    <a:lnTo>
                      <a:pt x="157" y="873"/>
                    </a:lnTo>
                    <a:lnTo>
                      <a:pt x="159" y="871"/>
                    </a:lnTo>
                    <a:lnTo>
                      <a:pt x="161" y="860"/>
                    </a:lnTo>
                    <a:lnTo>
                      <a:pt x="165" y="846"/>
                    </a:lnTo>
                    <a:lnTo>
                      <a:pt x="166" y="844"/>
                    </a:lnTo>
                    <a:lnTo>
                      <a:pt x="168" y="843"/>
                    </a:lnTo>
                    <a:lnTo>
                      <a:pt x="170" y="837"/>
                    </a:lnTo>
                    <a:lnTo>
                      <a:pt x="172" y="827"/>
                    </a:lnTo>
                    <a:lnTo>
                      <a:pt x="170" y="818"/>
                    </a:lnTo>
                    <a:lnTo>
                      <a:pt x="168" y="814"/>
                    </a:lnTo>
                    <a:lnTo>
                      <a:pt x="166" y="810"/>
                    </a:lnTo>
                    <a:lnTo>
                      <a:pt x="165" y="808"/>
                    </a:lnTo>
                    <a:lnTo>
                      <a:pt x="157" y="806"/>
                    </a:lnTo>
                    <a:lnTo>
                      <a:pt x="140" y="804"/>
                    </a:lnTo>
                    <a:lnTo>
                      <a:pt x="122" y="806"/>
                    </a:lnTo>
                    <a:lnTo>
                      <a:pt x="115" y="808"/>
                    </a:lnTo>
                    <a:lnTo>
                      <a:pt x="113" y="810"/>
                    </a:lnTo>
                    <a:lnTo>
                      <a:pt x="111" y="814"/>
                    </a:lnTo>
                    <a:lnTo>
                      <a:pt x="105" y="814"/>
                    </a:lnTo>
                    <a:lnTo>
                      <a:pt x="101" y="814"/>
                    </a:lnTo>
                    <a:lnTo>
                      <a:pt x="97" y="810"/>
                    </a:lnTo>
                    <a:lnTo>
                      <a:pt x="95" y="808"/>
                    </a:lnTo>
                    <a:lnTo>
                      <a:pt x="94" y="806"/>
                    </a:lnTo>
                    <a:lnTo>
                      <a:pt x="92" y="804"/>
                    </a:lnTo>
                    <a:lnTo>
                      <a:pt x="88" y="800"/>
                    </a:lnTo>
                    <a:lnTo>
                      <a:pt x="86" y="798"/>
                    </a:lnTo>
                    <a:lnTo>
                      <a:pt x="84" y="796"/>
                    </a:lnTo>
                    <a:lnTo>
                      <a:pt x="82" y="795"/>
                    </a:lnTo>
                    <a:lnTo>
                      <a:pt x="78" y="791"/>
                    </a:lnTo>
                    <a:lnTo>
                      <a:pt x="76" y="789"/>
                    </a:lnTo>
                    <a:lnTo>
                      <a:pt x="74" y="768"/>
                    </a:lnTo>
                    <a:lnTo>
                      <a:pt x="72" y="747"/>
                    </a:lnTo>
                    <a:lnTo>
                      <a:pt x="69" y="743"/>
                    </a:lnTo>
                    <a:lnTo>
                      <a:pt x="67" y="741"/>
                    </a:lnTo>
                    <a:lnTo>
                      <a:pt x="59" y="737"/>
                    </a:lnTo>
                    <a:lnTo>
                      <a:pt x="53" y="735"/>
                    </a:lnTo>
                    <a:lnTo>
                      <a:pt x="49" y="733"/>
                    </a:lnTo>
                    <a:lnTo>
                      <a:pt x="48" y="731"/>
                    </a:lnTo>
                    <a:lnTo>
                      <a:pt x="40" y="727"/>
                    </a:lnTo>
                    <a:lnTo>
                      <a:pt x="32" y="725"/>
                    </a:lnTo>
                    <a:lnTo>
                      <a:pt x="30" y="724"/>
                    </a:lnTo>
                    <a:lnTo>
                      <a:pt x="28" y="722"/>
                    </a:lnTo>
                    <a:lnTo>
                      <a:pt x="28" y="712"/>
                    </a:lnTo>
                    <a:lnTo>
                      <a:pt x="28" y="702"/>
                    </a:lnTo>
                    <a:lnTo>
                      <a:pt x="30" y="699"/>
                    </a:lnTo>
                    <a:lnTo>
                      <a:pt x="32" y="697"/>
                    </a:lnTo>
                    <a:lnTo>
                      <a:pt x="36" y="697"/>
                    </a:lnTo>
                    <a:lnTo>
                      <a:pt x="38" y="693"/>
                    </a:lnTo>
                    <a:lnTo>
                      <a:pt x="38" y="685"/>
                    </a:lnTo>
                    <a:lnTo>
                      <a:pt x="38" y="668"/>
                    </a:lnTo>
                    <a:lnTo>
                      <a:pt x="30" y="668"/>
                    </a:lnTo>
                    <a:lnTo>
                      <a:pt x="23" y="668"/>
                    </a:lnTo>
                    <a:lnTo>
                      <a:pt x="21" y="666"/>
                    </a:lnTo>
                    <a:lnTo>
                      <a:pt x="19" y="664"/>
                    </a:lnTo>
                    <a:lnTo>
                      <a:pt x="11" y="660"/>
                    </a:lnTo>
                    <a:lnTo>
                      <a:pt x="3" y="658"/>
                    </a:lnTo>
                    <a:lnTo>
                      <a:pt x="1" y="656"/>
                    </a:lnTo>
                    <a:lnTo>
                      <a:pt x="0" y="653"/>
                    </a:lnTo>
                    <a:lnTo>
                      <a:pt x="0" y="649"/>
                    </a:lnTo>
                    <a:lnTo>
                      <a:pt x="0" y="643"/>
                    </a:lnTo>
                    <a:lnTo>
                      <a:pt x="1" y="641"/>
                    </a:lnTo>
                    <a:lnTo>
                      <a:pt x="3" y="639"/>
                    </a:lnTo>
                    <a:lnTo>
                      <a:pt x="3" y="624"/>
                    </a:lnTo>
                    <a:lnTo>
                      <a:pt x="3" y="610"/>
                    </a:lnTo>
                    <a:lnTo>
                      <a:pt x="3" y="595"/>
                    </a:lnTo>
                    <a:lnTo>
                      <a:pt x="3" y="582"/>
                    </a:lnTo>
                    <a:lnTo>
                      <a:pt x="1" y="578"/>
                    </a:lnTo>
                    <a:lnTo>
                      <a:pt x="0" y="576"/>
                    </a:lnTo>
                    <a:lnTo>
                      <a:pt x="0" y="557"/>
                    </a:lnTo>
                    <a:lnTo>
                      <a:pt x="0" y="537"/>
                    </a:lnTo>
                    <a:lnTo>
                      <a:pt x="1" y="536"/>
                    </a:lnTo>
                    <a:lnTo>
                      <a:pt x="3" y="532"/>
                    </a:lnTo>
                    <a:lnTo>
                      <a:pt x="11" y="530"/>
                    </a:lnTo>
                    <a:lnTo>
                      <a:pt x="19" y="528"/>
                    </a:lnTo>
                    <a:lnTo>
                      <a:pt x="21" y="526"/>
                    </a:lnTo>
                    <a:lnTo>
                      <a:pt x="23" y="522"/>
                    </a:lnTo>
                    <a:lnTo>
                      <a:pt x="26" y="520"/>
                    </a:lnTo>
                    <a:lnTo>
                      <a:pt x="28" y="518"/>
                    </a:lnTo>
                    <a:lnTo>
                      <a:pt x="30" y="516"/>
                    </a:lnTo>
                    <a:lnTo>
                      <a:pt x="32" y="514"/>
                    </a:lnTo>
                    <a:lnTo>
                      <a:pt x="36" y="511"/>
                    </a:lnTo>
                    <a:lnTo>
                      <a:pt x="38" y="509"/>
                    </a:lnTo>
                    <a:lnTo>
                      <a:pt x="40" y="507"/>
                    </a:lnTo>
                    <a:lnTo>
                      <a:pt x="44" y="503"/>
                    </a:lnTo>
                    <a:lnTo>
                      <a:pt x="49" y="501"/>
                    </a:lnTo>
                    <a:lnTo>
                      <a:pt x="57" y="499"/>
                    </a:lnTo>
                    <a:lnTo>
                      <a:pt x="59" y="495"/>
                    </a:lnTo>
                    <a:lnTo>
                      <a:pt x="61" y="493"/>
                    </a:lnTo>
                    <a:lnTo>
                      <a:pt x="65" y="476"/>
                    </a:lnTo>
                    <a:lnTo>
                      <a:pt x="67" y="461"/>
                    </a:lnTo>
                    <a:lnTo>
                      <a:pt x="69" y="457"/>
                    </a:lnTo>
                    <a:lnTo>
                      <a:pt x="72" y="455"/>
                    </a:lnTo>
                    <a:lnTo>
                      <a:pt x="74" y="453"/>
                    </a:lnTo>
                    <a:lnTo>
                      <a:pt x="76" y="449"/>
                    </a:lnTo>
                    <a:lnTo>
                      <a:pt x="78" y="447"/>
                    </a:lnTo>
                    <a:lnTo>
                      <a:pt x="82" y="445"/>
                    </a:lnTo>
                    <a:lnTo>
                      <a:pt x="94" y="443"/>
                    </a:lnTo>
                    <a:lnTo>
                      <a:pt x="105" y="441"/>
                    </a:lnTo>
                    <a:lnTo>
                      <a:pt x="107" y="438"/>
                    </a:lnTo>
                    <a:lnTo>
                      <a:pt x="111" y="436"/>
                    </a:lnTo>
                    <a:lnTo>
                      <a:pt x="113" y="434"/>
                    </a:lnTo>
                    <a:lnTo>
                      <a:pt x="115" y="432"/>
                    </a:lnTo>
                    <a:lnTo>
                      <a:pt x="117" y="428"/>
                    </a:lnTo>
                    <a:lnTo>
                      <a:pt x="120" y="426"/>
                    </a:lnTo>
                    <a:lnTo>
                      <a:pt x="122" y="405"/>
                    </a:lnTo>
                    <a:lnTo>
                      <a:pt x="124" y="382"/>
                    </a:lnTo>
                    <a:lnTo>
                      <a:pt x="128" y="380"/>
                    </a:lnTo>
                    <a:lnTo>
                      <a:pt x="130" y="378"/>
                    </a:lnTo>
                    <a:lnTo>
                      <a:pt x="132" y="353"/>
                    </a:lnTo>
                    <a:lnTo>
                      <a:pt x="134" y="330"/>
                    </a:lnTo>
                    <a:lnTo>
                      <a:pt x="126" y="330"/>
                    </a:lnTo>
                    <a:lnTo>
                      <a:pt x="120" y="330"/>
                    </a:lnTo>
                    <a:lnTo>
                      <a:pt x="117" y="326"/>
                    </a:lnTo>
                    <a:lnTo>
                      <a:pt x="115" y="324"/>
                    </a:lnTo>
                    <a:lnTo>
                      <a:pt x="113" y="323"/>
                    </a:lnTo>
                    <a:lnTo>
                      <a:pt x="111" y="321"/>
                    </a:lnTo>
                    <a:lnTo>
                      <a:pt x="107" y="317"/>
                    </a:lnTo>
                    <a:lnTo>
                      <a:pt x="105" y="315"/>
                    </a:lnTo>
                    <a:lnTo>
                      <a:pt x="103" y="313"/>
                    </a:lnTo>
                    <a:lnTo>
                      <a:pt x="101" y="311"/>
                    </a:lnTo>
                    <a:lnTo>
                      <a:pt x="97" y="307"/>
                    </a:lnTo>
                    <a:lnTo>
                      <a:pt x="95" y="305"/>
                    </a:lnTo>
                    <a:lnTo>
                      <a:pt x="94" y="303"/>
                    </a:lnTo>
                    <a:lnTo>
                      <a:pt x="92" y="299"/>
                    </a:lnTo>
                    <a:lnTo>
                      <a:pt x="88" y="298"/>
                    </a:lnTo>
                    <a:lnTo>
                      <a:pt x="86" y="296"/>
                    </a:lnTo>
                    <a:lnTo>
                      <a:pt x="84" y="284"/>
                    </a:lnTo>
                    <a:lnTo>
                      <a:pt x="82" y="271"/>
                    </a:lnTo>
                    <a:lnTo>
                      <a:pt x="78" y="269"/>
                    </a:lnTo>
                    <a:lnTo>
                      <a:pt x="76" y="267"/>
                    </a:lnTo>
                    <a:lnTo>
                      <a:pt x="76" y="252"/>
                    </a:lnTo>
                    <a:lnTo>
                      <a:pt x="76" y="238"/>
                    </a:lnTo>
                    <a:lnTo>
                      <a:pt x="78" y="234"/>
                    </a:lnTo>
                    <a:lnTo>
                      <a:pt x="82" y="232"/>
                    </a:lnTo>
                    <a:lnTo>
                      <a:pt x="82" y="219"/>
                    </a:lnTo>
                    <a:lnTo>
                      <a:pt x="82" y="204"/>
                    </a:lnTo>
                    <a:lnTo>
                      <a:pt x="82" y="188"/>
                    </a:lnTo>
                    <a:lnTo>
                      <a:pt x="82" y="175"/>
                    </a:lnTo>
                    <a:lnTo>
                      <a:pt x="78" y="173"/>
                    </a:lnTo>
                    <a:lnTo>
                      <a:pt x="76" y="171"/>
                    </a:lnTo>
                    <a:lnTo>
                      <a:pt x="74" y="158"/>
                    </a:lnTo>
                    <a:lnTo>
                      <a:pt x="72" y="146"/>
                    </a:lnTo>
                    <a:lnTo>
                      <a:pt x="69" y="144"/>
                    </a:lnTo>
                    <a:lnTo>
                      <a:pt x="67" y="140"/>
                    </a:lnTo>
                    <a:lnTo>
                      <a:pt x="67" y="127"/>
                    </a:lnTo>
                    <a:lnTo>
                      <a:pt x="67" y="111"/>
                    </a:lnTo>
                    <a:lnTo>
                      <a:pt x="69" y="110"/>
                    </a:lnTo>
                    <a:lnTo>
                      <a:pt x="72" y="108"/>
                    </a:lnTo>
                    <a:lnTo>
                      <a:pt x="92" y="106"/>
                    </a:lnTo>
                    <a:lnTo>
                      <a:pt x="113" y="104"/>
                    </a:lnTo>
                    <a:lnTo>
                      <a:pt x="134" y="104"/>
                    </a:lnTo>
                    <a:lnTo>
                      <a:pt x="153" y="102"/>
                    </a:lnTo>
                    <a:lnTo>
                      <a:pt x="157" y="100"/>
                    </a:lnTo>
                    <a:lnTo>
                      <a:pt x="159" y="98"/>
                    </a:lnTo>
                    <a:lnTo>
                      <a:pt x="161" y="90"/>
                    </a:lnTo>
                    <a:lnTo>
                      <a:pt x="165" y="83"/>
                    </a:lnTo>
                    <a:lnTo>
                      <a:pt x="166" y="81"/>
                    </a:lnTo>
                    <a:lnTo>
                      <a:pt x="168" y="79"/>
                    </a:lnTo>
                    <a:lnTo>
                      <a:pt x="176" y="75"/>
                    </a:lnTo>
                    <a:lnTo>
                      <a:pt x="182" y="73"/>
                    </a:lnTo>
                    <a:lnTo>
                      <a:pt x="186" y="71"/>
                    </a:lnTo>
                    <a:lnTo>
                      <a:pt x="188" y="67"/>
                    </a:lnTo>
                    <a:lnTo>
                      <a:pt x="205" y="67"/>
                    </a:lnTo>
                    <a:lnTo>
                      <a:pt x="222" y="67"/>
                    </a:lnTo>
                    <a:lnTo>
                      <a:pt x="218" y="56"/>
                    </a:lnTo>
                    <a:lnTo>
                      <a:pt x="214" y="44"/>
                    </a:lnTo>
                    <a:lnTo>
                      <a:pt x="211" y="37"/>
                    </a:lnTo>
                    <a:lnTo>
                      <a:pt x="209" y="27"/>
                    </a:lnTo>
                    <a:lnTo>
                      <a:pt x="216" y="25"/>
                    </a:lnTo>
                    <a:lnTo>
                      <a:pt x="222" y="25"/>
                    </a:lnTo>
                    <a:lnTo>
                      <a:pt x="224" y="23"/>
                    </a:lnTo>
                    <a:lnTo>
                      <a:pt x="226" y="19"/>
                    </a:lnTo>
                    <a:lnTo>
                      <a:pt x="228" y="17"/>
                    </a:lnTo>
                    <a:lnTo>
                      <a:pt x="232" y="16"/>
                    </a:lnTo>
                    <a:lnTo>
                      <a:pt x="234" y="12"/>
                    </a:lnTo>
                    <a:lnTo>
                      <a:pt x="236" y="10"/>
                    </a:lnTo>
                    <a:lnTo>
                      <a:pt x="237" y="8"/>
                    </a:lnTo>
                    <a:lnTo>
                      <a:pt x="241" y="6"/>
                    </a:lnTo>
                    <a:lnTo>
                      <a:pt x="243" y="2"/>
                    </a:lnTo>
                    <a:lnTo>
                      <a:pt x="245" y="0"/>
                    </a:lnTo>
                    <a:lnTo>
                      <a:pt x="249" y="2"/>
                    </a:lnTo>
                    <a:lnTo>
                      <a:pt x="251" y="6"/>
                    </a:lnTo>
                    <a:lnTo>
                      <a:pt x="268" y="8"/>
                    </a:lnTo>
                    <a:lnTo>
                      <a:pt x="285" y="10"/>
                    </a:lnTo>
                    <a:lnTo>
                      <a:pt x="287" y="12"/>
                    </a:lnTo>
                    <a:lnTo>
                      <a:pt x="289" y="16"/>
                    </a:lnTo>
                    <a:lnTo>
                      <a:pt x="291" y="17"/>
                    </a:lnTo>
                    <a:lnTo>
                      <a:pt x="293" y="19"/>
                    </a:lnTo>
                    <a:lnTo>
                      <a:pt x="297" y="23"/>
                    </a:lnTo>
                    <a:lnTo>
                      <a:pt x="299" y="25"/>
                    </a:lnTo>
                    <a:lnTo>
                      <a:pt x="301" y="27"/>
                    </a:lnTo>
                    <a:lnTo>
                      <a:pt x="305" y="29"/>
                    </a:lnTo>
                    <a:lnTo>
                      <a:pt x="307" y="31"/>
                    </a:lnTo>
                    <a:lnTo>
                      <a:pt x="308" y="35"/>
                    </a:lnTo>
                    <a:lnTo>
                      <a:pt x="310" y="42"/>
                    </a:lnTo>
                    <a:lnTo>
                      <a:pt x="314" y="50"/>
                    </a:lnTo>
                    <a:lnTo>
                      <a:pt x="316" y="52"/>
                    </a:lnTo>
                    <a:lnTo>
                      <a:pt x="318" y="54"/>
                    </a:lnTo>
                    <a:lnTo>
                      <a:pt x="318" y="63"/>
                    </a:lnTo>
                    <a:lnTo>
                      <a:pt x="318" y="73"/>
                    </a:lnTo>
                    <a:lnTo>
                      <a:pt x="316" y="75"/>
                    </a:lnTo>
                    <a:lnTo>
                      <a:pt x="314" y="79"/>
                    </a:lnTo>
                    <a:lnTo>
                      <a:pt x="314" y="88"/>
                    </a:lnTo>
                    <a:lnTo>
                      <a:pt x="314" y="98"/>
                    </a:lnTo>
                    <a:lnTo>
                      <a:pt x="316" y="100"/>
                    </a:lnTo>
                    <a:lnTo>
                      <a:pt x="318" y="102"/>
                    </a:lnTo>
                    <a:lnTo>
                      <a:pt x="339" y="104"/>
                    </a:lnTo>
                    <a:lnTo>
                      <a:pt x="362" y="108"/>
                    </a:lnTo>
                    <a:lnTo>
                      <a:pt x="364" y="110"/>
                    </a:lnTo>
                    <a:lnTo>
                      <a:pt x="366" y="111"/>
                    </a:lnTo>
                    <a:lnTo>
                      <a:pt x="381" y="113"/>
                    </a:lnTo>
                    <a:lnTo>
                      <a:pt x="397" y="117"/>
                    </a:lnTo>
                    <a:lnTo>
                      <a:pt x="391" y="131"/>
                    </a:lnTo>
                    <a:lnTo>
                      <a:pt x="385" y="146"/>
                    </a:lnTo>
                    <a:lnTo>
                      <a:pt x="368" y="156"/>
                    </a:lnTo>
                    <a:lnTo>
                      <a:pt x="351" y="165"/>
                    </a:lnTo>
                    <a:lnTo>
                      <a:pt x="335" y="177"/>
                    </a:lnTo>
                    <a:lnTo>
                      <a:pt x="324" y="188"/>
                    </a:lnTo>
                    <a:lnTo>
                      <a:pt x="312" y="200"/>
                    </a:lnTo>
                    <a:lnTo>
                      <a:pt x="303" y="213"/>
                    </a:lnTo>
                    <a:lnTo>
                      <a:pt x="295" y="227"/>
                    </a:lnTo>
                    <a:lnTo>
                      <a:pt x="287" y="242"/>
                    </a:lnTo>
                    <a:lnTo>
                      <a:pt x="284" y="257"/>
                    </a:lnTo>
                    <a:lnTo>
                      <a:pt x="280" y="273"/>
                    </a:lnTo>
                    <a:lnTo>
                      <a:pt x="278" y="290"/>
                    </a:lnTo>
                    <a:lnTo>
                      <a:pt x="276" y="307"/>
                    </a:lnTo>
                    <a:lnTo>
                      <a:pt x="276" y="324"/>
                    </a:lnTo>
                    <a:lnTo>
                      <a:pt x="278" y="344"/>
                    </a:lnTo>
                    <a:lnTo>
                      <a:pt x="280" y="363"/>
                    </a:lnTo>
                    <a:lnTo>
                      <a:pt x="284" y="382"/>
                    </a:lnTo>
                    <a:lnTo>
                      <a:pt x="278" y="478"/>
                    </a:lnTo>
                    <a:lnTo>
                      <a:pt x="272" y="555"/>
                    </a:lnTo>
                    <a:lnTo>
                      <a:pt x="266" y="614"/>
                    </a:lnTo>
                    <a:lnTo>
                      <a:pt x="262" y="658"/>
                    </a:lnTo>
                    <a:lnTo>
                      <a:pt x="259" y="693"/>
                    </a:lnTo>
                    <a:lnTo>
                      <a:pt x="257" y="720"/>
                    </a:lnTo>
                    <a:lnTo>
                      <a:pt x="257" y="743"/>
                    </a:lnTo>
                    <a:lnTo>
                      <a:pt x="255" y="764"/>
                    </a:lnTo>
                    <a:lnTo>
                      <a:pt x="262" y="764"/>
                    </a:lnTo>
                    <a:lnTo>
                      <a:pt x="270" y="764"/>
                    </a:lnTo>
                    <a:lnTo>
                      <a:pt x="274" y="764"/>
                    </a:lnTo>
                    <a:lnTo>
                      <a:pt x="280" y="764"/>
                    </a:lnTo>
                    <a:lnTo>
                      <a:pt x="280" y="773"/>
                    </a:lnTo>
                    <a:lnTo>
                      <a:pt x="280" y="785"/>
                    </a:lnTo>
                    <a:lnTo>
                      <a:pt x="295" y="785"/>
                    </a:lnTo>
                    <a:lnTo>
                      <a:pt x="308" y="785"/>
                    </a:lnTo>
                    <a:lnTo>
                      <a:pt x="308" y="779"/>
                    </a:lnTo>
                    <a:lnTo>
                      <a:pt x="308" y="775"/>
                    </a:lnTo>
                    <a:lnTo>
                      <a:pt x="312" y="775"/>
                    </a:lnTo>
                    <a:lnTo>
                      <a:pt x="318" y="775"/>
                    </a:lnTo>
                    <a:lnTo>
                      <a:pt x="322" y="770"/>
                    </a:lnTo>
                    <a:lnTo>
                      <a:pt x="328" y="764"/>
                    </a:lnTo>
                    <a:lnTo>
                      <a:pt x="333" y="764"/>
                    </a:lnTo>
                    <a:lnTo>
                      <a:pt x="337" y="764"/>
                    </a:lnTo>
                    <a:lnTo>
                      <a:pt x="343" y="764"/>
                    </a:lnTo>
                    <a:lnTo>
                      <a:pt x="347" y="764"/>
                    </a:lnTo>
                    <a:lnTo>
                      <a:pt x="347" y="760"/>
                    </a:lnTo>
                    <a:lnTo>
                      <a:pt x="347" y="754"/>
                    </a:lnTo>
                    <a:lnTo>
                      <a:pt x="356" y="754"/>
                    </a:lnTo>
                    <a:lnTo>
                      <a:pt x="366" y="754"/>
                    </a:lnTo>
                    <a:lnTo>
                      <a:pt x="372" y="760"/>
                    </a:lnTo>
                    <a:lnTo>
                      <a:pt x="376" y="764"/>
                    </a:lnTo>
                    <a:lnTo>
                      <a:pt x="381" y="773"/>
                    </a:lnTo>
                    <a:lnTo>
                      <a:pt x="385" y="785"/>
                    </a:lnTo>
                    <a:lnTo>
                      <a:pt x="387" y="795"/>
                    </a:lnTo>
                    <a:lnTo>
                      <a:pt x="387" y="800"/>
                    </a:lnTo>
                    <a:lnTo>
                      <a:pt x="391" y="802"/>
                    </a:lnTo>
                    <a:lnTo>
                      <a:pt x="397" y="804"/>
                    </a:lnTo>
                    <a:lnTo>
                      <a:pt x="397" y="795"/>
                    </a:lnTo>
                    <a:lnTo>
                      <a:pt x="397" y="785"/>
                    </a:lnTo>
                    <a:lnTo>
                      <a:pt x="401" y="779"/>
                    </a:lnTo>
                    <a:lnTo>
                      <a:pt x="406" y="775"/>
                    </a:lnTo>
                    <a:lnTo>
                      <a:pt x="410" y="775"/>
                    </a:lnTo>
                    <a:lnTo>
                      <a:pt x="414" y="775"/>
                    </a:lnTo>
                    <a:lnTo>
                      <a:pt x="420" y="779"/>
                    </a:lnTo>
                    <a:lnTo>
                      <a:pt x="425" y="785"/>
                    </a:lnTo>
                    <a:lnTo>
                      <a:pt x="435" y="789"/>
                    </a:lnTo>
                    <a:lnTo>
                      <a:pt x="445" y="795"/>
                    </a:lnTo>
                    <a:lnTo>
                      <a:pt x="449" y="789"/>
                    </a:lnTo>
                    <a:lnTo>
                      <a:pt x="454" y="785"/>
                    </a:lnTo>
                    <a:lnTo>
                      <a:pt x="454" y="779"/>
                    </a:lnTo>
                    <a:lnTo>
                      <a:pt x="454" y="775"/>
                    </a:lnTo>
                    <a:lnTo>
                      <a:pt x="458" y="775"/>
                    </a:lnTo>
                    <a:lnTo>
                      <a:pt x="464" y="775"/>
                    </a:lnTo>
                    <a:lnTo>
                      <a:pt x="464" y="754"/>
                    </a:lnTo>
                    <a:lnTo>
                      <a:pt x="464" y="735"/>
                    </a:lnTo>
                    <a:lnTo>
                      <a:pt x="458" y="735"/>
                    </a:lnTo>
                    <a:lnTo>
                      <a:pt x="454" y="735"/>
                    </a:lnTo>
                    <a:lnTo>
                      <a:pt x="454" y="722"/>
                    </a:lnTo>
                    <a:lnTo>
                      <a:pt x="454" y="706"/>
                    </a:lnTo>
                    <a:lnTo>
                      <a:pt x="458" y="702"/>
                    </a:lnTo>
                    <a:lnTo>
                      <a:pt x="464" y="697"/>
                    </a:lnTo>
                    <a:lnTo>
                      <a:pt x="464" y="693"/>
                    </a:lnTo>
                    <a:lnTo>
                      <a:pt x="464" y="687"/>
                    </a:lnTo>
                    <a:lnTo>
                      <a:pt x="468" y="687"/>
                    </a:lnTo>
                    <a:lnTo>
                      <a:pt x="473" y="687"/>
                    </a:lnTo>
                    <a:lnTo>
                      <a:pt x="475" y="687"/>
                    </a:lnTo>
                    <a:lnTo>
                      <a:pt x="477" y="687"/>
                    </a:lnTo>
                    <a:lnTo>
                      <a:pt x="481" y="689"/>
                    </a:lnTo>
                    <a:lnTo>
                      <a:pt x="483" y="693"/>
                    </a:lnTo>
                    <a:lnTo>
                      <a:pt x="485" y="689"/>
                    </a:lnTo>
                    <a:lnTo>
                      <a:pt x="487" y="687"/>
                    </a:lnTo>
                    <a:lnTo>
                      <a:pt x="485" y="685"/>
                    </a:lnTo>
                    <a:lnTo>
                      <a:pt x="483" y="681"/>
                    </a:lnTo>
                    <a:lnTo>
                      <a:pt x="483" y="679"/>
                    </a:lnTo>
                    <a:lnTo>
                      <a:pt x="483" y="677"/>
                    </a:lnTo>
                    <a:lnTo>
                      <a:pt x="496" y="677"/>
                    </a:lnTo>
                    <a:lnTo>
                      <a:pt x="512" y="677"/>
                    </a:lnTo>
                    <a:lnTo>
                      <a:pt x="516" y="677"/>
                    </a:lnTo>
                    <a:lnTo>
                      <a:pt x="521" y="677"/>
                    </a:lnTo>
                    <a:lnTo>
                      <a:pt x="531" y="677"/>
                    </a:lnTo>
                    <a:lnTo>
                      <a:pt x="541" y="677"/>
                    </a:lnTo>
                    <a:lnTo>
                      <a:pt x="556" y="679"/>
                    </a:lnTo>
                    <a:lnTo>
                      <a:pt x="569" y="683"/>
                    </a:lnTo>
                    <a:lnTo>
                      <a:pt x="585" y="685"/>
                    </a:lnTo>
                    <a:lnTo>
                      <a:pt x="598" y="687"/>
                    </a:lnTo>
                    <a:lnTo>
                      <a:pt x="598" y="693"/>
                    </a:lnTo>
                    <a:lnTo>
                      <a:pt x="598" y="697"/>
                    </a:lnTo>
                    <a:lnTo>
                      <a:pt x="594" y="702"/>
                    </a:lnTo>
                    <a:lnTo>
                      <a:pt x="589" y="706"/>
                    </a:lnTo>
                    <a:lnTo>
                      <a:pt x="585" y="712"/>
                    </a:lnTo>
                    <a:lnTo>
                      <a:pt x="579" y="716"/>
                    </a:lnTo>
                    <a:lnTo>
                      <a:pt x="585" y="722"/>
                    </a:lnTo>
                    <a:lnTo>
                      <a:pt x="589" y="725"/>
                    </a:lnTo>
                    <a:lnTo>
                      <a:pt x="598" y="725"/>
                    </a:lnTo>
                    <a:lnTo>
                      <a:pt x="608" y="725"/>
                    </a:lnTo>
                    <a:lnTo>
                      <a:pt x="614" y="731"/>
                    </a:lnTo>
                    <a:lnTo>
                      <a:pt x="617" y="735"/>
                    </a:lnTo>
                    <a:lnTo>
                      <a:pt x="623" y="735"/>
                    </a:lnTo>
                    <a:lnTo>
                      <a:pt x="629" y="735"/>
                    </a:lnTo>
                    <a:lnTo>
                      <a:pt x="633" y="741"/>
                    </a:lnTo>
                    <a:lnTo>
                      <a:pt x="638" y="747"/>
                    </a:lnTo>
                    <a:lnTo>
                      <a:pt x="642" y="750"/>
                    </a:lnTo>
                    <a:lnTo>
                      <a:pt x="646" y="754"/>
                    </a:lnTo>
                    <a:lnTo>
                      <a:pt x="646" y="760"/>
                    </a:lnTo>
                    <a:lnTo>
                      <a:pt x="646" y="764"/>
                    </a:lnTo>
                    <a:lnTo>
                      <a:pt x="652" y="770"/>
                    </a:lnTo>
                    <a:lnTo>
                      <a:pt x="658" y="775"/>
                    </a:lnTo>
                    <a:lnTo>
                      <a:pt x="658" y="779"/>
                    </a:lnTo>
                    <a:lnTo>
                      <a:pt x="658" y="785"/>
                    </a:lnTo>
                    <a:lnTo>
                      <a:pt x="654" y="785"/>
                    </a:lnTo>
                    <a:lnTo>
                      <a:pt x="652" y="791"/>
                    </a:lnTo>
                    <a:lnTo>
                      <a:pt x="652" y="796"/>
                    </a:lnTo>
                    <a:lnTo>
                      <a:pt x="656" y="804"/>
                    </a:lnTo>
                    <a:lnTo>
                      <a:pt x="660" y="812"/>
                    </a:lnTo>
                    <a:lnTo>
                      <a:pt x="665" y="821"/>
                    </a:lnTo>
                    <a:lnTo>
                      <a:pt x="671" y="827"/>
                    </a:lnTo>
                    <a:lnTo>
                      <a:pt x="677" y="833"/>
                    </a:lnTo>
                    <a:lnTo>
                      <a:pt x="681" y="833"/>
                    </a:lnTo>
                    <a:lnTo>
                      <a:pt x="686" y="833"/>
                    </a:lnTo>
                    <a:lnTo>
                      <a:pt x="686" y="837"/>
                    </a:lnTo>
                    <a:lnTo>
                      <a:pt x="686" y="843"/>
                    </a:lnTo>
                    <a:lnTo>
                      <a:pt x="683" y="844"/>
                    </a:lnTo>
                    <a:lnTo>
                      <a:pt x="679" y="848"/>
                    </a:lnTo>
                    <a:lnTo>
                      <a:pt x="686" y="860"/>
                    </a:lnTo>
                    <a:lnTo>
                      <a:pt x="696" y="871"/>
                    </a:lnTo>
                    <a:lnTo>
                      <a:pt x="700" y="875"/>
                    </a:lnTo>
                    <a:lnTo>
                      <a:pt x="706" y="881"/>
                    </a:lnTo>
                    <a:lnTo>
                      <a:pt x="709" y="881"/>
                    </a:lnTo>
                    <a:lnTo>
                      <a:pt x="715" y="881"/>
                    </a:lnTo>
                    <a:lnTo>
                      <a:pt x="715" y="885"/>
                    </a:lnTo>
                    <a:lnTo>
                      <a:pt x="715" y="890"/>
                    </a:lnTo>
                    <a:lnTo>
                      <a:pt x="719" y="894"/>
                    </a:lnTo>
                    <a:lnTo>
                      <a:pt x="725" y="900"/>
                    </a:lnTo>
                    <a:lnTo>
                      <a:pt x="729" y="904"/>
                    </a:lnTo>
                    <a:lnTo>
                      <a:pt x="734" y="910"/>
                    </a:lnTo>
                    <a:lnTo>
                      <a:pt x="738" y="915"/>
                    </a:lnTo>
                    <a:lnTo>
                      <a:pt x="744" y="919"/>
                    </a:lnTo>
                    <a:lnTo>
                      <a:pt x="748" y="925"/>
                    </a:lnTo>
                    <a:lnTo>
                      <a:pt x="754" y="929"/>
                    </a:lnTo>
                    <a:lnTo>
                      <a:pt x="754" y="935"/>
                    </a:lnTo>
                    <a:lnTo>
                      <a:pt x="754" y="938"/>
                    </a:lnTo>
                    <a:lnTo>
                      <a:pt x="757" y="944"/>
                    </a:lnTo>
                    <a:lnTo>
                      <a:pt x="763" y="948"/>
                    </a:lnTo>
                    <a:lnTo>
                      <a:pt x="769" y="954"/>
                    </a:lnTo>
                    <a:lnTo>
                      <a:pt x="773" y="958"/>
                    </a:lnTo>
                    <a:lnTo>
                      <a:pt x="777" y="967"/>
                    </a:lnTo>
                    <a:lnTo>
                      <a:pt x="782" y="977"/>
                    </a:lnTo>
                    <a:lnTo>
                      <a:pt x="782" y="983"/>
                    </a:lnTo>
                    <a:lnTo>
                      <a:pt x="782" y="986"/>
                    </a:lnTo>
                    <a:lnTo>
                      <a:pt x="786" y="992"/>
                    </a:lnTo>
                    <a:lnTo>
                      <a:pt x="792" y="996"/>
                    </a:lnTo>
                    <a:lnTo>
                      <a:pt x="792" y="1002"/>
                    </a:lnTo>
                    <a:lnTo>
                      <a:pt x="792" y="1006"/>
                    </a:lnTo>
                    <a:lnTo>
                      <a:pt x="790" y="1008"/>
                    </a:lnTo>
                    <a:lnTo>
                      <a:pt x="788" y="1008"/>
                    </a:lnTo>
                    <a:lnTo>
                      <a:pt x="788" y="1013"/>
                    </a:lnTo>
                    <a:lnTo>
                      <a:pt x="786" y="1021"/>
                    </a:lnTo>
                    <a:lnTo>
                      <a:pt x="784" y="1055"/>
                    </a:lnTo>
                    <a:lnTo>
                      <a:pt x="782" y="1123"/>
                    </a:lnTo>
                    <a:lnTo>
                      <a:pt x="780" y="1123"/>
                    </a:lnTo>
                    <a:lnTo>
                      <a:pt x="779" y="1123"/>
                    </a:lnTo>
                    <a:lnTo>
                      <a:pt x="775" y="1121"/>
                    </a:lnTo>
                    <a:lnTo>
                      <a:pt x="773" y="1117"/>
                    </a:lnTo>
                    <a:lnTo>
                      <a:pt x="771" y="1115"/>
                    </a:lnTo>
                    <a:lnTo>
                      <a:pt x="767" y="1113"/>
                    </a:lnTo>
                    <a:lnTo>
                      <a:pt x="765" y="1111"/>
                    </a:lnTo>
                    <a:lnTo>
                      <a:pt x="763" y="1107"/>
                    </a:lnTo>
                    <a:lnTo>
                      <a:pt x="754" y="1107"/>
                    </a:lnTo>
                    <a:lnTo>
                      <a:pt x="744" y="1107"/>
                    </a:lnTo>
                    <a:lnTo>
                      <a:pt x="742" y="1111"/>
                    </a:lnTo>
                    <a:lnTo>
                      <a:pt x="738" y="1113"/>
                    </a:lnTo>
                    <a:lnTo>
                      <a:pt x="736" y="1115"/>
                    </a:lnTo>
                    <a:lnTo>
                      <a:pt x="734" y="1117"/>
                    </a:lnTo>
                    <a:lnTo>
                      <a:pt x="731" y="1121"/>
                    </a:lnTo>
                    <a:lnTo>
                      <a:pt x="729" y="1123"/>
                    </a:lnTo>
                    <a:lnTo>
                      <a:pt x="727" y="1125"/>
                    </a:lnTo>
                    <a:lnTo>
                      <a:pt x="725" y="1128"/>
                    </a:lnTo>
                    <a:lnTo>
                      <a:pt x="723" y="1130"/>
                    </a:lnTo>
                    <a:lnTo>
                      <a:pt x="719" y="1132"/>
                    </a:lnTo>
                    <a:lnTo>
                      <a:pt x="717" y="1134"/>
                    </a:lnTo>
                    <a:lnTo>
                      <a:pt x="715" y="1138"/>
                    </a:lnTo>
                    <a:lnTo>
                      <a:pt x="711" y="1140"/>
                    </a:lnTo>
                    <a:lnTo>
                      <a:pt x="709" y="1142"/>
                    </a:lnTo>
                    <a:lnTo>
                      <a:pt x="709" y="1151"/>
                    </a:lnTo>
                    <a:lnTo>
                      <a:pt x="709" y="1161"/>
                    </a:lnTo>
                    <a:lnTo>
                      <a:pt x="711" y="1163"/>
                    </a:lnTo>
                    <a:lnTo>
                      <a:pt x="715" y="1167"/>
                    </a:lnTo>
                    <a:lnTo>
                      <a:pt x="717" y="1169"/>
                    </a:lnTo>
                    <a:lnTo>
                      <a:pt x="719" y="1171"/>
                    </a:lnTo>
                    <a:lnTo>
                      <a:pt x="723" y="1173"/>
                    </a:lnTo>
                    <a:lnTo>
                      <a:pt x="725" y="1176"/>
                    </a:lnTo>
                    <a:lnTo>
                      <a:pt x="746" y="1178"/>
                    </a:lnTo>
                    <a:lnTo>
                      <a:pt x="767" y="1180"/>
                    </a:lnTo>
                    <a:lnTo>
                      <a:pt x="771" y="1184"/>
                    </a:lnTo>
                    <a:lnTo>
                      <a:pt x="773" y="1186"/>
                    </a:lnTo>
                    <a:lnTo>
                      <a:pt x="773" y="1196"/>
                    </a:lnTo>
                    <a:lnTo>
                      <a:pt x="773" y="1205"/>
                    </a:lnTo>
                    <a:lnTo>
                      <a:pt x="771" y="1207"/>
                    </a:lnTo>
                    <a:lnTo>
                      <a:pt x="767" y="1209"/>
                    </a:lnTo>
                    <a:lnTo>
                      <a:pt x="765" y="1213"/>
                    </a:lnTo>
                    <a:lnTo>
                      <a:pt x="763" y="1215"/>
                    </a:lnTo>
                    <a:lnTo>
                      <a:pt x="761" y="1217"/>
                    </a:lnTo>
                    <a:lnTo>
                      <a:pt x="757" y="1219"/>
                    </a:lnTo>
                    <a:lnTo>
                      <a:pt x="756" y="1222"/>
                    </a:lnTo>
                    <a:lnTo>
                      <a:pt x="754" y="1224"/>
                    </a:lnTo>
                    <a:lnTo>
                      <a:pt x="752" y="1226"/>
                    </a:lnTo>
                    <a:lnTo>
                      <a:pt x="750" y="1228"/>
                    </a:lnTo>
                    <a:lnTo>
                      <a:pt x="746" y="1234"/>
                    </a:lnTo>
                    <a:lnTo>
                      <a:pt x="746" y="1244"/>
                    </a:lnTo>
                    <a:lnTo>
                      <a:pt x="746" y="1253"/>
                    </a:lnTo>
                    <a:lnTo>
                      <a:pt x="750" y="1259"/>
                    </a:lnTo>
                    <a:lnTo>
                      <a:pt x="752" y="1261"/>
                    </a:lnTo>
                    <a:lnTo>
                      <a:pt x="754" y="1263"/>
                    </a:lnTo>
                    <a:lnTo>
                      <a:pt x="754" y="1268"/>
                    </a:lnTo>
                    <a:lnTo>
                      <a:pt x="754" y="1272"/>
                    </a:lnTo>
                    <a:lnTo>
                      <a:pt x="752" y="1274"/>
                    </a:lnTo>
                    <a:lnTo>
                      <a:pt x="750" y="1278"/>
                    </a:lnTo>
                    <a:lnTo>
                      <a:pt x="746" y="1280"/>
                    </a:lnTo>
                    <a:lnTo>
                      <a:pt x="744" y="1282"/>
                    </a:lnTo>
                    <a:lnTo>
                      <a:pt x="742" y="1284"/>
                    </a:lnTo>
                    <a:lnTo>
                      <a:pt x="738" y="1288"/>
                    </a:lnTo>
                    <a:lnTo>
                      <a:pt x="736" y="1290"/>
                    </a:lnTo>
                    <a:lnTo>
                      <a:pt x="734" y="1291"/>
                    </a:lnTo>
                    <a:lnTo>
                      <a:pt x="731" y="1293"/>
                    </a:lnTo>
                    <a:lnTo>
                      <a:pt x="729" y="1297"/>
                    </a:lnTo>
                    <a:lnTo>
                      <a:pt x="713" y="1297"/>
                    </a:lnTo>
                    <a:lnTo>
                      <a:pt x="698" y="1299"/>
                    </a:lnTo>
                    <a:lnTo>
                      <a:pt x="683" y="1301"/>
                    </a:lnTo>
                    <a:lnTo>
                      <a:pt x="667" y="1301"/>
                    </a:lnTo>
                    <a:lnTo>
                      <a:pt x="663" y="1303"/>
                    </a:lnTo>
                    <a:lnTo>
                      <a:pt x="661" y="1307"/>
                    </a:lnTo>
                    <a:lnTo>
                      <a:pt x="660" y="1309"/>
                    </a:lnTo>
                    <a:lnTo>
                      <a:pt x="658" y="1311"/>
                    </a:lnTo>
                    <a:lnTo>
                      <a:pt x="654" y="1313"/>
                    </a:lnTo>
                    <a:lnTo>
                      <a:pt x="652" y="1316"/>
                    </a:lnTo>
                    <a:lnTo>
                      <a:pt x="650" y="1318"/>
                    </a:lnTo>
                    <a:lnTo>
                      <a:pt x="646" y="1320"/>
                    </a:lnTo>
                    <a:lnTo>
                      <a:pt x="644" y="1324"/>
                    </a:lnTo>
                    <a:lnTo>
                      <a:pt x="642" y="1326"/>
                    </a:lnTo>
                    <a:lnTo>
                      <a:pt x="640" y="1339"/>
                    </a:lnTo>
                    <a:lnTo>
                      <a:pt x="638" y="1355"/>
                    </a:lnTo>
                    <a:lnTo>
                      <a:pt x="633" y="1355"/>
                    </a:lnTo>
                    <a:lnTo>
                      <a:pt x="629" y="1355"/>
                    </a:lnTo>
                    <a:lnTo>
                      <a:pt x="629" y="1332"/>
                    </a:lnTo>
                    <a:lnTo>
                      <a:pt x="629" y="1311"/>
                    </a:lnTo>
                    <a:lnTo>
                      <a:pt x="629" y="1290"/>
                    </a:lnTo>
                    <a:lnTo>
                      <a:pt x="629" y="1267"/>
                    </a:lnTo>
                    <a:lnTo>
                      <a:pt x="617" y="1267"/>
                    </a:lnTo>
                    <a:lnTo>
                      <a:pt x="612" y="1267"/>
                    </a:lnTo>
                    <a:lnTo>
                      <a:pt x="608" y="1263"/>
                    </a:lnTo>
                    <a:lnTo>
                      <a:pt x="608" y="1259"/>
                    </a:lnTo>
                  </a:path>
                </a:pathLst>
              </a:custGeom>
              <a:grpFill/>
              <a:ln w="3175">
                <a:solidFill>
                  <a:srgbClr val="FF8300"/>
                </a:solidFill>
                <a:round/>
                <a:headEnd/>
                <a:tailEnd/>
              </a:ln>
            </p:spPr>
            <p:txBody>
              <a:bodyPr/>
              <a:lstStyle/>
              <a:p>
                <a:pPr>
                  <a:defRPr/>
                </a:pPr>
                <a:endParaRPr lang="en-GB" sz="1400">
                  <a:solidFill>
                    <a:schemeClr val="tx2"/>
                  </a:solidFill>
                </a:endParaRPr>
              </a:p>
            </p:txBody>
          </p:sp>
          <p:sp>
            <p:nvSpPr>
              <p:cNvPr id="353" name="Freeform 359"/>
              <p:cNvSpPr>
                <a:spLocks noChangeArrowheads="1"/>
              </p:cNvSpPr>
              <p:nvPr>
                <p:custDataLst>
                  <p:tags r:id="rId9"/>
                </p:custDataLst>
              </p:nvPr>
            </p:nvSpPr>
            <p:spPr bwMode="gray">
              <a:xfrm>
                <a:off x="7755467" y="4535065"/>
                <a:ext cx="642407" cy="735772"/>
              </a:xfrm>
              <a:custGeom>
                <a:avLst/>
                <a:gdLst>
                  <a:gd name="T0" fmla="*/ 0 w 765001"/>
                  <a:gd name="T1" fmla="*/ 0 h 876121"/>
                  <a:gd name="T2" fmla="*/ 765001 w 765001"/>
                  <a:gd name="T3" fmla="*/ 876121 h 876121"/>
                </a:gdLst>
                <a:ahLst/>
                <a:cxnLst/>
                <a:rect l="T0" t="T1" r="T2" b="T3"/>
                <a:pathLst>
                  <a:path w="765001" h="876121">
                    <a:moveTo>
                      <a:pt x="25400" y="174625"/>
                    </a:moveTo>
                    <a:cubicBezTo>
                      <a:pt x="26458" y="174096"/>
                      <a:pt x="38511" y="162760"/>
                      <a:pt x="47625" y="146050"/>
                    </a:cubicBezTo>
                    <a:cubicBezTo>
                      <a:pt x="50354" y="141047"/>
                      <a:pt x="51858" y="135467"/>
                      <a:pt x="53975" y="130175"/>
                    </a:cubicBezTo>
                    <a:cubicBezTo>
                      <a:pt x="49758" y="94332"/>
                      <a:pt x="59499" y="81053"/>
                      <a:pt x="34925" y="63500"/>
                    </a:cubicBezTo>
                    <a:cubicBezTo>
                      <a:pt x="32202" y="61555"/>
                      <a:pt x="28575" y="61383"/>
                      <a:pt x="25400" y="60325"/>
                    </a:cubicBezTo>
                    <a:cubicBezTo>
                      <a:pt x="89" y="35014"/>
                      <a:pt x="5716" y="48264"/>
                      <a:pt x="0" y="25400"/>
                    </a:cubicBezTo>
                    <a:cubicBezTo>
                      <a:pt x="1058" y="21167"/>
                      <a:pt x="1010" y="16489"/>
                      <a:pt x="3175" y="12700"/>
                    </a:cubicBezTo>
                    <a:cubicBezTo>
                      <a:pt x="10061" y="650"/>
                      <a:pt x="16055" y="2504"/>
                      <a:pt x="28575" y="0"/>
                    </a:cubicBezTo>
                    <a:cubicBezTo>
                      <a:pt x="34925" y="1058"/>
                      <a:pt x="41648" y="784"/>
                      <a:pt x="47625" y="3175"/>
                    </a:cubicBezTo>
                    <a:cubicBezTo>
                      <a:pt x="52538" y="5140"/>
                      <a:pt x="56343" y="9215"/>
                      <a:pt x="60325" y="12700"/>
                    </a:cubicBezTo>
                    <a:cubicBezTo>
                      <a:pt x="64831" y="16642"/>
                      <a:pt x="69704" y="20419"/>
                      <a:pt x="73025" y="25400"/>
                    </a:cubicBezTo>
                    <a:cubicBezTo>
                      <a:pt x="80263" y="36257"/>
                      <a:pt x="83364" y="50162"/>
                      <a:pt x="92075" y="60325"/>
                    </a:cubicBezTo>
                    <a:cubicBezTo>
                      <a:pt x="106369" y="77002"/>
                      <a:pt x="100806" y="69850"/>
                      <a:pt x="117475" y="79375"/>
                    </a:cubicBezTo>
                    <a:cubicBezTo>
                      <a:pt x="139668" y="92057"/>
                      <a:pt x="111619" y="79572"/>
                      <a:pt x="142875" y="92075"/>
                    </a:cubicBezTo>
                    <a:cubicBezTo>
                      <a:pt x="146050" y="95250"/>
                      <a:pt x="148951" y="98725"/>
                      <a:pt x="152400" y="101600"/>
                    </a:cubicBezTo>
                    <a:cubicBezTo>
                      <a:pt x="155331" y="104043"/>
                      <a:pt x="159358" y="105126"/>
                      <a:pt x="161925" y="107950"/>
                    </a:cubicBezTo>
                    <a:cubicBezTo>
                      <a:pt x="170042" y="116879"/>
                      <a:pt x="184150" y="136525"/>
                      <a:pt x="184150" y="136525"/>
                    </a:cubicBezTo>
                    <a:cubicBezTo>
                      <a:pt x="185208" y="139700"/>
                      <a:pt x="185828" y="143057"/>
                      <a:pt x="187325" y="146050"/>
                    </a:cubicBezTo>
                    <a:cubicBezTo>
                      <a:pt x="191650" y="154700"/>
                      <a:pt x="207466" y="172521"/>
                      <a:pt x="212725" y="174625"/>
                    </a:cubicBezTo>
                    <a:cubicBezTo>
                      <a:pt x="231707" y="182218"/>
                      <a:pt x="223193" y="179173"/>
                      <a:pt x="238125" y="184150"/>
                    </a:cubicBezTo>
                    <a:cubicBezTo>
                      <a:pt x="274354" y="220379"/>
                      <a:pt x="228546" y="175768"/>
                      <a:pt x="263525" y="206375"/>
                    </a:cubicBezTo>
                    <a:cubicBezTo>
                      <a:pt x="268031" y="210317"/>
                      <a:pt x="271719" y="215133"/>
                      <a:pt x="276225" y="219075"/>
                    </a:cubicBezTo>
                    <a:cubicBezTo>
                      <a:pt x="279432" y="221881"/>
                      <a:pt x="293569" y="232161"/>
                      <a:pt x="298450" y="234950"/>
                    </a:cubicBezTo>
                    <a:cubicBezTo>
                      <a:pt x="302559" y="237298"/>
                      <a:pt x="306800" y="239436"/>
                      <a:pt x="311150" y="241300"/>
                    </a:cubicBezTo>
                    <a:cubicBezTo>
                      <a:pt x="323003" y="246380"/>
                      <a:pt x="320739" y="242401"/>
                      <a:pt x="333375" y="250825"/>
                    </a:cubicBezTo>
                    <a:cubicBezTo>
                      <a:pt x="342181" y="256696"/>
                      <a:pt x="350308" y="263525"/>
                      <a:pt x="358775" y="269875"/>
                    </a:cubicBezTo>
                    <a:cubicBezTo>
                      <a:pt x="361651" y="272032"/>
                      <a:pt x="376357" y="283429"/>
                      <a:pt x="381000" y="285750"/>
                    </a:cubicBezTo>
                    <a:cubicBezTo>
                      <a:pt x="393272" y="291886"/>
                      <a:pt x="395408" y="291153"/>
                      <a:pt x="406400" y="295275"/>
                    </a:cubicBezTo>
                    <a:cubicBezTo>
                      <a:pt x="411736" y="297276"/>
                      <a:pt x="416919" y="299677"/>
                      <a:pt x="422275" y="301625"/>
                    </a:cubicBezTo>
                    <a:cubicBezTo>
                      <a:pt x="428565" y="303912"/>
                      <a:pt x="434975" y="305858"/>
                      <a:pt x="441325" y="307975"/>
                    </a:cubicBezTo>
                    <a:cubicBezTo>
                      <a:pt x="444500" y="309033"/>
                      <a:pt x="447857" y="309653"/>
                      <a:pt x="450850" y="311150"/>
                    </a:cubicBezTo>
                    <a:cubicBezTo>
                      <a:pt x="455083" y="313267"/>
                      <a:pt x="459441" y="315152"/>
                      <a:pt x="463550" y="317500"/>
                    </a:cubicBezTo>
                    <a:cubicBezTo>
                      <a:pt x="479493" y="326610"/>
                      <a:pt x="466586" y="321976"/>
                      <a:pt x="485775" y="330200"/>
                    </a:cubicBezTo>
                    <a:cubicBezTo>
                      <a:pt x="496139" y="334642"/>
                      <a:pt x="497470" y="332203"/>
                      <a:pt x="508000" y="339725"/>
                    </a:cubicBezTo>
                    <a:cubicBezTo>
                      <a:pt x="518019" y="346882"/>
                      <a:pt x="518658" y="352859"/>
                      <a:pt x="527050" y="361950"/>
                    </a:cubicBezTo>
                    <a:cubicBezTo>
                      <a:pt x="536187" y="371848"/>
                      <a:pt x="555625" y="390525"/>
                      <a:pt x="555625" y="390525"/>
                    </a:cubicBezTo>
                    <a:cubicBezTo>
                      <a:pt x="511831" y="419721"/>
                      <a:pt x="556784" y="389243"/>
                      <a:pt x="523875" y="412750"/>
                    </a:cubicBezTo>
                    <a:cubicBezTo>
                      <a:pt x="520770" y="414968"/>
                      <a:pt x="517247" y="416617"/>
                      <a:pt x="514350" y="419100"/>
                    </a:cubicBezTo>
                    <a:cubicBezTo>
                      <a:pt x="489719" y="440213"/>
                      <a:pt x="510856" y="423176"/>
                      <a:pt x="495300" y="441325"/>
                    </a:cubicBezTo>
                    <a:cubicBezTo>
                      <a:pt x="472549" y="467868"/>
                      <a:pt x="491543" y="439120"/>
                      <a:pt x="473075" y="469900"/>
                    </a:cubicBezTo>
                    <a:cubicBezTo>
                      <a:pt x="474638" y="479279"/>
                      <a:pt x="476267" y="492177"/>
                      <a:pt x="479425" y="501650"/>
                    </a:cubicBezTo>
                    <a:cubicBezTo>
                      <a:pt x="486135" y="521780"/>
                      <a:pt x="484491" y="511444"/>
                      <a:pt x="488950" y="527050"/>
                    </a:cubicBezTo>
                    <a:cubicBezTo>
                      <a:pt x="495259" y="549131"/>
                      <a:pt x="489502" y="533262"/>
                      <a:pt x="495300" y="565150"/>
                    </a:cubicBezTo>
                    <a:cubicBezTo>
                      <a:pt x="495899" y="568443"/>
                      <a:pt x="496619" y="571890"/>
                      <a:pt x="498475" y="574675"/>
                    </a:cubicBezTo>
                    <a:cubicBezTo>
                      <a:pt x="516671" y="601968"/>
                      <a:pt x="514238" y="598404"/>
                      <a:pt x="533400" y="612775"/>
                    </a:cubicBezTo>
                    <a:cubicBezTo>
                      <a:pt x="540564" y="634267"/>
                      <a:pt x="530469" y="612449"/>
                      <a:pt x="546100" y="625475"/>
                    </a:cubicBezTo>
                    <a:cubicBezTo>
                      <a:pt x="550165" y="628863"/>
                      <a:pt x="551883" y="634433"/>
                      <a:pt x="555625" y="638175"/>
                    </a:cubicBezTo>
                    <a:cubicBezTo>
                      <a:pt x="558323" y="640873"/>
                      <a:pt x="562219" y="642082"/>
                      <a:pt x="565150" y="644525"/>
                    </a:cubicBezTo>
                    <a:cubicBezTo>
                      <a:pt x="581005" y="657738"/>
                      <a:pt x="567461" y="651645"/>
                      <a:pt x="584200" y="657225"/>
                    </a:cubicBezTo>
                    <a:cubicBezTo>
                      <a:pt x="606255" y="673766"/>
                      <a:pt x="587186" y="660648"/>
                      <a:pt x="609600" y="673100"/>
                    </a:cubicBezTo>
                    <a:cubicBezTo>
                      <a:pt x="614995" y="676097"/>
                      <a:pt x="619857" y="680071"/>
                      <a:pt x="625475" y="682625"/>
                    </a:cubicBezTo>
                    <a:cubicBezTo>
                      <a:pt x="631569" y="685395"/>
                      <a:pt x="638310" y="686489"/>
                      <a:pt x="644525" y="688975"/>
                    </a:cubicBezTo>
                    <a:cubicBezTo>
                      <a:pt x="648919" y="690733"/>
                      <a:pt x="652916" y="693366"/>
                      <a:pt x="657225" y="695325"/>
                    </a:cubicBezTo>
                    <a:cubicBezTo>
                      <a:pt x="664563" y="698660"/>
                      <a:pt x="672112" y="701515"/>
                      <a:pt x="679450" y="704850"/>
                    </a:cubicBezTo>
                    <a:cubicBezTo>
                      <a:pt x="683759" y="706809"/>
                      <a:pt x="687584" y="709955"/>
                      <a:pt x="692150" y="711200"/>
                    </a:cubicBezTo>
                    <a:cubicBezTo>
                      <a:pt x="699370" y="713169"/>
                      <a:pt x="706993" y="713145"/>
                      <a:pt x="714375" y="714375"/>
                    </a:cubicBezTo>
                    <a:cubicBezTo>
                      <a:pt x="719698" y="715262"/>
                      <a:pt x="724958" y="716492"/>
                      <a:pt x="730250" y="717550"/>
                    </a:cubicBezTo>
                    <a:cubicBezTo>
                      <a:pt x="735542" y="720725"/>
                      <a:pt x="741440" y="723059"/>
                      <a:pt x="746125" y="727075"/>
                    </a:cubicBezTo>
                    <a:cubicBezTo>
                      <a:pt x="751870" y="731999"/>
                      <a:pt x="753428" y="739458"/>
                      <a:pt x="755650" y="746125"/>
                    </a:cubicBezTo>
                    <a:cubicBezTo>
                      <a:pt x="748248" y="812747"/>
                      <a:pt x="765001" y="747823"/>
                      <a:pt x="663575" y="777875"/>
                    </a:cubicBezTo>
                    <a:cubicBezTo>
                      <a:pt x="656400" y="780001"/>
                      <a:pt x="663653" y="793287"/>
                      <a:pt x="666750" y="800100"/>
                    </a:cubicBezTo>
                    <a:cubicBezTo>
                      <a:pt x="669227" y="805550"/>
                      <a:pt x="675508" y="808294"/>
                      <a:pt x="679450" y="812800"/>
                    </a:cubicBezTo>
                    <a:cubicBezTo>
                      <a:pt x="684963" y="819101"/>
                      <a:pt x="690583" y="827913"/>
                      <a:pt x="695325" y="835025"/>
                    </a:cubicBezTo>
                    <a:cubicBezTo>
                      <a:pt x="694267" y="846667"/>
                      <a:pt x="700416" y="861684"/>
                      <a:pt x="692150" y="869950"/>
                    </a:cubicBezTo>
                    <a:cubicBezTo>
                      <a:pt x="685979" y="876121"/>
                      <a:pt x="674896" y="866733"/>
                      <a:pt x="666750" y="863600"/>
                    </a:cubicBezTo>
                    <a:cubicBezTo>
                      <a:pt x="655377" y="859226"/>
                      <a:pt x="651203" y="853099"/>
                      <a:pt x="641350" y="847725"/>
                    </a:cubicBezTo>
                    <a:cubicBezTo>
                      <a:pt x="633040" y="843192"/>
                      <a:pt x="622643" y="841718"/>
                      <a:pt x="615950" y="835025"/>
                    </a:cubicBezTo>
                    <a:lnTo>
                      <a:pt x="593725" y="812800"/>
                    </a:lnTo>
                    <a:lnTo>
                      <a:pt x="584200" y="803275"/>
                    </a:lnTo>
                    <a:cubicBezTo>
                      <a:pt x="572134" y="773110"/>
                      <a:pt x="585069" y="799404"/>
                      <a:pt x="568325" y="777875"/>
                    </a:cubicBezTo>
                    <a:cubicBezTo>
                      <a:pt x="558954" y="765827"/>
                      <a:pt x="552083" y="751986"/>
                      <a:pt x="542925" y="739775"/>
                    </a:cubicBezTo>
                    <a:cubicBezTo>
                      <a:pt x="539750" y="735542"/>
                      <a:pt x="536205" y="731562"/>
                      <a:pt x="533400" y="727075"/>
                    </a:cubicBezTo>
                    <a:cubicBezTo>
                      <a:pt x="530892" y="723061"/>
                      <a:pt x="529349" y="718512"/>
                      <a:pt x="527050" y="714375"/>
                    </a:cubicBezTo>
                    <a:cubicBezTo>
                      <a:pt x="524053" y="708980"/>
                      <a:pt x="520079" y="704118"/>
                      <a:pt x="517525" y="698500"/>
                    </a:cubicBezTo>
                    <a:cubicBezTo>
                      <a:pt x="514755" y="692406"/>
                      <a:pt x="514168" y="685437"/>
                      <a:pt x="511175" y="679450"/>
                    </a:cubicBezTo>
                    <a:cubicBezTo>
                      <a:pt x="496454" y="650008"/>
                      <a:pt x="491553" y="661754"/>
                      <a:pt x="466725" y="628650"/>
                    </a:cubicBezTo>
                    <a:cubicBezTo>
                      <a:pt x="463550" y="624417"/>
                      <a:pt x="460644" y="619968"/>
                      <a:pt x="457200" y="615950"/>
                    </a:cubicBezTo>
                    <a:cubicBezTo>
                      <a:pt x="454278" y="612541"/>
                      <a:pt x="450597" y="609834"/>
                      <a:pt x="447675" y="606425"/>
                    </a:cubicBezTo>
                    <a:cubicBezTo>
                      <a:pt x="444231" y="602407"/>
                      <a:pt x="441635" y="597707"/>
                      <a:pt x="438150" y="593725"/>
                    </a:cubicBezTo>
                    <a:cubicBezTo>
                      <a:pt x="434208" y="589219"/>
                      <a:pt x="429392" y="585531"/>
                      <a:pt x="425450" y="581025"/>
                    </a:cubicBezTo>
                    <a:cubicBezTo>
                      <a:pt x="421965" y="577043"/>
                      <a:pt x="419803" y="571926"/>
                      <a:pt x="415925" y="568325"/>
                    </a:cubicBezTo>
                    <a:cubicBezTo>
                      <a:pt x="404903" y="558090"/>
                      <a:pt x="381000" y="539750"/>
                      <a:pt x="381000" y="539750"/>
                    </a:cubicBezTo>
                    <a:cubicBezTo>
                      <a:pt x="365705" y="514259"/>
                      <a:pt x="374406" y="527317"/>
                      <a:pt x="349250" y="495300"/>
                    </a:cubicBezTo>
                    <a:cubicBezTo>
                      <a:pt x="345063" y="489971"/>
                      <a:pt x="336550" y="479425"/>
                      <a:pt x="336550" y="479425"/>
                    </a:cubicBezTo>
                    <a:cubicBezTo>
                      <a:pt x="334433" y="473075"/>
                      <a:pt x="333451" y="466226"/>
                      <a:pt x="330200" y="460375"/>
                    </a:cubicBezTo>
                    <a:cubicBezTo>
                      <a:pt x="328019" y="456450"/>
                      <a:pt x="323632" y="454229"/>
                      <a:pt x="320675" y="450850"/>
                    </a:cubicBezTo>
                    <a:cubicBezTo>
                      <a:pt x="316213" y="445750"/>
                      <a:pt x="311527" y="440746"/>
                      <a:pt x="307975" y="434975"/>
                    </a:cubicBezTo>
                    <a:cubicBezTo>
                      <a:pt x="291879" y="408819"/>
                      <a:pt x="299460" y="407410"/>
                      <a:pt x="276225" y="384175"/>
                    </a:cubicBezTo>
                    <a:cubicBezTo>
                      <a:pt x="266379" y="374329"/>
                      <a:pt x="262485" y="369237"/>
                      <a:pt x="250825" y="361950"/>
                    </a:cubicBezTo>
                    <a:cubicBezTo>
                      <a:pt x="233820" y="351322"/>
                      <a:pt x="224623" y="354798"/>
                      <a:pt x="206375" y="336550"/>
                    </a:cubicBezTo>
                    <a:cubicBezTo>
                      <a:pt x="203200" y="333375"/>
                      <a:pt x="200259" y="329947"/>
                      <a:pt x="196850" y="327025"/>
                    </a:cubicBezTo>
                    <a:cubicBezTo>
                      <a:pt x="186474" y="318131"/>
                      <a:pt x="184676" y="318329"/>
                      <a:pt x="174625" y="311150"/>
                    </a:cubicBezTo>
                    <a:cubicBezTo>
                      <a:pt x="147058" y="291459"/>
                      <a:pt x="174848" y="310240"/>
                      <a:pt x="152400" y="295275"/>
                    </a:cubicBezTo>
                    <a:cubicBezTo>
                      <a:pt x="150283" y="292100"/>
                      <a:pt x="148981" y="288193"/>
                      <a:pt x="146050" y="285750"/>
                    </a:cubicBezTo>
                    <a:cubicBezTo>
                      <a:pt x="115870" y="260600"/>
                      <a:pt x="151388" y="300613"/>
                      <a:pt x="120650" y="269875"/>
                    </a:cubicBezTo>
                    <a:cubicBezTo>
                      <a:pt x="116908" y="266133"/>
                      <a:pt x="115080" y="260691"/>
                      <a:pt x="111125" y="257175"/>
                    </a:cubicBezTo>
                    <a:cubicBezTo>
                      <a:pt x="105421" y="252105"/>
                      <a:pt x="92075" y="244475"/>
                      <a:pt x="92075" y="244475"/>
                    </a:cubicBezTo>
                    <a:lnTo>
                      <a:pt x="79375" y="225425"/>
                    </a:lnTo>
                    <a:cubicBezTo>
                      <a:pt x="77258" y="222250"/>
                      <a:pt x="75723" y="218598"/>
                      <a:pt x="73025" y="215900"/>
                    </a:cubicBezTo>
                    <a:cubicBezTo>
                      <a:pt x="51277" y="194152"/>
                      <a:pt x="61447" y="201831"/>
                      <a:pt x="44450" y="190500"/>
                    </a:cubicBezTo>
                    <a:cubicBezTo>
                      <a:pt x="33858" y="174612"/>
                      <a:pt x="33099" y="177840"/>
                      <a:pt x="41275" y="149225"/>
                    </a:cubicBezTo>
                    <a:cubicBezTo>
                      <a:pt x="42729" y="144137"/>
                      <a:pt x="24342" y="175154"/>
                      <a:pt x="25400" y="174625"/>
                    </a:cubicBezTo>
                    <a:close/>
                  </a:path>
                </a:pathLst>
              </a:custGeom>
              <a:grpFill/>
              <a:ln w="3175">
                <a:solidFill>
                  <a:srgbClr val="FF8300"/>
                </a:solidFill>
                <a:round/>
                <a:headEnd/>
                <a:tailEnd/>
              </a:ln>
            </p:spPr>
            <p:txBody>
              <a:bodyPr/>
              <a:lstStyle/>
              <a:p>
                <a:pPr>
                  <a:defRPr/>
                </a:pPr>
                <a:endParaRPr lang="en-GB" sz="1400">
                  <a:solidFill>
                    <a:schemeClr val="tx2"/>
                  </a:solidFill>
                </a:endParaRPr>
              </a:p>
            </p:txBody>
          </p:sp>
          <p:sp>
            <p:nvSpPr>
              <p:cNvPr id="354" name="Freeform 129"/>
              <p:cNvSpPr>
                <a:spLocks noChangeArrowheads="1"/>
              </p:cNvSpPr>
              <p:nvPr>
                <p:custDataLst>
                  <p:tags r:id="rId10"/>
                </p:custDataLst>
              </p:nvPr>
            </p:nvSpPr>
            <p:spPr bwMode="gray">
              <a:xfrm>
                <a:off x="7446939" y="5372652"/>
                <a:ext cx="342803" cy="334442"/>
              </a:xfrm>
              <a:custGeom>
                <a:avLst/>
                <a:gdLst>
                  <a:gd name="T0" fmla="*/ 0 w 389784"/>
                  <a:gd name="T1" fmla="*/ 0 h 381000"/>
                  <a:gd name="T2" fmla="*/ 389784 w 389784"/>
                  <a:gd name="T3" fmla="*/ 381000 h 381000"/>
                </a:gdLst>
                <a:ahLst/>
                <a:cxnLst/>
                <a:rect l="T0" t="T1" r="T2" b="T3"/>
                <a:pathLst>
                  <a:path w="389784" h="381000">
                    <a:moveTo>
                      <a:pt x="14298" y="154782"/>
                    </a:moveTo>
                    <a:cubicBezTo>
                      <a:pt x="14695" y="152401"/>
                      <a:pt x="16428" y="148520"/>
                      <a:pt x="16679" y="145257"/>
                    </a:cubicBezTo>
                    <a:cubicBezTo>
                      <a:pt x="21757" y="79243"/>
                      <a:pt x="0" y="93990"/>
                      <a:pt x="59542" y="90488"/>
                    </a:cubicBezTo>
                    <a:cubicBezTo>
                      <a:pt x="60362" y="83925"/>
                      <a:pt x="60634" y="71634"/>
                      <a:pt x="64304" y="64294"/>
                    </a:cubicBezTo>
                    <a:cubicBezTo>
                      <a:pt x="65584" y="61734"/>
                      <a:pt x="66832" y="58938"/>
                      <a:pt x="69067" y="57150"/>
                    </a:cubicBezTo>
                    <a:cubicBezTo>
                      <a:pt x="71027" y="55582"/>
                      <a:pt x="73730" y="55151"/>
                      <a:pt x="76211" y="54769"/>
                    </a:cubicBezTo>
                    <a:cubicBezTo>
                      <a:pt x="84095" y="53556"/>
                      <a:pt x="92086" y="53182"/>
                      <a:pt x="100023" y="52388"/>
                    </a:cubicBezTo>
                    <a:cubicBezTo>
                      <a:pt x="111343" y="44840"/>
                      <a:pt x="104452" y="48530"/>
                      <a:pt x="121454" y="42863"/>
                    </a:cubicBezTo>
                    <a:lnTo>
                      <a:pt x="128598" y="40482"/>
                    </a:lnTo>
                    <a:cubicBezTo>
                      <a:pt x="143547" y="30515"/>
                      <a:pt x="133382" y="35153"/>
                      <a:pt x="164317" y="38100"/>
                    </a:cubicBezTo>
                    <a:cubicBezTo>
                      <a:pt x="182303" y="39813"/>
                      <a:pt x="185678" y="40472"/>
                      <a:pt x="202417" y="42863"/>
                    </a:cubicBezTo>
                    <a:cubicBezTo>
                      <a:pt x="211199" y="45790"/>
                      <a:pt x="210650" y="46920"/>
                      <a:pt x="221467" y="42863"/>
                    </a:cubicBezTo>
                    <a:cubicBezTo>
                      <a:pt x="224147" y="41858"/>
                      <a:pt x="226051" y="39380"/>
                      <a:pt x="228611" y="38100"/>
                    </a:cubicBezTo>
                    <a:cubicBezTo>
                      <a:pt x="239350" y="32730"/>
                      <a:pt x="232661" y="39487"/>
                      <a:pt x="242898" y="30957"/>
                    </a:cubicBezTo>
                    <a:cubicBezTo>
                      <a:pt x="245485" y="28801"/>
                      <a:pt x="247384" y="25881"/>
                      <a:pt x="250042" y="23813"/>
                    </a:cubicBezTo>
                    <a:cubicBezTo>
                      <a:pt x="254560" y="20299"/>
                      <a:pt x="259567" y="17463"/>
                      <a:pt x="264329" y="14288"/>
                    </a:cubicBezTo>
                    <a:cubicBezTo>
                      <a:pt x="266710" y="12700"/>
                      <a:pt x="269449" y="11549"/>
                      <a:pt x="271473" y="9525"/>
                    </a:cubicBezTo>
                    <a:cubicBezTo>
                      <a:pt x="273854" y="7144"/>
                      <a:pt x="275452" y="3533"/>
                      <a:pt x="278617" y="2382"/>
                    </a:cubicBezTo>
                    <a:cubicBezTo>
                      <a:pt x="284631" y="195"/>
                      <a:pt x="291317" y="794"/>
                      <a:pt x="297667" y="0"/>
                    </a:cubicBezTo>
                    <a:cubicBezTo>
                      <a:pt x="305604" y="794"/>
                      <a:pt x="313595" y="1169"/>
                      <a:pt x="321479" y="2382"/>
                    </a:cubicBezTo>
                    <a:cubicBezTo>
                      <a:pt x="323960" y="2764"/>
                      <a:pt x="326663" y="3195"/>
                      <a:pt x="328623" y="4763"/>
                    </a:cubicBezTo>
                    <a:cubicBezTo>
                      <a:pt x="330858" y="6551"/>
                      <a:pt x="331798" y="9526"/>
                      <a:pt x="333386" y="11907"/>
                    </a:cubicBezTo>
                    <a:cubicBezTo>
                      <a:pt x="334180" y="16669"/>
                      <a:pt x="333608" y="21876"/>
                      <a:pt x="335767" y="26194"/>
                    </a:cubicBezTo>
                    <a:cubicBezTo>
                      <a:pt x="337047" y="28754"/>
                      <a:pt x="340712" y="29125"/>
                      <a:pt x="342911" y="30957"/>
                    </a:cubicBezTo>
                    <a:cubicBezTo>
                      <a:pt x="349786" y="36686"/>
                      <a:pt x="350134" y="38220"/>
                      <a:pt x="354817" y="45244"/>
                    </a:cubicBezTo>
                    <a:cubicBezTo>
                      <a:pt x="356404" y="50007"/>
                      <a:pt x="361166" y="54769"/>
                      <a:pt x="359579" y="59532"/>
                    </a:cubicBezTo>
                    <a:lnTo>
                      <a:pt x="354817" y="73819"/>
                    </a:lnTo>
                    <a:cubicBezTo>
                      <a:pt x="355611" y="77788"/>
                      <a:pt x="354953" y="82357"/>
                      <a:pt x="357198" y="85725"/>
                    </a:cubicBezTo>
                    <a:cubicBezTo>
                      <a:pt x="358590" y="87814"/>
                      <a:pt x="361907" y="87498"/>
                      <a:pt x="364342" y="88107"/>
                    </a:cubicBezTo>
                    <a:cubicBezTo>
                      <a:pt x="368268" y="89089"/>
                      <a:pt x="372279" y="89694"/>
                      <a:pt x="376248" y="90488"/>
                    </a:cubicBezTo>
                    <a:cubicBezTo>
                      <a:pt x="389784" y="131091"/>
                      <a:pt x="378326" y="92159"/>
                      <a:pt x="383392" y="183357"/>
                    </a:cubicBezTo>
                    <a:cubicBezTo>
                      <a:pt x="383531" y="185863"/>
                      <a:pt x="385084" y="188087"/>
                      <a:pt x="385773" y="190500"/>
                    </a:cubicBezTo>
                    <a:cubicBezTo>
                      <a:pt x="386672" y="193647"/>
                      <a:pt x="387360" y="196850"/>
                      <a:pt x="388154" y="200025"/>
                    </a:cubicBezTo>
                    <a:cubicBezTo>
                      <a:pt x="387360" y="207963"/>
                      <a:pt x="388119" y="216213"/>
                      <a:pt x="385773" y="223838"/>
                    </a:cubicBezTo>
                    <a:cubicBezTo>
                      <a:pt x="384240" y="228820"/>
                      <a:pt x="374944" y="232670"/>
                      <a:pt x="371486" y="235744"/>
                    </a:cubicBezTo>
                    <a:cubicBezTo>
                      <a:pt x="366452" y="240219"/>
                      <a:pt x="363222" y="247020"/>
                      <a:pt x="357198" y="250032"/>
                    </a:cubicBezTo>
                    <a:cubicBezTo>
                      <a:pt x="354023" y="251619"/>
                      <a:pt x="350755" y="253033"/>
                      <a:pt x="347673" y="254794"/>
                    </a:cubicBezTo>
                    <a:cubicBezTo>
                      <a:pt x="345188" y="256214"/>
                      <a:pt x="343089" y="258277"/>
                      <a:pt x="340529" y="259557"/>
                    </a:cubicBezTo>
                    <a:cubicBezTo>
                      <a:pt x="338284" y="260679"/>
                      <a:pt x="335767" y="261144"/>
                      <a:pt x="333386" y="261938"/>
                    </a:cubicBezTo>
                    <a:cubicBezTo>
                      <a:pt x="317752" y="277572"/>
                      <a:pt x="334475" y="262004"/>
                      <a:pt x="302429" y="283369"/>
                    </a:cubicBezTo>
                    <a:cubicBezTo>
                      <a:pt x="297667" y="286544"/>
                      <a:pt x="292189" y="288847"/>
                      <a:pt x="288142" y="292894"/>
                    </a:cubicBezTo>
                    <a:cubicBezTo>
                      <a:pt x="285761" y="295275"/>
                      <a:pt x="283555" y="297846"/>
                      <a:pt x="280998" y="300038"/>
                    </a:cubicBezTo>
                    <a:cubicBezTo>
                      <a:pt x="277985" y="302621"/>
                      <a:pt x="274279" y="304376"/>
                      <a:pt x="271473" y="307182"/>
                    </a:cubicBezTo>
                    <a:cubicBezTo>
                      <a:pt x="250581" y="328074"/>
                      <a:pt x="288318" y="298119"/>
                      <a:pt x="257186" y="321469"/>
                    </a:cubicBezTo>
                    <a:cubicBezTo>
                      <a:pt x="251803" y="337612"/>
                      <a:pt x="259406" y="318360"/>
                      <a:pt x="245279" y="338138"/>
                    </a:cubicBezTo>
                    <a:cubicBezTo>
                      <a:pt x="243820" y="340181"/>
                      <a:pt x="244117" y="343088"/>
                      <a:pt x="242898" y="345282"/>
                    </a:cubicBezTo>
                    <a:cubicBezTo>
                      <a:pt x="240118" y="350285"/>
                      <a:pt x="233373" y="359569"/>
                      <a:pt x="233373" y="359569"/>
                    </a:cubicBezTo>
                    <a:cubicBezTo>
                      <a:pt x="231551" y="366857"/>
                      <a:pt x="231711" y="370756"/>
                      <a:pt x="226229" y="376238"/>
                    </a:cubicBezTo>
                    <a:cubicBezTo>
                      <a:pt x="224206" y="378261"/>
                      <a:pt x="221467" y="379413"/>
                      <a:pt x="219086" y="381000"/>
                    </a:cubicBezTo>
                    <a:cubicBezTo>
                      <a:pt x="213530" y="380206"/>
                      <a:pt x="207886" y="379881"/>
                      <a:pt x="202417" y="378619"/>
                    </a:cubicBezTo>
                    <a:cubicBezTo>
                      <a:pt x="171243" y="371426"/>
                      <a:pt x="200143" y="376264"/>
                      <a:pt x="180986" y="371475"/>
                    </a:cubicBezTo>
                    <a:cubicBezTo>
                      <a:pt x="177811" y="370681"/>
                      <a:pt x="174608" y="369993"/>
                      <a:pt x="171461" y="369094"/>
                    </a:cubicBezTo>
                    <a:cubicBezTo>
                      <a:pt x="164923" y="367226"/>
                      <a:pt x="158709" y="364470"/>
                      <a:pt x="152411" y="361950"/>
                    </a:cubicBezTo>
                    <a:cubicBezTo>
                      <a:pt x="131531" y="341073"/>
                      <a:pt x="158023" y="366628"/>
                      <a:pt x="138123" y="350044"/>
                    </a:cubicBezTo>
                    <a:cubicBezTo>
                      <a:pt x="130783" y="343927"/>
                      <a:pt x="116378" y="325603"/>
                      <a:pt x="114311" y="321469"/>
                    </a:cubicBezTo>
                    <a:cubicBezTo>
                      <a:pt x="112723" y="318294"/>
                      <a:pt x="110946" y="315207"/>
                      <a:pt x="109548" y="311944"/>
                    </a:cubicBezTo>
                    <a:cubicBezTo>
                      <a:pt x="108559" y="309637"/>
                      <a:pt x="108386" y="306994"/>
                      <a:pt x="107167" y="304800"/>
                    </a:cubicBezTo>
                    <a:cubicBezTo>
                      <a:pt x="104387" y="299797"/>
                      <a:pt x="100817" y="295275"/>
                      <a:pt x="97642" y="290513"/>
                    </a:cubicBezTo>
                    <a:cubicBezTo>
                      <a:pt x="96054" y="288132"/>
                      <a:pt x="94351" y="285823"/>
                      <a:pt x="92879" y="283369"/>
                    </a:cubicBezTo>
                    <a:cubicBezTo>
                      <a:pt x="90498" y="279400"/>
                      <a:pt x="88303" y="275314"/>
                      <a:pt x="85736" y="271463"/>
                    </a:cubicBezTo>
                    <a:cubicBezTo>
                      <a:pt x="83535" y="268161"/>
                      <a:pt x="80899" y="265167"/>
                      <a:pt x="78592" y="261938"/>
                    </a:cubicBezTo>
                    <a:cubicBezTo>
                      <a:pt x="76928" y="259609"/>
                      <a:pt x="75417" y="257175"/>
                      <a:pt x="73829" y="254794"/>
                    </a:cubicBezTo>
                    <a:cubicBezTo>
                      <a:pt x="73131" y="251302"/>
                      <a:pt x="71379" y="239982"/>
                      <a:pt x="69067" y="235744"/>
                    </a:cubicBezTo>
                    <a:cubicBezTo>
                      <a:pt x="65481" y="229170"/>
                      <a:pt x="63151" y="221187"/>
                      <a:pt x="57161" y="216694"/>
                    </a:cubicBezTo>
                    <a:lnTo>
                      <a:pt x="47636" y="209550"/>
                    </a:lnTo>
                    <a:cubicBezTo>
                      <a:pt x="45173" y="202163"/>
                      <a:pt x="44903" y="200235"/>
                      <a:pt x="40492" y="192882"/>
                    </a:cubicBezTo>
                    <a:cubicBezTo>
                      <a:pt x="37547" y="187974"/>
                      <a:pt x="32777" y="184024"/>
                      <a:pt x="30967" y="178594"/>
                    </a:cubicBezTo>
                    <a:cubicBezTo>
                      <a:pt x="30173" y="176213"/>
                      <a:pt x="30154" y="173410"/>
                      <a:pt x="28586" y="171450"/>
                    </a:cubicBezTo>
                    <a:cubicBezTo>
                      <a:pt x="26798" y="169215"/>
                      <a:pt x="23641" y="168520"/>
                      <a:pt x="21442" y="166688"/>
                    </a:cubicBezTo>
                    <a:cubicBezTo>
                      <a:pt x="18855" y="164532"/>
                      <a:pt x="16679" y="161925"/>
                      <a:pt x="14298" y="159544"/>
                    </a:cubicBezTo>
                    <a:cubicBezTo>
                      <a:pt x="17064" y="148479"/>
                      <a:pt x="13901" y="157163"/>
                      <a:pt x="14298" y="154782"/>
                    </a:cubicBezTo>
                    <a:close/>
                  </a:path>
                </a:pathLst>
              </a:custGeom>
              <a:grpFill/>
              <a:ln w="3175">
                <a:solidFill>
                  <a:srgbClr val="FF8300"/>
                </a:solidFill>
                <a:round/>
                <a:headEnd/>
                <a:tailEnd/>
              </a:ln>
            </p:spPr>
            <p:txBody>
              <a:bodyPr/>
              <a:lstStyle/>
              <a:p>
                <a:pPr>
                  <a:defRPr/>
                </a:pPr>
                <a:endParaRPr lang="nl-NL" sz="1400">
                  <a:solidFill>
                    <a:schemeClr val="tx2"/>
                  </a:solidFill>
                </a:endParaRPr>
              </a:p>
            </p:txBody>
          </p:sp>
          <p:sp>
            <p:nvSpPr>
              <p:cNvPr id="355" name="Freeform 10"/>
              <p:cNvSpPr/>
              <p:nvPr/>
            </p:nvSpPr>
            <p:spPr bwMode="gray">
              <a:xfrm>
                <a:off x="4285635" y="4278660"/>
                <a:ext cx="1239799" cy="1764180"/>
              </a:xfrm>
              <a:custGeom>
                <a:avLst/>
                <a:gdLst>
                  <a:gd name="connsiteX0" fmla="*/ 0 w 1412394"/>
                  <a:gd name="connsiteY0" fmla="*/ 114300 h 2009775"/>
                  <a:gd name="connsiteX1" fmla="*/ 6350 w 1412394"/>
                  <a:gd name="connsiteY1" fmla="*/ 165100 h 2009775"/>
                  <a:gd name="connsiteX2" fmla="*/ 9525 w 1412394"/>
                  <a:gd name="connsiteY2" fmla="*/ 180975 h 2009775"/>
                  <a:gd name="connsiteX3" fmla="*/ 15875 w 1412394"/>
                  <a:gd name="connsiteY3" fmla="*/ 200025 h 2009775"/>
                  <a:gd name="connsiteX4" fmla="*/ 25400 w 1412394"/>
                  <a:gd name="connsiteY4" fmla="*/ 241300 h 2009775"/>
                  <a:gd name="connsiteX5" fmla="*/ 34925 w 1412394"/>
                  <a:gd name="connsiteY5" fmla="*/ 247650 h 2009775"/>
                  <a:gd name="connsiteX6" fmla="*/ 47625 w 1412394"/>
                  <a:gd name="connsiteY6" fmla="*/ 266700 h 2009775"/>
                  <a:gd name="connsiteX7" fmla="*/ 63500 w 1412394"/>
                  <a:gd name="connsiteY7" fmla="*/ 295275 h 2009775"/>
                  <a:gd name="connsiteX8" fmla="*/ 69850 w 1412394"/>
                  <a:gd name="connsiteY8" fmla="*/ 304800 h 2009775"/>
                  <a:gd name="connsiteX9" fmla="*/ 88900 w 1412394"/>
                  <a:gd name="connsiteY9" fmla="*/ 323850 h 2009775"/>
                  <a:gd name="connsiteX10" fmla="*/ 95250 w 1412394"/>
                  <a:gd name="connsiteY10" fmla="*/ 333375 h 2009775"/>
                  <a:gd name="connsiteX11" fmla="*/ 127000 w 1412394"/>
                  <a:gd name="connsiteY11" fmla="*/ 346075 h 2009775"/>
                  <a:gd name="connsiteX12" fmla="*/ 146050 w 1412394"/>
                  <a:gd name="connsiteY12" fmla="*/ 355600 h 2009775"/>
                  <a:gd name="connsiteX13" fmla="*/ 146050 w 1412394"/>
                  <a:gd name="connsiteY13" fmla="*/ 422275 h 2009775"/>
                  <a:gd name="connsiteX14" fmla="*/ 136525 w 1412394"/>
                  <a:gd name="connsiteY14" fmla="*/ 431800 h 2009775"/>
                  <a:gd name="connsiteX15" fmla="*/ 123825 w 1412394"/>
                  <a:gd name="connsiteY15" fmla="*/ 450850 h 2009775"/>
                  <a:gd name="connsiteX16" fmla="*/ 111125 w 1412394"/>
                  <a:gd name="connsiteY16" fmla="*/ 466725 h 2009775"/>
                  <a:gd name="connsiteX17" fmla="*/ 95250 w 1412394"/>
                  <a:gd name="connsiteY17" fmla="*/ 584200 h 2009775"/>
                  <a:gd name="connsiteX18" fmla="*/ 92075 w 1412394"/>
                  <a:gd name="connsiteY18" fmla="*/ 593725 h 2009775"/>
                  <a:gd name="connsiteX19" fmla="*/ 73025 w 1412394"/>
                  <a:gd name="connsiteY19" fmla="*/ 612775 h 2009775"/>
                  <a:gd name="connsiteX20" fmla="*/ 63500 w 1412394"/>
                  <a:gd name="connsiteY20" fmla="*/ 641350 h 2009775"/>
                  <a:gd name="connsiteX21" fmla="*/ 60325 w 1412394"/>
                  <a:gd name="connsiteY21" fmla="*/ 650875 h 2009775"/>
                  <a:gd name="connsiteX22" fmla="*/ 63500 w 1412394"/>
                  <a:gd name="connsiteY22" fmla="*/ 736600 h 2009775"/>
                  <a:gd name="connsiteX23" fmla="*/ 66675 w 1412394"/>
                  <a:gd name="connsiteY23" fmla="*/ 749300 h 2009775"/>
                  <a:gd name="connsiteX24" fmla="*/ 85725 w 1412394"/>
                  <a:gd name="connsiteY24" fmla="*/ 762000 h 2009775"/>
                  <a:gd name="connsiteX25" fmla="*/ 120650 w 1412394"/>
                  <a:gd name="connsiteY25" fmla="*/ 765175 h 2009775"/>
                  <a:gd name="connsiteX26" fmla="*/ 117475 w 1412394"/>
                  <a:gd name="connsiteY26" fmla="*/ 793750 h 2009775"/>
                  <a:gd name="connsiteX27" fmla="*/ 101600 w 1412394"/>
                  <a:gd name="connsiteY27" fmla="*/ 809625 h 2009775"/>
                  <a:gd name="connsiteX28" fmla="*/ 92075 w 1412394"/>
                  <a:gd name="connsiteY28" fmla="*/ 812800 h 2009775"/>
                  <a:gd name="connsiteX29" fmla="*/ 63500 w 1412394"/>
                  <a:gd name="connsiteY29" fmla="*/ 828675 h 2009775"/>
                  <a:gd name="connsiteX30" fmla="*/ 53975 w 1412394"/>
                  <a:gd name="connsiteY30" fmla="*/ 838200 h 2009775"/>
                  <a:gd name="connsiteX31" fmla="*/ 19050 w 1412394"/>
                  <a:gd name="connsiteY31" fmla="*/ 844550 h 2009775"/>
                  <a:gd name="connsiteX32" fmla="*/ 9525 w 1412394"/>
                  <a:gd name="connsiteY32" fmla="*/ 847725 h 2009775"/>
                  <a:gd name="connsiteX33" fmla="*/ 9525 w 1412394"/>
                  <a:gd name="connsiteY33" fmla="*/ 866775 h 2009775"/>
                  <a:gd name="connsiteX34" fmla="*/ 12700 w 1412394"/>
                  <a:gd name="connsiteY34" fmla="*/ 898525 h 2009775"/>
                  <a:gd name="connsiteX35" fmla="*/ 19050 w 1412394"/>
                  <a:gd name="connsiteY35" fmla="*/ 908050 h 2009775"/>
                  <a:gd name="connsiteX36" fmla="*/ 22225 w 1412394"/>
                  <a:gd name="connsiteY36" fmla="*/ 917575 h 2009775"/>
                  <a:gd name="connsiteX37" fmla="*/ 25400 w 1412394"/>
                  <a:gd name="connsiteY37" fmla="*/ 955675 h 2009775"/>
                  <a:gd name="connsiteX38" fmla="*/ 28575 w 1412394"/>
                  <a:gd name="connsiteY38" fmla="*/ 971550 h 2009775"/>
                  <a:gd name="connsiteX39" fmla="*/ 38100 w 1412394"/>
                  <a:gd name="connsiteY39" fmla="*/ 977900 h 2009775"/>
                  <a:gd name="connsiteX40" fmla="*/ 53975 w 1412394"/>
                  <a:gd name="connsiteY40" fmla="*/ 974725 h 2009775"/>
                  <a:gd name="connsiteX41" fmla="*/ 73025 w 1412394"/>
                  <a:gd name="connsiteY41" fmla="*/ 968375 h 2009775"/>
                  <a:gd name="connsiteX42" fmla="*/ 98425 w 1412394"/>
                  <a:gd name="connsiteY42" fmla="*/ 971550 h 2009775"/>
                  <a:gd name="connsiteX43" fmla="*/ 111125 w 1412394"/>
                  <a:gd name="connsiteY43" fmla="*/ 974725 h 2009775"/>
                  <a:gd name="connsiteX44" fmla="*/ 149225 w 1412394"/>
                  <a:gd name="connsiteY44" fmla="*/ 977900 h 2009775"/>
                  <a:gd name="connsiteX45" fmla="*/ 168275 w 1412394"/>
                  <a:gd name="connsiteY45" fmla="*/ 984250 h 2009775"/>
                  <a:gd name="connsiteX46" fmla="*/ 184150 w 1412394"/>
                  <a:gd name="connsiteY46" fmla="*/ 1000125 h 2009775"/>
                  <a:gd name="connsiteX47" fmla="*/ 190500 w 1412394"/>
                  <a:gd name="connsiteY47" fmla="*/ 1009650 h 2009775"/>
                  <a:gd name="connsiteX48" fmla="*/ 206375 w 1412394"/>
                  <a:gd name="connsiteY48" fmla="*/ 1038225 h 2009775"/>
                  <a:gd name="connsiteX49" fmla="*/ 215900 w 1412394"/>
                  <a:gd name="connsiteY49" fmla="*/ 1041400 h 2009775"/>
                  <a:gd name="connsiteX50" fmla="*/ 228600 w 1412394"/>
                  <a:gd name="connsiteY50" fmla="*/ 1050925 h 2009775"/>
                  <a:gd name="connsiteX51" fmla="*/ 238125 w 1412394"/>
                  <a:gd name="connsiteY51" fmla="*/ 1060450 h 2009775"/>
                  <a:gd name="connsiteX52" fmla="*/ 257175 w 1412394"/>
                  <a:gd name="connsiteY52" fmla="*/ 1073150 h 2009775"/>
                  <a:gd name="connsiteX53" fmla="*/ 266700 w 1412394"/>
                  <a:gd name="connsiteY53" fmla="*/ 1079500 h 2009775"/>
                  <a:gd name="connsiteX54" fmla="*/ 273050 w 1412394"/>
                  <a:gd name="connsiteY54" fmla="*/ 1089025 h 2009775"/>
                  <a:gd name="connsiteX55" fmla="*/ 266700 w 1412394"/>
                  <a:gd name="connsiteY55" fmla="*/ 1108075 h 2009775"/>
                  <a:gd name="connsiteX56" fmla="*/ 263525 w 1412394"/>
                  <a:gd name="connsiteY56" fmla="*/ 1152525 h 2009775"/>
                  <a:gd name="connsiteX57" fmla="*/ 254000 w 1412394"/>
                  <a:gd name="connsiteY57" fmla="*/ 1162050 h 2009775"/>
                  <a:gd name="connsiteX58" fmla="*/ 238125 w 1412394"/>
                  <a:gd name="connsiteY58" fmla="*/ 1190625 h 2009775"/>
                  <a:gd name="connsiteX59" fmla="*/ 241300 w 1412394"/>
                  <a:gd name="connsiteY59" fmla="*/ 1216025 h 2009775"/>
                  <a:gd name="connsiteX60" fmla="*/ 254000 w 1412394"/>
                  <a:gd name="connsiteY60" fmla="*/ 1238250 h 2009775"/>
                  <a:gd name="connsiteX61" fmla="*/ 266700 w 1412394"/>
                  <a:gd name="connsiteY61" fmla="*/ 1235075 h 2009775"/>
                  <a:gd name="connsiteX62" fmla="*/ 276225 w 1412394"/>
                  <a:gd name="connsiteY62" fmla="*/ 1228725 h 2009775"/>
                  <a:gd name="connsiteX63" fmla="*/ 301625 w 1412394"/>
                  <a:gd name="connsiteY63" fmla="*/ 1231900 h 2009775"/>
                  <a:gd name="connsiteX64" fmla="*/ 311150 w 1412394"/>
                  <a:gd name="connsiteY64" fmla="*/ 1235075 h 2009775"/>
                  <a:gd name="connsiteX65" fmla="*/ 314325 w 1412394"/>
                  <a:gd name="connsiteY65" fmla="*/ 1276350 h 2009775"/>
                  <a:gd name="connsiteX66" fmla="*/ 304800 w 1412394"/>
                  <a:gd name="connsiteY66" fmla="*/ 1282700 h 2009775"/>
                  <a:gd name="connsiteX67" fmla="*/ 292100 w 1412394"/>
                  <a:gd name="connsiteY67" fmla="*/ 1301750 h 2009775"/>
                  <a:gd name="connsiteX68" fmla="*/ 285750 w 1412394"/>
                  <a:gd name="connsiteY68" fmla="*/ 1311275 h 2009775"/>
                  <a:gd name="connsiteX69" fmla="*/ 282575 w 1412394"/>
                  <a:gd name="connsiteY69" fmla="*/ 1320800 h 2009775"/>
                  <a:gd name="connsiteX70" fmla="*/ 279400 w 1412394"/>
                  <a:gd name="connsiteY70" fmla="*/ 1365250 h 2009775"/>
                  <a:gd name="connsiteX71" fmla="*/ 254000 w 1412394"/>
                  <a:gd name="connsiteY71" fmla="*/ 1390650 h 2009775"/>
                  <a:gd name="connsiteX72" fmla="*/ 244475 w 1412394"/>
                  <a:gd name="connsiteY72" fmla="*/ 1397000 h 2009775"/>
                  <a:gd name="connsiteX73" fmla="*/ 254000 w 1412394"/>
                  <a:gd name="connsiteY73" fmla="*/ 1403350 h 2009775"/>
                  <a:gd name="connsiteX74" fmla="*/ 285750 w 1412394"/>
                  <a:gd name="connsiteY74" fmla="*/ 1406525 h 2009775"/>
                  <a:gd name="connsiteX75" fmla="*/ 295275 w 1412394"/>
                  <a:gd name="connsiteY75" fmla="*/ 1409700 h 2009775"/>
                  <a:gd name="connsiteX76" fmla="*/ 301625 w 1412394"/>
                  <a:gd name="connsiteY76" fmla="*/ 1447800 h 2009775"/>
                  <a:gd name="connsiteX77" fmla="*/ 304800 w 1412394"/>
                  <a:gd name="connsiteY77" fmla="*/ 1460500 h 2009775"/>
                  <a:gd name="connsiteX78" fmla="*/ 307975 w 1412394"/>
                  <a:gd name="connsiteY78" fmla="*/ 1489075 h 2009775"/>
                  <a:gd name="connsiteX79" fmla="*/ 311150 w 1412394"/>
                  <a:gd name="connsiteY79" fmla="*/ 1498600 h 2009775"/>
                  <a:gd name="connsiteX80" fmla="*/ 301625 w 1412394"/>
                  <a:gd name="connsiteY80" fmla="*/ 1536700 h 2009775"/>
                  <a:gd name="connsiteX81" fmla="*/ 292100 w 1412394"/>
                  <a:gd name="connsiteY81" fmla="*/ 1543050 h 2009775"/>
                  <a:gd name="connsiteX82" fmla="*/ 288925 w 1412394"/>
                  <a:gd name="connsiteY82" fmla="*/ 1552575 h 2009775"/>
                  <a:gd name="connsiteX83" fmla="*/ 301625 w 1412394"/>
                  <a:gd name="connsiteY83" fmla="*/ 1581150 h 2009775"/>
                  <a:gd name="connsiteX84" fmla="*/ 304800 w 1412394"/>
                  <a:gd name="connsiteY84" fmla="*/ 1590675 h 2009775"/>
                  <a:gd name="connsiteX85" fmla="*/ 393700 w 1412394"/>
                  <a:gd name="connsiteY85" fmla="*/ 1616075 h 2009775"/>
                  <a:gd name="connsiteX86" fmla="*/ 403225 w 1412394"/>
                  <a:gd name="connsiteY86" fmla="*/ 1622425 h 2009775"/>
                  <a:gd name="connsiteX87" fmla="*/ 409575 w 1412394"/>
                  <a:gd name="connsiteY87" fmla="*/ 1631950 h 2009775"/>
                  <a:gd name="connsiteX88" fmla="*/ 438150 w 1412394"/>
                  <a:gd name="connsiteY88" fmla="*/ 1647825 h 2009775"/>
                  <a:gd name="connsiteX89" fmla="*/ 447675 w 1412394"/>
                  <a:gd name="connsiteY89" fmla="*/ 1660525 h 2009775"/>
                  <a:gd name="connsiteX90" fmla="*/ 460375 w 1412394"/>
                  <a:gd name="connsiteY90" fmla="*/ 1676400 h 2009775"/>
                  <a:gd name="connsiteX91" fmla="*/ 466725 w 1412394"/>
                  <a:gd name="connsiteY91" fmla="*/ 1730375 h 2009775"/>
                  <a:gd name="connsiteX92" fmla="*/ 476250 w 1412394"/>
                  <a:gd name="connsiteY92" fmla="*/ 1749425 h 2009775"/>
                  <a:gd name="connsiteX93" fmla="*/ 495300 w 1412394"/>
                  <a:gd name="connsiteY93" fmla="*/ 1758950 h 2009775"/>
                  <a:gd name="connsiteX94" fmla="*/ 501650 w 1412394"/>
                  <a:gd name="connsiteY94" fmla="*/ 1768475 h 2009775"/>
                  <a:gd name="connsiteX95" fmla="*/ 501650 w 1412394"/>
                  <a:gd name="connsiteY95" fmla="*/ 1844675 h 2009775"/>
                  <a:gd name="connsiteX96" fmla="*/ 492125 w 1412394"/>
                  <a:gd name="connsiteY96" fmla="*/ 1879600 h 2009775"/>
                  <a:gd name="connsiteX97" fmla="*/ 488950 w 1412394"/>
                  <a:gd name="connsiteY97" fmla="*/ 1889125 h 2009775"/>
                  <a:gd name="connsiteX98" fmla="*/ 476250 w 1412394"/>
                  <a:gd name="connsiteY98" fmla="*/ 1908175 h 2009775"/>
                  <a:gd name="connsiteX99" fmla="*/ 469900 w 1412394"/>
                  <a:gd name="connsiteY99" fmla="*/ 1917700 h 2009775"/>
                  <a:gd name="connsiteX100" fmla="*/ 460375 w 1412394"/>
                  <a:gd name="connsiteY100" fmla="*/ 1924050 h 2009775"/>
                  <a:gd name="connsiteX101" fmla="*/ 441325 w 1412394"/>
                  <a:gd name="connsiteY101" fmla="*/ 1943100 h 2009775"/>
                  <a:gd name="connsiteX102" fmla="*/ 434975 w 1412394"/>
                  <a:gd name="connsiteY102" fmla="*/ 1952625 h 2009775"/>
                  <a:gd name="connsiteX103" fmla="*/ 425450 w 1412394"/>
                  <a:gd name="connsiteY103" fmla="*/ 1958975 h 2009775"/>
                  <a:gd name="connsiteX104" fmla="*/ 422275 w 1412394"/>
                  <a:gd name="connsiteY104" fmla="*/ 1987550 h 2009775"/>
                  <a:gd name="connsiteX105" fmla="*/ 444500 w 1412394"/>
                  <a:gd name="connsiteY105" fmla="*/ 1993900 h 2009775"/>
                  <a:gd name="connsiteX106" fmla="*/ 460375 w 1412394"/>
                  <a:gd name="connsiteY106" fmla="*/ 1997075 h 2009775"/>
                  <a:gd name="connsiteX107" fmla="*/ 479425 w 1412394"/>
                  <a:gd name="connsiteY107" fmla="*/ 2003425 h 2009775"/>
                  <a:gd name="connsiteX108" fmla="*/ 514350 w 1412394"/>
                  <a:gd name="connsiteY108" fmla="*/ 2009775 h 2009775"/>
                  <a:gd name="connsiteX109" fmla="*/ 619125 w 1412394"/>
                  <a:gd name="connsiteY109" fmla="*/ 2006600 h 2009775"/>
                  <a:gd name="connsiteX110" fmla="*/ 631825 w 1412394"/>
                  <a:gd name="connsiteY110" fmla="*/ 2003425 h 2009775"/>
                  <a:gd name="connsiteX111" fmla="*/ 641350 w 1412394"/>
                  <a:gd name="connsiteY111" fmla="*/ 1993900 h 2009775"/>
                  <a:gd name="connsiteX112" fmla="*/ 650875 w 1412394"/>
                  <a:gd name="connsiteY112" fmla="*/ 1987550 h 2009775"/>
                  <a:gd name="connsiteX113" fmla="*/ 663575 w 1412394"/>
                  <a:gd name="connsiteY113" fmla="*/ 1968500 h 2009775"/>
                  <a:gd name="connsiteX114" fmla="*/ 673100 w 1412394"/>
                  <a:gd name="connsiteY114" fmla="*/ 1939925 h 2009775"/>
                  <a:gd name="connsiteX115" fmla="*/ 676275 w 1412394"/>
                  <a:gd name="connsiteY115" fmla="*/ 1930400 h 2009775"/>
                  <a:gd name="connsiteX116" fmla="*/ 682625 w 1412394"/>
                  <a:gd name="connsiteY116" fmla="*/ 1920875 h 2009775"/>
                  <a:gd name="connsiteX117" fmla="*/ 692150 w 1412394"/>
                  <a:gd name="connsiteY117" fmla="*/ 1901825 h 2009775"/>
                  <a:gd name="connsiteX118" fmla="*/ 701675 w 1412394"/>
                  <a:gd name="connsiteY118" fmla="*/ 1895475 h 2009775"/>
                  <a:gd name="connsiteX119" fmla="*/ 708025 w 1412394"/>
                  <a:gd name="connsiteY119" fmla="*/ 1885950 h 2009775"/>
                  <a:gd name="connsiteX120" fmla="*/ 723900 w 1412394"/>
                  <a:gd name="connsiteY120" fmla="*/ 1870075 h 2009775"/>
                  <a:gd name="connsiteX121" fmla="*/ 730250 w 1412394"/>
                  <a:gd name="connsiteY121" fmla="*/ 1841500 h 2009775"/>
                  <a:gd name="connsiteX122" fmla="*/ 749300 w 1412394"/>
                  <a:gd name="connsiteY122" fmla="*/ 1803400 h 2009775"/>
                  <a:gd name="connsiteX123" fmla="*/ 758825 w 1412394"/>
                  <a:gd name="connsiteY123" fmla="*/ 1797050 h 2009775"/>
                  <a:gd name="connsiteX124" fmla="*/ 768350 w 1412394"/>
                  <a:gd name="connsiteY124" fmla="*/ 1793875 h 2009775"/>
                  <a:gd name="connsiteX125" fmla="*/ 863600 w 1412394"/>
                  <a:gd name="connsiteY125" fmla="*/ 1790700 h 2009775"/>
                  <a:gd name="connsiteX126" fmla="*/ 882650 w 1412394"/>
                  <a:gd name="connsiteY126" fmla="*/ 1781175 h 2009775"/>
                  <a:gd name="connsiteX127" fmla="*/ 885825 w 1412394"/>
                  <a:gd name="connsiteY127" fmla="*/ 1771650 h 2009775"/>
                  <a:gd name="connsiteX128" fmla="*/ 882650 w 1412394"/>
                  <a:gd name="connsiteY128" fmla="*/ 1755775 h 2009775"/>
                  <a:gd name="connsiteX129" fmla="*/ 869950 w 1412394"/>
                  <a:gd name="connsiteY129" fmla="*/ 1752600 h 2009775"/>
                  <a:gd name="connsiteX130" fmla="*/ 860425 w 1412394"/>
                  <a:gd name="connsiteY130" fmla="*/ 1743075 h 2009775"/>
                  <a:gd name="connsiteX131" fmla="*/ 850900 w 1412394"/>
                  <a:gd name="connsiteY131" fmla="*/ 1736725 h 2009775"/>
                  <a:gd name="connsiteX132" fmla="*/ 844550 w 1412394"/>
                  <a:gd name="connsiteY132" fmla="*/ 1727200 h 2009775"/>
                  <a:gd name="connsiteX133" fmla="*/ 835025 w 1412394"/>
                  <a:gd name="connsiteY133" fmla="*/ 1720850 h 2009775"/>
                  <a:gd name="connsiteX134" fmla="*/ 831850 w 1412394"/>
                  <a:gd name="connsiteY134" fmla="*/ 1711325 h 2009775"/>
                  <a:gd name="connsiteX135" fmla="*/ 822325 w 1412394"/>
                  <a:gd name="connsiteY135" fmla="*/ 1701800 h 2009775"/>
                  <a:gd name="connsiteX136" fmla="*/ 812800 w 1412394"/>
                  <a:gd name="connsiteY136" fmla="*/ 1682750 h 2009775"/>
                  <a:gd name="connsiteX137" fmla="*/ 809625 w 1412394"/>
                  <a:gd name="connsiteY137" fmla="*/ 1673225 h 2009775"/>
                  <a:gd name="connsiteX138" fmla="*/ 838200 w 1412394"/>
                  <a:gd name="connsiteY138" fmla="*/ 1654175 h 2009775"/>
                  <a:gd name="connsiteX139" fmla="*/ 847725 w 1412394"/>
                  <a:gd name="connsiteY139" fmla="*/ 1647825 h 2009775"/>
                  <a:gd name="connsiteX140" fmla="*/ 857250 w 1412394"/>
                  <a:gd name="connsiteY140" fmla="*/ 1641475 h 2009775"/>
                  <a:gd name="connsiteX141" fmla="*/ 863600 w 1412394"/>
                  <a:gd name="connsiteY141" fmla="*/ 1631950 h 2009775"/>
                  <a:gd name="connsiteX142" fmla="*/ 873125 w 1412394"/>
                  <a:gd name="connsiteY142" fmla="*/ 1625600 h 2009775"/>
                  <a:gd name="connsiteX143" fmla="*/ 876300 w 1412394"/>
                  <a:gd name="connsiteY143" fmla="*/ 1492250 h 2009775"/>
                  <a:gd name="connsiteX144" fmla="*/ 879475 w 1412394"/>
                  <a:gd name="connsiteY144" fmla="*/ 1470025 h 2009775"/>
                  <a:gd name="connsiteX145" fmla="*/ 882650 w 1412394"/>
                  <a:gd name="connsiteY145" fmla="*/ 1457325 h 2009775"/>
                  <a:gd name="connsiteX146" fmla="*/ 901700 w 1412394"/>
                  <a:gd name="connsiteY146" fmla="*/ 1444625 h 2009775"/>
                  <a:gd name="connsiteX147" fmla="*/ 917575 w 1412394"/>
                  <a:gd name="connsiteY147" fmla="*/ 1428750 h 2009775"/>
                  <a:gd name="connsiteX148" fmla="*/ 933450 w 1412394"/>
                  <a:gd name="connsiteY148" fmla="*/ 1412875 h 2009775"/>
                  <a:gd name="connsiteX149" fmla="*/ 933450 w 1412394"/>
                  <a:gd name="connsiteY149" fmla="*/ 1358900 h 2009775"/>
                  <a:gd name="connsiteX150" fmla="*/ 930275 w 1412394"/>
                  <a:gd name="connsiteY150" fmla="*/ 1349375 h 2009775"/>
                  <a:gd name="connsiteX151" fmla="*/ 920750 w 1412394"/>
                  <a:gd name="connsiteY151" fmla="*/ 1339850 h 2009775"/>
                  <a:gd name="connsiteX152" fmla="*/ 911225 w 1412394"/>
                  <a:gd name="connsiteY152" fmla="*/ 1327150 h 2009775"/>
                  <a:gd name="connsiteX153" fmla="*/ 908050 w 1412394"/>
                  <a:gd name="connsiteY153" fmla="*/ 1317625 h 2009775"/>
                  <a:gd name="connsiteX154" fmla="*/ 901700 w 1412394"/>
                  <a:gd name="connsiteY154" fmla="*/ 1304925 h 2009775"/>
                  <a:gd name="connsiteX155" fmla="*/ 908050 w 1412394"/>
                  <a:gd name="connsiteY155" fmla="*/ 1270000 h 2009775"/>
                  <a:gd name="connsiteX156" fmla="*/ 914400 w 1412394"/>
                  <a:gd name="connsiteY156" fmla="*/ 1260475 h 2009775"/>
                  <a:gd name="connsiteX157" fmla="*/ 923925 w 1412394"/>
                  <a:gd name="connsiteY157" fmla="*/ 1257300 h 2009775"/>
                  <a:gd name="connsiteX158" fmla="*/ 936625 w 1412394"/>
                  <a:gd name="connsiteY158" fmla="*/ 1244600 h 2009775"/>
                  <a:gd name="connsiteX159" fmla="*/ 955675 w 1412394"/>
                  <a:gd name="connsiteY159" fmla="*/ 1228725 h 2009775"/>
                  <a:gd name="connsiteX160" fmla="*/ 1000125 w 1412394"/>
                  <a:gd name="connsiteY160" fmla="*/ 1216025 h 2009775"/>
                  <a:gd name="connsiteX161" fmla="*/ 1009650 w 1412394"/>
                  <a:gd name="connsiteY161" fmla="*/ 1212850 h 2009775"/>
                  <a:gd name="connsiteX162" fmla="*/ 1028700 w 1412394"/>
                  <a:gd name="connsiteY162" fmla="*/ 1200150 h 2009775"/>
                  <a:gd name="connsiteX163" fmla="*/ 1047750 w 1412394"/>
                  <a:gd name="connsiteY163" fmla="*/ 1181100 h 2009775"/>
                  <a:gd name="connsiteX164" fmla="*/ 1066800 w 1412394"/>
                  <a:gd name="connsiteY164" fmla="*/ 1193800 h 2009775"/>
                  <a:gd name="connsiteX165" fmla="*/ 1076325 w 1412394"/>
                  <a:gd name="connsiteY165" fmla="*/ 1196975 h 2009775"/>
                  <a:gd name="connsiteX166" fmla="*/ 1085850 w 1412394"/>
                  <a:gd name="connsiteY166" fmla="*/ 1235075 h 2009775"/>
                  <a:gd name="connsiteX167" fmla="*/ 1089025 w 1412394"/>
                  <a:gd name="connsiteY167" fmla="*/ 1244600 h 2009775"/>
                  <a:gd name="connsiteX168" fmla="*/ 1104900 w 1412394"/>
                  <a:gd name="connsiteY168" fmla="*/ 1247775 h 2009775"/>
                  <a:gd name="connsiteX169" fmla="*/ 1123950 w 1412394"/>
                  <a:gd name="connsiteY169" fmla="*/ 1244600 h 2009775"/>
                  <a:gd name="connsiteX170" fmla="*/ 1136650 w 1412394"/>
                  <a:gd name="connsiteY170" fmla="*/ 1184275 h 2009775"/>
                  <a:gd name="connsiteX171" fmla="*/ 1146175 w 1412394"/>
                  <a:gd name="connsiteY171" fmla="*/ 1165225 h 2009775"/>
                  <a:gd name="connsiteX172" fmla="*/ 1158875 w 1412394"/>
                  <a:gd name="connsiteY172" fmla="*/ 1149350 h 2009775"/>
                  <a:gd name="connsiteX173" fmla="*/ 1171575 w 1412394"/>
                  <a:gd name="connsiteY173" fmla="*/ 1130300 h 2009775"/>
                  <a:gd name="connsiteX174" fmla="*/ 1177925 w 1412394"/>
                  <a:gd name="connsiteY174" fmla="*/ 1111250 h 2009775"/>
                  <a:gd name="connsiteX175" fmla="*/ 1187450 w 1412394"/>
                  <a:gd name="connsiteY175" fmla="*/ 1092200 h 2009775"/>
                  <a:gd name="connsiteX176" fmla="*/ 1193800 w 1412394"/>
                  <a:gd name="connsiteY176" fmla="*/ 1082675 h 2009775"/>
                  <a:gd name="connsiteX177" fmla="*/ 1196975 w 1412394"/>
                  <a:gd name="connsiteY177" fmla="*/ 1073150 h 2009775"/>
                  <a:gd name="connsiteX178" fmla="*/ 1203325 w 1412394"/>
                  <a:gd name="connsiteY178" fmla="*/ 1063625 h 2009775"/>
                  <a:gd name="connsiteX179" fmla="*/ 1209675 w 1412394"/>
                  <a:gd name="connsiteY179" fmla="*/ 1044575 h 2009775"/>
                  <a:gd name="connsiteX180" fmla="*/ 1212850 w 1412394"/>
                  <a:gd name="connsiteY180" fmla="*/ 1035050 h 2009775"/>
                  <a:gd name="connsiteX181" fmla="*/ 1216025 w 1412394"/>
                  <a:gd name="connsiteY181" fmla="*/ 1009650 h 2009775"/>
                  <a:gd name="connsiteX182" fmla="*/ 1244600 w 1412394"/>
                  <a:gd name="connsiteY182" fmla="*/ 1016000 h 2009775"/>
                  <a:gd name="connsiteX183" fmla="*/ 1254125 w 1412394"/>
                  <a:gd name="connsiteY183" fmla="*/ 1022350 h 2009775"/>
                  <a:gd name="connsiteX184" fmla="*/ 1270000 w 1412394"/>
                  <a:gd name="connsiteY184" fmla="*/ 1025525 h 2009775"/>
                  <a:gd name="connsiteX185" fmla="*/ 1298575 w 1412394"/>
                  <a:gd name="connsiteY185" fmla="*/ 1038225 h 2009775"/>
                  <a:gd name="connsiteX186" fmla="*/ 1317625 w 1412394"/>
                  <a:gd name="connsiteY186" fmla="*/ 1047750 h 2009775"/>
                  <a:gd name="connsiteX187" fmla="*/ 1323975 w 1412394"/>
                  <a:gd name="connsiteY187" fmla="*/ 1057275 h 2009775"/>
                  <a:gd name="connsiteX188" fmla="*/ 1352550 w 1412394"/>
                  <a:gd name="connsiteY188" fmla="*/ 1044575 h 2009775"/>
                  <a:gd name="connsiteX189" fmla="*/ 1365250 w 1412394"/>
                  <a:gd name="connsiteY189" fmla="*/ 1003300 h 2009775"/>
                  <a:gd name="connsiteX190" fmla="*/ 1374775 w 1412394"/>
                  <a:gd name="connsiteY190" fmla="*/ 1000125 h 2009775"/>
                  <a:gd name="connsiteX191" fmla="*/ 1387475 w 1412394"/>
                  <a:gd name="connsiteY191" fmla="*/ 981075 h 2009775"/>
                  <a:gd name="connsiteX192" fmla="*/ 1384300 w 1412394"/>
                  <a:gd name="connsiteY192" fmla="*/ 971550 h 2009775"/>
                  <a:gd name="connsiteX193" fmla="*/ 1381125 w 1412394"/>
                  <a:gd name="connsiteY193" fmla="*/ 958850 h 2009775"/>
                  <a:gd name="connsiteX194" fmla="*/ 1362075 w 1412394"/>
                  <a:gd name="connsiteY194" fmla="*/ 946150 h 2009775"/>
                  <a:gd name="connsiteX195" fmla="*/ 1352550 w 1412394"/>
                  <a:gd name="connsiteY195" fmla="*/ 939800 h 2009775"/>
                  <a:gd name="connsiteX196" fmla="*/ 1343025 w 1412394"/>
                  <a:gd name="connsiteY196" fmla="*/ 933450 h 2009775"/>
                  <a:gd name="connsiteX197" fmla="*/ 1333500 w 1412394"/>
                  <a:gd name="connsiteY197" fmla="*/ 927100 h 2009775"/>
                  <a:gd name="connsiteX198" fmla="*/ 1330325 w 1412394"/>
                  <a:gd name="connsiteY198" fmla="*/ 917575 h 2009775"/>
                  <a:gd name="connsiteX199" fmla="*/ 1352550 w 1412394"/>
                  <a:gd name="connsiteY199" fmla="*/ 895350 h 2009775"/>
                  <a:gd name="connsiteX200" fmla="*/ 1368425 w 1412394"/>
                  <a:gd name="connsiteY200" fmla="*/ 876300 h 2009775"/>
                  <a:gd name="connsiteX201" fmla="*/ 1371600 w 1412394"/>
                  <a:gd name="connsiteY201" fmla="*/ 866775 h 2009775"/>
                  <a:gd name="connsiteX202" fmla="*/ 1355725 w 1412394"/>
                  <a:gd name="connsiteY202" fmla="*/ 850900 h 2009775"/>
                  <a:gd name="connsiteX203" fmla="*/ 1336675 w 1412394"/>
                  <a:gd name="connsiteY203" fmla="*/ 838200 h 2009775"/>
                  <a:gd name="connsiteX204" fmla="*/ 1298575 w 1412394"/>
                  <a:gd name="connsiteY204" fmla="*/ 835025 h 2009775"/>
                  <a:gd name="connsiteX205" fmla="*/ 1285875 w 1412394"/>
                  <a:gd name="connsiteY205" fmla="*/ 822325 h 2009775"/>
                  <a:gd name="connsiteX206" fmla="*/ 1289050 w 1412394"/>
                  <a:gd name="connsiteY206" fmla="*/ 692150 h 2009775"/>
                  <a:gd name="connsiteX207" fmla="*/ 1308100 w 1412394"/>
                  <a:gd name="connsiteY207" fmla="*/ 679450 h 2009775"/>
                  <a:gd name="connsiteX208" fmla="*/ 1314450 w 1412394"/>
                  <a:gd name="connsiteY208" fmla="*/ 669925 h 2009775"/>
                  <a:gd name="connsiteX209" fmla="*/ 1333500 w 1412394"/>
                  <a:gd name="connsiteY209" fmla="*/ 657225 h 2009775"/>
                  <a:gd name="connsiteX210" fmla="*/ 1343025 w 1412394"/>
                  <a:gd name="connsiteY210" fmla="*/ 647700 h 2009775"/>
                  <a:gd name="connsiteX211" fmla="*/ 1346200 w 1412394"/>
                  <a:gd name="connsiteY211" fmla="*/ 638175 h 2009775"/>
                  <a:gd name="connsiteX212" fmla="*/ 1346200 w 1412394"/>
                  <a:gd name="connsiteY212" fmla="*/ 498475 h 2009775"/>
                  <a:gd name="connsiteX213" fmla="*/ 1333500 w 1412394"/>
                  <a:gd name="connsiteY213" fmla="*/ 479425 h 2009775"/>
                  <a:gd name="connsiteX214" fmla="*/ 1327150 w 1412394"/>
                  <a:gd name="connsiteY214" fmla="*/ 460375 h 2009775"/>
                  <a:gd name="connsiteX215" fmla="*/ 1330325 w 1412394"/>
                  <a:gd name="connsiteY215" fmla="*/ 384175 h 2009775"/>
                  <a:gd name="connsiteX216" fmla="*/ 1343025 w 1412394"/>
                  <a:gd name="connsiteY216" fmla="*/ 365125 h 2009775"/>
                  <a:gd name="connsiteX217" fmla="*/ 1349375 w 1412394"/>
                  <a:gd name="connsiteY217" fmla="*/ 355600 h 2009775"/>
                  <a:gd name="connsiteX218" fmla="*/ 1368425 w 1412394"/>
                  <a:gd name="connsiteY218" fmla="*/ 342900 h 2009775"/>
                  <a:gd name="connsiteX219" fmla="*/ 1390650 w 1412394"/>
                  <a:gd name="connsiteY219" fmla="*/ 333375 h 2009775"/>
                  <a:gd name="connsiteX220" fmla="*/ 1397000 w 1412394"/>
                  <a:gd name="connsiteY220" fmla="*/ 323850 h 2009775"/>
                  <a:gd name="connsiteX221" fmla="*/ 1409700 w 1412394"/>
                  <a:gd name="connsiteY221" fmla="*/ 311150 h 2009775"/>
                  <a:gd name="connsiteX222" fmla="*/ 1406525 w 1412394"/>
                  <a:gd name="connsiteY222" fmla="*/ 301625 h 2009775"/>
                  <a:gd name="connsiteX223" fmla="*/ 1323975 w 1412394"/>
                  <a:gd name="connsiteY223" fmla="*/ 298450 h 2009775"/>
                  <a:gd name="connsiteX224" fmla="*/ 1314450 w 1412394"/>
                  <a:gd name="connsiteY224" fmla="*/ 292100 h 2009775"/>
                  <a:gd name="connsiteX225" fmla="*/ 1304925 w 1412394"/>
                  <a:gd name="connsiteY225" fmla="*/ 288925 h 2009775"/>
                  <a:gd name="connsiteX226" fmla="*/ 1273175 w 1412394"/>
                  <a:gd name="connsiteY226" fmla="*/ 285750 h 2009775"/>
                  <a:gd name="connsiteX227" fmla="*/ 1263650 w 1412394"/>
                  <a:gd name="connsiteY227" fmla="*/ 282575 h 2009775"/>
                  <a:gd name="connsiteX228" fmla="*/ 1244600 w 1412394"/>
                  <a:gd name="connsiteY228" fmla="*/ 273050 h 2009775"/>
                  <a:gd name="connsiteX229" fmla="*/ 1247775 w 1412394"/>
                  <a:gd name="connsiteY229" fmla="*/ 247650 h 2009775"/>
                  <a:gd name="connsiteX230" fmla="*/ 1250950 w 1412394"/>
                  <a:gd name="connsiteY230" fmla="*/ 234950 h 2009775"/>
                  <a:gd name="connsiteX231" fmla="*/ 1260475 w 1412394"/>
                  <a:gd name="connsiteY231" fmla="*/ 228600 h 2009775"/>
                  <a:gd name="connsiteX232" fmla="*/ 1270000 w 1412394"/>
                  <a:gd name="connsiteY232" fmla="*/ 219075 h 2009775"/>
                  <a:gd name="connsiteX233" fmla="*/ 1276350 w 1412394"/>
                  <a:gd name="connsiteY233" fmla="*/ 209550 h 2009775"/>
                  <a:gd name="connsiteX234" fmla="*/ 1282700 w 1412394"/>
                  <a:gd name="connsiteY234" fmla="*/ 187325 h 2009775"/>
                  <a:gd name="connsiteX235" fmla="*/ 1279525 w 1412394"/>
                  <a:gd name="connsiteY235" fmla="*/ 142875 h 2009775"/>
                  <a:gd name="connsiteX236" fmla="*/ 1270000 w 1412394"/>
                  <a:gd name="connsiteY236" fmla="*/ 130175 h 2009775"/>
                  <a:gd name="connsiteX237" fmla="*/ 1238250 w 1412394"/>
                  <a:gd name="connsiteY237" fmla="*/ 92075 h 2009775"/>
                  <a:gd name="connsiteX238" fmla="*/ 1231900 w 1412394"/>
                  <a:gd name="connsiteY238" fmla="*/ 82550 h 2009775"/>
                  <a:gd name="connsiteX239" fmla="*/ 1225550 w 1412394"/>
                  <a:gd name="connsiteY239" fmla="*/ 63500 h 2009775"/>
                  <a:gd name="connsiteX240" fmla="*/ 1219200 w 1412394"/>
                  <a:gd name="connsiteY240" fmla="*/ 38100 h 2009775"/>
                  <a:gd name="connsiteX241" fmla="*/ 1206500 w 1412394"/>
                  <a:gd name="connsiteY241" fmla="*/ 19050 h 2009775"/>
                  <a:gd name="connsiteX242" fmla="*/ 1187450 w 1412394"/>
                  <a:gd name="connsiteY242" fmla="*/ 0 h 2009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Lst>
                <a:rect l="l" t="t" r="r" b="b"/>
                <a:pathLst>
                  <a:path w="1412394" h="2009775">
                    <a:moveTo>
                      <a:pt x="0" y="114300"/>
                    </a:moveTo>
                    <a:cubicBezTo>
                      <a:pt x="2117" y="131233"/>
                      <a:pt x="3003" y="148366"/>
                      <a:pt x="6350" y="165100"/>
                    </a:cubicBezTo>
                    <a:cubicBezTo>
                      <a:pt x="7408" y="170392"/>
                      <a:pt x="8105" y="175769"/>
                      <a:pt x="9525" y="180975"/>
                    </a:cubicBezTo>
                    <a:cubicBezTo>
                      <a:pt x="11286" y="187433"/>
                      <a:pt x="15875" y="200025"/>
                      <a:pt x="15875" y="200025"/>
                    </a:cubicBezTo>
                    <a:cubicBezTo>
                      <a:pt x="17533" y="216603"/>
                      <a:pt x="13831" y="229731"/>
                      <a:pt x="25400" y="241300"/>
                    </a:cubicBezTo>
                    <a:cubicBezTo>
                      <a:pt x="28098" y="243998"/>
                      <a:pt x="31750" y="245533"/>
                      <a:pt x="34925" y="247650"/>
                    </a:cubicBezTo>
                    <a:cubicBezTo>
                      <a:pt x="39158" y="254000"/>
                      <a:pt x="45212" y="259460"/>
                      <a:pt x="47625" y="266700"/>
                    </a:cubicBezTo>
                    <a:cubicBezTo>
                      <a:pt x="53213" y="283465"/>
                      <a:pt x="48944" y="273440"/>
                      <a:pt x="63500" y="295275"/>
                    </a:cubicBezTo>
                    <a:cubicBezTo>
                      <a:pt x="65617" y="298450"/>
                      <a:pt x="67152" y="302102"/>
                      <a:pt x="69850" y="304800"/>
                    </a:cubicBezTo>
                    <a:cubicBezTo>
                      <a:pt x="76200" y="311150"/>
                      <a:pt x="83919" y="316378"/>
                      <a:pt x="88900" y="323850"/>
                    </a:cubicBezTo>
                    <a:cubicBezTo>
                      <a:pt x="91017" y="327025"/>
                      <a:pt x="92552" y="330677"/>
                      <a:pt x="95250" y="333375"/>
                    </a:cubicBezTo>
                    <a:cubicBezTo>
                      <a:pt x="103752" y="341877"/>
                      <a:pt x="116134" y="342970"/>
                      <a:pt x="127000" y="346075"/>
                    </a:cubicBezTo>
                    <a:cubicBezTo>
                      <a:pt x="138502" y="349361"/>
                      <a:pt x="135614" y="348643"/>
                      <a:pt x="146050" y="355600"/>
                    </a:cubicBezTo>
                    <a:cubicBezTo>
                      <a:pt x="154347" y="380492"/>
                      <a:pt x="154604" y="377365"/>
                      <a:pt x="146050" y="422275"/>
                    </a:cubicBezTo>
                    <a:cubicBezTo>
                      <a:pt x="145210" y="426686"/>
                      <a:pt x="139282" y="428256"/>
                      <a:pt x="136525" y="431800"/>
                    </a:cubicBezTo>
                    <a:cubicBezTo>
                      <a:pt x="131840" y="437824"/>
                      <a:pt x="126238" y="443610"/>
                      <a:pt x="123825" y="450850"/>
                    </a:cubicBezTo>
                    <a:cubicBezTo>
                      <a:pt x="119443" y="463995"/>
                      <a:pt x="123435" y="458519"/>
                      <a:pt x="111125" y="466725"/>
                    </a:cubicBezTo>
                    <a:cubicBezTo>
                      <a:pt x="79498" y="514165"/>
                      <a:pt x="101761" y="473512"/>
                      <a:pt x="95250" y="584200"/>
                    </a:cubicBezTo>
                    <a:cubicBezTo>
                      <a:pt x="95053" y="587541"/>
                      <a:pt x="94130" y="591083"/>
                      <a:pt x="92075" y="593725"/>
                    </a:cubicBezTo>
                    <a:cubicBezTo>
                      <a:pt x="86562" y="600814"/>
                      <a:pt x="73025" y="612775"/>
                      <a:pt x="73025" y="612775"/>
                    </a:cubicBezTo>
                    <a:lnTo>
                      <a:pt x="63500" y="641350"/>
                    </a:lnTo>
                    <a:lnTo>
                      <a:pt x="60325" y="650875"/>
                    </a:lnTo>
                    <a:cubicBezTo>
                      <a:pt x="61383" y="679450"/>
                      <a:pt x="61659" y="708065"/>
                      <a:pt x="63500" y="736600"/>
                    </a:cubicBezTo>
                    <a:cubicBezTo>
                      <a:pt x="63781" y="740955"/>
                      <a:pt x="64510" y="745511"/>
                      <a:pt x="66675" y="749300"/>
                    </a:cubicBezTo>
                    <a:cubicBezTo>
                      <a:pt x="70825" y="756563"/>
                      <a:pt x="77710" y="760855"/>
                      <a:pt x="85725" y="762000"/>
                    </a:cubicBezTo>
                    <a:cubicBezTo>
                      <a:pt x="97297" y="763653"/>
                      <a:pt x="109008" y="764117"/>
                      <a:pt x="120650" y="765175"/>
                    </a:cubicBezTo>
                    <a:cubicBezTo>
                      <a:pt x="119592" y="774700"/>
                      <a:pt x="119799" y="784453"/>
                      <a:pt x="117475" y="793750"/>
                    </a:cubicBezTo>
                    <a:cubicBezTo>
                      <a:pt x="115661" y="801007"/>
                      <a:pt x="107648" y="806601"/>
                      <a:pt x="101600" y="809625"/>
                    </a:cubicBezTo>
                    <a:cubicBezTo>
                      <a:pt x="98607" y="811122"/>
                      <a:pt x="95001" y="811175"/>
                      <a:pt x="92075" y="812800"/>
                    </a:cubicBezTo>
                    <a:cubicBezTo>
                      <a:pt x="59323" y="830996"/>
                      <a:pt x="85053" y="821491"/>
                      <a:pt x="63500" y="828675"/>
                    </a:cubicBezTo>
                    <a:cubicBezTo>
                      <a:pt x="60325" y="831850"/>
                      <a:pt x="57874" y="835972"/>
                      <a:pt x="53975" y="838200"/>
                    </a:cubicBezTo>
                    <a:cubicBezTo>
                      <a:pt x="48985" y="841051"/>
                      <a:pt x="19921" y="844426"/>
                      <a:pt x="19050" y="844550"/>
                    </a:cubicBezTo>
                    <a:cubicBezTo>
                      <a:pt x="15875" y="845608"/>
                      <a:pt x="11892" y="845358"/>
                      <a:pt x="9525" y="847725"/>
                    </a:cubicBezTo>
                    <a:cubicBezTo>
                      <a:pt x="3175" y="854075"/>
                      <a:pt x="7408" y="860425"/>
                      <a:pt x="9525" y="866775"/>
                    </a:cubicBezTo>
                    <a:cubicBezTo>
                      <a:pt x="10583" y="877358"/>
                      <a:pt x="10308" y="888161"/>
                      <a:pt x="12700" y="898525"/>
                    </a:cubicBezTo>
                    <a:cubicBezTo>
                      <a:pt x="13558" y="902243"/>
                      <a:pt x="17343" y="904637"/>
                      <a:pt x="19050" y="908050"/>
                    </a:cubicBezTo>
                    <a:cubicBezTo>
                      <a:pt x="20547" y="911043"/>
                      <a:pt x="21167" y="914400"/>
                      <a:pt x="22225" y="917575"/>
                    </a:cubicBezTo>
                    <a:cubicBezTo>
                      <a:pt x="23283" y="930275"/>
                      <a:pt x="23911" y="943018"/>
                      <a:pt x="25400" y="955675"/>
                    </a:cubicBezTo>
                    <a:cubicBezTo>
                      <a:pt x="26031" y="961034"/>
                      <a:pt x="25898" y="966865"/>
                      <a:pt x="28575" y="971550"/>
                    </a:cubicBezTo>
                    <a:cubicBezTo>
                      <a:pt x="30468" y="974863"/>
                      <a:pt x="34925" y="975783"/>
                      <a:pt x="38100" y="977900"/>
                    </a:cubicBezTo>
                    <a:cubicBezTo>
                      <a:pt x="43392" y="976842"/>
                      <a:pt x="48769" y="976145"/>
                      <a:pt x="53975" y="974725"/>
                    </a:cubicBezTo>
                    <a:cubicBezTo>
                      <a:pt x="60433" y="972964"/>
                      <a:pt x="73025" y="968375"/>
                      <a:pt x="73025" y="968375"/>
                    </a:cubicBezTo>
                    <a:cubicBezTo>
                      <a:pt x="81492" y="969433"/>
                      <a:pt x="90009" y="970147"/>
                      <a:pt x="98425" y="971550"/>
                    </a:cubicBezTo>
                    <a:cubicBezTo>
                      <a:pt x="102729" y="972267"/>
                      <a:pt x="106795" y="974184"/>
                      <a:pt x="111125" y="974725"/>
                    </a:cubicBezTo>
                    <a:cubicBezTo>
                      <a:pt x="123771" y="976306"/>
                      <a:pt x="136525" y="976842"/>
                      <a:pt x="149225" y="977900"/>
                    </a:cubicBezTo>
                    <a:cubicBezTo>
                      <a:pt x="155575" y="980017"/>
                      <a:pt x="164562" y="978681"/>
                      <a:pt x="168275" y="984250"/>
                    </a:cubicBezTo>
                    <a:cubicBezTo>
                      <a:pt x="176742" y="996950"/>
                      <a:pt x="171450" y="991658"/>
                      <a:pt x="184150" y="1000125"/>
                    </a:cubicBezTo>
                    <a:cubicBezTo>
                      <a:pt x="186267" y="1003300"/>
                      <a:pt x="188793" y="1006237"/>
                      <a:pt x="190500" y="1009650"/>
                    </a:cubicBezTo>
                    <a:cubicBezTo>
                      <a:pt x="194973" y="1018596"/>
                      <a:pt x="194362" y="1034221"/>
                      <a:pt x="206375" y="1038225"/>
                    </a:cubicBezTo>
                    <a:lnTo>
                      <a:pt x="215900" y="1041400"/>
                    </a:lnTo>
                    <a:cubicBezTo>
                      <a:pt x="220133" y="1044575"/>
                      <a:pt x="224582" y="1047481"/>
                      <a:pt x="228600" y="1050925"/>
                    </a:cubicBezTo>
                    <a:cubicBezTo>
                      <a:pt x="232009" y="1053847"/>
                      <a:pt x="234581" y="1057693"/>
                      <a:pt x="238125" y="1060450"/>
                    </a:cubicBezTo>
                    <a:cubicBezTo>
                      <a:pt x="244149" y="1065135"/>
                      <a:pt x="250825" y="1068917"/>
                      <a:pt x="257175" y="1073150"/>
                    </a:cubicBezTo>
                    <a:lnTo>
                      <a:pt x="266700" y="1079500"/>
                    </a:lnTo>
                    <a:cubicBezTo>
                      <a:pt x="268817" y="1082675"/>
                      <a:pt x="273050" y="1085209"/>
                      <a:pt x="273050" y="1089025"/>
                    </a:cubicBezTo>
                    <a:cubicBezTo>
                      <a:pt x="273050" y="1095718"/>
                      <a:pt x="266700" y="1108075"/>
                      <a:pt x="266700" y="1108075"/>
                    </a:cubicBezTo>
                    <a:cubicBezTo>
                      <a:pt x="265642" y="1122892"/>
                      <a:pt x="266927" y="1138065"/>
                      <a:pt x="263525" y="1152525"/>
                    </a:cubicBezTo>
                    <a:cubicBezTo>
                      <a:pt x="262497" y="1156896"/>
                      <a:pt x="256757" y="1158506"/>
                      <a:pt x="254000" y="1162050"/>
                    </a:cubicBezTo>
                    <a:cubicBezTo>
                      <a:pt x="241263" y="1178426"/>
                      <a:pt x="242915" y="1176254"/>
                      <a:pt x="238125" y="1190625"/>
                    </a:cubicBezTo>
                    <a:cubicBezTo>
                      <a:pt x="239183" y="1199092"/>
                      <a:pt x="239231" y="1207747"/>
                      <a:pt x="241300" y="1216025"/>
                    </a:cubicBezTo>
                    <a:cubicBezTo>
                      <a:pt x="242911" y="1222470"/>
                      <a:pt x="250221" y="1232581"/>
                      <a:pt x="254000" y="1238250"/>
                    </a:cubicBezTo>
                    <a:cubicBezTo>
                      <a:pt x="258233" y="1237192"/>
                      <a:pt x="262689" y="1236794"/>
                      <a:pt x="266700" y="1235075"/>
                    </a:cubicBezTo>
                    <a:cubicBezTo>
                      <a:pt x="270207" y="1233572"/>
                      <a:pt x="272425" y="1229070"/>
                      <a:pt x="276225" y="1228725"/>
                    </a:cubicBezTo>
                    <a:cubicBezTo>
                      <a:pt x="284723" y="1227952"/>
                      <a:pt x="293158" y="1230842"/>
                      <a:pt x="301625" y="1231900"/>
                    </a:cubicBezTo>
                    <a:cubicBezTo>
                      <a:pt x="304800" y="1232958"/>
                      <a:pt x="308537" y="1232984"/>
                      <a:pt x="311150" y="1235075"/>
                    </a:cubicBezTo>
                    <a:cubicBezTo>
                      <a:pt x="323307" y="1244801"/>
                      <a:pt x="318138" y="1264911"/>
                      <a:pt x="314325" y="1276350"/>
                    </a:cubicBezTo>
                    <a:cubicBezTo>
                      <a:pt x="313118" y="1279970"/>
                      <a:pt x="307975" y="1280583"/>
                      <a:pt x="304800" y="1282700"/>
                    </a:cubicBezTo>
                    <a:lnTo>
                      <a:pt x="292100" y="1301750"/>
                    </a:lnTo>
                    <a:cubicBezTo>
                      <a:pt x="289983" y="1304925"/>
                      <a:pt x="286957" y="1307655"/>
                      <a:pt x="285750" y="1311275"/>
                    </a:cubicBezTo>
                    <a:lnTo>
                      <a:pt x="282575" y="1320800"/>
                    </a:lnTo>
                    <a:cubicBezTo>
                      <a:pt x="281517" y="1335617"/>
                      <a:pt x="283003" y="1350839"/>
                      <a:pt x="279400" y="1365250"/>
                    </a:cubicBezTo>
                    <a:cubicBezTo>
                      <a:pt x="274593" y="1384476"/>
                      <a:pt x="267003" y="1383220"/>
                      <a:pt x="254000" y="1390650"/>
                    </a:cubicBezTo>
                    <a:cubicBezTo>
                      <a:pt x="250687" y="1392543"/>
                      <a:pt x="247650" y="1394883"/>
                      <a:pt x="244475" y="1397000"/>
                    </a:cubicBezTo>
                    <a:cubicBezTo>
                      <a:pt x="247650" y="1399117"/>
                      <a:pt x="250282" y="1402492"/>
                      <a:pt x="254000" y="1403350"/>
                    </a:cubicBezTo>
                    <a:cubicBezTo>
                      <a:pt x="264364" y="1405742"/>
                      <a:pt x="275238" y="1404908"/>
                      <a:pt x="285750" y="1406525"/>
                    </a:cubicBezTo>
                    <a:cubicBezTo>
                      <a:pt x="289058" y="1407034"/>
                      <a:pt x="292100" y="1408642"/>
                      <a:pt x="295275" y="1409700"/>
                    </a:cubicBezTo>
                    <a:cubicBezTo>
                      <a:pt x="302365" y="1430969"/>
                      <a:pt x="295549" y="1408303"/>
                      <a:pt x="301625" y="1447800"/>
                    </a:cubicBezTo>
                    <a:cubicBezTo>
                      <a:pt x="302289" y="1452113"/>
                      <a:pt x="303742" y="1456267"/>
                      <a:pt x="304800" y="1460500"/>
                    </a:cubicBezTo>
                    <a:cubicBezTo>
                      <a:pt x="305858" y="1470025"/>
                      <a:pt x="306399" y="1479622"/>
                      <a:pt x="307975" y="1489075"/>
                    </a:cubicBezTo>
                    <a:cubicBezTo>
                      <a:pt x="308525" y="1492376"/>
                      <a:pt x="311150" y="1495253"/>
                      <a:pt x="311150" y="1498600"/>
                    </a:cubicBezTo>
                    <a:cubicBezTo>
                      <a:pt x="311150" y="1512721"/>
                      <a:pt x="311859" y="1526466"/>
                      <a:pt x="301625" y="1536700"/>
                    </a:cubicBezTo>
                    <a:cubicBezTo>
                      <a:pt x="298927" y="1539398"/>
                      <a:pt x="295275" y="1540933"/>
                      <a:pt x="292100" y="1543050"/>
                    </a:cubicBezTo>
                    <a:cubicBezTo>
                      <a:pt x="291042" y="1546225"/>
                      <a:pt x="288925" y="1549228"/>
                      <a:pt x="288925" y="1552575"/>
                    </a:cubicBezTo>
                    <a:cubicBezTo>
                      <a:pt x="288925" y="1568022"/>
                      <a:pt x="292993" y="1569641"/>
                      <a:pt x="301625" y="1581150"/>
                    </a:cubicBezTo>
                    <a:cubicBezTo>
                      <a:pt x="302683" y="1584325"/>
                      <a:pt x="303175" y="1587749"/>
                      <a:pt x="304800" y="1590675"/>
                    </a:cubicBezTo>
                    <a:cubicBezTo>
                      <a:pt x="326948" y="1630541"/>
                      <a:pt x="325559" y="1610397"/>
                      <a:pt x="393700" y="1616075"/>
                    </a:cubicBezTo>
                    <a:cubicBezTo>
                      <a:pt x="396875" y="1618192"/>
                      <a:pt x="400527" y="1619727"/>
                      <a:pt x="403225" y="1622425"/>
                    </a:cubicBezTo>
                    <a:cubicBezTo>
                      <a:pt x="405923" y="1625123"/>
                      <a:pt x="406703" y="1629437"/>
                      <a:pt x="409575" y="1631950"/>
                    </a:cubicBezTo>
                    <a:cubicBezTo>
                      <a:pt x="423012" y="1643707"/>
                      <a:pt x="425068" y="1643464"/>
                      <a:pt x="438150" y="1647825"/>
                    </a:cubicBezTo>
                    <a:cubicBezTo>
                      <a:pt x="441325" y="1652058"/>
                      <a:pt x="443933" y="1656783"/>
                      <a:pt x="447675" y="1660525"/>
                    </a:cubicBezTo>
                    <a:cubicBezTo>
                      <a:pt x="462036" y="1674886"/>
                      <a:pt x="454194" y="1657857"/>
                      <a:pt x="460375" y="1676400"/>
                    </a:cubicBezTo>
                    <a:cubicBezTo>
                      <a:pt x="462799" y="1707915"/>
                      <a:pt x="460547" y="1708750"/>
                      <a:pt x="466725" y="1730375"/>
                    </a:cubicBezTo>
                    <a:cubicBezTo>
                      <a:pt x="468791" y="1737605"/>
                      <a:pt x="470684" y="1743859"/>
                      <a:pt x="476250" y="1749425"/>
                    </a:cubicBezTo>
                    <a:cubicBezTo>
                      <a:pt x="482405" y="1755580"/>
                      <a:pt x="487553" y="1756368"/>
                      <a:pt x="495300" y="1758950"/>
                    </a:cubicBezTo>
                    <a:cubicBezTo>
                      <a:pt x="497417" y="1762125"/>
                      <a:pt x="499943" y="1765062"/>
                      <a:pt x="501650" y="1768475"/>
                    </a:cubicBezTo>
                    <a:cubicBezTo>
                      <a:pt x="512274" y="1789724"/>
                      <a:pt x="502237" y="1837049"/>
                      <a:pt x="501650" y="1844675"/>
                    </a:cubicBezTo>
                    <a:cubicBezTo>
                      <a:pt x="500752" y="1856343"/>
                      <a:pt x="495728" y="1868790"/>
                      <a:pt x="492125" y="1879600"/>
                    </a:cubicBezTo>
                    <a:cubicBezTo>
                      <a:pt x="491067" y="1882775"/>
                      <a:pt x="490806" y="1886340"/>
                      <a:pt x="488950" y="1889125"/>
                    </a:cubicBezTo>
                    <a:lnTo>
                      <a:pt x="476250" y="1908175"/>
                    </a:lnTo>
                    <a:cubicBezTo>
                      <a:pt x="474133" y="1911350"/>
                      <a:pt x="473075" y="1915583"/>
                      <a:pt x="469900" y="1917700"/>
                    </a:cubicBezTo>
                    <a:cubicBezTo>
                      <a:pt x="466725" y="1919817"/>
                      <a:pt x="463227" y="1921515"/>
                      <a:pt x="460375" y="1924050"/>
                    </a:cubicBezTo>
                    <a:cubicBezTo>
                      <a:pt x="453663" y="1930016"/>
                      <a:pt x="446306" y="1935628"/>
                      <a:pt x="441325" y="1943100"/>
                    </a:cubicBezTo>
                    <a:cubicBezTo>
                      <a:pt x="439208" y="1946275"/>
                      <a:pt x="437673" y="1949927"/>
                      <a:pt x="434975" y="1952625"/>
                    </a:cubicBezTo>
                    <a:cubicBezTo>
                      <a:pt x="432277" y="1955323"/>
                      <a:pt x="428625" y="1956858"/>
                      <a:pt x="425450" y="1958975"/>
                    </a:cubicBezTo>
                    <a:cubicBezTo>
                      <a:pt x="423333" y="1965325"/>
                      <a:pt x="414337" y="1979612"/>
                      <a:pt x="422275" y="1987550"/>
                    </a:cubicBezTo>
                    <a:cubicBezTo>
                      <a:pt x="423790" y="1989065"/>
                      <a:pt x="444394" y="1993876"/>
                      <a:pt x="444500" y="1993900"/>
                    </a:cubicBezTo>
                    <a:cubicBezTo>
                      <a:pt x="449768" y="1995071"/>
                      <a:pt x="455169" y="1995655"/>
                      <a:pt x="460375" y="1997075"/>
                    </a:cubicBezTo>
                    <a:cubicBezTo>
                      <a:pt x="466833" y="1998836"/>
                      <a:pt x="472799" y="2002478"/>
                      <a:pt x="479425" y="2003425"/>
                    </a:cubicBezTo>
                    <a:cubicBezTo>
                      <a:pt x="505970" y="2007217"/>
                      <a:pt x="494390" y="2004785"/>
                      <a:pt x="514350" y="2009775"/>
                    </a:cubicBezTo>
                    <a:cubicBezTo>
                      <a:pt x="549275" y="2008717"/>
                      <a:pt x="584235" y="2008486"/>
                      <a:pt x="619125" y="2006600"/>
                    </a:cubicBezTo>
                    <a:cubicBezTo>
                      <a:pt x="623482" y="2006364"/>
                      <a:pt x="628036" y="2005590"/>
                      <a:pt x="631825" y="2003425"/>
                    </a:cubicBezTo>
                    <a:cubicBezTo>
                      <a:pt x="635724" y="2001197"/>
                      <a:pt x="637901" y="1996775"/>
                      <a:pt x="641350" y="1993900"/>
                    </a:cubicBezTo>
                    <a:cubicBezTo>
                      <a:pt x="644281" y="1991457"/>
                      <a:pt x="647700" y="1989667"/>
                      <a:pt x="650875" y="1987550"/>
                    </a:cubicBezTo>
                    <a:cubicBezTo>
                      <a:pt x="655108" y="1981200"/>
                      <a:pt x="661162" y="1975740"/>
                      <a:pt x="663575" y="1968500"/>
                    </a:cubicBezTo>
                    <a:lnTo>
                      <a:pt x="673100" y="1939925"/>
                    </a:lnTo>
                    <a:cubicBezTo>
                      <a:pt x="674158" y="1936750"/>
                      <a:pt x="674419" y="1933185"/>
                      <a:pt x="676275" y="1930400"/>
                    </a:cubicBezTo>
                    <a:cubicBezTo>
                      <a:pt x="678392" y="1927225"/>
                      <a:pt x="680918" y="1924288"/>
                      <a:pt x="682625" y="1920875"/>
                    </a:cubicBezTo>
                    <a:cubicBezTo>
                      <a:pt x="687790" y="1910546"/>
                      <a:pt x="683051" y="1910924"/>
                      <a:pt x="692150" y="1901825"/>
                    </a:cubicBezTo>
                    <a:cubicBezTo>
                      <a:pt x="694848" y="1899127"/>
                      <a:pt x="698500" y="1897592"/>
                      <a:pt x="701675" y="1895475"/>
                    </a:cubicBezTo>
                    <a:cubicBezTo>
                      <a:pt x="703792" y="1892300"/>
                      <a:pt x="705327" y="1888648"/>
                      <a:pt x="708025" y="1885950"/>
                    </a:cubicBezTo>
                    <a:cubicBezTo>
                      <a:pt x="720725" y="1873250"/>
                      <a:pt x="715433" y="1887008"/>
                      <a:pt x="723900" y="1870075"/>
                    </a:cubicBezTo>
                    <a:cubicBezTo>
                      <a:pt x="728442" y="1860991"/>
                      <a:pt x="727811" y="1851255"/>
                      <a:pt x="730250" y="1841500"/>
                    </a:cubicBezTo>
                    <a:cubicBezTo>
                      <a:pt x="732786" y="1831358"/>
                      <a:pt x="739988" y="1809608"/>
                      <a:pt x="749300" y="1803400"/>
                    </a:cubicBezTo>
                    <a:cubicBezTo>
                      <a:pt x="752475" y="1801283"/>
                      <a:pt x="755412" y="1798757"/>
                      <a:pt x="758825" y="1797050"/>
                    </a:cubicBezTo>
                    <a:cubicBezTo>
                      <a:pt x="761818" y="1795553"/>
                      <a:pt x="765009" y="1794077"/>
                      <a:pt x="768350" y="1793875"/>
                    </a:cubicBezTo>
                    <a:cubicBezTo>
                      <a:pt x="800059" y="1791953"/>
                      <a:pt x="831850" y="1791758"/>
                      <a:pt x="863600" y="1790700"/>
                    </a:cubicBezTo>
                    <a:cubicBezTo>
                      <a:pt x="869875" y="1788608"/>
                      <a:pt x="878174" y="1786770"/>
                      <a:pt x="882650" y="1781175"/>
                    </a:cubicBezTo>
                    <a:cubicBezTo>
                      <a:pt x="884741" y="1778562"/>
                      <a:pt x="884767" y="1774825"/>
                      <a:pt x="885825" y="1771650"/>
                    </a:cubicBezTo>
                    <a:cubicBezTo>
                      <a:pt x="884767" y="1766358"/>
                      <a:pt x="886105" y="1759921"/>
                      <a:pt x="882650" y="1755775"/>
                    </a:cubicBezTo>
                    <a:cubicBezTo>
                      <a:pt x="879856" y="1752423"/>
                      <a:pt x="873739" y="1754765"/>
                      <a:pt x="869950" y="1752600"/>
                    </a:cubicBezTo>
                    <a:cubicBezTo>
                      <a:pt x="866051" y="1750372"/>
                      <a:pt x="863874" y="1745950"/>
                      <a:pt x="860425" y="1743075"/>
                    </a:cubicBezTo>
                    <a:cubicBezTo>
                      <a:pt x="857494" y="1740632"/>
                      <a:pt x="854075" y="1738842"/>
                      <a:pt x="850900" y="1736725"/>
                    </a:cubicBezTo>
                    <a:cubicBezTo>
                      <a:pt x="848783" y="1733550"/>
                      <a:pt x="847248" y="1729898"/>
                      <a:pt x="844550" y="1727200"/>
                    </a:cubicBezTo>
                    <a:cubicBezTo>
                      <a:pt x="841852" y="1724502"/>
                      <a:pt x="837409" y="1723830"/>
                      <a:pt x="835025" y="1720850"/>
                    </a:cubicBezTo>
                    <a:cubicBezTo>
                      <a:pt x="832934" y="1718237"/>
                      <a:pt x="833706" y="1714110"/>
                      <a:pt x="831850" y="1711325"/>
                    </a:cubicBezTo>
                    <a:cubicBezTo>
                      <a:pt x="829359" y="1707589"/>
                      <a:pt x="825500" y="1704975"/>
                      <a:pt x="822325" y="1701800"/>
                    </a:cubicBezTo>
                    <a:cubicBezTo>
                      <a:pt x="814345" y="1677859"/>
                      <a:pt x="825110" y="1707369"/>
                      <a:pt x="812800" y="1682750"/>
                    </a:cubicBezTo>
                    <a:cubicBezTo>
                      <a:pt x="811303" y="1679757"/>
                      <a:pt x="810683" y="1676400"/>
                      <a:pt x="809625" y="1673225"/>
                    </a:cubicBezTo>
                    <a:lnTo>
                      <a:pt x="838200" y="1654175"/>
                    </a:lnTo>
                    <a:lnTo>
                      <a:pt x="847725" y="1647825"/>
                    </a:lnTo>
                    <a:lnTo>
                      <a:pt x="857250" y="1641475"/>
                    </a:lnTo>
                    <a:cubicBezTo>
                      <a:pt x="859367" y="1638300"/>
                      <a:pt x="860902" y="1634648"/>
                      <a:pt x="863600" y="1631950"/>
                    </a:cubicBezTo>
                    <a:cubicBezTo>
                      <a:pt x="866298" y="1629252"/>
                      <a:pt x="872780" y="1629400"/>
                      <a:pt x="873125" y="1625600"/>
                    </a:cubicBezTo>
                    <a:cubicBezTo>
                      <a:pt x="877150" y="1581320"/>
                      <a:pt x="874487" y="1536676"/>
                      <a:pt x="876300" y="1492250"/>
                    </a:cubicBezTo>
                    <a:cubicBezTo>
                      <a:pt x="876605" y="1484773"/>
                      <a:pt x="878136" y="1477388"/>
                      <a:pt x="879475" y="1470025"/>
                    </a:cubicBezTo>
                    <a:cubicBezTo>
                      <a:pt x="880256" y="1465732"/>
                      <a:pt x="879777" y="1460609"/>
                      <a:pt x="882650" y="1457325"/>
                    </a:cubicBezTo>
                    <a:cubicBezTo>
                      <a:pt x="887676" y="1451582"/>
                      <a:pt x="901700" y="1444625"/>
                      <a:pt x="901700" y="1444625"/>
                    </a:cubicBezTo>
                    <a:cubicBezTo>
                      <a:pt x="918633" y="1419225"/>
                      <a:pt x="896408" y="1449917"/>
                      <a:pt x="917575" y="1428750"/>
                    </a:cubicBezTo>
                    <a:cubicBezTo>
                      <a:pt x="938742" y="1407583"/>
                      <a:pt x="908050" y="1429808"/>
                      <a:pt x="933450" y="1412875"/>
                    </a:cubicBezTo>
                    <a:cubicBezTo>
                      <a:pt x="940955" y="1390361"/>
                      <a:pt x="938496" y="1401791"/>
                      <a:pt x="933450" y="1358900"/>
                    </a:cubicBezTo>
                    <a:cubicBezTo>
                      <a:pt x="933059" y="1355576"/>
                      <a:pt x="932131" y="1352160"/>
                      <a:pt x="930275" y="1349375"/>
                    </a:cubicBezTo>
                    <a:cubicBezTo>
                      <a:pt x="927784" y="1345639"/>
                      <a:pt x="923672" y="1343259"/>
                      <a:pt x="920750" y="1339850"/>
                    </a:cubicBezTo>
                    <a:cubicBezTo>
                      <a:pt x="917306" y="1335832"/>
                      <a:pt x="914400" y="1331383"/>
                      <a:pt x="911225" y="1327150"/>
                    </a:cubicBezTo>
                    <a:cubicBezTo>
                      <a:pt x="910167" y="1323975"/>
                      <a:pt x="909368" y="1320701"/>
                      <a:pt x="908050" y="1317625"/>
                    </a:cubicBezTo>
                    <a:cubicBezTo>
                      <a:pt x="906186" y="1313275"/>
                      <a:pt x="902093" y="1309642"/>
                      <a:pt x="901700" y="1304925"/>
                    </a:cubicBezTo>
                    <a:cubicBezTo>
                      <a:pt x="901231" y="1299296"/>
                      <a:pt x="903769" y="1278562"/>
                      <a:pt x="908050" y="1270000"/>
                    </a:cubicBezTo>
                    <a:cubicBezTo>
                      <a:pt x="909757" y="1266587"/>
                      <a:pt x="911420" y="1262859"/>
                      <a:pt x="914400" y="1260475"/>
                    </a:cubicBezTo>
                    <a:cubicBezTo>
                      <a:pt x="917013" y="1258384"/>
                      <a:pt x="920750" y="1258358"/>
                      <a:pt x="923925" y="1257300"/>
                    </a:cubicBezTo>
                    <a:cubicBezTo>
                      <a:pt x="929973" y="1239157"/>
                      <a:pt x="922111" y="1254276"/>
                      <a:pt x="936625" y="1244600"/>
                    </a:cubicBezTo>
                    <a:cubicBezTo>
                      <a:pt x="951579" y="1234631"/>
                      <a:pt x="940093" y="1235650"/>
                      <a:pt x="955675" y="1228725"/>
                    </a:cubicBezTo>
                    <a:cubicBezTo>
                      <a:pt x="974021" y="1220571"/>
                      <a:pt x="979944" y="1222752"/>
                      <a:pt x="1000125" y="1216025"/>
                    </a:cubicBezTo>
                    <a:cubicBezTo>
                      <a:pt x="1003300" y="1214967"/>
                      <a:pt x="1006724" y="1214475"/>
                      <a:pt x="1009650" y="1212850"/>
                    </a:cubicBezTo>
                    <a:cubicBezTo>
                      <a:pt x="1016321" y="1209144"/>
                      <a:pt x="1023304" y="1205546"/>
                      <a:pt x="1028700" y="1200150"/>
                    </a:cubicBezTo>
                    <a:lnTo>
                      <a:pt x="1047750" y="1181100"/>
                    </a:lnTo>
                    <a:cubicBezTo>
                      <a:pt x="1070398" y="1188649"/>
                      <a:pt x="1043017" y="1177945"/>
                      <a:pt x="1066800" y="1193800"/>
                    </a:cubicBezTo>
                    <a:cubicBezTo>
                      <a:pt x="1069585" y="1195656"/>
                      <a:pt x="1073150" y="1195917"/>
                      <a:pt x="1076325" y="1196975"/>
                    </a:cubicBezTo>
                    <a:cubicBezTo>
                      <a:pt x="1088946" y="1215906"/>
                      <a:pt x="1079856" y="1199111"/>
                      <a:pt x="1085850" y="1235075"/>
                    </a:cubicBezTo>
                    <a:cubicBezTo>
                      <a:pt x="1086400" y="1238376"/>
                      <a:pt x="1086240" y="1242744"/>
                      <a:pt x="1089025" y="1244600"/>
                    </a:cubicBezTo>
                    <a:cubicBezTo>
                      <a:pt x="1093515" y="1247593"/>
                      <a:pt x="1099608" y="1246717"/>
                      <a:pt x="1104900" y="1247775"/>
                    </a:cubicBezTo>
                    <a:cubicBezTo>
                      <a:pt x="1111250" y="1246717"/>
                      <a:pt x="1118067" y="1247215"/>
                      <a:pt x="1123950" y="1244600"/>
                    </a:cubicBezTo>
                    <a:cubicBezTo>
                      <a:pt x="1144808" y="1235330"/>
                      <a:pt x="1135704" y="1193262"/>
                      <a:pt x="1136650" y="1184275"/>
                    </a:cubicBezTo>
                    <a:cubicBezTo>
                      <a:pt x="1137714" y="1174166"/>
                      <a:pt x="1141751" y="1174073"/>
                      <a:pt x="1146175" y="1165225"/>
                    </a:cubicBezTo>
                    <a:cubicBezTo>
                      <a:pt x="1153843" y="1149889"/>
                      <a:pt x="1142818" y="1160054"/>
                      <a:pt x="1158875" y="1149350"/>
                    </a:cubicBezTo>
                    <a:cubicBezTo>
                      <a:pt x="1163108" y="1143000"/>
                      <a:pt x="1169162" y="1137540"/>
                      <a:pt x="1171575" y="1130300"/>
                    </a:cubicBezTo>
                    <a:cubicBezTo>
                      <a:pt x="1173692" y="1123950"/>
                      <a:pt x="1174212" y="1116819"/>
                      <a:pt x="1177925" y="1111250"/>
                    </a:cubicBezTo>
                    <a:cubicBezTo>
                      <a:pt x="1196123" y="1083953"/>
                      <a:pt x="1174305" y="1118490"/>
                      <a:pt x="1187450" y="1092200"/>
                    </a:cubicBezTo>
                    <a:cubicBezTo>
                      <a:pt x="1189157" y="1088787"/>
                      <a:pt x="1192093" y="1086088"/>
                      <a:pt x="1193800" y="1082675"/>
                    </a:cubicBezTo>
                    <a:cubicBezTo>
                      <a:pt x="1195297" y="1079682"/>
                      <a:pt x="1195478" y="1076143"/>
                      <a:pt x="1196975" y="1073150"/>
                    </a:cubicBezTo>
                    <a:cubicBezTo>
                      <a:pt x="1198682" y="1069737"/>
                      <a:pt x="1201775" y="1067112"/>
                      <a:pt x="1203325" y="1063625"/>
                    </a:cubicBezTo>
                    <a:cubicBezTo>
                      <a:pt x="1206043" y="1057508"/>
                      <a:pt x="1207558" y="1050925"/>
                      <a:pt x="1209675" y="1044575"/>
                    </a:cubicBezTo>
                    <a:lnTo>
                      <a:pt x="1212850" y="1035050"/>
                    </a:lnTo>
                    <a:cubicBezTo>
                      <a:pt x="1213908" y="1026583"/>
                      <a:pt x="1209992" y="1015683"/>
                      <a:pt x="1216025" y="1009650"/>
                    </a:cubicBezTo>
                    <a:cubicBezTo>
                      <a:pt x="1217651" y="1008024"/>
                      <a:pt x="1239742" y="1013571"/>
                      <a:pt x="1244600" y="1016000"/>
                    </a:cubicBezTo>
                    <a:cubicBezTo>
                      <a:pt x="1248013" y="1017707"/>
                      <a:pt x="1250552" y="1021010"/>
                      <a:pt x="1254125" y="1022350"/>
                    </a:cubicBezTo>
                    <a:cubicBezTo>
                      <a:pt x="1259178" y="1024245"/>
                      <a:pt x="1264794" y="1024105"/>
                      <a:pt x="1270000" y="1025525"/>
                    </a:cubicBezTo>
                    <a:cubicBezTo>
                      <a:pt x="1306041" y="1035354"/>
                      <a:pt x="1275858" y="1026866"/>
                      <a:pt x="1298575" y="1038225"/>
                    </a:cubicBezTo>
                    <a:cubicBezTo>
                      <a:pt x="1324865" y="1051370"/>
                      <a:pt x="1290328" y="1029552"/>
                      <a:pt x="1317625" y="1047750"/>
                    </a:cubicBezTo>
                    <a:cubicBezTo>
                      <a:pt x="1319742" y="1050925"/>
                      <a:pt x="1320250" y="1056447"/>
                      <a:pt x="1323975" y="1057275"/>
                    </a:cubicBezTo>
                    <a:cubicBezTo>
                      <a:pt x="1344465" y="1061828"/>
                      <a:pt x="1344859" y="1056111"/>
                      <a:pt x="1352550" y="1044575"/>
                    </a:cubicBezTo>
                    <a:cubicBezTo>
                      <a:pt x="1354730" y="1022778"/>
                      <a:pt x="1348813" y="1014258"/>
                      <a:pt x="1365250" y="1003300"/>
                    </a:cubicBezTo>
                    <a:cubicBezTo>
                      <a:pt x="1368035" y="1001444"/>
                      <a:pt x="1371600" y="1001183"/>
                      <a:pt x="1374775" y="1000125"/>
                    </a:cubicBezTo>
                    <a:cubicBezTo>
                      <a:pt x="1380502" y="994398"/>
                      <a:pt x="1387475" y="990265"/>
                      <a:pt x="1387475" y="981075"/>
                    </a:cubicBezTo>
                    <a:cubicBezTo>
                      <a:pt x="1387475" y="977728"/>
                      <a:pt x="1385219" y="974768"/>
                      <a:pt x="1384300" y="971550"/>
                    </a:cubicBezTo>
                    <a:cubicBezTo>
                      <a:pt x="1383101" y="967354"/>
                      <a:pt x="1383998" y="962134"/>
                      <a:pt x="1381125" y="958850"/>
                    </a:cubicBezTo>
                    <a:cubicBezTo>
                      <a:pt x="1376099" y="953107"/>
                      <a:pt x="1368425" y="950383"/>
                      <a:pt x="1362075" y="946150"/>
                    </a:cubicBezTo>
                    <a:lnTo>
                      <a:pt x="1352550" y="939800"/>
                    </a:lnTo>
                    <a:lnTo>
                      <a:pt x="1343025" y="933450"/>
                    </a:lnTo>
                    <a:lnTo>
                      <a:pt x="1333500" y="927100"/>
                    </a:lnTo>
                    <a:cubicBezTo>
                      <a:pt x="1332442" y="923925"/>
                      <a:pt x="1329267" y="920750"/>
                      <a:pt x="1330325" y="917575"/>
                    </a:cubicBezTo>
                    <a:cubicBezTo>
                      <a:pt x="1336693" y="898470"/>
                      <a:pt x="1339376" y="899741"/>
                      <a:pt x="1352550" y="895350"/>
                    </a:cubicBezTo>
                    <a:cubicBezTo>
                      <a:pt x="1359572" y="888328"/>
                      <a:pt x="1364005" y="885141"/>
                      <a:pt x="1368425" y="876300"/>
                    </a:cubicBezTo>
                    <a:cubicBezTo>
                      <a:pt x="1369922" y="873307"/>
                      <a:pt x="1370542" y="869950"/>
                      <a:pt x="1371600" y="866775"/>
                    </a:cubicBezTo>
                    <a:cubicBezTo>
                      <a:pt x="1359958" y="849312"/>
                      <a:pt x="1371600" y="864129"/>
                      <a:pt x="1355725" y="850900"/>
                    </a:cubicBezTo>
                    <a:cubicBezTo>
                      <a:pt x="1346286" y="843034"/>
                      <a:pt x="1348632" y="839794"/>
                      <a:pt x="1336675" y="838200"/>
                    </a:cubicBezTo>
                    <a:cubicBezTo>
                      <a:pt x="1324043" y="836516"/>
                      <a:pt x="1311275" y="836083"/>
                      <a:pt x="1298575" y="835025"/>
                    </a:cubicBezTo>
                    <a:cubicBezTo>
                      <a:pt x="1290108" y="832203"/>
                      <a:pt x="1285875" y="833614"/>
                      <a:pt x="1285875" y="822325"/>
                    </a:cubicBezTo>
                    <a:cubicBezTo>
                      <a:pt x="1285875" y="778920"/>
                      <a:pt x="1282378" y="735039"/>
                      <a:pt x="1289050" y="692150"/>
                    </a:cubicBezTo>
                    <a:cubicBezTo>
                      <a:pt x="1290223" y="684609"/>
                      <a:pt x="1308100" y="679450"/>
                      <a:pt x="1308100" y="679450"/>
                    </a:cubicBezTo>
                    <a:cubicBezTo>
                      <a:pt x="1310217" y="676275"/>
                      <a:pt x="1311578" y="672438"/>
                      <a:pt x="1314450" y="669925"/>
                    </a:cubicBezTo>
                    <a:cubicBezTo>
                      <a:pt x="1320193" y="664899"/>
                      <a:pt x="1328104" y="662621"/>
                      <a:pt x="1333500" y="657225"/>
                    </a:cubicBezTo>
                    <a:lnTo>
                      <a:pt x="1343025" y="647700"/>
                    </a:lnTo>
                    <a:cubicBezTo>
                      <a:pt x="1344083" y="644525"/>
                      <a:pt x="1345758" y="641492"/>
                      <a:pt x="1346200" y="638175"/>
                    </a:cubicBezTo>
                    <a:cubicBezTo>
                      <a:pt x="1351802" y="596160"/>
                      <a:pt x="1350802" y="533447"/>
                      <a:pt x="1346200" y="498475"/>
                    </a:cubicBezTo>
                    <a:cubicBezTo>
                      <a:pt x="1345204" y="490908"/>
                      <a:pt x="1335913" y="486665"/>
                      <a:pt x="1333500" y="479425"/>
                    </a:cubicBezTo>
                    <a:lnTo>
                      <a:pt x="1327150" y="460375"/>
                    </a:lnTo>
                    <a:cubicBezTo>
                      <a:pt x="1328208" y="434975"/>
                      <a:pt x="1326146" y="409251"/>
                      <a:pt x="1330325" y="384175"/>
                    </a:cubicBezTo>
                    <a:cubicBezTo>
                      <a:pt x="1331580" y="376647"/>
                      <a:pt x="1338792" y="371475"/>
                      <a:pt x="1343025" y="365125"/>
                    </a:cubicBezTo>
                    <a:cubicBezTo>
                      <a:pt x="1345142" y="361950"/>
                      <a:pt x="1346200" y="357717"/>
                      <a:pt x="1349375" y="355600"/>
                    </a:cubicBezTo>
                    <a:cubicBezTo>
                      <a:pt x="1355725" y="351367"/>
                      <a:pt x="1361185" y="345313"/>
                      <a:pt x="1368425" y="342900"/>
                    </a:cubicBezTo>
                    <a:cubicBezTo>
                      <a:pt x="1382440" y="338228"/>
                      <a:pt x="1374957" y="341222"/>
                      <a:pt x="1390650" y="333375"/>
                    </a:cubicBezTo>
                    <a:cubicBezTo>
                      <a:pt x="1392767" y="330200"/>
                      <a:pt x="1394020" y="326234"/>
                      <a:pt x="1397000" y="323850"/>
                    </a:cubicBezTo>
                    <a:cubicBezTo>
                      <a:pt x="1412394" y="311535"/>
                      <a:pt x="1402773" y="331932"/>
                      <a:pt x="1409700" y="311150"/>
                    </a:cubicBezTo>
                    <a:cubicBezTo>
                      <a:pt x="1408642" y="307975"/>
                      <a:pt x="1409836" y="302115"/>
                      <a:pt x="1406525" y="301625"/>
                    </a:cubicBezTo>
                    <a:cubicBezTo>
                      <a:pt x="1379285" y="297589"/>
                      <a:pt x="1351366" y="301284"/>
                      <a:pt x="1323975" y="298450"/>
                    </a:cubicBezTo>
                    <a:cubicBezTo>
                      <a:pt x="1320179" y="298057"/>
                      <a:pt x="1317863" y="293807"/>
                      <a:pt x="1314450" y="292100"/>
                    </a:cubicBezTo>
                    <a:cubicBezTo>
                      <a:pt x="1311457" y="290603"/>
                      <a:pt x="1308233" y="289434"/>
                      <a:pt x="1304925" y="288925"/>
                    </a:cubicBezTo>
                    <a:cubicBezTo>
                      <a:pt x="1294413" y="287308"/>
                      <a:pt x="1283758" y="286808"/>
                      <a:pt x="1273175" y="285750"/>
                    </a:cubicBezTo>
                    <a:cubicBezTo>
                      <a:pt x="1270000" y="284692"/>
                      <a:pt x="1266643" y="284072"/>
                      <a:pt x="1263650" y="282575"/>
                    </a:cubicBezTo>
                    <a:cubicBezTo>
                      <a:pt x="1239031" y="270265"/>
                      <a:pt x="1268541" y="281030"/>
                      <a:pt x="1244600" y="273050"/>
                    </a:cubicBezTo>
                    <a:cubicBezTo>
                      <a:pt x="1245658" y="264583"/>
                      <a:pt x="1246372" y="256066"/>
                      <a:pt x="1247775" y="247650"/>
                    </a:cubicBezTo>
                    <a:cubicBezTo>
                      <a:pt x="1248492" y="243346"/>
                      <a:pt x="1248529" y="238581"/>
                      <a:pt x="1250950" y="234950"/>
                    </a:cubicBezTo>
                    <a:cubicBezTo>
                      <a:pt x="1253067" y="231775"/>
                      <a:pt x="1257544" y="231043"/>
                      <a:pt x="1260475" y="228600"/>
                    </a:cubicBezTo>
                    <a:cubicBezTo>
                      <a:pt x="1263924" y="225725"/>
                      <a:pt x="1267125" y="222524"/>
                      <a:pt x="1270000" y="219075"/>
                    </a:cubicBezTo>
                    <a:cubicBezTo>
                      <a:pt x="1272443" y="216144"/>
                      <a:pt x="1274643" y="212963"/>
                      <a:pt x="1276350" y="209550"/>
                    </a:cubicBezTo>
                    <a:cubicBezTo>
                      <a:pt x="1278627" y="204995"/>
                      <a:pt x="1281683" y="191394"/>
                      <a:pt x="1282700" y="187325"/>
                    </a:cubicBezTo>
                    <a:cubicBezTo>
                      <a:pt x="1281642" y="172508"/>
                      <a:pt x="1282747" y="157376"/>
                      <a:pt x="1279525" y="142875"/>
                    </a:cubicBezTo>
                    <a:cubicBezTo>
                      <a:pt x="1278377" y="137709"/>
                      <a:pt x="1273540" y="134108"/>
                      <a:pt x="1270000" y="130175"/>
                    </a:cubicBezTo>
                    <a:cubicBezTo>
                      <a:pt x="1238569" y="95251"/>
                      <a:pt x="1261867" y="127501"/>
                      <a:pt x="1238250" y="92075"/>
                    </a:cubicBezTo>
                    <a:cubicBezTo>
                      <a:pt x="1236133" y="88900"/>
                      <a:pt x="1233107" y="86170"/>
                      <a:pt x="1231900" y="82550"/>
                    </a:cubicBezTo>
                    <a:cubicBezTo>
                      <a:pt x="1229783" y="76200"/>
                      <a:pt x="1226863" y="70064"/>
                      <a:pt x="1225550" y="63500"/>
                    </a:cubicBezTo>
                    <a:cubicBezTo>
                      <a:pt x="1224670" y="59102"/>
                      <a:pt x="1222251" y="43592"/>
                      <a:pt x="1219200" y="38100"/>
                    </a:cubicBezTo>
                    <a:cubicBezTo>
                      <a:pt x="1215494" y="31429"/>
                      <a:pt x="1212850" y="23283"/>
                      <a:pt x="1206500" y="19050"/>
                    </a:cubicBezTo>
                    <a:cubicBezTo>
                      <a:pt x="1185689" y="5176"/>
                      <a:pt x="1187450" y="13982"/>
                      <a:pt x="1187450" y="0"/>
                    </a:cubicBezTo>
                  </a:path>
                </a:pathLst>
              </a:custGeom>
              <a:grpFill/>
              <a:ln w="3175">
                <a:solidFill>
                  <a:srgbClr val="FF8300"/>
                </a:solidFill>
                <a:round/>
                <a:headEnd/>
                <a:tailEnd/>
              </a:ln>
            </p:spPr>
            <p:txBody>
              <a:bodyPr/>
              <a:lstStyle/>
              <a:p>
                <a:pPr>
                  <a:defRPr/>
                </a:pPr>
                <a:endParaRPr lang="en-GB" sz="1400">
                  <a:solidFill>
                    <a:schemeClr val="tx2"/>
                  </a:solidFill>
                </a:endParaRPr>
              </a:p>
            </p:txBody>
          </p:sp>
          <p:sp>
            <p:nvSpPr>
              <p:cNvPr id="356" name="Freeform 287"/>
              <p:cNvSpPr>
                <a:spLocks/>
              </p:cNvSpPr>
              <p:nvPr>
                <p:custDataLst>
                  <p:tags r:id="rId11"/>
                </p:custDataLst>
              </p:nvPr>
            </p:nvSpPr>
            <p:spPr bwMode="gray">
              <a:xfrm>
                <a:off x="4472365" y="5642904"/>
                <a:ext cx="263373" cy="447315"/>
              </a:xfrm>
              <a:custGeom>
                <a:avLst/>
                <a:gdLst>
                  <a:gd name="T0" fmla="*/ 0 w 193"/>
                  <a:gd name="T1" fmla="*/ 2147483647 h 340"/>
                  <a:gd name="T2" fmla="*/ 2147483647 w 193"/>
                  <a:gd name="T3" fmla="*/ 2147483647 h 340"/>
                  <a:gd name="T4" fmla="*/ 2147483647 w 193"/>
                  <a:gd name="T5" fmla="*/ 2147483647 h 340"/>
                  <a:gd name="T6" fmla="*/ 2147483647 w 193"/>
                  <a:gd name="T7" fmla="*/ 2147483647 h 340"/>
                  <a:gd name="T8" fmla="*/ 2147483647 w 193"/>
                  <a:gd name="T9" fmla="*/ 2147483647 h 340"/>
                  <a:gd name="T10" fmla="*/ 2147483647 w 193"/>
                  <a:gd name="T11" fmla="*/ 2147483647 h 340"/>
                  <a:gd name="T12" fmla="*/ 2147483647 w 193"/>
                  <a:gd name="T13" fmla="*/ 2147483647 h 340"/>
                  <a:gd name="T14" fmla="*/ 2147483647 w 193"/>
                  <a:gd name="T15" fmla="*/ 2147483647 h 340"/>
                  <a:gd name="T16" fmla="*/ 2147483647 w 193"/>
                  <a:gd name="T17" fmla="*/ 2147483647 h 340"/>
                  <a:gd name="T18" fmla="*/ 2147483647 w 193"/>
                  <a:gd name="T19" fmla="*/ 2147483647 h 340"/>
                  <a:gd name="T20" fmla="*/ 2147483647 w 193"/>
                  <a:gd name="T21" fmla="*/ 2147483647 h 340"/>
                  <a:gd name="T22" fmla="*/ 2147483647 w 193"/>
                  <a:gd name="T23" fmla="*/ 2147483647 h 340"/>
                  <a:gd name="T24" fmla="*/ 2147483647 w 193"/>
                  <a:gd name="T25" fmla="*/ 2147483647 h 340"/>
                  <a:gd name="T26" fmla="*/ 2147483647 w 193"/>
                  <a:gd name="T27" fmla="*/ 2147483647 h 340"/>
                  <a:gd name="T28" fmla="*/ 2147483647 w 193"/>
                  <a:gd name="T29" fmla="*/ 2147483647 h 340"/>
                  <a:gd name="T30" fmla="*/ 2147483647 w 193"/>
                  <a:gd name="T31" fmla="*/ 2147483647 h 340"/>
                  <a:gd name="T32" fmla="*/ 2147483647 w 193"/>
                  <a:gd name="T33" fmla="*/ 2147483647 h 340"/>
                  <a:gd name="T34" fmla="*/ 2147483647 w 193"/>
                  <a:gd name="T35" fmla="*/ 2147483647 h 340"/>
                  <a:gd name="T36" fmla="*/ 2147483647 w 193"/>
                  <a:gd name="T37" fmla="*/ 2147483647 h 340"/>
                  <a:gd name="T38" fmla="*/ 2147483647 w 193"/>
                  <a:gd name="T39" fmla="*/ 2147483647 h 340"/>
                  <a:gd name="T40" fmla="*/ 2147483647 w 193"/>
                  <a:gd name="T41" fmla="*/ 2147483647 h 340"/>
                  <a:gd name="T42" fmla="*/ 2147483647 w 193"/>
                  <a:gd name="T43" fmla="*/ 2147483647 h 340"/>
                  <a:gd name="T44" fmla="*/ 2147483647 w 193"/>
                  <a:gd name="T45" fmla="*/ 2147483647 h 340"/>
                  <a:gd name="T46" fmla="*/ 2147483647 w 193"/>
                  <a:gd name="T47" fmla="*/ 2147483647 h 340"/>
                  <a:gd name="T48" fmla="*/ 2147483647 w 193"/>
                  <a:gd name="T49" fmla="*/ 2147483647 h 340"/>
                  <a:gd name="T50" fmla="*/ 2147483647 w 193"/>
                  <a:gd name="T51" fmla="*/ 2147483647 h 340"/>
                  <a:gd name="T52" fmla="*/ 2147483647 w 193"/>
                  <a:gd name="T53" fmla="*/ 2147483647 h 340"/>
                  <a:gd name="T54" fmla="*/ 2147483647 w 193"/>
                  <a:gd name="T55" fmla="*/ 2147483647 h 340"/>
                  <a:gd name="T56" fmla="*/ 2147483647 w 193"/>
                  <a:gd name="T57" fmla="*/ 2147483647 h 340"/>
                  <a:gd name="T58" fmla="*/ 2147483647 w 193"/>
                  <a:gd name="T59" fmla="*/ 2147483647 h 340"/>
                  <a:gd name="T60" fmla="*/ 2147483647 w 193"/>
                  <a:gd name="T61" fmla="*/ 2147483647 h 340"/>
                  <a:gd name="T62" fmla="*/ 2147483647 w 193"/>
                  <a:gd name="T63" fmla="*/ 2147483647 h 340"/>
                  <a:gd name="T64" fmla="*/ 2147483647 w 193"/>
                  <a:gd name="T65" fmla="*/ 2147483647 h 340"/>
                  <a:gd name="T66" fmla="*/ 2147483647 w 193"/>
                  <a:gd name="T67" fmla="*/ 2147483647 h 340"/>
                  <a:gd name="T68" fmla="*/ 2147483647 w 193"/>
                  <a:gd name="T69" fmla="*/ 2147483647 h 340"/>
                  <a:gd name="T70" fmla="*/ 2147483647 w 193"/>
                  <a:gd name="T71" fmla="*/ 2147483647 h 340"/>
                  <a:gd name="T72" fmla="*/ 2147483647 w 193"/>
                  <a:gd name="T73" fmla="*/ 2147483647 h 340"/>
                  <a:gd name="T74" fmla="*/ 2147483647 w 193"/>
                  <a:gd name="T75" fmla="*/ 2147483647 h 340"/>
                  <a:gd name="T76" fmla="*/ 2147483647 w 193"/>
                  <a:gd name="T77" fmla="*/ 2147483647 h 340"/>
                  <a:gd name="T78" fmla="*/ 2147483647 w 193"/>
                  <a:gd name="T79" fmla="*/ 2147483647 h 340"/>
                  <a:gd name="T80" fmla="*/ 2147483647 w 193"/>
                  <a:gd name="T81" fmla="*/ 2147483647 h 340"/>
                  <a:gd name="T82" fmla="*/ 2147483647 w 193"/>
                  <a:gd name="T83" fmla="*/ 2147483647 h 340"/>
                  <a:gd name="T84" fmla="*/ 2147483647 w 193"/>
                  <a:gd name="T85" fmla="*/ 2147483647 h 340"/>
                  <a:gd name="T86" fmla="*/ 2147483647 w 193"/>
                  <a:gd name="T87" fmla="*/ 2147483647 h 340"/>
                  <a:gd name="T88" fmla="*/ 2147483647 w 193"/>
                  <a:gd name="T89" fmla="*/ 2147483647 h 340"/>
                  <a:gd name="T90" fmla="*/ 2147483647 w 193"/>
                  <a:gd name="T91" fmla="*/ 2147483647 h 340"/>
                  <a:gd name="T92" fmla="*/ 2147483647 w 193"/>
                  <a:gd name="T93" fmla="*/ 2147483647 h 340"/>
                  <a:gd name="T94" fmla="*/ 2147483647 w 193"/>
                  <a:gd name="T95" fmla="*/ 2147483647 h 340"/>
                  <a:gd name="T96" fmla="*/ 2147483647 w 193"/>
                  <a:gd name="T97" fmla="*/ 2147483647 h 340"/>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193"/>
                  <a:gd name="T148" fmla="*/ 0 h 340"/>
                  <a:gd name="T149" fmla="*/ 193 w 193"/>
                  <a:gd name="T150" fmla="*/ 340 h 340"/>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193" h="340">
                    <a:moveTo>
                      <a:pt x="2" y="321"/>
                    </a:moveTo>
                    <a:lnTo>
                      <a:pt x="2" y="309"/>
                    </a:lnTo>
                    <a:lnTo>
                      <a:pt x="0" y="296"/>
                    </a:lnTo>
                    <a:lnTo>
                      <a:pt x="2" y="294"/>
                    </a:lnTo>
                    <a:lnTo>
                      <a:pt x="5" y="290"/>
                    </a:lnTo>
                    <a:lnTo>
                      <a:pt x="7" y="288"/>
                    </a:lnTo>
                    <a:lnTo>
                      <a:pt x="9" y="286"/>
                    </a:lnTo>
                    <a:lnTo>
                      <a:pt x="11" y="282"/>
                    </a:lnTo>
                    <a:lnTo>
                      <a:pt x="15" y="281"/>
                    </a:lnTo>
                    <a:lnTo>
                      <a:pt x="17" y="279"/>
                    </a:lnTo>
                    <a:lnTo>
                      <a:pt x="19" y="277"/>
                    </a:lnTo>
                    <a:lnTo>
                      <a:pt x="23" y="275"/>
                    </a:lnTo>
                    <a:lnTo>
                      <a:pt x="25" y="271"/>
                    </a:lnTo>
                    <a:lnTo>
                      <a:pt x="32" y="269"/>
                    </a:lnTo>
                    <a:lnTo>
                      <a:pt x="38" y="267"/>
                    </a:lnTo>
                    <a:lnTo>
                      <a:pt x="40" y="265"/>
                    </a:lnTo>
                    <a:lnTo>
                      <a:pt x="44" y="261"/>
                    </a:lnTo>
                    <a:lnTo>
                      <a:pt x="46" y="259"/>
                    </a:lnTo>
                    <a:lnTo>
                      <a:pt x="50" y="257"/>
                    </a:lnTo>
                    <a:lnTo>
                      <a:pt x="51" y="254"/>
                    </a:lnTo>
                    <a:lnTo>
                      <a:pt x="53" y="252"/>
                    </a:lnTo>
                    <a:lnTo>
                      <a:pt x="55" y="244"/>
                    </a:lnTo>
                    <a:lnTo>
                      <a:pt x="57" y="238"/>
                    </a:lnTo>
                    <a:lnTo>
                      <a:pt x="61" y="234"/>
                    </a:lnTo>
                    <a:lnTo>
                      <a:pt x="63" y="233"/>
                    </a:lnTo>
                    <a:lnTo>
                      <a:pt x="63" y="223"/>
                    </a:lnTo>
                    <a:lnTo>
                      <a:pt x="63" y="213"/>
                    </a:lnTo>
                    <a:lnTo>
                      <a:pt x="61" y="211"/>
                    </a:lnTo>
                    <a:lnTo>
                      <a:pt x="57" y="210"/>
                    </a:lnTo>
                    <a:lnTo>
                      <a:pt x="55" y="192"/>
                    </a:lnTo>
                    <a:lnTo>
                      <a:pt x="53" y="175"/>
                    </a:lnTo>
                    <a:lnTo>
                      <a:pt x="51" y="171"/>
                    </a:lnTo>
                    <a:lnTo>
                      <a:pt x="50" y="169"/>
                    </a:lnTo>
                    <a:lnTo>
                      <a:pt x="50" y="165"/>
                    </a:lnTo>
                    <a:lnTo>
                      <a:pt x="50" y="160"/>
                    </a:lnTo>
                    <a:lnTo>
                      <a:pt x="51" y="158"/>
                    </a:lnTo>
                    <a:lnTo>
                      <a:pt x="53" y="156"/>
                    </a:lnTo>
                    <a:lnTo>
                      <a:pt x="55" y="154"/>
                    </a:lnTo>
                    <a:lnTo>
                      <a:pt x="57" y="150"/>
                    </a:lnTo>
                    <a:lnTo>
                      <a:pt x="61" y="148"/>
                    </a:lnTo>
                    <a:lnTo>
                      <a:pt x="63" y="146"/>
                    </a:lnTo>
                    <a:lnTo>
                      <a:pt x="65" y="142"/>
                    </a:lnTo>
                    <a:lnTo>
                      <a:pt x="67" y="140"/>
                    </a:lnTo>
                    <a:lnTo>
                      <a:pt x="71" y="139"/>
                    </a:lnTo>
                    <a:lnTo>
                      <a:pt x="73" y="137"/>
                    </a:lnTo>
                    <a:lnTo>
                      <a:pt x="73" y="121"/>
                    </a:lnTo>
                    <a:lnTo>
                      <a:pt x="73" y="108"/>
                    </a:lnTo>
                    <a:lnTo>
                      <a:pt x="71" y="104"/>
                    </a:lnTo>
                    <a:lnTo>
                      <a:pt x="67" y="102"/>
                    </a:lnTo>
                    <a:lnTo>
                      <a:pt x="61" y="100"/>
                    </a:lnTo>
                    <a:lnTo>
                      <a:pt x="53" y="98"/>
                    </a:lnTo>
                    <a:lnTo>
                      <a:pt x="51" y="94"/>
                    </a:lnTo>
                    <a:lnTo>
                      <a:pt x="50" y="92"/>
                    </a:lnTo>
                    <a:lnTo>
                      <a:pt x="44" y="73"/>
                    </a:lnTo>
                    <a:lnTo>
                      <a:pt x="38" y="54"/>
                    </a:lnTo>
                    <a:lnTo>
                      <a:pt x="40" y="52"/>
                    </a:lnTo>
                    <a:lnTo>
                      <a:pt x="44" y="48"/>
                    </a:lnTo>
                    <a:lnTo>
                      <a:pt x="46" y="46"/>
                    </a:lnTo>
                    <a:lnTo>
                      <a:pt x="48" y="39"/>
                    </a:lnTo>
                    <a:lnTo>
                      <a:pt x="46" y="33"/>
                    </a:lnTo>
                    <a:lnTo>
                      <a:pt x="44" y="29"/>
                    </a:lnTo>
                    <a:lnTo>
                      <a:pt x="40" y="27"/>
                    </a:lnTo>
                    <a:lnTo>
                      <a:pt x="38" y="25"/>
                    </a:lnTo>
                    <a:lnTo>
                      <a:pt x="38" y="16"/>
                    </a:lnTo>
                    <a:lnTo>
                      <a:pt x="38" y="6"/>
                    </a:lnTo>
                    <a:lnTo>
                      <a:pt x="40" y="2"/>
                    </a:lnTo>
                    <a:lnTo>
                      <a:pt x="44" y="0"/>
                    </a:lnTo>
                    <a:lnTo>
                      <a:pt x="46" y="2"/>
                    </a:lnTo>
                    <a:lnTo>
                      <a:pt x="50" y="6"/>
                    </a:lnTo>
                    <a:lnTo>
                      <a:pt x="51" y="12"/>
                    </a:lnTo>
                    <a:lnTo>
                      <a:pt x="53" y="20"/>
                    </a:lnTo>
                    <a:lnTo>
                      <a:pt x="55" y="21"/>
                    </a:lnTo>
                    <a:lnTo>
                      <a:pt x="57" y="25"/>
                    </a:lnTo>
                    <a:lnTo>
                      <a:pt x="61" y="27"/>
                    </a:lnTo>
                    <a:lnTo>
                      <a:pt x="63" y="29"/>
                    </a:lnTo>
                    <a:lnTo>
                      <a:pt x="65" y="33"/>
                    </a:lnTo>
                    <a:lnTo>
                      <a:pt x="67" y="35"/>
                    </a:lnTo>
                    <a:lnTo>
                      <a:pt x="94" y="37"/>
                    </a:lnTo>
                    <a:lnTo>
                      <a:pt x="121" y="39"/>
                    </a:lnTo>
                    <a:lnTo>
                      <a:pt x="122" y="43"/>
                    </a:lnTo>
                    <a:lnTo>
                      <a:pt x="126" y="45"/>
                    </a:lnTo>
                    <a:lnTo>
                      <a:pt x="128" y="46"/>
                    </a:lnTo>
                    <a:lnTo>
                      <a:pt x="130" y="48"/>
                    </a:lnTo>
                    <a:lnTo>
                      <a:pt x="132" y="52"/>
                    </a:lnTo>
                    <a:lnTo>
                      <a:pt x="136" y="54"/>
                    </a:lnTo>
                    <a:lnTo>
                      <a:pt x="138" y="56"/>
                    </a:lnTo>
                    <a:lnTo>
                      <a:pt x="140" y="58"/>
                    </a:lnTo>
                    <a:lnTo>
                      <a:pt x="144" y="62"/>
                    </a:lnTo>
                    <a:lnTo>
                      <a:pt x="146" y="64"/>
                    </a:lnTo>
                    <a:lnTo>
                      <a:pt x="147" y="66"/>
                    </a:lnTo>
                    <a:lnTo>
                      <a:pt x="149" y="69"/>
                    </a:lnTo>
                    <a:lnTo>
                      <a:pt x="151" y="71"/>
                    </a:lnTo>
                    <a:lnTo>
                      <a:pt x="155" y="73"/>
                    </a:lnTo>
                    <a:lnTo>
                      <a:pt x="157" y="91"/>
                    </a:lnTo>
                    <a:lnTo>
                      <a:pt x="159" y="108"/>
                    </a:lnTo>
                    <a:lnTo>
                      <a:pt x="163" y="110"/>
                    </a:lnTo>
                    <a:lnTo>
                      <a:pt x="165" y="112"/>
                    </a:lnTo>
                    <a:lnTo>
                      <a:pt x="167" y="114"/>
                    </a:lnTo>
                    <a:lnTo>
                      <a:pt x="169" y="117"/>
                    </a:lnTo>
                    <a:lnTo>
                      <a:pt x="172" y="119"/>
                    </a:lnTo>
                    <a:lnTo>
                      <a:pt x="174" y="121"/>
                    </a:lnTo>
                    <a:lnTo>
                      <a:pt x="176" y="133"/>
                    </a:lnTo>
                    <a:lnTo>
                      <a:pt x="178" y="146"/>
                    </a:lnTo>
                    <a:lnTo>
                      <a:pt x="182" y="148"/>
                    </a:lnTo>
                    <a:lnTo>
                      <a:pt x="184" y="150"/>
                    </a:lnTo>
                    <a:lnTo>
                      <a:pt x="186" y="158"/>
                    </a:lnTo>
                    <a:lnTo>
                      <a:pt x="188" y="165"/>
                    </a:lnTo>
                    <a:lnTo>
                      <a:pt x="192" y="167"/>
                    </a:lnTo>
                    <a:lnTo>
                      <a:pt x="193" y="169"/>
                    </a:lnTo>
                    <a:lnTo>
                      <a:pt x="192" y="171"/>
                    </a:lnTo>
                    <a:lnTo>
                      <a:pt x="188" y="175"/>
                    </a:lnTo>
                    <a:lnTo>
                      <a:pt x="184" y="179"/>
                    </a:lnTo>
                    <a:lnTo>
                      <a:pt x="182" y="186"/>
                    </a:lnTo>
                    <a:lnTo>
                      <a:pt x="178" y="202"/>
                    </a:lnTo>
                    <a:lnTo>
                      <a:pt x="174" y="229"/>
                    </a:lnTo>
                    <a:lnTo>
                      <a:pt x="172" y="231"/>
                    </a:lnTo>
                    <a:lnTo>
                      <a:pt x="169" y="233"/>
                    </a:lnTo>
                    <a:lnTo>
                      <a:pt x="167" y="234"/>
                    </a:lnTo>
                    <a:lnTo>
                      <a:pt x="165" y="238"/>
                    </a:lnTo>
                    <a:lnTo>
                      <a:pt x="163" y="240"/>
                    </a:lnTo>
                    <a:lnTo>
                      <a:pt x="159" y="242"/>
                    </a:lnTo>
                    <a:lnTo>
                      <a:pt x="153" y="244"/>
                    </a:lnTo>
                    <a:lnTo>
                      <a:pt x="146" y="248"/>
                    </a:lnTo>
                    <a:lnTo>
                      <a:pt x="144" y="250"/>
                    </a:lnTo>
                    <a:lnTo>
                      <a:pt x="140" y="252"/>
                    </a:lnTo>
                    <a:lnTo>
                      <a:pt x="138" y="259"/>
                    </a:lnTo>
                    <a:lnTo>
                      <a:pt x="136" y="267"/>
                    </a:lnTo>
                    <a:lnTo>
                      <a:pt x="132" y="269"/>
                    </a:lnTo>
                    <a:lnTo>
                      <a:pt x="130" y="271"/>
                    </a:lnTo>
                    <a:lnTo>
                      <a:pt x="119" y="271"/>
                    </a:lnTo>
                    <a:lnTo>
                      <a:pt x="107" y="271"/>
                    </a:lnTo>
                    <a:lnTo>
                      <a:pt x="107" y="279"/>
                    </a:lnTo>
                    <a:lnTo>
                      <a:pt x="107" y="286"/>
                    </a:lnTo>
                    <a:lnTo>
                      <a:pt x="103" y="288"/>
                    </a:lnTo>
                    <a:lnTo>
                      <a:pt x="101" y="290"/>
                    </a:lnTo>
                    <a:lnTo>
                      <a:pt x="94" y="304"/>
                    </a:lnTo>
                    <a:lnTo>
                      <a:pt x="88" y="315"/>
                    </a:lnTo>
                    <a:lnTo>
                      <a:pt x="84" y="317"/>
                    </a:lnTo>
                    <a:lnTo>
                      <a:pt x="82" y="319"/>
                    </a:lnTo>
                    <a:lnTo>
                      <a:pt x="53" y="325"/>
                    </a:lnTo>
                    <a:lnTo>
                      <a:pt x="40" y="328"/>
                    </a:lnTo>
                    <a:lnTo>
                      <a:pt x="32" y="330"/>
                    </a:lnTo>
                    <a:lnTo>
                      <a:pt x="28" y="334"/>
                    </a:lnTo>
                    <a:lnTo>
                      <a:pt x="27" y="336"/>
                    </a:lnTo>
                    <a:lnTo>
                      <a:pt x="25" y="340"/>
                    </a:lnTo>
                    <a:lnTo>
                      <a:pt x="7" y="327"/>
                    </a:lnTo>
                    <a:lnTo>
                      <a:pt x="2" y="321"/>
                    </a:lnTo>
                  </a:path>
                </a:pathLst>
              </a:custGeom>
              <a:grpFill/>
              <a:ln w="3175">
                <a:solidFill>
                  <a:srgbClr val="FF8300"/>
                </a:solidFill>
                <a:round/>
                <a:headEnd/>
                <a:tailEnd/>
              </a:ln>
            </p:spPr>
            <p:txBody>
              <a:bodyPr/>
              <a:lstStyle/>
              <a:p>
                <a:pPr>
                  <a:defRPr/>
                </a:pPr>
                <a:endParaRPr lang="en-GB" sz="1400">
                  <a:solidFill>
                    <a:schemeClr val="tx2"/>
                  </a:solidFill>
                </a:endParaRPr>
              </a:p>
            </p:txBody>
          </p:sp>
          <p:sp>
            <p:nvSpPr>
              <p:cNvPr id="357" name="Freeform 288"/>
              <p:cNvSpPr>
                <a:spLocks/>
              </p:cNvSpPr>
              <p:nvPr>
                <p:custDataLst>
                  <p:tags r:id="rId12"/>
                </p:custDataLst>
              </p:nvPr>
            </p:nvSpPr>
            <p:spPr bwMode="gray">
              <a:xfrm>
                <a:off x="4216612" y="5939068"/>
                <a:ext cx="383214" cy="342803"/>
              </a:xfrm>
              <a:custGeom>
                <a:avLst/>
                <a:gdLst>
                  <a:gd name="T0" fmla="*/ 2147483647 w 282"/>
                  <a:gd name="T1" fmla="*/ 2147483647 h 260"/>
                  <a:gd name="T2" fmla="*/ 2147483647 w 282"/>
                  <a:gd name="T3" fmla="*/ 2147483647 h 260"/>
                  <a:gd name="T4" fmla="*/ 2147483647 w 282"/>
                  <a:gd name="T5" fmla="*/ 2147483647 h 260"/>
                  <a:gd name="T6" fmla="*/ 2147483647 w 282"/>
                  <a:gd name="T7" fmla="*/ 2147483647 h 260"/>
                  <a:gd name="T8" fmla="*/ 2147483647 w 282"/>
                  <a:gd name="T9" fmla="*/ 2147483647 h 260"/>
                  <a:gd name="T10" fmla="*/ 2147483647 w 282"/>
                  <a:gd name="T11" fmla="*/ 2147483647 h 260"/>
                  <a:gd name="T12" fmla="*/ 2147483647 w 282"/>
                  <a:gd name="T13" fmla="*/ 2147483647 h 260"/>
                  <a:gd name="T14" fmla="*/ 2147483647 w 282"/>
                  <a:gd name="T15" fmla="*/ 2147483647 h 260"/>
                  <a:gd name="T16" fmla="*/ 2147483647 w 282"/>
                  <a:gd name="T17" fmla="*/ 2147483647 h 260"/>
                  <a:gd name="T18" fmla="*/ 2147483647 w 282"/>
                  <a:gd name="T19" fmla="*/ 2147483647 h 260"/>
                  <a:gd name="T20" fmla="*/ 2147483647 w 282"/>
                  <a:gd name="T21" fmla="*/ 2147483647 h 260"/>
                  <a:gd name="T22" fmla="*/ 2147483647 w 282"/>
                  <a:gd name="T23" fmla="*/ 2147483647 h 260"/>
                  <a:gd name="T24" fmla="*/ 2147483647 w 282"/>
                  <a:gd name="T25" fmla="*/ 2147483647 h 260"/>
                  <a:gd name="T26" fmla="*/ 2147483647 w 282"/>
                  <a:gd name="T27" fmla="*/ 2147483647 h 260"/>
                  <a:gd name="T28" fmla="*/ 2147483647 w 282"/>
                  <a:gd name="T29" fmla="*/ 2147483647 h 260"/>
                  <a:gd name="T30" fmla="*/ 2147483647 w 282"/>
                  <a:gd name="T31" fmla="*/ 2147483647 h 260"/>
                  <a:gd name="T32" fmla="*/ 2147483647 w 282"/>
                  <a:gd name="T33" fmla="*/ 2147483647 h 260"/>
                  <a:gd name="T34" fmla="*/ 2147483647 w 282"/>
                  <a:gd name="T35" fmla="*/ 2147483647 h 260"/>
                  <a:gd name="T36" fmla="*/ 2147483647 w 282"/>
                  <a:gd name="T37" fmla="*/ 2147483647 h 260"/>
                  <a:gd name="T38" fmla="*/ 2147483647 w 282"/>
                  <a:gd name="T39" fmla="*/ 2147483647 h 260"/>
                  <a:gd name="T40" fmla="*/ 2147483647 w 282"/>
                  <a:gd name="T41" fmla="*/ 2147483647 h 260"/>
                  <a:gd name="T42" fmla="*/ 2147483647 w 282"/>
                  <a:gd name="T43" fmla="*/ 2147483647 h 260"/>
                  <a:gd name="T44" fmla="*/ 2147483647 w 282"/>
                  <a:gd name="T45" fmla="*/ 2147483647 h 260"/>
                  <a:gd name="T46" fmla="*/ 2147483647 w 282"/>
                  <a:gd name="T47" fmla="*/ 2147483647 h 260"/>
                  <a:gd name="T48" fmla="*/ 2147483647 w 282"/>
                  <a:gd name="T49" fmla="*/ 2147483647 h 260"/>
                  <a:gd name="T50" fmla="*/ 2147483647 w 282"/>
                  <a:gd name="T51" fmla="*/ 2147483647 h 260"/>
                  <a:gd name="T52" fmla="*/ 2147483647 w 282"/>
                  <a:gd name="T53" fmla="*/ 2147483647 h 260"/>
                  <a:gd name="T54" fmla="*/ 0 w 282"/>
                  <a:gd name="T55" fmla="*/ 2147483647 h 260"/>
                  <a:gd name="T56" fmla="*/ 2147483647 w 282"/>
                  <a:gd name="T57" fmla="*/ 2147483647 h 260"/>
                  <a:gd name="T58" fmla="*/ 2147483647 w 282"/>
                  <a:gd name="T59" fmla="*/ 2147483647 h 260"/>
                  <a:gd name="T60" fmla="*/ 2147483647 w 282"/>
                  <a:gd name="T61" fmla="*/ 2147483647 h 260"/>
                  <a:gd name="T62" fmla="*/ 2147483647 w 282"/>
                  <a:gd name="T63" fmla="*/ 2147483647 h 260"/>
                  <a:gd name="T64" fmla="*/ 2147483647 w 282"/>
                  <a:gd name="T65" fmla="*/ 2147483647 h 260"/>
                  <a:gd name="T66" fmla="*/ 2147483647 w 282"/>
                  <a:gd name="T67" fmla="*/ 2147483647 h 260"/>
                  <a:gd name="T68" fmla="*/ 2147483647 w 282"/>
                  <a:gd name="T69" fmla="*/ 2147483647 h 260"/>
                  <a:gd name="T70" fmla="*/ 2147483647 w 282"/>
                  <a:gd name="T71" fmla="*/ 2147483647 h 260"/>
                  <a:gd name="T72" fmla="*/ 2147483647 w 282"/>
                  <a:gd name="T73" fmla="*/ 2147483647 h 260"/>
                  <a:gd name="T74" fmla="*/ 2147483647 w 282"/>
                  <a:gd name="T75" fmla="*/ 2147483647 h 260"/>
                  <a:gd name="T76" fmla="*/ 2147483647 w 282"/>
                  <a:gd name="T77" fmla="*/ 2147483647 h 260"/>
                  <a:gd name="T78" fmla="*/ 2147483647 w 282"/>
                  <a:gd name="T79" fmla="*/ 2147483647 h 260"/>
                  <a:gd name="T80" fmla="*/ 2147483647 w 282"/>
                  <a:gd name="T81" fmla="*/ 2147483647 h 260"/>
                  <a:gd name="T82" fmla="*/ 2147483647 w 282"/>
                  <a:gd name="T83" fmla="*/ 2147483647 h 260"/>
                  <a:gd name="T84" fmla="*/ 2147483647 w 282"/>
                  <a:gd name="T85" fmla="*/ 2147483647 h 260"/>
                  <a:gd name="T86" fmla="*/ 2147483647 w 282"/>
                  <a:gd name="T87" fmla="*/ 2147483647 h 260"/>
                  <a:gd name="T88" fmla="*/ 2147483647 w 282"/>
                  <a:gd name="T89" fmla="*/ 2147483647 h 260"/>
                  <a:gd name="T90" fmla="*/ 2147483647 w 282"/>
                  <a:gd name="T91" fmla="*/ 2147483647 h 260"/>
                  <a:gd name="T92" fmla="*/ 2147483647 w 282"/>
                  <a:gd name="T93" fmla="*/ 2147483647 h 260"/>
                  <a:gd name="T94" fmla="*/ 2147483647 w 282"/>
                  <a:gd name="T95" fmla="*/ 2147483647 h 260"/>
                  <a:gd name="T96" fmla="*/ 2147483647 w 282"/>
                  <a:gd name="T97" fmla="*/ 2147483647 h 260"/>
                  <a:gd name="T98" fmla="*/ 2147483647 w 282"/>
                  <a:gd name="T99" fmla="*/ 2147483647 h 260"/>
                  <a:gd name="T100" fmla="*/ 2147483647 w 282"/>
                  <a:gd name="T101" fmla="*/ 2147483647 h 260"/>
                  <a:gd name="T102" fmla="*/ 2147483647 w 282"/>
                  <a:gd name="T103" fmla="*/ 2147483647 h 260"/>
                  <a:gd name="T104" fmla="*/ 2147483647 w 282"/>
                  <a:gd name="T105" fmla="*/ 2147483647 h 260"/>
                  <a:gd name="T106" fmla="*/ 2147483647 w 282"/>
                  <a:gd name="T107" fmla="*/ 2147483647 h 260"/>
                  <a:gd name="T108" fmla="*/ 2147483647 w 282"/>
                  <a:gd name="T109" fmla="*/ 2147483647 h 260"/>
                  <a:gd name="T110" fmla="*/ 2147483647 w 282"/>
                  <a:gd name="T111" fmla="*/ 2147483647 h 260"/>
                  <a:gd name="T112" fmla="*/ 2147483647 w 282"/>
                  <a:gd name="T113" fmla="*/ 2147483647 h 260"/>
                  <a:gd name="T114" fmla="*/ 2147483647 w 282"/>
                  <a:gd name="T115" fmla="*/ 2147483647 h 260"/>
                  <a:gd name="T116" fmla="*/ 2147483647 w 282"/>
                  <a:gd name="T117" fmla="*/ 2147483647 h 260"/>
                  <a:gd name="T118" fmla="*/ 2147483647 w 282"/>
                  <a:gd name="T119" fmla="*/ 2147483647 h 260"/>
                  <a:gd name="T120" fmla="*/ 2147483647 w 282"/>
                  <a:gd name="T121" fmla="*/ 2147483647 h 26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282"/>
                  <a:gd name="T184" fmla="*/ 0 h 260"/>
                  <a:gd name="T185" fmla="*/ 282 w 282"/>
                  <a:gd name="T186" fmla="*/ 260 h 260"/>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282" h="260">
                    <a:moveTo>
                      <a:pt x="194" y="103"/>
                    </a:moveTo>
                    <a:lnTo>
                      <a:pt x="199" y="105"/>
                    </a:lnTo>
                    <a:lnTo>
                      <a:pt x="207" y="109"/>
                    </a:lnTo>
                    <a:lnTo>
                      <a:pt x="217" y="111"/>
                    </a:lnTo>
                    <a:lnTo>
                      <a:pt x="222" y="111"/>
                    </a:lnTo>
                    <a:lnTo>
                      <a:pt x="224" y="109"/>
                    </a:lnTo>
                    <a:lnTo>
                      <a:pt x="228" y="107"/>
                    </a:lnTo>
                    <a:lnTo>
                      <a:pt x="232" y="111"/>
                    </a:lnTo>
                    <a:lnTo>
                      <a:pt x="238" y="117"/>
                    </a:lnTo>
                    <a:lnTo>
                      <a:pt x="240" y="119"/>
                    </a:lnTo>
                    <a:lnTo>
                      <a:pt x="244" y="120"/>
                    </a:lnTo>
                    <a:lnTo>
                      <a:pt x="245" y="132"/>
                    </a:lnTo>
                    <a:lnTo>
                      <a:pt x="247" y="145"/>
                    </a:lnTo>
                    <a:lnTo>
                      <a:pt x="249" y="147"/>
                    </a:lnTo>
                    <a:lnTo>
                      <a:pt x="251" y="149"/>
                    </a:lnTo>
                    <a:lnTo>
                      <a:pt x="255" y="153"/>
                    </a:lnTo>
                    <a:lnTo>
                      <a:pt x="257" y="155"/>
                    </a:lnTo>
                    <a:lnTo>
                      <a:pt x="259" y="157"/>
                    </a:lnTo>
                    <a:lnTo>
                      <a:pt x="261" y="159"/>
                    </a:lnTo>
                    <a:lnTo>
                      <a:pt x="265" y="163"/>
                    </a:lnTo>
                    <a:lnTo>
                      <a:pt x="267" y="165"/>
                    </a:lnTo>
                    <a:lnTo>
                      <a:pt x="269" y="166"/>
                    </a:lnTo>
                    <a:lnTo>
                      <a:pt x="272" y="168"/>
                    </a:lnTo>
                    <a:lnTo>
                      <a:pt x="274" y="176"/>
                    </a:lnTo>
                    <a:lnTo>
                      <a:pt x="276" y="184"/>
                    </a:lnTo>
                    <a:lnTo>
                      <a:pt x="278" y="186"/>
                    </a:lnTo>
                    <a:lnTo>
                      <a:pt x="282" y="189"/>
                    </a:lnTo>
                    <a:lnTo>
                      <a:pt x="276" y="195"/>
                    </a:lnTo>
                    <a:lnTo>
                      <a:pt x="272" y="203"/>
                    </a:lnTo>
                    <a:lnTo>
                      <a:pt x="267" y="203"/>
                    </a:lnTo>
                    <a:lnTo>
                      <a:pt x="261" y="203"/>
                    </a:lnTo>
                    <a:lnTo>
                      <a:pt x="257" y="213"/>
                    </a:lnTo>
                    <a:lnTo>
                      <a:pt x="251" y="222"/>
                    </a:lnTo>
                    <a:lnTo>
                      <a:pt x="242" y="226"/>
                    </a:lnTo>
                    <a:lnTo>
                      <a:pt x="232" y="232"/>
                    </a:lnTo>
                    <a:lnTo>
                      <a:pt x="205" y="236"/>
                    </a:lnTo>
                    <a:lnTo>
                      <a:pt x="182" y="241"/>
                    </a:lnTo>
                    <a:lnTo>
                      <a:pt x="161" y="249"/>
                    </a:lnTo>
                    <a:lnTo>
                      <a:pt x="136" y="260"/>
                    </a:lnTo>
                    <a:lnTo>
                      <a:pt x="130" y="251"/>
                    </a:lnTo>
                    <a:lnTo>
                      <a:pt x="127" y="241"/>
                    </a:lnTo>
                    <a:lnTo>
                      <a:pt x="121" y="237"/>
                    </a:lnTo>
                    <a:lnTo>
                      <a:pt x="117" y="232"/>
                    </a:lnTo>
                    <a:lnTo>
                      <a:pt x="98" y="230"/>
                    </a:lnTo>
                    <a:lnTo>
                      <a:pt x="79" y="226"/>
                    </a:lnTo>
                    <a:lnTo>
                      <a:pt x="57" y="224"/>
                    </a:lnTo>
                    <a:lnTo>
                      <a:pt x="40" y="222"/>
                    </a:lnTo>
                    <a:lnTo>
                      <a:pt x="38" y="211"/>
                    </a:lnTo>
                    <a:lnTo>
                      <a:pt x="38" y="205"/>
                    </a:lnTo>
                    <a:lnTo>
                      <a:pt x="34" y="203"/>
                    </a:lnTo>
                    <a:lnTo>
                      <a:pt x="29" y="203"/>
                    </a:lnTo>
                    <a:lnTo>
                      <a:pt x="29" y="188"/>
                    </a:lnTo>
                    <a:lnTo>
                      <a:pt x="29" y="174"/>
                    </a:lnTo>
                    <a:lnTo>
                      <a:pt x="15" y="174"/>
                    </a:lnTo>
                    <a:lnTo>
                      <a:pt x="0" y="174"/>
                    </a:lnTo>
                    <a:lnTo>
                      <a:pt x="0" y="170"/>
                    </a:lnTo>
                    <a:lnTo>
                      <a:pt x="0" y="168"/>
                    </a:lnTo>
                    <a:lnTo>
                      <a:pt x="4" y="166"/>
                    </a:lnTo>
                    <a:lnTo>
                      <a:pt x="6" y="165"/>
                    </a:lnTo>
                    <a:lnTo>
                      <a:pt x="8" y="159"/>
                    </a:lnTo>
                    <a:lnTo>
                      <a:pt x="9" y="145"/>
                    </a:lnTo>
                    <a:lnTo>
                      <a:pt x="8" y="132"/>
                    </a:lnTo>
                    <a:lnTo>
                      <a:pt x="6" y="126"/>
                    </a:lnTo>
                    <a:lnTo>
                      <a:pt x="4" y="122"/>
                    </a:lnTo>
                    <a:lnTo>
                      <a:pt x="0" y="120"/>
                    </a:lnTo>
                    <a:lnTo>
                      <a:pt x="4" y="119"/>
                    </a:lnTo>
                    <a:lnTo>
                      <a:pt x="6" y="117"/>
                    </a:lnTo>
                    <a:lnTo>
                      <a:pt x="11" y="113"/>
                    </a:lnTo>
                    <a:lnTo>
                      <a:pt x="19" y="111"/>
                    </a:lnTo>
                    <a:lnTo>
                      <a:pt x="23" y="109"/>
                    </a:lnTo>
                    <a:lnTo>
                      <a:pt x="25" y="107"/>
                    </a:lnTo>
                    <a:lnTo>
                      <a:pt x="27" y="103"/>
                    </a:lnTo>
                    <a:lnTo>
                      <a:pt x="29" y="101"/>
                    </a:lnTo>
                    <a:lnTo>
                      <a:pt x="33" y="99"/>
                    </a:lnTo>
                    <a:lnTo>
                      <a:pt x="34" y="97"/>
                    </a:lnTo>
                    <a:lnTo>
                      <a:pt x="46" y="94"/>
                    </a:lnTo>
                    <a:lnTo>
                      <a:pt x="59" y="92"/>
                    </a:lnTo>
                    <a:lnTo>
                      <a:pt x="61" y="90"/>
                    </a:lnTo>
                    <a:lnTo>
                      <a:pt x="63" y="86"/>
                    </a:lnTo>
                    <a:lnTo>
                      <a:pt x="65" y="84"/>
                    </a:lnTo>
                    <a:lnTo>
                      <a:pt x="69" y="82"/>
                    </a:lnTo>
                    <a:lnTo>
                      <a:pt x="71" y="80"/>
                    </a:lnTo>
                    <a:lnTo>
                      <a:pt x="73" y="76"/>
                    </a:lnTo>
                    <a:lnTo>
                      <a:pt x="100" y="74"/>
                    </a:lnTo>
                    <a:lnTo>
                      <a:pt x="127" y="72"/>
                    </a:lnTo>
                    <a:lnTo>
                      <a:pt x="128" y="71"/>
                    </a:lnTo>
                    <a:lnTo>
                      <a:pt x="132" y="69"/>
                    </a:lnTo>
                    <a:lnTo>
                      <a:pt x="132" y="44"/>
                    </a:lnTo>
                    <a:lnTo>
                      <a:pt x="132" y="19"/>
                    </a:lnTo>
                    <a:lnTo>
                      <a:pt x="128" y="17"/>
                    </a:lnTo>
                    <a:lnTo>
                      <a:pt x="127" y="15"/>
                    </a:lnTo>
                    <a:lnTo>
                      <a:pt x="128" y="11"/>
                    </a:lnTo>
                    <a:lnTo>
                      <a:pt x="132" y="9"/>
                    </a:lnTo>
                    <a:lnTo>
                      <a:pt x="138" y="7"/>
                    </a:lnTo>
                    <a:lnTo>
                      <a:pt x="146" y="5"/>
                    </a:lnTo>
                    <a:lnTo>
                      <a:pt x="148" y="1"/>
                    </a:lnTo>
                    <a:lnTo>
                      <a:pt x="150" y="0"/>
                    </a:lnTo>
                    <a:lnTo>
                      <a:pt x="153" y="1"/>
                    </a:lnTo>
                    <a:lnTo>
                      <a:pt x="155" y="5"/>
                    </a:lnTo>
                    <a:lnTo>
                      <a:pt x="155" y="11"/>
                    </a:lnTo>
                    <a:lnTo>
                      <a:pt x="155" y="19"/>
                    </a:lnTo>
                    <a:lnTo>
                      <a:pt x="176" y="19"/>
                    </a:lnTo>
                    <a:lnTo>
                      <a:pt x="199" y="19"/>
                    </a:lnTo>
                    <a:lnTo>
                      <a:pt x="201" y="21"/>
                    </a:lnTo>
                    <a:lnTo>
                      <a:pt x="203" y="24"/>
                    </a:lnTo>
                    <a:lnTo>
                      <a:pt x="205" y="26"/>
                    </a:lnTo>
                    <a:lnTo>
                      <a:pt x="209" y="28"/>
                    </a:lnTo>
                    <a:lnTo>
                      <a:pt x="211" y="32"/>
                    </a:lnTo>
                    <a:lnTo>
                      <a:pt x="213" y="34"/>
                    </a:lnTo>
                    <a:lnTo>
                      <a:pt x="211" y="36"/>
                    </a:lnTo>
                    <a:lnTo>
                      <a:pt x="209" y="38"/>
                    </a:lnTo>
                    <a:lnTo>
                      <a:pt x="205" y="42"/>
                    </a:lnTo>
                    <a:lnTo>
                      <a:pt x="203" y="44"/>
                    </a:lnTo>
                    <a:lnTo>
                      <a:pt x="201" y="46"/>
                    </a:lnTo>
                    <a:lnTo>
                      <a:pt x="199" y="48"/>
                    </a:lnTo>
                    <a:lnTo>
                      <a:pt x="196" y="49"/>
                    </a:lnTo>
                    <a:lnTo>
                      <a:pt x="194" y="53"/>
                    </a:lnTo>
                    <a:lnTo>
                      <a:pt x="192" y="55"/>
                    </a:lnTo>
                    <a:lnTo>
                      <a:pt x="190" y="57"/>
                    </a:lnTo>
                    <a:lnTo>
                      <a:pt x="186" y="67"/>
                    </a:lnTo>
                    <a:lnTo>
                      <a:pt x="184" y="76"/>
                    </a:lnTo>
                    <a:lnTo>
                      <a:pt x="190" y="90"/>
                    </a:lnTo>
                    <a:lnTo>
                      <a:pt x="194" y="103"/>
                    </a:lnTo>
                  </a:path>
                </a:pathLst>
              </a:custGeom>
              <a:grpFill/>
              <a:ln w="3175">
                <a:solidFill>
                  <a:srgbClr val="FF8300"/>
                </a:solidFill>
                <a:round/>
                <a:headEnd/>
                <a:tailEnd/>
              </a:ln>
            </p:spPr>
            <p:txBody>
              <a:bodyPr/>
              <a:lstStyle/>
              <a:p>
                <a:pPr>
                  <a:defRPr/>
                </a:pPr>
                <a:endParaRPr lang="en-GB" sz="1400">
                  <a:solidFill>
                    <a:schemeClr val="tx2"/>
                  </a:solidFill>
                </a:endParaRPr>
              </a:p>
            </p:txBody>
          </p:sp>
          <p:sp>
            <p:nvSpPr>
              <p:cNvPr id="358" name="Freeform 289"/>
              <p:cNvSpPr>
                <a:spLocks/>
              </p:cNvSpPr>
              <p:nvPr>
                <p:custDataLst>
                  <p:tags r:id="rId13"/>
                </p:custDataLst>
              </p:nvPr>
            </p:nvSpPr>
            <p:spPr bwMode="gray">
              <a:xfrm>
                <a:off x="4543434" y="5815046"/>
                <a:ext cx="681425" cy="377641"/>
              </a:xfrm>
              <a:custGeom>
                <a:avLst/>
                <a:gdLst>
                  <a:gd name="T0" fmla="*/ 2147483647 w 502"/>
                  <a:gd name="T1" fmla="*/ 2147483647 h 289"/>
                  <a:gd name="T2" fmla="*/ 2147483647 w 502"/>
                  <a:gd name="T3" fmla="*/ 2147483647 h 289"/>
                  <a:gd name="T4" fmla="*/ 2147483647 w 502"/>
                  <a:gd name="T5" fmla="*/ 2147483647 h 289"/>
                  <a:gd name="T6" fmla="*/ 2147483647 w 502"/>
                  <a:gd name="T7" fmla="*/ 2147483647 h 289"/>
                  <a:gd name="T8" fmla="*/ 2147483647 w 502"/>
                  <a:gd name="T9" fmla="*/ 2147483647 h 289"/>
                  <a:gd name="T10" fmla="*/ 2147483647 w 502"/>
                  <a:gd name="T11" fmla="*/ 2147483647 h 289"/>
                  <a:gd name="T12" fmla="*/ 2147483647 w 502"/>
                  <a:gd name="T13" fmla="*/ 2147483647 h 289"/>
                  <a:gd name="T14" fmla="*/ 2147483647 w 502"/>
                  <a:gd name="T15" fmla="*/ 2147483647 h 289"/>
                  <a:gd name="T16" fmla="*/ 2147483647 w 502"/>
                  <a:gd name="T17" fmla="*/ 2147483647 h 289"/>
                  <a:gd name="T18" fmla="*/ 2147483647 w 502"/>
                  <a:gd name="T19" fmla="*/ 2147483647 h 289"/>
                  <a:gd name="T20" fmla="*/ 2147483647 w 502"/>
                  <a:gd name="T21" fmla="*/ 2147483647 h 289"/>
                  <a:gd name="T22" fmla="*/ 0 w 502"/>
                  <a:gd name="T23" fmla="*/ 2147483647 h 289"/>
                  <a:gd name="T24" fmla="*/ 2147483647 w 502"/>
                  <a:gd name="T25" fmla="*/ 2147483647 h 289"/>
                  <a:gd name="T26" fmla="*/ 2147483647 w 502"/>
                  <a:gd name="T27" fmla="*/ 2147483647 h 289"/>
                  <a:gd name="T28" fmla="*/ 2147483647 w 502"/>
                  <a:gd name="T29" fmla="*/ 2147483647 h 289"/>
                  <a:gd name="T30" fmla="*/ 2147483647 w 502"/>
                  <a:gd name="T31" fmla="*/ 2147483647 h 289"/>
                  <a:gd name="T32" fmla="*/ 2147483647 w 502"/>
                  <a:gd name="T33" fmla="*/ 2147483647 h 289"/>
                  <a:gd name="T34" fmla="*/ 2147483647 w 502"/>
                  <a:gd name="T35" fmla="*/ 2147483647 h 289"/>
                  <a:gd name="T36" fmla="*/ 2147483647 w 502"/>
                  <a:gd name="T37" fmla="*/ 2147483647 h 289"/>
                  <a:gd name="T38" fmla="*/ 2147483647 w 502"/>
                  <a:gd name="T39" fmla="*/ 2147483647 h 289"/>
                  <a:gd name="T40" fmla="*/ 2147483647 w 502"/>
                  <a:gd name="T41" fmla="*/ 2147483647 h 289"/>
                  <a:gd name="T42" fmla="*/ 2147483647 w 502"/>
                  <a:gd name="T43" fmla="*/ 2147483647 h 289"/>
                  <a:gd name="T44" fmla="*/ 2147483647 w 502"/>
                  <a:gd name="T45" fmla="*/ 2147483647 h 289"/>
                  <a:gd name="T46" fmla="*/ 2147483647 w 502"/>
                  <a:gd name="T47" fmla="*/ 2147483647 h 289"/>
                  <a:gd name="T48" fmla="*/ 2147483647 w 502"/>
                  <a:gd name="T49" fmla="*/ 2147483647 h 289"/>
                  <a:gd name="T50" fmla="*/ 2147483647 w 502"/>
                  <a:gd name="T51" fmla="*/ 2147483647 h 289"/>
                  <a:gd name="T52" fmla="*/ 2147483647 w 502"/>
                  <a:gd name="T53" fmla="*/ 2147483647 h 289"/>
                  <a:gd name="T54" fmla="*/ 2147483647 w 502"/>
                  <a:gd name="T55" fmla="*/ 2147483647 h 289"/>
                  <a:gd name="T56" fmla="*/ 2147483647 w 502"/>
                  <a:gd name="T57" fmla="*/ 2147483647 h 289"/>
                  <a:gd name="T58" fmla="*/ 2147483647 w 502"/>
                  <a:gd name="T59" fmla="*/ 2147483647 h 289"/>
                  <a:gd name="T60" fmla="*/ 2147483647 w 502"/>
                  <a:gd name="T61" fmla="*/ 2147483647 h 289"/>
                  <a:gd name="T62" fmla="*/ 2147483647 w 502"/>
                  <a:gd name="T63" fmla="*/ 2147483647 h 289"/>
                  <a:gd name="T64" fmla="*/ 2147483647 w 502"/>
                  <a:gd name="T65" fmla="*/ 2147483647 h 289"/>
                  <a:gd name="T66" fmla="*/ 2147483647 w 502"/>
                  <a:gd name="T67" fmla="*/ 2147483647 h 289"/>
                  <a:gd name="T68" fmla="*/ 2147483647 w 502"/>
                  <a:gd name="T69" fmla="*/ 0 h 289"/>
                  <a:gd name="T70" fmla="*/ 2147483647 w 502"/>
                  <a:gd name="T71" fmla="*/ 2147483647 h 289"/>
                  <a:gd name="T72" fmla="*/ 2147483647 w 502"/>
                  <a:gd name="T73" fmla="*/ 2147483647 h 289"/>
                  <a:gd name="T74" fmla="*/ 2147483647 w 502"/>
                  <a:gd name="T75" fmla="*/ 2147483647 h 289"/>
                  <a:gd name="T76" fmla="*/ 2147483647 w 502"/>
                  <a:gd name="T77" fmla="*/ 2147483647 h 289"/>
                  <a:gd name="T78" fmla="*/ 2147483647 w 502"/>
                  <a:gd name="T79" fmla="*/ 2147483647 h 289"/>
                  <a:gd name="T80" fmla="*/ 2147483647 w 502"/>
                  <a:gd name="T81" fmla="*/ 2147483647 h 289"/>
                  <a:gd name="T82" fmla="*/ 2147483647 w 502"/>
                  <a:gd name="T83" fmla="*/ 2147483647 h 289"/>
                  <a:gd name="T84" fmla="*/ 2147483647 w 502"/>
                  <a:gd name="T85" fmla="*/ 2147483647 h 289"/>
                  <a:gd name="T86" fmla="*/ 2147483647 w 502"/>
                  <a:gd name="T87" fmla="*/ 2147483647 h 289"/>
                  <a:gd name="T88" fmla="*/ 2147483647 w 502"/>
                  <a:gd name="T89" fmla="*/ 2147483647 h 289"/>
                  <a:gd name="T90" fmla="*/ 2147483647 w 502"/>
                  <a:gd name="T91" fmla="*/ 2147483647 h 289"/>
                  <a:gd name="T92" fmla="*/ 2147483647 w 502"/>
                  <a:gd name="T93" fmla="*/ 2147483647 h 289"/>
                  <a:gd name="T94" fmla="*/ 2147483647 w 502"/>
                  <a:gd name="T95" fmla="*/ 2147483647 h 289"/>
                  <a:gd name="T96" fmla="*/ 2147483647 w 502"/>
                  <a:gd name="T97" fmla="*/ 2147483647 h 289"/>
                  <a:gd name="T98" fmla="*/ 2147483647 w 502"/>
                  <a:gd name="T99" fmla="*/ 2147483647 h 289"/>
                  <a:gd name="T100" fmla="*/ 2147483647 w 502"/>
                  <a:gd name="T101" fmla="*/ 2147483647 h 28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502"/>
                  <a:gd name="T154" fmla="*/ 0 h 289"/>
                  <a:gd name="T155" fmla="*/ 502 w 502"/>
                  <a:gd name="T156" fmla="*/ 289 h 289"/>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502" h="289">
                    <a:moveTo>
                      <a:pt x="289" y="280"/>
                    </a:moveTo>
                    <a:lnTo>
                      <a:pt x="293" y="272"/>
                    </a:lnTo>
                    <a:lnTo>
                      <a:pt x="299" y="264"/>
                    </a:lnTo>
                    <a:lnTo>
                      <a:pt x="285" y="253"/>
                    </a:lnTo>
                    <a:lnTo>
                      <a:pt x="270" y="243"/>
                    </a:lnTo>
                    <a:lnTo>
                      <a:pt x="257" y="236"/>
                    </a:lnTo>
                    <a:lnTo>
                      <a:pt x="239" y="230"/>
                    </a:lnTo>
                    <a:lnTo>
                      <a:pt x="224" y="228"/>
                    </a:lnTo>
                    <a:lnTo>
                      <a:pt x="209" y="226"/>
                    </a:lnTo>
                    <a:lnTo>
                      <a:pt x="191" y="228"/>
                    </a:lnTo>
                    <a:lnTo>
                      <a:pt x="174" y="230"/>
                    </a:lnTo>
                    <a:lnTo>
                      <a:pt x="142" y="238"/>
                    </a:lnTo>
                    <a:lnTo>
                      <a:pt x="109" y="251"/>
                    </a:lnTo>
                    <a:lnTo>
                      <a:pt x="76" y="264"/>
                    </a:lnTo>
                    <a:lnTo>
                      <a:pt x="48" y="280"/>
                    </a:lnTo>
                    <a:lnTo>
                      <a:pt x="44" y="280"/>
                    </a:lnTo>
                    <a:lnTo>
                      <a:pt x="42" y="280"/>
                    </a:lnTo>
                    <a:lnTo>
                      <a:pt x="40" y="278"/>
                    </a:lnTo>
                    <a:lnTo>
                      <a:pt x="38" y="274"/>
                    </a:lnTo>
                    <a:lnTo>
                      <a:pt x="34" y="268"/>
                    </a:lnTo>
                    <a:lnTo>
                      <a:pt x="32" y="261"/>
                    </a:lnTo>
                    <a:lnTo>
                      <a:pt x="30" y="259"/>
                    </a:lnTo>
                    <a:lnTo>
                      <a:pt x="28" y="255"/>
                    </a:lnTo>
                    <a:lnTo>
                      <a:pt x="25" y="253"/>
                    </a:lnTo>
                    <a:lnTo>
                      <a:pt x="23" y="251"/>
                    </a:lnTo>
                    <a:lnTo>
                      <a:pt x="21" y="249"/>
                    </a:lnTo>
                    <a:lnTo>
                      <a:pt x="17" y="245"/>
                    </a:lnTo>
                    <a:lnTo>
                      <a:pt x="15" y="243"/>
                    </a:lnTo>
                    <a:lnTo>
                      <a:pt x="13" y="241"/>
                    </a:lnTo>
                    <a:lnTo>
                      <a:pt x="11" y="238"/>
                    </a:lnTo>
                    <a:lnTo>
                      <a:pt x="7" y="236"/>
                    </a:lnTo>
                    <a:lnTo>
                      <a:pt x="5" y="224"/>
                    </a:lnTo>
                    <a:lnTo>
                      <a:pt x="3" y="213"/>
                    </a:lnTo>
                    <a:lnTo>
                      <a:pt x="1" y="209"/>
                    </a:lnTo>
                    <a:lnTo>
                      <a:pt x="0" y="207"/>
                    </a:lnTo>
                    <a:lnTo>
                      <a:pt x="0" y="199"/>
                    </a:lnTo>
                    <a:lnTo>
                      <a:pt x="0" y="193"/>
                    </a:lnTo>
                    <a:lnTo>
                      <a:pt x="17" y="190"/>
                    </a:lnTo>
                    <a:lnTo>
                      <a:pt x="38" y="188"/>
                    </a:lnTo>
                    <a:lnTo>
                      <a:pt x="40" y="186"/>
                    </a:lnTo>
                    <a:lnTo>
                      <a:pt x="42" y="182"/>
                    </a:lnTo>
                    <a:lnTo>
                      <a:pt x="49" y="182"/>
                    </a:lnTo>
                    <a:lnTo>
                      <a:pt x="57" y="182"/>
                    </a:lnTo>
                    <a:lnTo>
                      <a:pt x="57" y="170"/>
                    </a:lnTo>
                    <a:lnTo>
                      <a:pt x="57" y="159"/>
                    </a:lnTo>
                    <a:lnTo>
                      <a:pt x="59" y="157"/>
                    </a:lnTo>
                    <a:lnTo>
                      <a:pt x="61" y="153"/>
                    </a:lnTo>
                    <a:lnTo>
                      <a:pt x="71" y="149"/>
                    </a:lnTo>
                    <a:lnTo>
                      <a:pt x="80" y="144"/>
                    </a:lnTo>
                    <a:lnTo>
                      <a:pt x="82" y="145"/>
                    </a:lnTo>
                    <a:lnTo>
                      <a:pt x="86" y="149"/>
                    </a:lnTo>
                    <a:lnTo>
                      <a:pt x="88" y="151"/>
                    </a:lnTo>
                    <a:lnTo>
                      <a:pt x="90" y="153"/>
                    </a:lnTo>
                    <a:lnTo>
                      <a:pt x="94" y="157"/>
                    </a:lnTo>
                    <a:lnTo>
                      <a:pt x="96" y="159"/>
                    </a:lnTo>
                    <a:lnTo>
                      <a:pt x="113" y="161"/>
                    </a:lnTo>
                    <a:lnTo>
                      <a:pt x="128" y="165"/>
                    </a:lnTo>
                    <a:lnTo>
                      <a:pt x="132" y="167"/>
                    </a:lnTo>
                    <a:lnTo>
                      <a:pt x="134" y="168"/>
                    </a:lnTo>
                    <a:lnTo>
                      <a:pt x="151" y="168"/>
                    </a:lnTo>
                    <a:lnTo>
                      <a:pt x="168" y="168"/>
                    </a:lnTo>
                    <a:lnTo>
                      <a:pt x="184" y="168"/>
                    </a:lnTo>
                    <a:lnTo>
                      <a:pt x="201" y="168"/>
                    </a:lnTo>
                    <a:lnTo>
                      <a:pt x="205" y="167"/>
                    </a:lnTo>
                    <a:lnTo>
                      <a:pt x="207" y="165"/>
                    </a:lnTo>
                    <a:lnTo>
                      <a:pt x="209" y="161"/>
                    </a:lnTo>
                    <a:lnTo>
                      <a:pt x="211" y="159"/>
                    </a:lnTo>
                    <a:lnTo>
                      <a:pt x="213" y="157"/>
                    </a:lnTo>
                    <a:lnTo>
                      <a:pt x="216" y="153"/>
                    </a:lnTo>
                    <a:lnTo>
                      <a:pt x="218" y="151"/>
                    </a:lnTo>
                    <a:lnTo>
                      <a:pt x="220" y="149"/>
                    </a:lnTo>
                    <a:lnTo>
                      <a:pt x="222" y="145"/>
                    </a:lnTo>
                    <a:lnTo>
                      <a:pt x="226" y="144"/>
                    </a:lnTo>
                    <a:lnTo>
                      <a:pt x="228" y="142"/>
                    </a:lnTo>
                    <a:lnTo>
                      <a:pt x="230" y="140"/>
                    </a:lnTo>
                    <a:lnTo>
                      <a:pt x="234" y="138"/>
                    </a:lnTo>
                    <a:lnTo>
                      <a:pt x="236" y="134"/>
                    </a:lnTo>
                    <a:lnTo>
                      <a:pt x="237" y="126"/>
                    </a:lnTo>
                    <a:lnTo>
                      <a:pt x="239" y="120"/>
                    </a:lnTo>
                    <a:lnTo>
                      <a:pt x="243" y="117"/>
                    </a:lnTo>
                    <a:lnTo>
                      <a:pt x="245" y="115"/>
                    </a:lnTo>
                    <a:lnTo>
                      <a:pt x="247" y="107"/>
                    </a:lnTo>
                    <a:lnTo>
                      <a:pt x="249" y="101"/>
                    </a:lnTo>
                    <a:lnTo>
                      <a:pt x="253" y="97"/>
                    </a:lnTo>
                    <a:lnTo>
                      <a:pt x="255" y="96"/>
                    </a:lnTo>
                    <a:lnTo>
                      <a:pt x="262" y="88"/>
                    </a:lnTo>
                    <a:lnTo>
                      <a:pt x="270" y="82"/>
                    </a:lnTo>
                    <a:lnTo>
                      <a:pt x="272" y="78"/>
                    </a:lnTo>
                    <a:lnTo>
                      <a:pt x="274" y="76"/>
                    </a:lnTo>
                    <a:lnTo>
                      <a:pt x="276" y="65"/>
                    </a:lnTo>
                    <a:lnTo>
                      <a:pt x="280" y="53"/>
                    </a:lnTo>
                    <a:lnTo>
                      <a:pt x="282" y="49"/>
                    </a:lnTo>
                    <a:lnTo>
                      <a:pt x="284" y="48"/>
                    </a:lnTo>
                    <a:lnTo>
                      <a:pt x="285" y="40"/>
                    </a:lnTo>
                    <a:lnTo>
                      <a:pt x="289" y="32"/>
                    </a:lnTo>
                    <a:lnTo>
                      <a:pt x="291" y="30"/>
                    </a:lnTo>
                    <a:lnTo>
                      <a:pt x="293" y="28"/>
                    </a:lnTo>
                    <a:lnTo>
                      <a:pt x="310" y="26"/>
                    </a:lnTo>
                    <a:lnTo>
                      <a:pt x="328" y="23"/>
                    </a:lnTo>
                    <a:lnTo>
                      <a:pt x="330" y="21"/>
                    </a:lnTo>
                    <a:lnTo>
                      <a:pt x="331" y="19"/>
                    </a:lnTo>
                    <a:lnTo>
                      <a:pt x="355" y="19"/>
                    </a:lnTo>
                    <a:lnTo>
                      <a:pt x="376" y="19"/>
                    </a:lnTo>
                    <a:lnTo>
                      <a:pt x="376" y="9"/>
                    </a:lnTo>
                    <a:lnTo>
                      <a:pt x="376" y="0"/>
                    </a:lnTo>
                    <a:lnTo>
                      <a:pt x="383" y="0"/>
                    </a:lnTo>
                    <a:lnTo>
                      <a:pt x="391" y="0"/>
                    </a:lnTo>
                    <a:lnTo>
                      <a:pt x="393" y="2"/>
                    </a:lnTo>
                    <a:lnTo>
                      <a:pt x="395" y="3"/>
                    </a:lnTo>
                    <a:lnTo>
                      <a:pt x="402" y="5"/>
                    </a:lnTo>
                    <a:lnTo>
                      <a:pt x="410" y="9"/>
                    </a:lnTo>
                    <a:lnTo>
                      <a:pt x="412" y="11"/>
                    </a:lnTo>
                    <a:lnTo>
                      <a:pt x="414" y="13"/>
                    </a:lnTo>
                    <a:lnTo>
                      <a:pt x="416" y="17"/>
                    </a:lnTo>
                    <a:lnTo>
                      <a:pt x="420" y="19"/>
                    </a:lnTo>
                    <a:lnTo>
                      <a:pt x="422" y="21"/>
                    </a:lnTo>
                    <a:lnTo>
                      <a:pt x="424" y="23"/>
                    </a:lnTo>
                    <a:lnTo>
                      <a:pt x="431" y="26"/>
                    </a:lnTo>
                    <a:lnTo>
                      <a:pt x="439" y="28"/>
                    </a:lnTo>
                    <a:lnTo>
                      <a:pt x="441" y="30"/>
                    </a:lnTo>
                    <a:lnTo>
                      <a:pt x="443" y="32"/>
                    </a:lnTo>
                    <a:lnTo>
                      <a:pt x="470" y="34"/>
                    </a:lnTo>
                    <a:lnTo>
                      <a:pt x="496" y="38"/>
                    </a:lnTo>
                    <a:lnTo>
                      <a:pt x="498" y="40"/>
                    </a:lnTo>
                    <a:lnTo>
                      <a:pt x="502" y="44"/>
                    </a:lnTo>
                    <a:lnTo>
                      <a:pt x="496" y="57"/>
                    </a:lnTo>
                    <a:lnTo>
                      <a:pt x="491" y="73"/>
                    </a:lnTo>
                    <a:lnTo>
                      <a:pt x="489" y="74"/>
                    </a:lnTo>
                    <a:lnTo>
                      <a:pt x="487" y="76"/>
                    </a:lnTo>
                    <a:lnTo>
                      <a:pt x="485" y="86"/>
                    </a:lnTo>
                    <a:lnTo>
                      <a:pt x="481" y="96"/>
                    </a:lnTo>
                    <a:lnTo>
                      <a:pt x="470" y="111"/>
                    </a:lnTo>
                    <a:lnTo>
                      <a:pt x="458" y="126"/>
                    </a:lnTo>
                    <a:lnTo>
                      <a:pt x="449" y="144"/>
                    </a:lnTo>
                    <a:lnTo>
                      <a:pt x="441" y="161"/>
                    </a:lnTo>
                    <a:lnTo>
                      <a:pt x="439" y="168"/>
                    </a:lnTo>
                    <a:lnTo>
                      <a:pt x="437" y="178"/>
                    </a:lnTo>
                    <a:lnTo>
                      <a:pt x="437" y="188"/>
                    </a:lnTo>
                    <a:lnTo>
                      <a:pt x="437" y="195"/>
                    </a:lnTo>
                    <a:lnTo>
                      <a:pt x="439" y="205"/>
                    </a:lnTo>
                    <a:lnTo>
                      <a:pt x="443" y="215"/>
                    </a:lnTo>
                    <a:lnTo>
                      <a:pt x="447" y="222"/>
                    </a:lnTo>
                    <a:lnTo>
                      <a:pt x="452" y="232"/>
                    </a:lnTo>
                    <a:lnTo>
                      <a:pt x="458" y="236"/>
                    </a:lnTo>
                    <a:lnTo>
                      <a:pt x="462" y="241"/>
                    </a:lnTo>
                    <a:lnTo>
                      <a:pt x="458" y="261"/>
                    </a:lnTo>
                    <a:lnTo>
                      <a:pt x="452" y="280"/>
                    </a:lnTo>
                    <a:lnTo>
                      <a:pt x="429" y="284"/>
                    </a:lnTo>
                    <a:lnTo>
                      <a:pt x="404" y="289"/>
                    </a:lnTo>
                    <a:lnTo>
                      <a:pt x="376" y="287"/>
                    </a:lnTo>
                    <a:lnTo>
                      <a:pt x="347" y="284"/>
                    </a:lnTo>
                    <a:lnTo>
                      <a:pt x="318" y="282"/>
                    </a:lnTo>
                    <a:lnTo>
                      <a:pt x="289" y="280"/>
                    </a:lnTo>
                  </a:path>
                </a:pathLst>
              </a:custGeom>
              <a:grpFill/>
              <a:ln w="3175">
                <a:solidFill>
                  <a:srgbClr val="FF8300"/>
                </a:solidFill>
                <a:round/>
                <a:headEnd/>
                <a:tailEnd/>
              </a:ln>
            </p:spPr>
            <p:txBody>
              <a:bodyPr/>
              <a:lstStyle/>
              <a:p>
                <a:pPr>
                  <a:defRPr/>
                </a:pPr>
                <a:endParaRPr lang="en-GB" sz="1400">
                  <a:solidFill>
                    <a:schemeClr val="tx2"/>
                  </a:solidFill>
                </a:endParaRPr>
              </a:p>
            </p:txBody>
          </p:sp>
          <p:sp>
            <p:nvSpPr>
              <p:cNvPr id="359" name="Freeform 290"/>
              <p:cNvSpPr>
                <a:spLocks/>
              </p:cNvSpPr>
              <p:nvPr>
                <p:custDataLst>
                  <p:tags r:id="rId14"/>
                </p:custDataLst>
              </p:nvPr>
            </p:nvSpPr>
            <p:spPr bwMode="gray">
              <a:xfrm>
                <a:off x="5209530" y="5156658"/>
                <a:ext cx="1095297" cy="928076"/>
              </a:xfrm>
              <a:custGeom>
                <a:avLst/>
                <a:gdLst>
                  <a:gd name="T0" fmla="*/ 2147483647 w 804"/>
                  <a:gd name="T1" fmla="*/ 2147483647 h 707"/>
                  <a:gd name="T2" fmla="*/ 2147483647 w 804"/>
                  <a:gd name="T3" fmla="*/ 2147483647 h 707"/>
                  <a:gd name="T4" fmla="*/ 2147483647 w 804"/>
                  <a:gd name="T5" fmla="*/ 2147483647 h 707"/>
                  <a:gd name="T6" fmla="*/ 2147483647 w 804"/>
                  <a:gd name="T7" fmla="*/ 2147483647 h 707"/>
                  <a:gd name="T8" fmla="*/ 2147483647 w 804"/>
                  <a:gd name="T9" fmla="*/ 2147483647 h 707"/>
                  <a:gd name="T10" fmla="*/ 2147483647 w 804"/>
                  <a:gd name="T11" fmla="*/ 2147483647 h 707"/>
                  <a:gd name="T12" fmla="*/ 2147483647 w 804"/>
                  <a:gd name="T13" fmla="*/ 2147483647 h 707"/>
                  <a:gd name="T14" fmla="*/ 2147483647 w 804"/>
                  <a:gd name="T15" fmla="*/ 2147483647 h 707"/>
                  <a:gd name="T16" fmla="*/ 2147483647 w 804"/>
                  <a:gd name="T17" fmla="*/ 2147483647 h 707"/>
                  <a:gd name="T18" fmla="*/ 2147483647 w 804"/>
                  <a:gd name="T19" fmla="*/ 2147483647 h 707"/>
                  <a:gd name="T20" fmla="*/ 2147483647 w 804"/>
                  <a:gd name="T21" fmla="*/ 2147483647 h 707"/>
                  <a:gd name="T22" fmla="*/ 2147483647 w 804"/>
                  <a:gd name="T23" fmla="*/ 2147483647 h 707"/>
                  <a:gd name="T24" fmla="*/ 2147483647 w 804"/>
                  <a:gd name="T25" fmla="*/ 2147483647 h 707"/>
                  <a:gd name="T26" fmla="*/ 2147483647 w 804"/>
                  <a:gd name="T27" fmla="*/ 2147483647 h 707"/>
                  <a:gd name="T28" fmla="*/ 2147483647 w 804"/>
                  <a:gd name="T29" fmla="*/ 2147483647 h 707"/>
                  <a:gd name="T30" fmla="*/ 2147483647 w 804"/>
                  <a:gd name="T31" fmla="*/ 2147483647 h 707"/>
                  <a:gd name="T32" fmla="*/ 2147483647 w 804"/>
                  <a:gd name="T33" fmla="*/ 2147483647 h 707"/>
                  <a:gd name="T34" fmla="*/ 2147483647 w 804"/>
                  <a:gd name="T35" fmla="*/ 2147483647 h 707"/>
                  <a:gd name="T36" fmla="*/ 2147483647 w 804"/>
                  <a:gd name="T37" fmla="*/ 2147483647 h 707"/>
                  <a:gd name="T38" fmla="*/ 2147483647 w 804"/>
                  <a:gd name="T39" fmla="*/ 2147483647 h 707"/>
                  <a:gd name="T40" fmla="*/ 2147483647 w 804"/>
                  <a:gd name="T41" fmla="*/ 2147483647 h 707"/>
                  <a:gd name="T42" fmla="*/ 2147483647 w 804"/>
                  <a:gd name="T43" fmla="*/ 2147483647 h 707"/>
                  <a:gd name="T44" fmla="*/ 2147483647 w 804"/>
                  <a:gd name="T45" fmla="*/ 2147483647 h 707"/>
                  <a:gd name="T46" fmla="*/ 2147483647 w 804"/>
                  <a:gd name="T47" fmla="*/ 2147483647 h 707"/>
                  <a:gd name="T48" fmla="*/ 2147483647 w 804"/>
                  <a:gd name="T49" fmla="*/ 2147483647 h 707"/>
                  <a:gd name="T50" fmla="*/ 2147483647 w 804"/>
                  <a:gd name="T51" fmla="*/ 2147483647 h 707"/>
                  <a:gd name="T52" fmla="*/ 2147483647 w 804"/>
                  <a:gd name="T53" fmla="*/ 2147483647 h 707"/>
                  <a:gd name="T54" fmla="*/ 2147483647 w 804"/>
                  <a:gd name="T55" fmla="*/ 2147483647 h 707"/>
                  <a:gd name="T56" fmla="*/ 2147483647 w 804"/>
                  <a:gd name="T57" fmla="*/ 2147483647 h 707"/>
                  <a:gd name="T58" fmla="*/ 2147483647 w 804"/>
                  <a:gd name="T59" fmla="*/ 2147483647 h 707"/>
                  <a:gd name="T60" fmla="*/ 2147483647 w 804"/>
                  <a:gd name="T61" fmla="*/ 2147483647 h 707"/>
                  <a:gd name="T62" fmla="*/ 2147483647 w 804"/>
                  <a:gd name="T63" fmla="*/ 2147483647 h 707"/>
                  <a:gd name="T64" fmla="*/ 2147483647 w 804"/>
                  <a:gd name="T65" fmla="*/ 2147483647 h 707"/>
                  <a:gd name="T66" fmla="*/ 2147483647 w 804"/>
                  <a:gd name="T67" fmla="*/ 2147483647 h 707"/>
                  <a:gd name="T68" fmla="*/ 2147483647 w 804"/>
                  <a:gd name="T69" fmla="*/ 2147483647 h 707"/>
                  <a:gd name="T70" fmla="*/ 2147483647 w 804"/>
                  <a:gd name="T71" fmla="*/ 2147483647 h 707"/>
                  <a:gd name="T72" fmla="*/ 2147483647 w 804"/>
                  <a:gd name="T73" fmla="*/ 2147483647 h 707"/>
                  <a:gd name="T74" fmla="*/ 2147483647 w 804"/>
                  <a:gd name="T75" fmla="*/ 2147483647 h 707"/>
                  <a:gd name="T76" fmla="*/ 2147483647 w 804"/>
                  <a:gd name="T77" fmla="*/ 2147483647 h 707"/>
                  <a:gd name="T78" fmla="*/ 2147483647 w 804"/>
                  <a:gd name="T79" fmla="*/ 2147483647 h 707"/>
                  <a:gd name="T80" fmla="*/ 2147483647 w 804"/>
                  <a:gd name="T81" fmla="*/ 2147483647 h 707"/>
                  <a:gd name="T82" fmla="*/ 2147483647 w 804"/>
                  <a:gd name="T83" fmla="*/ 2147483647 h 707"/>
                  <a:gd name="T84" fmla="*/ 2147483647 w 804"/>
                  <a:gd name="T85" fmla="*/ 2147483647 h 707"/>
                  <a:gd name="T86" fmla="*/ 2147483647 w 804"/>
                  <a:gd name="T87" fmla="*/ 2147483647 h 707"/>
                  <a:gd name="T88" fmla="*/ 2147483647 w 804"/>
                  <a:gd name="T89" fmla="*/ 2147483647 h 707"/>
                  <a:gd name="T90" fmla="*/ 2147483647 w 804"/>
                  <a:gd name="T91" fmla="*/ 2147483647 h 707"/>
                  <a:gd name="T92" fmla="*/ 2147483647 w 804"/>
                  <a:gd name="T93" fmla="*/ 2147483647 h 707"/>
                  <a:gd name="T94" fmla="*/ 2147483647 w 804"/>
                  <a:gd name="T95" fmla="*/ 2147483647 h 707"/>
                  <a:gd name="T96" fmla="*/ 2147483647 w 804"/>
                  <a:gd name="T97" fmla="*/ 2147483647 h 707"/>
                  <a:gd name="T98" fmla="*/ 2147483647 w 804"/>
                  <a:gd name="T99" fmla="*/ 2147483647 h 707"/>
                  <a:gd name="T100" fmla="*/ 2147483647 w 804"/>
                  <a:gd name="T101" fmla="*/ 2147483647 h 707"/>
                  <a:gd name="T102" fmla="*/ 2147483647 w 804"/>
                  <a:gd name="T103" fmla="*/ 2147483647 h 707"/>
                  <a:gd name="T104" fmla="*/ 2147483647 w 804"/>
                  <a:gd name="T105" fmla="*/ 2147483647 h 707"/>
                  <a:gd name="T106" fmla="*/ 2147483647 w 804"/>
                  <a:gd name="T107" fmla="*/ 2147483647 h 707"/>
                  <a:gd name="T108" fmla="*/ 2147483647 w 804"/>
                  <a:gd name="T109" fmla="*/ 2147483647 h 707"/>
                  <a:gd name="T110" fmla="*/ 2147483647 w 804"/>
                  <a:gd name="T111" fmla="*/ 2147483647 h 707"/>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804"/>
                  <a:gd name="T169" fmla="*/ 0 h 707"/>
                  <a:gd name="T170" fmla="*/ 804 w 804"/>
                  <a:gd name="T171" fmla="*/ 707 h 707"/>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804" h="707">
                    <a:moveTo>
                      <a:pt x="222" y="707"/>
                    </a:moveTo>
                    <a:lnTo>
                      <a:pt x="218" y="682"/>
                    </a:lnTo>
                    <a:lnTo>
                      <a:pt x="213" y="659"/>
                    </a:lnTo>
                    <a:lnTo>
                      <a:pt x="213" y="651"/>
                    </a:lnTo>
                    <a:lnTo>
                      <a:pt x="213" y="643"/>
                    </a:lnTo>
                    <a:lnTo>
                      <a:pt x="192" y="630"/>
                    </a:lnTo>
                    <a:lnTo>
                      <a:pt x="167" y="620"/>
                    </a:lnTo>
                    <a:lnTo>
                      <a:pt x="142" y="613"/>
                    </a:lnTo>
                    <a:lnTo>
                      <a:pt x="115" y="607"/>
                    </a:lnTo>
                    <a:lnTo>
                      <a:pt x="61" y="597"/>
                    </a:lnTo>
                    <a:lnTo>
                      <a:pt x="11" y="590"/>
                    </a:lnTo>
                    <a:lnTo>
                      <a:pt x="5" y="590"/>
                    </a:lnTo>
                    <a:lnTo>
                      <a:pt x="0" y="590"/>
                    </a:lnTo>
                    <a:lnTo>
                      <a:pt x="0" y="582"/>
                    </a:lnTo>
                    <a:lnTo>
                      <a:pt x="0" y="576"/>
                    </a:lnTo>
                    <a:lnTo>
                      <a:pt x="4" y="572"/>
                    </a:lnTo>
                    <a:lnTo>
                      <a:pt x="5" y="570"/>
                    </a:lnTo>
                    <a:lnTo>
                      <a:pt x="13" y="553"/>
                    </a:lnTo>
                    <a:lnTo>
                      <a:pt x="21" y="538"/>
                    </a:lnTo>
                    <a:lnTo>
                      <a:pt x="23" y="534"/>
                    </a:lnTo>
                    <a:lnTo>
                      <a:pt x="25" y="532"/>
                    </a:lnTo>
                    <a:lnTo>
                      <a:pt x="32" y="532"/>
                    </a:lnTo>
                    <a:lnTo>
                      <a:pt x="40" y="532"/>
                    </a:lnTo>
                    <a:lnTo>
                      <a:pt x="40" y="524"/>
                    </a:lnTo>
                    <a:lnTo>
                      <a:pt x="40" y="517"/>
                    </a:lnTo>
                    <a:lnTo>
                      <a:pt x="42" y="515"/>
                    </a:lnTo>
                    <a:lnTo>
                      <a:pt x="44" y="513"/>
                    </a:lnTo>
                    <a:lnTo>
                      <a:pt x="53" y="513"/>
                    </a:lnTo>
                    <a:lnTo>
                      <a:pt x="63" y="513"/>
                    </a:lnTo>
                    <a:lnTo>
                      <a:pt x="65" y="515"/>
                    </a:lnTo>
                    <a:lnTo>
                      <a:pt x="69" y="517"/>
                    </a:lnTo>
                    <a:lnTo>
                      <a:pt x="71" y="520"/>
                    </a:lnTo>
                    <a:lnTo>
                      <a:pt x="73" y="522"/>
                    </a:lnTo>
                    <a:lnTo>
                      <a:pt x="75" y="524"/>
                    </a:lnTo>
                    <a:lnTo>
                      <a:pt x="78" y="526"/>
                    </a:lnTo>
                    <a:lnTo>
                      <a:pt x="80" y="528"/>
                    </a:lnTo>
                    <a:lnTo>
                      <a:pt x="82" y="532"/>
                    </a:lnTo>
                    <a:lnTo>
                      <a:pt x="84" y="534"/>
                    </a:lnTo>
                    <a:lnTo>
                      <a:pt x="88" y="538"/>
                    </a:lnTo>
                    <a:lnTo>
                      <a:pt x="94" y="540"/>
                    </a:lnTo>
                    <a:lnTo>
                      <a:pt x="101" y="542"/>
                    </a:lnTo>
                    <a:lnTo>
                      <a:pt x="105" y="543"/>
                    </a:lnTo>
                    <a:lnTo>
                      <a:pt x="107" y="547"/>
                    </a:lnTo>
                    <a:lnTo>
                      <a:pt x="115" y="549"/>
                    </a:lnTo>
                    <a:lnTo>
                      <a:pt x="123" y="551"/>
                    </a:lnTo>
                    <a:lnTo>
                      <a:pt x="124" y="553"/>
                    </a:lnTo>
                    <a:lnTo>
                      <a:pt x="126" y="555"/>
                    </a:lnTo>
                    <a:lnTo>
                      <a:pt x="128" y="559"/>
                    </a:lnTo>
                    <a:lnTo>
                      <a:pt x="132" y="561"/>
                    </a:lnTo>
                    <a:lnTo>
                      <a:pt x="134" y="563"/>
                    </a:lnTo>
                    <a:lnTo>
                      <a:pt x="136" y="567"/>
                    </a:lnTo>
                    <a:lnTo>
                      <a:pt x="153" y="568"/>
                    </a:lnTo>
                    <a:lnTo>
                      <a:pt x="170" y="570"/>
                    </a:lnTo>
                    <a:lnTo>
                      <a:pt x="172" y="572"/>
                    </a:lnTo>
                    <a:lnTo>
                      <a:pt x="174" y="576"/>
                    </a:lnTo>
                    <a:lnTo>
                      <a:pt x="182" y="578"/>
                    </a:lnTo>
                    <a:lnTo>
                      <a:pt x="190" y="580"/>
                    </a:lnTo>
                    <a:lnTo>
                      <a:pt x="192" y="582"/>
                    </a:lnTo>
                    <a:lnTo>
                      <a:pt x="194" y="586"/>
                    </a:lnTo>
                    <a:lnTo>
                      <a:pt x="201" y="588"/>
                    </a:lnTo>
                    <a:lnTo>
                      <a:pt x="209" y="590"/>
                    </a:lnTo>
                    <a:lnTo>
                      <a:pt x="211" y="591"/>
                    </a:lnTo>
                    <a:lnTo>
                      <a:pt x="213" y="595"/>
                    </a:lnTo>
                    <a:lnTo>
                      <a:pt x="217" y="597"/>
                    </a:lnTo>
                    <a:lnTo>
                      <a:pt x="218" y="599"/>
                    </a:lnTo>
                    <a:lnTo>
                      <a:pt x="220" y="601"/>
                    </a:lnTo>
                    <a:lnTo>
                      <a:pt x="222" y="605"/>
                    </a:lnTo>
                    <a:lnTo>
                      <a:pt x="226" y="607"/>
                    </a:lnTo>
                    <a:lnTo>
                      <a:pt x="228" y="609"/>
                    </a:lnTo>
                    <a:lnTo>
                      <a:pt x="230" y="611"/>
                    </a:lnTo>
                    <a:lnTo>
                      <a:pt x="232" y="614"/>
                    </a:lnTo>
                    <a:lnTo>
                      <a:pt x="232" y="620"/>
                    </a:lnTo>
                    <a:lnTo>
                      <a:pt x="232" y="628"/>
                    </a:lnTo>
                    <a:lnTo>
                      <a:pt x="240" y="628"/>
                    </a:lnTo>
                    <a:lnTo>
                      <a:pt x="247" y="628"/>
                    </a:lnTo>
                    <a:lnTo>
                      <a:pt x="249" y="632"/>
                    </a:lnTo>
                    <a:lnTo>
                      <a:pt x="253" y="634"/>
                    </a:lnTo>
                    <a:lnTo>
                      <a:pt x="259" y="636"/>
                    </a:lnTo>
                    <a:lnTo>
                      <a:pt x="266" y="638"/>
                    </a:lnTo>
                    <a:lnTo>
                      <a:pt x="268" y="639"/>
                    </a:lnTo>
                    <a:lnTo>
                      <a:pt x="272" y="643"/>
                    </a:lnTo>
                    <a:lnTo>
                      <a:pt x="272" y="651"/>
                    </a:lnTo>
                    <a:lnTo>
                      <a:pt x="272" y="659"/>
                    </a:lnTo>
                    <a:lnTo>
                      <a:pt x="282" y="659"/>
                    </a:lnTo>
                    <a:lnTo>
                      <a:pt x="288" y="657"/>
                    </a:lnTo>
                    <a:lnTo>
                      <a:pt x="291" y="655"/>
                    </a:lnTo>
                    <a:lnTo>
                      <a:pt x="291" y="653"/>
                    </a:lnTo>
                    <a:lnTo>
                      <a:pt x="293" y="651"/>
                    </a:lnTo>
                    <a:lnTo>
                      <a:pt x="295" y="647"/>
                    </a:lnTo>
                    <a:lnTo>
                      <a:pt x="297" y="645"/>
                    </a:lnTo>
                    <a:lnTo>
                      <a:pt x="301" y="643"/>
                    </a:lnTo>
                    <a:lnTo>
                      <a:pt x="303" y="639"/>
                    </a:lnTo>
                    <a:lnTo>
                      <a:pt x="305" y="638"/>
                    </a:lnTo>
                    <a:lnTo>
                      <a:pt x="307" y="636"/>
                    </a:lnTo>
                    <a:lnTo>
                      <a:pt x="311" y="634"/>
                    </a:lnTo>
                    <a:lnTo>
                      <a:pt x="312" y="632"/>
                    </a:lnTo>
                    <a:lnTo>
                      <a:pt x="314" y="628"/>
                    </a:lnTo>
                    <a:lnTo>
                      <a:pt x="316" y="624"/>
                    </a:lnTo>
                    <a:lnTo>
                      <a:pt x="320" y="618"/>
                    </a:lnTo>
                    <a:lnTo>
                      <a:pt x="324" y="614"/>
                    </a:lnTo>
                    <a:lnTo>
                      <a:pt x="330" y="609"/>
                    </a:lnTo>
                    <a:lnTo>
                      <a:pt x="339" y="605"/>
                    </a:lnTo>
                    <a:lnTo>
                      <a:pt x="349" y="599"/>
                    </a:lnTo>
                    <a:lnTo>
                      <a:pt x="353" y="595"/>
                    </a:lnTo>
                    <a:lnTo>
                      <a:pt x="359" y="590"/>
                    </a:lnTo>
                    <a:lnTo>
                      <a:pt x="362" y="584"/>
                    </a:lnTo>
                    <a:lnTo>
                      <a:pt x="368" y="580"/>
                    </a:lnTo>
                    <a:lnTo>
                      <a:pt x="372" y="565"/>
                    </a:lnTo>
                    <a:lnTo>
                      <a:pt x="378" y="551"/>
                    </a:lnTo>
                    <a:lnTo>
                      <a:pt x="383" y="536"/>
                    </a:lnTo>
                    <a:lnTo>
                      <a:pt x="387" y="522"/>
                    </a:lnTo>
                    <a:lnTo>
                      <a:pt x="391" y="517"/>
                    </a:lnTo>
                    <a:lnTo>
                      <a:pt x="397" y="513"/>
                    </a:lnTo>
                    <a:lnTo>
                      <a:pt x="401" y="507"/>
                    </a:lnTo>
                    <a:lnTo>
                      <a:pt x="406" y="503"/>
                    </a:lnTo>
                    <a:lnTo>
                      <a:pt x="422" y="494"/>
                    </a:lnTo>
                    <a:lnTo>
                      <a:pt x="435" y="484"/>
                    </a:lnTo>
                    <a:lnTo>
                      <a:pt x="441" y="478"/>
                    </a:lnTo>
                    <a:lnTo>
                      <a:pt x="445" y="474"/>
                    </a:lnTo>
                    <a:lnTo>
                      <a:pt x="451" y="469"/>
                    </a:lnTo>
                    <a:lnTo>
                      <a:pt x="454" y="465"/>
                    </a:lnTo>
                    <a:lnTo>
                      <a:pt x="460" y="446"/>
                    </a:lnTo>
                    <a:lnTo>
                      <a:pt x="464" y="426"/>
                    </a:lnTo>
                    <a:lnTo>
                      <a:pt x="470" y="421"/>
                    </a:lnTo>
                    <a:lnTo>
                      <a:pt x="476" y="415"/>
                    </a:lnTo>
                    <a:lnTo>
                      <a:pt x="479" y="411"/>
                    </a:lnTo>
                    <a:lnTo>
                      <a:pt x="483" y="405"/>
                    </a:lnTo>
                    <a:lnTo>
                      <a:pt x="489" y="405"/>
                    </a:lnTo>
                    <a:lnTo>
                      <a:pt x="493" y="403"/>
                    </a:lnTo>
                    <a:lnTo>
                      <a:pt x="493" y="398"/>
                    </a:lnTo>
                    <a:lnTo>
                      <a:pt x="493" y="386"/>
                    </a:lnTo>
                    <a:lnTo>
                      <a:pt x="483" y="384"/>
                    </a:lnTo>
                    <a:lnTo>
                      <a:pt x="476" y="382"/>
                    </a:lnTo>
                    <a:lnTo>
                      <a:pt x="479" y="375"/>
                    </a:lnTo>
                    <a:lnTo>
                      <a:pt x="483" y="367"/>
                    </a:lnTo>
                    <a:lnTo>
                      <a:pt x="489" y="357"/>
                    </a:lnTo>
                    <a:lnTo>
                      <a:pt x="493" y="348"/>
                    </a:lnTo>
                    <a:lnTo>
                      <a:pt x="499" y="348"/>
                    </a:lnTo>
                    <a:lnTo>
                      <a:pt x="504" y="348"/>
                    </a:lnTo>
                    <a:lnTo>
                      <a:pt x="504" y="332"/>
                    </a:lnTo>
                    <a:lnTo>
                      <a:pt x="504" y="319"/>
                    </a:lnTo>
                    <a:lnTo>
                      <a:pt x="499" y="319"/>
                    </a:lnTo>
                    <a:lnTo>
                      <a:pt x="493" y="319"/>
                    </a:lnTo>
                    <a:lnTo>
                      <a:pt x="489" y="309"/>
                    </a:lnTo>
                    <a:lnTo>
                      <a:pt x="483" y="300"/>
                    </a:lnTo>
                    <a:lnTo>
                      <a:pt x="481" y="281"/>
                    </a:lnTo>
                    <a:lnTo>
                      <a:pt x="479" y="261"/>
                    </a:lnTo>
                    <a:lnTo>
                      <a:pt x="477" y="242"/>
                    </a:lnTo>
                    <a:lnTo>
                      <a:pt x="476" y="223"/>
                    </a:lnTo>
                    <a:lnTo>
                      <a:pt x="470" y="213"/>
                    </a:lnTo>
                    <a:lnTo>
                      <a:pt x="464" y="204"/>
                    </a:lnTo>
                    <a:lnTo>
                      <a:pt x="460" y="200"/>
                    </a:lnTo>
                    <a:lnTo>
                      <a:pt x="458" y="200"/>
                    </a:lnTo>
                    <a:lnTo>
                      <a:pt x="456" y="200"/>
                    </a:lnTo>
                    <a:lnTo>
                      <a:pt x="454" y="204"/>
                    </a:lnTo>
                    <a:lnTo>
                      <a:pt x="451" y="213"/>
                    </a:lnTo>
                    <a:lnTo>
                      <a:pt x="445" y="223"/>
                    </a:lnTo>
                    <a:lnTo>
                      <a:pt x="439" y="223"/>
                    </a:lnTo>
                    <a:lnTo>
                      <a:pt x="437" y="225"/>
                    </a:lnTo>
                    <a:lnTo>
                      <a:pt x="435" y="231"/>
                    </a:lnTo>
                    <a:lnTo>
                      <a:pt x="435" y="242"/>
                    </a:lnTo>
                    <a:lnTo>
                      <a:pt x="441" y="242"/>
                    </a:lnTo>
                    <a:lnTo>
                      <a:pt x="445" y="242"/>
                    </a:lnTo>
                    <a:lnTo>
                      <a:pt x="445" y="252"/>
                    </a:lnTo>
                    <a:lnTo>
                      <a:pt x="445" y="261"/>
                    </a:lnTo>
                    <a:lnTo>
                      <a:pt x="441" y="261"/>
                    </a:lnTo>
                    <a:lnTo>
                      <a:pt x="435" y="261"/>
                    </a:lnTo>
                    <a:lnTo>
                      <a:pt x="433" y="256"/>
                    </a:lnTo>
                    <a:lnTo>
                      <a:pt x="431" y="252"/>
                    </a:lnTo>
                    <a:lnTo>
                      <a:pt x="428" y="248"/>
                    </a:lnTo>
                    <a:lnTo>
                      <a:pt x="426" y="246"/>
                    </a:lnTo>
                    <a:lnTo>
                      <a:pt x="426" y="227"/>
                    </a:lnTo>
                    <a:lnTo>
                      <a:pt x="426" y="208"/>
                    </a:lnTo>
                    <a:lnTo>
                      <a:pt x="428" y="206"/>
                    </a:lnTo>
                    <a:lnTo>
                      <a:pt x="431" y="204"/>
                    </a:lnTo>
                    <a:lnTo>
                      <a:pt x="433" y="204"/>
                    </a:lnTo>
                    <a:lnTo>
                      <a:pt x="435" y="200"/>
                    </a:lnTo>
                    <a:lnTo>
                      <a:pt x="435" y="194"/>
                    </a:lnTo>
                    <a:lnTo>
                      <a:pt x="435" y="183"/>
                    </a:lnTo>
                    <a:lnTo>
                      <a:pt x="428" y="183"/>
                    </a:lnTo>
                    <a:lnTo>
                      <a:pt x="422" y="183"/>
                    </a:lnTo>
                    <a:lnTo>
                      <a:pt x="418" y="181"/>
                    </a:lnTo>
                    <a:lnTo>
                      <a:pt x="416" y="179"/>
                    </a:lnTo>
                    <a:lnTo>
                      <a:pt x="414" y="171"/>
                    </a:lnTo>
                    <a:lnTo>
                      <a:pt x="412" y="164"/>
                    </a:lnTo>
                    <a:lnTo>
                      <a:pt x="408" y="162"/>
                    </a:lnTo>
                    <a:lnTo>
                      <a:pt x="406" y="160"/>
                    </a:lnTo>
                    <a:lnTo>
                      <a:pt x="406" y="154"/>
                    </a:lnTo>
                    <a:lnTo>
                      <a:pt x="406" y="150"/>
                    </a:lnTo>
                    <a:lnTo>
                      <a:pt x="408" y="146"/>
                    </a:lnTo>
                    <a:lnTo>
                      <a:pt x="412" y="144"/>
                    </a:lnTo>
                    <a:lnTo>
                      <a:pt x="414" y="142"/>
                    </a:lnTo>
                    <a:lnTo>
                      <a:pt x="416" y="141"/>
                    </a:lnTo>
                    <a:lnTo>
                      <a:pt x="418" y="137"/>
                    </a:lnTo>
                    <a:lnTo>
                      <a:pt x="422" y="135"/>
                    </a:lnTo>
                    <a:lnTo>
                      <a:pt x="428" y="133"/>
                    </a:lnTo>
                    <a:lnTo>
                      <a:pt x="435" y="131"/>
                    </a:lnTo>
                    <a:lnTo>
                      <a:pt x="439" y="129"/>
                    </a:lnTo>
                    <a:lnTo>
                      <a:pt x="441" y="125"/>
                    </a:lnTo>
                    <a:lnTo>
                      <a:pt x="443" y="114"/>
                    </a:lnTo>
                    <a:lnTo>
                      <a:pt x="445" y="102"/>
                    </a:lnTo>
                    <a:lnTo>
                      <a:pt x="449" y="98"/>
                    </a:lnTo>
                    <a:lnTo>
                      <a:pt x="451" y="96"/>
                    </a:lnTo>
                    <a:lnTo>
                      <a:pt x="477" y="95"/>
                    </a:lnTo>
                    <a:lnTo>
                      <a:pt x="504" y="91"/>
                    </a:lnTo>
                    <a:lnTo>
                      <a:pt x="506" y="89"/>
                    </a:lnTo>
                    <a:lnTo>
                      <a:pt x="508" y="87"/>
                    </a:lnTo>
                    <a:lnTo>
                      <a:pt x="512" y="81"/>
                    </a:lnTo>
                    <a:lnTo>
                      <a:pt x="518" y="77"/>
                    </a:lnTo>
                    <a:lnTo>
                      <a:pt x="520" y="79"/>
                    </a:lnTo>
                    <a:lnTo>
                      <a:pt x="524" y="83"/>
                    </a:lnTo>
                    <a:lnTo>
                      <a:pt x="537" y="83"/>
                    </a:lnTo>
                    <a:lnTo>
                      <a:pt x="552" y="83"/>
                    </a:lnTo>
                    <a:lnTo>
                      <a:pt x="554" y="79"/>
                    </a:lnTo>
                    <a:lnTo>
                      <a:pt x="556" y="77"/>
                    </a:lnTo>
                    <a:lnTo>
                      <a:pt x="560" y="75"/>
                    </a:lnTo>
                    <a:lnTo>
                      <a:pt x="562" y="73"/>
                    </a:lnTo>
                    <a:lnTo>
                      <a:pt x="564" y="70"/>
                    </a:lnTo>
                    <a:lnTo>
                      <a:pt x="566" y="68"/>
                    </a:lnTo>
                    <a:lnTo>
                      <a:pt x="570" y="70"/>
                    </a:lnTo>
                    <a:lnTo>
                      <a:pt x="571" y="73"/>
                    </a:lnTo>
                    <a:lnTo>
                      <a:pt x="589" y="75"/>
                    </a:lnTo>
                    <a:lnTo>
                      <a:pt x="604" y="77"/>
                    </a:lnTo>
                    <a:lnTo>
                      <a:pt x="608" y="79"/>
                    </a:lnTo>
                    <a:lnTo>
                      <a:pt x="610" y="83"/>
                    </a:lnTo>
                    <a:lnTo>
                      <a:pt x="619" y="83"/>
                    </a:lnTo>
                    <a:lnTo>
                      <a:pt x="629" y="83"/>
                    </a:lnTo>
                    <a:lnTo>
                      <a:pt x="631" y="79"/>
                    </a:lnTo>
                    <a:lnTo>
                      <a:pt x="635" y="77"/>
                    </a:lnTo>
                    <a:lnTo>
                      <a:pt x="637" y="70"/>
                    </a:lnTo>
                    <a:lnTo>
                      <a:pt x="639" y="62"/>
                    </a:lnTo>
                    <a:lnTo>
                      <a:pt x="641" y="60"/>
                    </a:lnTo>
                    <a:lnTo>
                      <a:pt x="644" y="58"/>
                    </a:lnTo>
                    <a:lnTo>
                      <a:pt x="646" y="50"/>
                    </a:lnTo>
                    <a:lnTo>
                      <a:pt x="648" y="43"/>
                    </a:lnTo>
                    <a:lnTo>
                      <a:pt x="650" y="41"/>
                    </a:lnTo>
                    <a:lnTo>
                      <a:pt x="654" y="39"/>
                    </a:lnTo>
                    <a:lnTo>
                      <a:pt x="656" y="37"/>
                    </a:lnTo>
                    <a:lnTo>
                      <a:pt x="658" y="33"/>
                    </a:lnTo>
                    <a:lnTo>
                      <a:pt x="660" y="31"/>
                    </a:lnTo>
                    <a:lnTo>
                      <a:pt x="664" y="29"/>
                    </a:lnTo>
                    <a:lnTo>
                      <a:pt x="666" y="22"/>
                    </a:lnTo>
                    <a:lnTo>
                      <a:pt x="667" y="14"/>
                    </a:lnTo>
                    <a:lnTo>
                      <a:pt x="669" y="12"/>
                    </a:lnTo>
                    <a:lnTo>
                      <a:pt x="673" y="10"/>
                    </a:lnTo>
                    <a:lnTo>
                      <a:pt x="675" y="6"/>
                    </a:lnTo>
                    <a:lnTo>
                      <a:pt x="677" y="4"/>
                    </a:lnTo>
                    <a:lnTo>
                      <a:pt x="681" y="2"/>
                    </a:lnTo>
                    <a:lnTo>
                      <a:pt x="683" y="0"/>
                    </a:lnTo>
                    <a:lnTo>
                      <a:pt x="690" y="0"/>
                    </a:lnTo>
                    <a:lnTo>
                      <a:pt x="696" y="0"/>
                    </a:lnTo>
                    <a:lnTo>
                      <a:pt x="696" y="6"/>
                    </a:lnTo>
                    <a:lnTo>
                      <a:pt x="696" y="14"/>
                    </a:lnTo>
                    <a:lnTo>
                      <a:pt x="694" y="16"/>
                    </a:lnTo>
                    <a:lnTo>
                      <a:pt x="692" y="20"/>
                    </a:lnTo>
                    <a:lnTo>
                      <a:pt x="692" y="29"/>
                    </a:lnTo>
                    <a:lnTo>
                      <a:pt x="692" y="39"/>
                    </a:lnTo>
                    <a:lnTo>
                      <a:pt x="694" y="41"/>
                    </a:lnTo>
                    <a:lnTo>
                      <a:pt x="696" y="43"/>
                    </a:lnTo>
                    <a:lnTo>
                      <a:pt x="698" y="50"/>
                    </a:lnTo>
                    <a:lnTo>
                      <a:pt x="702" y="58"/>
                    </a:lnTo>
                    <a:lnTo>
                      <a:pt x="704" y="60"/>
                    </a:lnTo>
                    <a:lnTo>
                      <a:pt x="708" y="62"/>
                    </a:lnTo>
                    <a:lnTo>
                      <a:pt x="708" y="70"/>
                    </a:lnTo>
                    <a:lnTo>
                      <a:pt x="708" y="77"/>
                    </a:lnTo>
                    <a:lnTo>
                      <a:pt x="713" y="77"/>
                    </a:lnTo>
                    <a:lnTo>
                      <a:pt x="721" y="77"/>
                    </a:lnTo>
                    <a:lnTo>
                      <a:pt x="723" y="79"/>
                    </a:lnTo>
                    <a:lnTo>
                      <a:pt x="725" y="83"/>
                    </a:lnTo>
                    <a:lnTo>
                      <a:pt x="729" y="98"/>
                    </a:lnTo>
                    <a:lnTo>
                      <a:pt x="731" y="116"/>
                    </a:lnTo>
                    <a:lnTo>
                      <a:pt x="733" y="118"/>
                    </a:lnTo>
                    <a:lnTo>
                      <a:pt x="736" y="121"/>
                    </a:lnTo>
                    <a:lnTo>
                      <a:pt x="736" y="127"/>
                    </a:lnTo>
                    <a:lnTo>
                      <a:pt x="736" y="135"/>
                    </a:lnTo>
                    <a:lnTo>
                      <a:pt x="742" y="135"/>
                    </a:lnTo>
                    <a:lnTo>
                      <a:pt x="750" y="135"/>
                    </a:lnTo>
                    <a:lnTo>
                      <a:pt x="752" y="137"/>
                    </a:lnTo>
                    <a:lnTo>
                      <a:pt x="756" y="141"/>
                    </a:lnTo>
                    <a:lnTo>
                      <a:pt x="767" y="142"/>
                    </a:lnTo>
                    <a:lnTo>
                      <a:pt x="779" y="144"/>
                    </a:lnTo>
                    <a:lnTo>
                      <a:pt x="781" y="146"/>
                    </a:lnTo>
                    <a:lnTo>
                      <a:pt x="784" y="150"/>
                    </a:lnTo>
                    <a:lnTo>
                      <a:pt x="786" y="152"/>
                    </a:lnTo>
                    <a:lnTo>
                      <a:pt x="788" y="154"/>
                    </a:lnTo>
                    <a:lnTo>
                      <a:pt x="790" y="158"/>
                    </a:lnTo>
                    <a:lnTo>
                      <a:pt x="794" y="160"/>
                    </a:lnTo>
                    <a:lnTo>
                      <a:pt x="796" y="162"/>
                    </a:lnTo>
                    <a:lnTo>
                      <a:pt x="798" y="164"/>
                    </a:lnTo>
                    <a:lnTo>
                      <a:pt x="802" y="167"/>
                    </a:lnTo>
                    <a:lnTo>
                      <a:pt x="804" y="169"/>
                    </a:lnTo>
                    <a:lnTo>
                      <a:pt x="804" y="173"/>
                    </a:lnTo>
                    <a:lnTo>
                      <a:pt x="804" y="179"/>
                    </a:lnTo>
                    <a:lnTo>
                      <a:pt x="802" y="181"/>
                    </a:lnTo>
                    <a:lnTo>
                      <a:pt x="798" y="183"/>
                    </a:lnTo>
                    <a:lnTo>
                      <a:pt x="796" y="187"/>
                    </a:lnTo>
                    <a:lnTo>
                      <a:pt x="794" y="189"/>
                    </a:lnTo>
                    <a:lnTo>
                      <a:pt x="790" y="190"/>
                    </a:lnTo>
                    <a:lnTo>
                      <a:pt x="788" y="194"/>
                    </a:lnTo>
                    <a:lnTo>
                      <a:pt x="786" y="196"/>
                    </a:lnTo>
                    <a:lnTo>
                      <a:pt x="784" y="198"/>
                    </a:lnTo>
                    <a:lnTo>
                      <a:pt x="781" y="200"/>
                    </a:lnTo>
                    <a:lnTo>
                      <a:pt x="779" y="204"/>
                    </a:lnTo>
                    <a:lnTo>
                      <a:pt x="771" y="204"/>
                    </a:lnTo>
                    <a:lnTo>
                      <a:pt x="765" y="204"/>
                    </a:lnTo>
                    <a:lnTo>
                      <a:pt x="765" y="210"/>
                    </a:lnTo>
                    <a:lnTo>
                      <a:pt x="765" y="217"/>
                    </a:lnTo>
                    <a:lnTo>
                      <a:pt x="761" y="219"/>
                    </a:lnTo>
                    <a:lnTo>
                      <a:pt x="760" y="223"/>
                    </a:lnTo>
                    <a:lnTo>
                      <a:pt x="758" y="229"/>
                    </a:lnTo>
                    <a:lnTo>
                      <a:pt x="756" y="236"/>
                    </a:lnTo>
                    <a:lnTo>
                      <a:pt x="752" y="238"/>
                    </a:lnTo>
                    <a:lnTo>
                      <a:pt x="750" y="242"/>
                    </a:lnTo>
                    <a:lnTo>
                      <a:pt x="748" y="248"/>
                    </a:lnTo>
                    <a:lnTo>
                      <a:pt x="746" y="256"/>
                    </a:lnTo>
                    <a:lnTo>
                      <a:pt x="742" y="258"/>
                    </a:lnTo>
                    <a:lnTo>
                      <a:pt x="740" y="261"/>
                    </a:lnTo>
                    <a:lnTo>
                      <a:pt x="738" y="267"/>
                    </a:lnTo>
                    <a:lnTo>
                      <a:pt x="736" y="275"/>
                    </a:lnTo>
                    <a:lnTo>
                      <a:pt x="733" y="279"/>
                    </a:lnTo>
                    <a:lnTo>
                      <a:pt x="731" y="281"/>
                    </a:lnTo>
                    <a:lnTo>
                      <a:pt x="723" y="288"/>
                    </a:lnTo>
                    <a:lnTo>
                      <a:pt x="715" y="294"/>
                    </a:lnTo>
                    <a:lnTo>
                      <a:pt x="713" y="298"/>
                    </a:lnTo>
                    <a:lnTo>
                      <a:pt x="712" y="300"/>
                    </a:lnTo>
                    <a:lnTo>
                      <a:pt x="710" y="319"/>
                    </a:lnTo>
                    <a:lnTo>
                      <a:pt x="708" y="338"/>
                    </a:lnTo>
                    <a:lnTo>
                      <a:pt x="713" y="338"/>
                    </a:lnTo>
                    <a:lnTo>
                      <a:pt x="721" y="338"/>
                    </a:lnTo>
                    <a:lnTo>
                      <a:pt x="723" y="340"/>
                    </a:lnTo>
                    <a:lnTo>
                      <a:pt x="725" y="344"/>
                    </a:lnTo>
                    <a:lnTo>
                      <a:pt x="729" y="346"/>
                    </a:lnTo>
                    <a:lnTo>
                      <a:pt x="731" y="348"/>
                    </a:lnTo>
                    <a:lnTo>
                      <a:pt x="733" y="350"/>
                    </a:lnTo>
                    <a:lnTo>
                      <a:pt x="736" y="354"/>
                    </a:lnTo>
                    <a:lnTo>
                      <a:pt x="736" y="367"/>
                    </a:lnTo>
                    <a:lnTo>
                      <a:pt x="736" y="382"/>
                    </a:lnTo>
                    <a:lnTo>
                      <a:pt x="733" y="384"/>
                    </a:lnTo>
                    <a:lnTo>
                      <a:pt x="731" y="386"/>
                    </a:lnTo>
                    <a:lnTo>
                      <a:pt x="729" y="394"/>
                    </a:lnTo>
                    <a:lnTo>
                      <a:pt x="725" y="402"/>
                    </a:lnTo>
                    <a:lnTo>
                      <a:pt x="723" y="403"/>
                    </a:lnTo>
                    <a:lnTo>
                      <a:pt x="721" y="405"/>
                    </a:lnTo>
                    <a:lnTo>
                      <a:pt x="713" y="409"/>
                    </a:lnTo>
                    <a:lnTo>
                      <a:pt x="708" y="411"/>
                    </a:lnTo>
                    <a:lnTo>
                      <a:pt x="704" y="413"/>
                    </a:lnTo>
                    <a:lnTo>
                      <a:pt x="702" y="415"/>
                    </a:lnTo>
                    <a:lnTo>
                      <a:pt x="698" y="419"/>
                    </a:lnTo>
                    <a:lnTo>
                      <a:pt x="696" y="421"/>
                    </a:lnTo>
                    <a:lnTo>
                      <a:pt x="694" y="423"/>
                    </a:lnTo>
                    <a:lnTo>
                      <a:pt x="692" y="426"/>
                    </a:lnTo>
                    <a:lnTo>
                      <a:pt x="689" y="428"/>
                    </a:lnTo>
                    <a:lnTo>
                      <a:pt x="687" y="430"/>
                    </a:lnTo>
                    <a:lnTo>
                      <a:pt x="685" y="432"/>
                    </a:lnTo>
                    <a:lnTo>
                      <a:pt x="683" y="434"/>
                    </a:lnTo>
                    <a:lnTo>
                      <a:pt x="675" y="438"/>
                    </a:lnTo>
                    <a:lnTo>
                      <a:pt x="667" y="440"/>
                    </a:lnTo>
                    <a:lnTo>
                      <a:pt x="666" y="442"/>
                    </a:lnTo>
                    <a:lnTo>
                      <a:pt x="664" y="444"/>
                    </a:lnTo>
                    <a:lnTo>
                      <a:pt x="660" y="448"/>
                    </a:lnTo>
                    <a:lnTo>
                      <a:pt x="658" y="449"/>
                    </a:lnTo>
                    <a:lnTo>
                      <a:pt x="656" y="451"/>
                    </a:lnTo>
                    <a:lnTo>
                      <a:pt x="654" y="455"/>
                    </a:lnTo>
                    <a:lnTo>
                      <a:pt x="650" y="461"/>
                    </a:lnTo>
                    <a:lnTo>
                      <a:pt x="648" y="469"/>
                    </a:lnTo>
                    <a:lnTo>
                      <a:pt x="646" y="471"/>
                    </a:lnTo>
                    <a:lnTo>
                      <a:pt x="644" y="474"/>
                    </a:lnTo>
                    <a:lnTo>
                      <a:pt x="641" y="480"/>
                    </a:lnTo>
                    <a:lnTo>
                      <a:pt x="639" y="488"/>
                    </a:lnTo>
                    <a:lnTo>
                      <a:pt x="637" y="490"/>
                    </a:lnTo>
                    <a:lnTo>
                      <a:pt x="635" y="494"/>
                    </a:lnTo>
                    <a:lnTo>
                      <a:pt x="627" y="494"/>
                    </a:lnTo>
                    <a:lnTo>
                      <a:pt x="619" y="494"/>
                    </a:lnTo>
                    <a:lnTo>
                      <a:pt x="619" y="499"/>
                    </a:lnTo>
                    <a:lnTo>
                      <a:pt x="619" y="507"/>
                    </a:lnTo>
                    <a:lnTo>
                      <a:pt x="618" y="511"/>
                    </a:lnTo>
                    <a:lnTo>
                      <a:pt x="614" y="513"/>
                    </a:lnTo>
                    <a:lnTo>
                      <a:pt x="612" y="520"/>
                    </a:lnTo>
                    <a:lnTo>
                      <a:pt x="610" y="526"/>
                    </a:lnTo>
                    <a:lnTo>
                      <a:pt x="608" y="528"/>
                    </a:lnTo>
                    <a:lnTo>
                      <a:pt x="604" y="532"/>
                    </a:lnTo>
                    <a:lnTo>
                      <a:pt x="589" y="534"/>
                    </a:lnTo>
                    <a:lnTo>
                      <a:pt x="571" y="538"/>
                    </a:lnTo>
                    <a:lnTo>
                      <a:pt x="570" y="540"/>
                    </a:lnTo>
                    <a:lnTo>
                      <a:pt x="566" y="542"/>
                    </a:lnTo>
                    <a:lnTo>
                      <a:pt x="564" y="543"/>
                    </a:lnTo>
                    <a:lnTo>
                      <a:pt x="562" y="547"/>
                    </a:lnTo>
                    <a:lnTo>
                      <a:pt x="560" y="549"/>
                    </a:lnTo>
                    <a:lnTo>
                      <a:pt x="556" y="551"/>
                    </a:lnTo>
                    <a:lnTo>
                      <a:pt x="554" y="553"/>
                    </a:lnTo>
                    <a:lnTo>
                      <a:pt x="552" y="555"/>
                    </a:lnTo>
                    <a:lnTo>
                      <a:pt x="548" y="559"/>
                    </a:lnTo>
                    <a:lnTo>
                      <a:pt x="547" y="561"/>
                    </a:lnTo>
                    <a:lnTo>
                      <a:pt x="525" y="563"/>
                    </a:lnTo>
                    <a:lnTo>
                      <a:pt x="504" y="567"/>
                    </a:lnTo>
                    <a:lnTo>
                      <a:pt x="501" y="568"/>
                    </a:lnTo>
                    <a:lnTo>
                      <a:pt x="499" y="570"/>
                    </a:lnTo>
                    <a:lnTo>
                      <a:pt x="499" y="576"/>
                    </a:lnTo>
                    <a:lnTo>
                      <a:pt x="499" y="580"/>
                    </a:lnTo>
                    <a:lnTo>
                      <a:pt x="501" y="582"/>
                    </a:lnTo>
                    <a:lnTo>
                      <a:pt x="504" y="586"/>
                    </a:lnTo>
                    <a:lnTo>
                      <a:pt x="506" y="588"/>
                    </a:lnTo>
                    <a:lnTo>
                      <a:pt x="508" y="590"/>
                    </a:lnTo>
                    <a:lnTo>
                      <a:pt x="510" y="591"/>
                    </a:lnTo>
                    <a:lnTo>
                      <a:pt x="514" y="595"/>
                    </a:lnTo>
                    <a:lnTo>
                      <a:pt x="510" y="597"/>
                    </a:lnTo>
                    <a:lnTo>
                      <a:pt x="508" y="599"/>
                    </a:lnTo>
                    <a:lnTo>
                      <a:pt x="506" y="601"/>
                    </a:lnTo>
                    <a:lnTo>
                      <a:pt x="504" y="605"/>
                    </a:lnTo>
                    <a:lnTo>
                      <a:pt x="501" y="607"/>
                    </a:lnTo>
                    <a:lnTo>
                      <a:pt x="499" y="609"/>
                    </a:lnTo>
                    <a:lnTo>
                      <a:pt x="497" y="614"/>
                    </a:lnTo>
                    <a:lnTo>
                      <a:pt x="495" y="624"/>
                    </a:lnTo>
                    <a:lnTo>
                      <a:pt x="497" y="634"/>
                    </a:lnTo>
                    <a:lnTo>
                      <a:pt x="499" y="638"/>
                    </a:lnTo>
                    <a:lnTo>
                      <a:pt x="501" y="639"/>
                    </a:lnTo>
                    <a:lnTo>
                      <a:pt x="504" y="643"/>
                    </a:lnTo>
                    <a:lnTo>
                      <a:pt x="510" y="645"/>
                    </a:lnTo>
                    <a:lnTo>
                      <a:pt x="518" y="647"/>
                    </a:lnTo>
                    <a:lnTo>
                      <a:pt x="520" y="651"/>
                    </a:lnTo>
                    <a:lnTo>
                      <a:pt x="524" y="653"/>
                    </a:lnTo>
                    <a:lnTo>
                      <a:pt x="520" y="655"/>
                    </a:lnTo>
                    <a:lnTo>
                      <a:pt x="518" y="659"/>
                    </a:lnTo>
                    <a:lnTo>
                      <a:pt x="516" y="661"/>
                    </a:lnTo>
                    <a:lnTo>
                      <a:pt x="514" y="662"/>
                    </a:lnTo>
                    <a:lnTo>
                      <a:pt x="510" y="664"/>
                    </a:lnTo>
                    <a:lnTo>
                      <a:pt x="508" y="666"/>
                    </a:lnTo>
                    <a:lnTo>
                      <a:pt x="506" y="666"/>
                    </a:lnTo>
                    <a:lnTo>
                      <a:pt x="504" y="666"/>
                    </a:lnTo>
                    <a:lnTo>
                      <a:pt x="499" y="672"/>
                    </a:lnTo>
                    <a:lnTo>
                      <a:pt x="493" y="676"/>
                    </a:lnTo>
                    <a:lnTo>
                      <a:pt x="489" y="676"/>
                    </a:lnTo>
                    <a:lnTo>
                      <a:pt x="483" y="676"/>
                    </a:lnTo>
                    <a:lnTo>
                      <a:pt x="466" y="668"/>
                    </a:lnTo>
                    <a:lnTo>
                      <a:pt x="449" y="662"/>
                    </a:lnTo>
                    <a:lnTo>
                      <a:pt x="433" y="659"/>
                    </a:lnTo>
                    <a:lnTo>
                      <a:pt x="416" y="657"/>
                    </a:lnTo>
                    <a:lnTo>
                      <a:pt x="401" y="657"/>
                    </a:lnTo>
                    <a:lnTo>
                      <a:pt x="383" y="657"/>
                    </a:lnTo>
                    <a:lnTo>
                      <a:pt x="366" y="661"/>
                    </a:lnTo>
                    <a:lnTo>
                      <a:pt x="349" y="666"/>
                    </a:lnTo>
                    <a:lnTo>
                      <a:pt x="336" y="664"/>
                    </a:lnTo>
                    <a:lnTo>
                      <a:pt x="322" y="666"/>
                    </a:lnTo>
                    <a:lnTo>
                      <a:pt x="307" y="672"/>
                    </a:lnTo>
                    <a:lnTo>
                      <a:pt x="289" y="678"/>
                    </a:lnTo>
                    <a:lnTo>
                      <a:pt x="259" y="693"/>
                    </a:lnTo>
                    <a:lnTo>
                      <a:pt x="232" y="707"/>
                    </a:lnTo>
                    <a:lnTo>
                      <a:pt x="228" y="707"/>
                    </a:lnTo>
                    <a:lnTo>
                      <a:pt x="222" y="707"/>
                    </a:lnTo>
                  </a:path>
                </a:pathLst>
              </a:custGeom>
              <a:grpFill/>
              <a:ln w="3175">
                <a:solidFill>
                  <a:srgbClr val="FF8300"/>
                </a:solidFill>
                <a:round/>
                <a:headEnd/>
                <a:tailEnd/>
              </a:ln>
            </p:spPr>
            <p:txBody>
              <a:bodyPr/>
              <a:lstStyle/>
              <a:p>
                <a:pPr>
                  <a:defRPr/>
                </a:pPr>
                <a:endParaRPr lang="en-GB" sz="1400">
                  <a:solidFill>
                    <a:schemeClr val="tx2"/>
                  </a:solidFill>
                </a:endParaRPr>
              </a:p>
            </p:txBody>
          </p:sp>
          <p:sp>
            <p:nvSpPr>
              <p:cNvPr id="360" name="Freeform 10"/>
              <p:cNvSpPr>
                <a:spLocks/>
              </p:cNvSpPr>
              <p:nvPr>
                <p:custDataLst>
                  <p:tags r:id="rId15"/>
                </p:custDataLst>
              </p:nvPr>
            </p:nvSpPr>
            <p:spPr bwMode="gray">
              <a:xfrm>
                <a:off x="4989356" y="4561542"/>
                <a:ext cx="1288994" cy="1460395"/>
              </a:xfrm>
              <a:custGeom>
                <a:avLst/>
                <a:gdLst>
                  <a:gd name="T0" fmla="*/ 2147483647 w 947"/>
                  <a:gd name="T1" fmla="*/ 2147483647 h 1111"/>
                  <a:gd name="T2" fmla="*/ 2147483647 w 947"/>
                  <a:gd name="T3" fmla="*/ 2147483647 h 1111"/>
                  <a:gd name="T4" fmla="*/ 2147483647 w 947"/>
                  <a:gd name="T5" fmla="*/ 2147483647 h 1111"/>
                  <a:gd name="T6" fmla="*/ 2147483647 w 947"/>
                  <a:gd name="T7" fmla="*/ 2147483647 h 1111"/>
                  <a:gd name="T8" fmla="*/ 2147483647 w 947"/>
                  <a:gd name="T9" fmla="*/ 2147483647 h 1111"/>
                  <a:gd name="T10" fmla="*/ 2147483647 w 947"/>
                  <a:gd name="T11" fmla="*/ 2147483647 h 1111"/>
                  <a:gd name="T12" fmla="*/ 2147483647 w 947"/>
                  <a:gd name="T13" fmla="*/ 2147483647 h 1111"/>
                  <a:gd name="T14" fmla="*/ 2147483647 w 947"/>
                  <a:gd name="T15" fmla="*/ 2147483647 h 1111"/>
                  <a:gd name="T16" fmla="*/ 2147483647 w 947"/>
                  <a:gd name="T17" fmla="*/ 2147483647 h 1111"/>
                  <a:gd name="T18" fmla="*/ 2147483647 w 947"/>
                  <a:gd name="T19" fmla="*/ 2147483647 h 1111"/>
                  <a:gd name="T20" fmla="*/ 2147483647 w 947"/>
                  <a:gd name="T21" fmla="*/ 2147483647 h 1111"/>
                  <a:gd name="T22" fmla="*/ 2147483647 w 947"/>
                  <a:gd name="T23" fmla="*/ 2147483647 h 1111"/>
                  <a:gd name="T24" fmla="*/ 2147483647 w 947"/>
                  <a:gd name="T25" fmla="*/ 2147483647 h 1111"/>
                  <a:gd name="T26" fmla="*/ 2147483647 w 947"/>
                  <a:gd name="T27" fmla="*/ 2147483647 h 1111"/>
                  <a:gd name="T28" fmla="*/ 2147483647 w 947"/>
                  <a:gd name="T29" fmla="*/ 2147483647 h 1111"/>
                  <a:gd name="T30" fmla="*/ 2147483647 w 947"/>
                  <a:gd name="T31" fmla="*/ 2147483647 h 1111"/>
                  <a:gd name="T32" fmla="*/ 2147483647 w 947"/>
                  <a:gd name="T33" fmla="*/ 2147483647 h 1111"/>
                  <a:gd name="T34" fmla="*/ 2147483647 w 947"/>
                  <a:gd name="T35" fmla="*/ 2147483647 h 1111"/>
                  <a:gd name="T36" fmla="*/ 2147483647 w 947"/>
                  <a:gd name="T37" fmla="*/ 2147483647 h 1111"/>
                  <a:gd name="T38" fmla="*/ 2147483647 w 947"/>
                  <a:gd name="T39" fmla="*/ 2147483647 h 1111"/>
                  <a:gd name="T40" fmla="*/ 2147483647 w 947"/>
                  <a:gd name="T41" fmla="*/ 2147483647 h 1111"/>
                  <a:gd name="T42" fmla="*/ 2147483647 w 947"/>
                  <a:gd name="T43" fmla="*/ 2147483647 h 1111"/>
                  <a:gd name="T44" fmla="*/ 2147483647 w 947"/>
                  <a:gd name="T45" fmla="*/ 2147483647 h 1111"/>
                  <a:gd name="T46" fmla="*/ 2147483647 w 947"/>
                  <a:gd name="T47" fmla="*/ 2147483647 h 1111"/>
                  <a:gd name="T48" fmla="*/ 2147483647 w 947"/>
                  <a:gd name="T49" fmla="*/ 2147483647 h 1111"/>
                  <a:gd name="T50" fmla="*/ 2147483647 w 947"/>
                  <a:gd name="T51" fmla="*/ 2147483647 h 1111"/>
                  <a:gd name="T52" fmla="*/ 2147483647 w 947"/>
                  <a:gd name="T53" fmla="*/ 2147483647 h 1111"/>
                  <a:gd name="T54" fmla="*/ 2147483647 w 947"/>
                  <a:gd name="T55" fmla="*/ 2147483647 h 1111"/>
                  <a:gd name="T56" fmla="*/ 2147483647 w 947"/>
                  <a:gd name="T57" fmla="*/ 2147483647 h 1111"/>
                  <a:gd name="T58" fmla="*/ 2147483647 w 947"/>
                  <a:gd name="T59" fmla="*/ 2147483647 h 1111"/>
                  <a:gd name="T60" fmla="*/ 2147483647 w 947"/>
                  <a:gd name="T61" fmla="*/ 2147483647 h 1111"/>
                  <a:gd name="T62" fmla="*/ 2147483647 w 947"/>
                  <a:gd name="T63" fmla="*/ 2147483647 h 1111"/>
                  <a:gd name="T64" fmla="*/ 2147483647 w 947"/>
                  <a:gd name="T65" fmla="*/ 2147483647 h 1111"/>
                  <a:gd name="T66" fmla="*/ 2147483647 w 947"/>
                  <a:gd name="T67" fmla="*/ 2147483647 h 1111"/>
                  <a:gd name="T68" fmla="*/ 2147483647 w 947"/>
                  <a:gd name="T69" fmla="*/ 2147483647 h 1111"/>
                  <a:gd name="T70" fmla="*/ 2147483647 w 947"/>
                  <a:gd name="T71" fmla="*/ 2147483647 h 1111"/>
                  <a:gd name="T72" fmla="*/ 2147483647 w 947"/>
                  <a:gd name="T73" fmla="*/ 2147483647 h 1111"/>
                  <a:gd name="T74" fmla="*/ 2147483647 w 947"/>
                  <a:gd name="T75" fmla="*/ 2147483647 h 1111"/>
                  <a:gd name="T76" fmla="*/ 2147483647 w 947"/>
                  <a:gd name="T77" fmla="*/ 2147483647 h 1111"/>
                  <a:gd name="T78" fmla="*/ 2147483647 w 947"/>
                  <a:gd name="T79" fmla="*/ 2147483647 h 1111"/>
                  <a:gd name="T80" fmla="*/ 2147483647 w 947"/>
                  <a:gd name="T81" fmla="*/ 2147483647 h 1111"/>
                  <a:gd name="T82" fmla="*/ 2147483647 w 947"/>
                  <a:gd name="T83" fmla="*/ 2147483647 h 1111"/>
                  <a:gd name="T84" fmla="*/ 2147483647 w 947"/>
                  <a:gd name="T85" fmla="*/ 2147483647 h 1111"/>
                  <a:gd name="T86" fmla="*/ 2147483647 w 947"/>
                  <a:gd name="T87" fmla="*/ 2147483647 h 1111"/>
                  <a:gd name="T88" fmla="*/ 2147483647 w 947"/>
                  <a:gd name="T89" fmla="*/ 2147483647 h 1111"/>
                  <a:gd name="T90" fmla="*/ 2147483647 w 947"/>
                  <a:gd name="T91" fmla="*/ 2147483647 h 1111"/>
                  <a:gd name="T92" fmla="*/ 2147483647 w 947"/>
                  <a:gd name="T93" fmla="*/ 2147483647 h 1111"/>
                  <a:gd name="T94" fmla="*/ 2147483647 w 947"/>
                  <a:gd name="T95" fmla="*/ 2147483647 h 1111"/>
                  <a:gd name="T96" fmla="*/ 2147483647 w 947"/>
                  <a:gd name="T97" fmla="*/ 2147483647 h 1111"/>
                  <a:gd name="T98" fmla="*/ 2147483647 w 947"/>
                  <a:gd name="T99" fmla="*/ 2147483647 h 1111"/>
                  <a:gd name="T100" fmla="*/ 2147483647 w 947"/>
                  <a:gd name="T101" fmla="*/ 2147483647 h 1111"/>
                  <a:gd name="T102" fmla="*/ 2147483647 w 947"/>
                  <a:gd name="T103" fmla="*/ 2147483647 h 1111"/>
                  <a:gd name="T104" fmla="*/ 2147483647 w 947"/>
                  <a:gd name="T105" fmla="*/ 2147483647 h 1111"/>
                  <a:gd name="T106" fmla="*/ 2147483647 w 947"/>
                  <a:gd name="T107" fmla="*/ 2147483647 h 1111"/>
                  <a:gd name="T108" fmla="*/ 2147483647 w 947"/>
                  <a:gd name="T109" fmla="*/ 2147483647 h 1111"/>
                  <a:gd name="T110" fmla="*/ 2147483647 w 947"/>
                  <a:gd name="T111" fmla="*/ 2147483647 h 1111"/>
                  <a:gd name="T112" fmla="*/ 2147483647 w 947"/>
                  <a:gd name="T113" fmla="*/ 2147483647 h 1111"/>
                  <a:gd name="T114" fmla="*/ 2147483647 w 947"/>
                  <a:gd name="T115" fmla="*/ 2147483647 h 1111"/>
                  <a:gd name="T116" fmla="*/ 2147483647 w 947"/>
                  <a:gd name="T117" fmla="*/ 2147483647 h 1111"/>
                  <a:gd name="T118" fmla="*/ 2147483647 w 947"/>
                  <a:gd name="T119" fmla="*/ 2147483647 h 1111"/>
                  <a:gd name="T120" fmla="*/ 2147483647 w 947"/>
                  <a:gd name="T121" fmla="*/ 2147483647 h 1111"/>
                  <a:gd name="T122" fmla="*/ 2147483647 w 947"/>
                  <a:gd name="T123" fmla="*/ 2147483647 h 1111"/>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947"/>
                  <a:gd name="T187" fmla="*/ 0 h 1111"/>
                  <a:gd name="T188" fmla="*/ 947 w 947"/>
                  <a:gd name="T189" fmla="*/ 1111 h 1111"/>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947" h="1111">
                    <a:moveTo>
                      <a:pt x="439" y="1102"/>
                    </a:moveTo>
                    <a:lnTo>
                      <a:pt x="437" y="1100"/>
                    </a:lnTo>
                    <a:lnTo>
                      <a:pt x="435" y="1098"/>
                    </a:lnTo>
                    <a:lnTo>
                      <a:pt x="428" y="1096"/>
                    </a:lnTo>
                    <a:lnTo>
                      <a:pt x="420" y="1092"/>
                    </a:lnTo>
                    <a:lnTo>
                      <a:pt x="418" y="1090"/>
                    </a:lnTo>
                    <a:lnTo>
                      <a:pt x="416" y="1088"/>
                    </a:lnTo>
                    <a:lnTo>
                      <a:pt x="408" y="1080"/>
                    </a:lnTo>
                    <a:lnTo>
                      <a:pt x="401" y="1073"/>
                    </a:lnTo>
                    <a:lnTo>
                      <a:pt x="399" y="1071"/>
                    </a:lnTo>
                    <a:lnTo>
                      <a:pt x="395" y="1069"/>
                    </a:lnTo>
                    <a:lnTo>
                      <a:pt x="393" y="1065"/>
                    </a:lnTo>
                    <a:lnTo>
                      <a:pt x="391" y="1063"/>
                    </a:lnTo>
                    <a:lnTo>
                      <a:pt x="389" y="1061"/>
                    </a:lnTo>
                    <a:lnTo>
                      <a:pt x="385" y="1059"/>
                    </a:lnTo>
                    <a:lnTo>
                      <a:pt x="383" y="1055"/>
                    </a:lnTo>
                    <a:lnTo>
                      <a:pt x="381" y="1054"/>
                    </a:lnTo>
                    <a:lnTo>
                      <a:pt x="380" y="1052"/>
                    </a:lnTo>
                    <a:lnTo>
                      <a:pt x="376" y="1050"/>
                    </a:lnTo>
                    <a:lnTo>
                      <a:pt x="368" y="1046"/>
                    </a:lnTo>
                    <a:lnTo>
                      <a:pt x="362" y="1044"/>
                    </a:lnTo>
                    <a:lnTo>
                      <a:pt x="358" y="1042"/>
                    </a:lnTo>
                    <a:lnTo>
                      <a:pt x="357" y="1040"/>
                    </a:lnTo>
                    <a:lnTo>
                      <a:pt x="349" y="1036"/>
                    </a:lnTo>
                    <a:lnTo>
                      <a:pt x="343" y="1034"/>
                    </a:lnTo>
                    <a:lnTo>
                      <a:pt x="339" y="1032"/>
                    </a:lnTo>
                    <a:lnTo>
                      <a:pt x="337" y="1031"/>
                    </a:lnTo>
                    <a:lnTo>
                      <a:pt x="320" y="1027"/>
                    </a:lnTo>
                    <a:lnTo>
                      <a:pt x="303" y="1025"/>
                    </a:lnTo>
                    <a:lnTo>
                      <a:pt x="301" y="1023"/>
                    </a:lnTo>
                    <a:lnTo>
                      <a:pt x="299" y="1019"/>
                    </a:lnTo>
                    <a:lnTo>
                      <a:pt x="297" y="1017"/>
                    </a:lnTo>
                    <a:lnTo>
                      <a:pt x="295" y="1015"/>
                    </a:lnTo>
                    <a:lnTo>
                      <a:pt x="291" y="1013"/>
                    </a:lnTo>
                    <a:lnTo>
                      <a:pt x="289" y="1011"/>
                    </a:lnTo>
                    <a:lnTo>
                      <a:pt x="282" y="1007"/>
                    </a:lnTo>
                    <a:lnTo>
                      <a:pt x="274" y="1006"/>
                    </a:lnTo>
                    <a:lnTo>
                      <a:pt x="272" y="1004"/>
                    </a:lnTo>
                    <a:lnTo>
                      <a:pt x="270" y="1002"/>
                    </a:lnTo>
                    <a:lnTo>
                      <a:pt x="263" y="998"/>
                    </a:lnTo>
                    <a:lnTo>
                      <a:pt x="255" y="996"/>
                    </a:lnTo>
                    <a:lnTo>
                      <a:pt x="253" y="992"/>
                    </a:lnTo>
                    <a:lnTo>
                      <a:pt x="251" y="990"/>
                    </a:lnTo>
                    <a:lnTo>
                      <a:pt x="247" y="988"/>
                    </a:lnTo>
                    <a:lnTo>
                      <a:pt x="245" y="986"/>
                    </a:lnTo>
                    <a:lnTo>
                      <a:pt x="243" y="984"/>
                    </a:lnTo>
                    <a:lnTo>
                      <a:pt x="241" y="981"/>
                    </a:lnTo>
                    <a:lnTo>
                      <a:pt x="238" y="979"/>
                    </a:lnTo>
                    <a:lnTo>
                      <a:pt x="236" y="977"/>
                    </a:lnTo>
                    <a:lnTo>
                      <a:pt x="234" y="975"/>
                    </a:lnTo>
                    <a:lnTo>
                      <a:pt x="232" y="971"/>
                    </a:lnTo>
                    <a:lnTo>
                      <a:pt x="216" y="971"/>
                    </a:lnTo>
                    <a:lnTo>
                      <a:pt x="203" y="971"/>
                    </a:lnTo>
                    <a:lnTo>
                      <a:pt x="199" y="975"/>
                    </a:lnTo>
                    <a:lnTo>
                      <a:pt x="197" y="977"/>
                    </a:lnTo>
                    <a:lnTo>
                      <a:pt x="190" y="984"/>
                    </a:lnTo>
                    <a:lnTo>
                      <a:pt x="184" y="990"/>
                    </a:lnTo>
                    <a:lnTo>
                      <a:pt x="180" y="992"/>
                    </a:lnTo>
                    <a:lnTo>
                      <a:pt x="178" y="996"/>
                    </a:lnTo>
                    <a:lnTo>
                      <a:pt x="176" y="992"/>
                    </a:lnTo>
                    <a:lnTo>
                      <a:pt x="174" y="990"/>
                    </a:lnTo>
                    <a:lnTo>
                      <a:pt x="147" y="988"/>
                    </a:lnTo>
                    <a:lnTo>
                      <a:pt x="121" y="986"/>
                    </a:lnTo>
                    <a:lnTo>
                      <a:pt x="117" y="984"/>
                    </a:lnTo>
                    <a:lnTo>
                      <a:pt x="115" y="981"/>
                    </a:lnTo>
                    <a:lnTo>
                      <a:pt x="107" y="979"/>
                    </a:lnTo>
                    <a:lnTo>
                      <a:pt x="101" y="977"/>
                    </a:lnTo>
                    <a:lnTo>
                      <a:pt x="98" y="975"/>
                    </a:lnTo>
                    <a:lnTo>
                      <a:pt x="96" y="971"/>
                    </a:lnTo>
                    <a:lnTo>
                      <a:pt x="94" y="969"/>
                    </a:lnTo>
                    <a:lnTo>
                      <a:pt x="92" y="967"/>
                    </a:lnTo>
                    <a:lnTo>
                      <a:pt x="88" y="963"/>
                    </a:lnTo>
                    <a:lnTo>
                      <a:pt x="86" y="961"/>
                    </a:lnTo>
                    <a:lnTo>
                      <a:pt x="78" y="960"/>
                    </a:lnTo>
                    <a:lnTo>
                      <a:pt x="71" y="958"/>
                    </a:lnTo>
                    <a:lnTo>
                      <a:pt x="69" y="954"/>
                    </a:lnTo>
                    <a:lnTo>
                      <a:pt x="67" y="952"/>
                    </a:lnTo>
                    <a:lnTo>
                      <a:pt x="50" y="950"/>
                    </a:lnTo>
                    <a:lnTo>
                      <a:pt x="32" y="948"/>
                    </a:lnTo>
                    <a:lnTo>
                      <a:pt x="30" y="944"/>
                    </a:lnTo>
                    <a:lnTo>
                      <a:pt x="28" y="942"/>
                    </a:lnTo>
                    <a:lnTo>
                      <a:pt x="27" y="935"/>
                    </a:lnTo>
                    <a:lnTo>
                      <a:pt x="23" y="929"/>
                    </a:lnTo>
                    <a:lnTo>
                      <a:pt x="21" y="925"/>
                    </a:lnTo>
                    <a:lnTo>
                      <a:pt x="19" y="923"/>
                    </a:lnTo>
                    <a:lnTo>
                      <a:pt x="17" y="921"/>
                    </a:lnTo>
                    <a:lnTo>
                      <a:pt x="13" y="919"/>
                    </a:lnTo>
                    <a:lnTo>
                      <a:pt x="11" y="915"/>
                    </a:lnTo>
                    <a:lnTo>
                      <a:pt x="9" y="913"/>
                    </a:lnTo>
                    <a:lnTo>
                      <a:pt x="5" y="912"/>
                    </a:lnTo>
                    <a:lnTo>
                      <a:pt x="3" y="908"/>
                    </a:lnTo>
                    <a:lnTo>
                      <a:pt x="2" y="906"/>
                    </a:lnTo>
                    <a:lnTo>
                      <a:pt x="0" y="904"/>
                    </a:lnTo>
                    <a:lnTo>
                      <a:pt x="2" y="902"/>
                    </a:lnTo>
                    <a:lnTo>
                      <a:pt x="3" y="898"/>
                    </a:lnTo>
                    <a:lnTo>
                      <a:pt x="11" y="896"/>
                    </a:lnTo>
                    <a:lnTo>
                      <a:pt x="19" y="894"/>
                    </a:lnTo>
                    <a:lnTo>
                      <a:pt x="21" y="892"/>
                    </a:lnTo>
                    <a:lnTo>
                      <a:pt x="23" y="890"/>
                    </a:lnTo>
                    <a:lnTo>
                      <a:pt x="30" y="887"/>
                    </a:lnTo>
                    <a:lnTo>
                      <a:pt x="38" y="885"/>
                    </a:lnTo>
                    <a:lnTo>
                      <a:pt x="40" y="883"/>
                    </a:lnTo>
                    <a:lnTo>
                      <a:pt x="42" y="879"/>
                    </a:lnTo>
                    <a:lnTo>
                      <a:pt x="44" y="850"/>
                    </a:lnTo>
                    <a:lnTo>
                      <a:pt x="46" y="819"/>
                    </a:lnTo>
                    <a:lnTo>
                      <a:pt x="46" y="789"/>
                    </a:lnTo>
                    <a:lnTo>
                      <a:pt x="48" y="758"/>
                    </a:lnTo>
                    <a:lnTo>
                      <a:pt x="50" y="756"/>
                    </a:lnTo>
                    <a:lnTo>
                      <a:pt x="53" y="754"/>
                    </a:lnTo>
                    <a:lnTo>
                      <a:pt x="55" y="752"/>
                    </a:lnTo>
                    <a:lnTo>
                      <a:pt x="57" y="748"/>
                    </a:lnTo>
                    <a:lnTo>
                      <a:pt x="59" y="747"/>
                    </a:lnTo>
                    <a:lnTo>
                      <a:pt x="63" y="745"/>
                    </a:lnTo>
                    <a:lnTo>
                      <a:pt x="65" y="743"/>
                    </a:lnTo>
                    <a:lnTo>
                      <a:pt x="67" y="739"/>
                    </a:lnTo>
                    <a:lnTo>
                      <a:pt x="69" y="737"/>
                    </a:lnTo>
                    <a:lnTo>
                      <a:pt x="71" y="735"/>
                    </a:lnTo>
                    <a:lnTo>
                      <a:pt x="74" y="727"/>
                    </a:lnTo>
                    <a:lnTo>
                      <a:pt x="76" y="720"/>
                    </a:lnTo>
                    <a:lnTo>
                      <a:pt x="78" y="718"/>
                    </a:lnTo>
                    <a:lnTo>
                      <a:pt x="82" y="716"/>
                    </a:lnTo>
                    <a:lnTo>
                      <a:pt x="84" y="710"/>
                    </a:lnTo>
                    <a:lnTo>
                      <a:pt x="86" y="700"/>
                    </a:lnTo>
                    <a:lnTo>
                      <a:pt x="84" y="691"/>
                    </a:lnTo>
                    <a:lnTo>
                      <a:pt x="82" y="687"/>
                    </a:lnTo>
                    <a:lnTo>
                      <a:pt x="78" y="683"/>
                    </a:lnTo>
                    <a:lnTo>
                      <a:pt x="76" y="681"/>
                    </a:lnTo>
                    <a:lnTo>
                      <a:pt x="74" y="674"/>
                    </a:lnTo>
                    <a:lnTo>
                      <a:pt x="71" y="668"/>
                    </a:lnTo>
                    <a:lnTo>
                      <a:pt x="69" y="664"/>
                    </a:lnTo>
                    <a:lnTo>
                      <a:pt x="67" y="662"/>
                    </a:lnTo>
                    <a:lnTo>
                      <a:pt x="67" y="643"/>
                    </a:lnTo>
                    <a:lnTo>
                      <a:pt x="67" y="624"/>
                    </a:lnTo>
                    <a:lnTo>
                      <a:pt x="69" y="622"/>
                    </a:lnTo>
                    <a:lnTo>
                      <a:pt x="71" y="618"/>
                    </a:lnTo>
                    <a:lnTo>
                      <a:pt x="74" y="616"/>
                    </a:lnTo>
                    <a:lnTo>
                      <a:pt x="76" y="614"/>
                    </a:lnTo>
                    <a:lnTo>
                      <a:pt x="78" y="610"/>
                    </a:lnTo>
                    <a:lnTo>
                      <a:pt x="82" y="608"/>
                    </a:lnTo>
                    <a:lnTo>
                      <a:pt x="84" y="606"/>
                    </a:lnTo>
                    <a:lnTo>
                      <a:pt x="86" y="605"/>
                    </a:lnTo>
                    <a:lnTo>
                      <a:pt x="88" y="601"/>
                    </a:lnTo>
                    <a:lnTo>
                      <a:pt x="92" y="599"/>
                    </a:lnTo>
                    <a:lnTo>
                      <a:pt x="113" y="597"/>
                    </a:lnTo>
                    <a:lnTo>
                      <a:pt x="134" y="595"/>
                    </a:lnTo>
                    <a:lnTo>
                      <a:pt x="138" y="593"/>
                    </a:lnTo>
                    <a:lnTo>
                      <a:pt x="140" y="589"/>
                    </a:lnTo>
                    <a:lnTo>
                      <a:pt x="142" y="587"/>
                    </a:lnTo>
                    <a:lnTo>
                      <a:pt x="144" y="585"/>
                    </a:lnTo>
                    <a:lnTo>
                      <a:pt x="147" y="582"/>
                    </a:lnTo>
                    <a:lnTo>
                      <a:pt x="149" y="580"/>
                    </a:lnTo>
                    <a:lnTo>
                      <a:pt x="151" y="578"/>
                    </a:lnTo>
                    <a:lnTo>
                      <a:pt x="153" y="576"/>
                    </a:lnTo>
                    <a:lnTo>
                      <a:pt x="157" y="572"/>
                    </a:lnTo>
                    <a:lnTo>
                      <a:pt x="159" y="570"/>
                    </a:lnTo>
                    <a:lnTo>
                      <a:pt x="161" y="572"/>
                    </a:lnTo>
                    <a:lnTo>
                      <a:pt x="163" y="576"/>
                    </a:lnTo>
                    <a:lnTo>
                      <a:pt x="167" y="578"/>
                    </a:lnTo>
                    <a:lnTo>
                      <a:pt x="168" y="580"/>
                    </a:lnTo>
                    <a:lnTo>
                      <a:pt x="170" y="582"/>
                    </a:lnTo>
                    <a:lnTo>
                      <a:pt x="174" y="585"/>
                    </a:lnTo>
                    <a:lnTo>
                      <a:pt x="176" y="597"/>
                    </a:lnTo>
                    <a:lnTo>
                      <a:pt x="178" y="608"/>
                    </a:lnTo>
                    <a:lnTo>
                      <a:pt x="180" y="610"/>
                    </a:lnTo>
                    <a:lnTo>
                      <a:pt x="184" y="614"/>
                    </a:lnTo>
                    <a:lnTo>
                      <a:pt x="186" y="616"/>
                    </a:lnTo>
                    <a:lnTo>
                      <a:pt x="193" y="618"/>
                    </a:lnTo>
                    <a:lnTo>
                      <a:pt x="199" y="616"/>
                    </a:lnTo>
                    <a:lnTo>
                      <a:pt x="203" y="614"/>
                    </a:lnTo>
                    <a:lnTo>
                      <a:pt x="205" y="610"/>
                    </a:lnTo>
                    <a:lnTo>
                      <a:pt x="207" y="608"/>
                    </a:lnTo>
                    <a:lnTo>
                      <a:pt x="211" y="593"/>
                    </a:lnTo>
                    <a:lnTo>
                      <a:pt x="215" y="578"/>
                    </a:lnTo>
                    <a:lnTo>
                      <a:pt x="218" y="562"/>
                    </a:lnTo>
                    <a:lnTo>
                      <a:pt x="222" y="547"/>
                    </a:lnTo>
                    <a:lnTo>
                      <a:pt x="224" y="543"/>
                    </a:lnTo>
                    <a:lnTo>
                      <a:pt x="226" y="541"/>
                    </a:lnTo>
                    <a:lnTo>
                      <a:pt x="228" y="534"/>
                    </a:lnTo>
                    <a:lnTo>
                      <a:pt x="232" y="526"/>
                    </a:lnTo>
                    <a:lnTo>
                      <a:pt x="234" y="524"/>
                    </a:lnTo>
                    <a:lnTo>
                      <a:pt x="236" y="522"/>
                    </a:lnTo>
                    <a:lnTo>
                      <a:pt x="238" y="520"/>
                    </a:lnTo>
                    <a:lnTo>
                      <a:pt x="241" y="516"/>
                    </a:lnTo>
                    <a:lnTo>
                      <a:pt x="243" y="514"/>
                    </a:lnTo>
                    <a:lnTo>
                      <a:pt x="245" y="512"/>
                    </a:lnTo>
                    <a:lnTo>
                      <a:pt x="247" y="505"/>
                    </a:lnTo>
                    <a:lnTo>
                      <a:pt x="251" y="497"/>
                    </a:lnTo>
                    <a:lnTo>
                      <a:pt x="253" y="495"/>
                    </a:lnTo>
                    <a:lnTo>
                      <a:pt x="255" y="493"/>
                    </a:lnTo>
                    <a:lnTo>
                      <a:pt x="259" y="491"/>
                    </a:lnTo>
                    <a:lnTo>
                      <a:pt x="261" y="488"/>
                    </a:lnTo>
                    <a:lnTo>
                      <a:pt x="261" y="476"/>
                    </a:lnTo>
                    <a:lnTo>
                      <a:pt x="261" y="455"/>
                    </a:lnTo>
                    <a:lnTo>
                      <a:pt x="268" y="455"/>
                    </a:lnTo>
                    <a:lnTo>
                      <a:pt x="274" y="455"/>
                    </a:lnTo>
                    <a:lnTo>
                      <a:pt x="276" y="457"/>
                    </a:lnTo>
                    <a:lnTo>
                      <a:pt x="280" y="459"/>
                    </a:lnTo>
                    <a:lnTo>
                      <a:pt x="282" y="461"/>
                    </a:lnTo>
                    <a:lnTo>
                      <a:pt x="286" y="464"/>
                    </a:lnTo>
                    <a:lnTo>
                      <a:pt x="287" y="466"/>
                    </a:lnTo>
                    <a:lnTo>
                      <a:pt x="289" y="468"/>
                    </a:lnTo>
                    <a:lnTo>
                      <a:pt x="297" y="470"/>
                    </a:lnTo>
                    <a:lnTo>
                      <a:pt x="303" y="474"/>
                    </a:lnTo>
                    <a:lnTo>
                      <a:pt x="307" y="476"/>
                    </a:lnTo>
                    <a:lnTo>
                      <a:pt x="309" y="478"/>
                    </a:lnTo>
                    <a:lnTo>
                      <a:pt x="316" y="480"/>
                    </a:lnTo>
                    <a:lnTo>
                      <a:pt x="324" y="484"/>
                    </a:lnTo>
                    <a:lnTo>
                      <a:pt x="326" y="486"/>
                    </a:lnTo>
                    <a:lnTo>
                      <a:pt x="328" y="488"/>
                    </a:lnTo>
                    <a:lnTo>
                      <a:pt x="337" y="488"/>
                    </a:lnTo>
                    <a:lnTo>
                      <a:pt x="347" y="488"/>
                    </a:lnTo>
                    <a:lnTo>
                      <a:pt x="349" y="486"/>
                    </a:lnTo>
                    <a:lnTo>
                      <a:pt x="353" y="484"/>
                    </a:lnTo>
                    <a:lnTo>
                      <a:pt x="355" y="470"/>
                    </a:lnTo>
                    <a:lnTo>
                      <a:pt x="357" y="459"/>
                    </a:lnTo>
                    <a:lnTo>
                      <a:pt x="358" y="457"/>
                    </a:lnTo>
                    <a:lnTo>
                      <a:pt x="362" y="455"/>
                    </a:lnTo>
                    <a:lnTo>
                      <a:pt x="364" y="451"/>
                    </a:lnTo>
                    <a:lnTo>
                      <a:pt x="366" y="449"/>
                    </a:lnTo>
                    <a:lnTo>
                      <a:pt x="370" y="447"/>
                    </a:lnTo>
                    <a:lnTo>
                      <a:pt x="372" y="445"/>
                    </a:lnTo>
                    <a:lnTo>
                      <a:pt x="372" y="436"/>
                    </a:lnTo>
                    <a:lnTo>
                      <a:pt x="372" y="426"/>
                    </a:lnTo>
                    <a:lnTo>
                      <a:pt x="370" y="422"/>
                    </a:lnTo>
                    <a:lnTo>
                      <a:pt x="366" y="420"/>
                    </a:lnTo>
                    <a:lnTo>
                      <a:pt x="364" y="418"/>
                    </a:lnTo>
                    <a:lnTo>
                      <a:pt x="362" y="415"/>
                    </a:lnTo>
                    <a:lnTo>
                      <a:pt x="358" y="413"/>
                    </a:lnTo>
                    <a:lnTo>
                      <a:pt x="357" y="411"/>
                    </a:lnTo>
                    <a:lnTo>
                      <a:pt x="349" y="409"/>
                    </a:lnTo>
                    <a:lnTo>
                      <a:pt x="343" y="405"/>
                    </a:lnTo>
                    <a:lnTo>
                      <a:pt x="339" y="403"/>
                    </a:lnTo>
                    <a:lnTo>
                      <a:pt x="337" y="401"/>
                    </a:lnTo>
                    <a:lnTo>
                      <a:pt x="339" y="399"/>
                    </a:lnTo>
                    <a:lnTo>
                      <a:pt x="343" y="395"/>
                    </a:lnTo>
                    <a:lnTo>
                      <a:pt x="345" y="388"/>
                    </a:lnTo>
                    <a:lnTo>
                      <a:pt x="347" y="382"/>
                    </a:lnTo>
                    <a:lnTo>
                      <a:pt x="349" y="378"/>
                    </a:lnTo>
                    <a:lnTo>
                      <a:pt x="353" y="376"/>
                    </a:lnTo>
                    <a:lnTo>
                      <a:pt x="355" y="374"/>
                    </a:lnTo>
                    <a:lnTo>
                      <a:pt x="357" y="372"/>
                    </a:lnTo>
                    <a:lnTo>
                      <a:pt x="358" y="369"/>
                    </a:lnTo>
                    <a:lnTo>
                      <a:pt x="362" y="367"/>
                    </a:lnTo>
                    <a:lnTo>
                      <a:pt x="364" y="365"/>
                    </a:lnTo>
                    <a:lnTo>
                      <a:pt x="366" y="357"/>
                    </a:lnTo>
                    <a:lnTo>
                      <a:pt x="364" y="351"/>
                    </a:lnTo>
                    <a:lnTo>
                      <a:pt x="362" y="347"/>
                    </a:lnTo>
                    <a:lnTo>
                      <a:pt x="358" y="346"/>
                    </a:lnTo>
                    <a:lnTo>
                      <a:pt x="357" y="344"/>
                    </a:lnTo>
                    <a:lnTo>
                      <a:pt x="339" y="340"/>
                    </a:lnTo>
                    <a:lnTo>
                      <a:pt x="324" y="338"/>
                    </a:lnTo>
                    <a:lnTo>
                      <a:pt x="320" y="336"/>
                    </a:lnTo>
                    <a:lnTo>
                      <a:pt x="318" y="334"/>
                    </a:lnTo>
                    <a:lnTo>
                      <a:pt x="316" y="321"/>
                    </a:lnTo>
                    <a:lnTo>
                      <a:pt x="314" y="309"/>
                    </a:lnTo>
                    <a:lnTo>
                      <a:pt x="310" y="307"/>
                    </a:lnTo>
                    <a:lnTo>
                      <a:pt x="309" y="305"/>
                    </a:lnTo>
                    <a:lnTo>
                      <a:pt x="310" y="290"/>
                    </a:lnTo>
                    <a:lnTo>
                      <a:pt x="314" y="275"/>
                    </a:lnTo>
                    <a:lnTo>
                      <a:pt x="316" y="261"/>
                    </a:lnTo>
                    <a:lnTo>
                      <a:pt x="318" y="246"/>
                    </a:lnTo>
                    <a:lnTo>
                      <a:pt x="320" y="244"/>
                    </a:lnTo>
                    <a:lnTo>
                      <a:pt x="324" y="242"/>
                    </a:lnTo>
                    <a:lnTo>
                      <a:pt x="326" y="238"/>
                    </a:lnTo>
                    <a:lnTo>
                      <a:pt x="328" y="236"/>
                    </a:lnTo>
                    <a:lnTo>
                      <a:pt x="330" y="234"/>
                    </a:lnTo>
                    <a:lnTo>
                      <a:pt x="333" y="232"/>
                    </a:lnTo>
                    <a:lnTo>
                      <a:pt x="335" y="225"/>
                    </a:lnTo>
                    <a:lnTo>
                      <a:pt x="337" y="217"/>
                    </a:lnTo>
                    <a:lnTo>
                      <a:pt x="339" y="215"/>
                    </a:lnTo>
                    <a:lnTo>
                      <a:pt x="343" y="213"/>
                    </a:lnTo>
                    <a:lnTo>
                      <a:pt x="345" y="209"/>
                    </a:lnTo>
                    <a:lnTo>
                      <a:pt x="347" y="207"/>
                    </a:lnTo>
                    <a:lnTo>
                      <a:pt x="349" y="205"/>
                    </a:lnTo>
                    <a:lnTo>
                      <a:pt x="353" y="204"/>
                    </a:lnTo>
                    <a:lnTo>
                      <a:pt x="355" y="190"/>
                    </a:lnTo>
                    <a:lnTo>
                      <a:pt x="357" y="163"/>
                    </a:lnTo>
                    <a:lnTo>
                      <a:pt x="355" y="138"/>
                    </a:lnTo>
                    <a:lnTo>
                      <a:pt x="353" y="125"/>
                    </a:lnTo>
                    <a:lnTo>
                      <a:pt x="349" y="123"/>
                    </a:lnTo>
                    <a:lnTo>
                      <a:pt x="347" y="121"/>
                    </a:lnTo>
                    <a:lnTo>
                      <a:pt x="345" y="113"/>
                    </a:lnTo>
                    <a:lnTo>
                      <a:pt x="343" y="106"/>
                    </a:lnTo>
                    <a:lnTo>
                      <a:pt x="339" y="104"/>
                    </a:lnTo>
                    <a:lnTo>
                      <a:pt x="337" y="102"/>
                    </a:lnTo>
                    <a:lnTo>
                      <a:pt x="337" y="86"/>
                    </a:lnTo>
                    <a:lnTo>
                      <a:pt x="337" y="73"/>
                    </a:lnTo>
                    <a:lnTo>
                      <a:pt x="339" y="69"/>
                    </a:lnTo>
                    <a:lnTo>
                      <a:pt x="343" y="67"/>
                    </a:lnTo>
                    <a:lnTo>
                      <a:pt x="343" y="62"/>
                    </a:lnTo>
                    <a:lnTo>
                      <a:pt x="343" y="58"/>
                    </a:lnTo>
                    <a:lnTo>
                      <a:pt x="339" y="56"/>
                    </a:lnTo>
                    <a:lnTo>
                      <a:pt x="337" y="52"/>
                    </a:lnTo>
                    <a:lnTo>
                      <a:pt x="341" y="39"/>
                    </a:lnTo>
                    <a:lnTo>
                      <a:pt x="343" y="29"/>
                    </a:lnTo>
                    <a:lnTo>
                      <a:pt x="349" y="23"/>
                    </a:lnTo>
                    <a:lnTo>
                      <a:pt x="357" y="14"/>
                    </a:lnTo>
                    <a:lnTo>
                      <a:pt x="358" y="12"/>
                    </a:lnTo>
                    <a:lnTo>
                      <a:pt x="362" y="10"/>
                    </a:lnTo>
                    <a:lnTo>
                      <a:pt x="368" y="6"/>
                    </a:lnTo>
                    <a:lnTo>
                      <a:pt x="376" y="4"/>
                    </a:lnTo>
                    <a:lnTo>
                      <a:pt x="380" y="2"/>
                    </a:lnTo>
                    <a:lnTo>
                      <a:pt x="381" y="0"/>
                    </a:lnTo>
                    <a:lnTo>
                      <a:pt x="385" y="0"/>
                    </a:lnTo>
                    <a:lnTo>
                      <a:pt x="391" y="0"/>
                    </a:lnTo>
                    <a:lnTo>
                      <a:pt x="393" y="2"/>
                    </a:lnTo>
                    <a:lnTo>
                      <a:pt x="395" y="4"/>
                    </a:lnTo>
                    <a:lnTo>
                      <a:pt x="393" y="6"/>
                    </a:lnTo>
                    <a:lnTo>
                      <a:pt x="391" y="10"/>
                    </a:lnTo>
                    <a:lnTo>
                      <a:pt x="389" y="12"/>
                    </a:lnTo>
                    <a:lnTo>
                      <a:pt x="387" y="19"/>
                    </a:lnTo>
                    <a:lnTo>
                      <a:pt x="389" y="25"/>
                    </a:lnTo>
                    <a:lnTo>
                      <a:pt x="391" y="29"/>
                    </a:lnTo>
                    <a:lnTo>
                      <a:pt x="393" y="31"/>
                    </a:lnTo>
                    <a:lnTo>
                      <a:pt x="395" y="33"/>
                    </a:lnTo>
                    <a:lnTo>
                      <a:pt x="408" y="37"/>
                    </a:lnTo>
                    <a:lnTo>
                      <a:pt x="420" y="39"/>
                    </a:lnTo>
                    <a:lnTo>
                      <a:pt x="422" y="40"/>
                    </a:lnTo>
                    <a:lnTo>
                      <a:pt x="424" y="42"/>
                    </a:lnTo>
                    <a:lnTo>
                      <a:pt x="428" y="46"/>
                    </a:lnTo>
                    <a:lnTo>
                      <a:pt x="429" y="48"/>
                    </a:lnTo>
                    <a:lnTo>
                      <a:pt x="431" y="50"/>
                    </a:lnTo>
                    <a:lnTo>
                      <a:pt x="435" y="52"/>
                    </a:lnTo>
                    <a:lnTo>
                      <a:pt x="437" y="60"/>
                    </a:lnTo>
                    <a:lnTo>
                      <a:pt x="439" y="67"/>
                    </a:lnTo>
                    <a:lnTo>
                      <a:pt x="441" y="69"/>
                    </a:lnTo>
                    <a:lnTo>
                      <a:pt x="445" y="73"/>
                    </a:lnTo>
                    <a:lnTo>
                      <a:pt x="447" y="85"/>
                    </a:lnTo>
                    <a:lnTo>
                      <a:pt x="449" y="96"/>
                    </a:lnTo>
                    <a:lnTo>
                      <a:pt x="451" y="98"/>
                    </a:lnTo>
                    <a:lnTo>
                      <a:pt x="454" y="102"/>
                    </a:lnTo>
                    <a:lnTo>
                      <a:pt x="456" y="108"/>
                    </a:lnTo>
                    <a:lnTo>
                      <a:pt x="458" y="115"/>
                    </a:lnTo>
                    <a:lnTo>
                      <a:pt x="460" y="117"/>
                    </a:lnTo>
                    <a:lnTo>
                      <a:pt x="464" y="121"/>
                    </a:lnTo>
                    <a:lnTo>
                      <a:pt x="470" y="123"/>
                    </a:lnTo>
                    <a:lnTo>
                      <a:pt x="477" y="125"/>
                    </a:lnTo>
                    <a:lnTo>
                      <a:pt x="479" y="129"/>
                    </a:lnTo>
                    <a:lnTo>
                      <a:pt x="483" y="131"/>
                    </a:lnTo>
                    <a:lnTo>
                      <a:pt x="485" y="157"/>
                    </a:lnTo>
                    <a:lnTo>
                      <a:pt x="487" y="184"/>
                    </a:lnTo>
                    <a:lnTo>
                      <a:pt x="491" y="186"/>
                    </a:lnTo>
                    <a:lnTo>
                      <a:pt x="493" y="188"/>
                    </a:lnTo>
                    <a:lnTo>
                      <a:pt x="495" y="190"/>
                    </a:lnTo>
                    <a:lnTo>
                      <a:pt x="497" y="194"/>
                    </a:lnTo>
                    <a:lnTo>
                      <a:pt x="500" y="196"/>
                    </a:lnTo>
                    <a:lnTo>
                      <a:pt x="502" y="198"/>
                    </a:lnTo>
                    <a:lnTo>
                      <a:pt x="504" y="200"/>
                    </a:lnTo>
                    <a:lnTo>
                      <a:pt x="506" y="204"/>
                    </a:lnTo>
                    <a:lnTo>
                      <a:pt x="508" y="205"/>
                    </a:lnTo>
                    <a:lnTo>
                      <a:pt x="512" y="207"/>
                    </a:lnTo>
                    <a:lnTo>
                      <a:pt x="520" y="209"/>
                    </a:lnTo>
                    <a:lnTo>
                      <a:pt x="527" y="213"/>
                    </a:lnTo>
                    <a:lnTo>
                      <a:pt x="529" y="215"/>
                    </a:lnTo>
                    <a:lnTo>
                      <a:pt x="531" y="217"/>
                    </a:lnTo>
                    <a:lnTo>
                      <a:pt x="531" y="232"/>
                    </a:lnTo>
                    <a:lnTo>
                      <a:pt x="531" y="246"/>
                    </a:lnTo>
                    <a:lnTo>
                      <a:pt x="529" y="248"/>
                    </a:lnTo>
                    <a:lnTo>
                      <a:pt x="527" y="252"/>
                    </a:lnTo>
                    <a:lnTo>
                      <a:pt x="523" y="273"/>
                    </a:lnTo>
                    <a:lnTo>
                      <a:pt x="523" y="319"/>
                    </a:lnTo>
                    <a:lnTo>
                      <a:pt x="523" y="365"/>
                    </a:lnTo>
                    <a:lnTo>
                      <a:pt x="527" y="386"/>
                    </a:lnTo>
                    <a:lnTo>
                      <a:pt x="529" y="390"/>
                    </a:lnTo>
                    <a:lnTo>
                      <a:pt x="531" y="392"/>
                    </a:lnTo>
                    <a:lnTo>
                      <a:pt x="533" y="393"/>
                    </a:lnTo>
                    <a:lnTo>
                      <a:pt x="535" y="395"/>
                    </a:lnTo>
                    <a:lnTo>
                      <a:pt x="539" y="399"/>
                    </a:lnTo>
                    <a:lnTo>
                      <a:pt x="541" y="401"/>
                    </a:lnTo>
                    <a:lnTo>
                      <a:pt x="550" y="401"/>
                    </a:lnTo>
                    <a:lnTo>
                      <a:pt x="560" y="401"/>
                    </a:lnTo>
                    <a:lnTo>
                      <a:pt x="562" y="399"/>
                    </a:lnTo>
                    <a:lnTo>
                      <a:pt x="566" y="395"/>
                    </a:lnTo>
                    <a:lnTo>
                      <a:pt x="571" y="393"/>
                    </a:lnTo>
                    <a:lnTo>
                      <a:pt x="579" y="392"/>
                    </a:lnTo>
                    <a:lnTo>
                      <a:pt x="581" y="390"/>
                    </a:lnTo>
                    <a:lnTo>
                      <a:pt x="585" y="386"/>
                    </a:lnTo>
                    <a:lnTo>
                      <a:pt x="587" y="384"/>
                    </a:lnTo>
                    <a:lnTo>
                      <a:pt x="589" y="382"/>
                    </a:lnTo>
                    <a:lnTo>
                      <a:pt x="591" y="378"/>
                    </a:lnTo>
                    <a:lnTo>
                      <a:pt x="594" y="376"/>
                    </a:lnTo>
                    <a:lnTo>
                      <a:pt x="596" y="374"/>
                    </a:lnTo>
                    <a:lnTo>
                      <a:pt x="598" y="372"/>
                    </a:lnTo>
                    <a:lnTo>
                      <a:pt x="602" y="369"/>
                    </a:lnTo>
                    <a:lnTo>
                      <a:pt x="604" y="367"/>
                    </a:lnTo>
                    <a:lnTo>
                      <a:pt x="606" y="365"/>
                    </a:lnTo>
                    <a:lnTo>
                      <a:pt x="608" y="363"/>
                    </a:lnTo>
                    <a:lnTo>
                      <a:pt x="612" y="361"/>
                    </a:lnTo>
                    <a:lnTo>
                      <a:pt x="614" y="357"/>
                    </a:lnTo>
                    <a:lnTo>
                      <a:pt x="616" y="355"/>
                    </a:lnTo>
                    <a:lnTo>
                      <a:pt x="617" y="353"/>
                    </a:lnTo>
                    <a:lnTo>
                      <a:pt x="621" y="349"/>
                    </a:lnTo>
                    <a:lnTo>
                      <a:pt x="623" y="347"/>
                    </a:lnTo>
                    <a:lnTo>
                      <a:pt x="631" y="346"/>
                    </a:lnTo>
                    <a:lnTo>
                      <a:pt x="639" y="344"/>
                    </a:lnTo>
                    <a:lnTo>
                      <a:pt x="640" y="340"/>
                    </a:lnTo>
                    <a:lnTo>
                      <a:pt x="642" y="338"/>
                    </a:lnTo>
                    <a:lnTo>
                      <a:pt x="644" y="340"/>
                    </a:lnTo>
                    <a:lnTo>
                      <a:pt x="646" y="344"/>
                    </a:lnTo>
                    <a:lnTo>
                      <a:pt x="650" y="346"/>
                    </a:lnTo>
                    <a:lnTo>
                      <a:pt x="652" y="347"/>
                    </a:lnTo>
                    <a:lnTo>
                      <a:pt x="654" y="349"/>
                    </a:lnTo>
                    <a:lnTo>
                      <a:pt x="656" y="353"/>
                    </a:lnTo>
                    <a:lnTo>
                      <a:pt x="665" y="353"/>
                    </a:lnTo>
                    <a:lnTo>
                      <a:pt x="677" y="353"/>
                    </a:lnTo>
                    <a:lnTo>
                      <a:pt x="679" y="349"/>
                    </a:lnTo>
                    <a:lnTo>
                      <a:pt x="681" y="347"/>
                    </a:lnTo>
                    <a:lnTo>
                      <a:pt x="683" y="346"/>
                    </a:lnTo>
                    <a:lnTo>
                      <a:pt x="687" y="344"/>
                    </a:lnTo>
                    <a:lnTo>
                      <a:pt x="688" y="340"/>
                    </a:lnTo>
                    <a:lnTo>
                      <a:pt x="690" y="338"/>
                    </a:lnTo>
                    <a:lnTo>
                      <a:pt x="692" y="330"/>
                    </a:lnTo>
                    <a:lnTo>
                      <a:pt x="696" y="322"/>
                    </a:lnTo>
                    <a:lnTo>
                      <a:pt x="698" y="321"/>
                    </a:lnTo>
                    <a:lnTo>
                      <a:pt x="700" y="319"/>
                    </a:lnTo>
                    <a:lnTo>
                      <a:pt x="702" y="311"/>
                    </a:lnTo>
                    <a:lnTo>
                      <a:pt x="706" y="305"/>
                    </a:lnTo>
                    <a:lnTo>
                      <a:pt x="708" y="301"/>
                    </a:lnTo>
                    <a:lnTo>
                      <a:pt x="710" y="299"/>
                    </a:lnTo>
                    <a:lnTo>
                      <a:pt x="711" y="292"/>
                    </a:lnTo>
                    <a:lnTo>
                      <a:pt x="715" y="284"/>
                    </a:lnTo>
                    <a:lnTo>
                      <a:pt x="717" y="282"/>
                    </a:lnTo>
                    <a:lnTo>
                      <a:pt x="719" y="280"/>
                    </a:lnTo>
                    <a:lnTo>
                      <a:pt x="723" y="257"/>
                    </a:lnTo>
                    <a:lnTo>
                      <a:pt x="725" y="236"/>
                    </a:lnTo>
                    <a:lnTo>
                      <a:pt x="727" y="234"/>
                    </a:lnTo>
                    <a:lnTo>
                      <a:pt x="729" y="232"/>
                    </a:lnTo>
                    <a:lnTo>
                      <a:pt x="733" y="219"/>
                    </a:lnTo>
                    <a:lnTo>
                      <a:pt x="734" y="207"/>
                    </a:lnTo>
                    <a:lnTo>
                      <a:pt x="736" y="205"/>
                    </a:lnTo>
                    <a:lnTo>
                      <a:pt x="738" y="204"/>
                    </a:lnTo>
                    <a:lnTo>
                      <a:pt x="752" y="200"/>
                    </a:lnTo>
                    <a:lnTo>
                      <a:pt x="763" y="198"/>
                    </a:lnTo>
                    <a:lnTo>
                      <a:pt x="765" y="196"/>
                    </a:lnTo>
                    <a:lnTo>
                      <a:pt x="767" y="194"/>
                    </a:lnTo>
                    <a:lnTo>
                      <a:pt x="773" y="194"/>
                    </a:lnTo>
                    <a:lnTo>
                      <a:pt x="777" y="194"/>
                    </a:lnTo>
                    <a:lnTo>
                      <a:pt x="781" y="196"/>
                    </a:lnTo>
                    <a:lnTo>
                      <a:pt x="782" y="198"/>
                    </a:lnTo>
                    <a:lnTo>
                      <a:pt x="790" y="200"/>
                    </a:lnTo>
                    <a:lnTo>
                      <a:pt x="798" y="204"/>
                    </a:lnTo>
                    <a:lnTo>
                      <a:pt x="800" y="205"/>
                    </a:lnTo>
                    <a:lnTo>
                      <a:pt x="802" y="207"/>
                    </a:lnTo>
                    <a:lnTo>
                      <a:pt x="804" y="209"/>
                    </a:lnTo>
                    <a:lnTo>
                      <a:pt x="807" y="213"/>
                    </a:lnTo>
                    <a:lnTo>
                      <a:pt x="809" y="215"/>
                    </a:lnTo>
                    <a:lnTo>
                      <a:pt x="811" y="217"/>
                    </a:lnTo>
                    <a:lnTo>
                      <a:pt x="813" y="219"/>
                    </a:lnTo>
                    <a:lnTo>
                      <a:pt x="817" y="223"/>
                    </a:lnTo>
                    <a:lnTo>
                      <a:pt x="819" y="225"/>
                    </a:lnTo>
                    <a:lnTo>
                      <a:pt x="821" y="227"/>
                    </a:lnTo>
                    <a:lnTo>
                      <a:pt x="823" y="234"/>
                    </a:lnTo>
                    <a:lnTo>
                      <a:pt x="827" y="242"/>
                    </a:lnTo>
                    <a:lnTo>
                      <a:pt x="829" y="244"/>
                    </a:lnTo>
                    <a:lnTo>
                      <a:pt x="830" y="246"/>
                    </a:lnTo>
                    <a:lnTo>
                      <a:pt x="832" y="248"/>
                    </a:lnTo>
                    <a:lnTo>
                      <a:pt x="836" y="252"/>
                    </a:lnTo>
                    <a:lnTo>
                      <a:pt x="838" y="253"/>
                    </a:lnTo>
                    <a:lnTo>
                      <a:pt x="840" y="255"/>
                    </a:lnTo>
                    <a:lnTo>
                      <a:pt x="850" y="255"/>
                    </a:lnTo>
                    <a:lnTo>
                      <a:pt x="859" y="255"/>
                    </a:lnTo>
                    <a:lnTo>
                      <a:pt x="861" y="253"/>
                    </a:lnTo>
                    <a:lnTo>
                      <a:pt x="865" y="252"/>
                    </a:lnTo>
                    <a:lnTo>
                      <a:pt x="867" y="248"/>
                    </a:lnTo>
                    <a:lnTo>
                      <a:pt x="871" y="246"/>
                    </a:lnTo>
                    <a:lnTo>
                      <a:pt x="873" y="244"/>
                    </a:lnTo>
                    <a:lnTo>
                      <a:pt x="875" y="242"/>
                    </a:lnTo>
                    <a:lnTo>
                      <a:pt x="876" y="238"/>
                    </a:lnTo>
                    <a:lnTo>
                      <a:pt x="878" y="236"/>
                    </a:lnTo>
                    <a:lnTo>
                      <a:pt x="882" y="234"/>
                    </a:lnTo>
                    <a:lnTo>
                      <a:pt x="884" y="232"/>
                    </a:lnTo>
                    <a:lnTo>
                      <a:pt x="886" y="234"/>
                    </a:lnTo>
                    <a:lnTo>
                      <a:pt x="888" y="236"/>
                    </a:lnTo>
                    <a:lnTo>
                      <a:pt x="892" y="248"/>
                    </a:lnTo>
                    <a:lnTo>
                      <a:pt x="894" y="261"/>
                    </a:lnTo>
                    <a:lnTo>
                      <a:pt x="896" y="263"/>
                    </a:lnTo>
                    <a:lnTo>
                      <a:pt x="899" y="265"/>
                    </a:lnTo>
                    <a:lnTo>
                      <a:pt x="901" y="269"/>
                    </a:lnTo>
                    <a:lnTo>
                      <a:pt x="903" y="271"/>
                    </a:lnTo>
                    <a:lnTo>
                      <a:pt x="905" y="273"/>
                    </a:lnTo>
                    <a:lnTo>
                      <a:pt x="909" y="275"/>
                    </a:lnTo>
                    <a:lnTo>
                      <a:pt x="911" y="278"/>
                    </a:lnTo>
                    <a:lnTo>
                      <a:pt x="913" y="280"/>
                    </a:lnTo>
                    <a:lnTo>
                      <a:pt x="915" y="282"/>
                    </a:lnTo>
                    <a:lnTo>
                      <a:pt x="919" y="284"/>
                    </a:lnTo>
                    <a:lnTo>
                      <a:pt x="921" y="288"/>
                    </a:lnTo>
                    <a:lnTo>
                      <a:pt x="923" y="290"/>
                    </a:lnTo>
                    <a:lnTo>
                      <a:pt x="924" y="292"/>
                    </a:lnTo>
                    <a:lnTo>
                      <a:pt x="928" y="294"/>
                    </a:lnTo>
                    <a:lnTo>
                      <a:pt x="928" y="301"/>
                    </a:lnTo>
                    <a:lnTo>
                      <a:pt x="928" y="309"/>
                    </a:lnTo>
                    <a:lnTo>
                      <a:pt x="934" y="309"/>
                    </a:lnTo>
                    <a:lnTo>
                      <a:pt x="942" y="309"/>
                    </a:lnTo>
                    <a:lnTo>
                      <a:pt x="944" y="311"/>
                    </a:lnTo>
                    <a:lnTo>
                      <a:pt x="947" y="315"/>
                    </a:lnTo>
                    <a:lnTo>
                      <a:pt x="944" y="317"/>
                    </a:lnTo>
                    <a:lnTo>
                      <a:pt x="942" y="319"/>
                    </a:lnTo>
                    <a:lnTo>
                      <a:pt x="921" y="321"/>
                    </a:lnTo>
                    <a:lnTo>
                      <a:pt x="899" y="322"/>
                    </a:lnTo>
                    <a:lnTo>
                      <a:pt x="896" y="326"/>
                    </a:lnTo>
                    <a:lnTo>
                      <a:pt x="894" y="328"/>
                    </a:lnTo>
                    <a:lnTo>
                      <a:pt x="892" y="340"/>
                    </a:lnTo>
                    <a:lnTo>
                      <a:pt x="890" y="363"/>
                    </a:lnTo>
                    <a:lnTo>
                      <a:pt x="892" y="386"/>
                    </a:lnTo>
                    <a:lnTo>
                      <a:pt x="894" y="395"/>
                    </a:lnTo>
                    <a:lnTo>
                      <a:pt x="896" y="399"/>
                    </a:lnTo>
                    <a:lnTo>
                      <a:pt x="899" y="401"/>
                    </a:lnTo>
                    <a:lnTo>
                      <a:pt x="899" y="409"/>
                    </a:lnTo>
                    <a:lnTo>
                      <a:pt x="899" y="415"/>
                    </a:lnTo>
                    <a:lnTo>
                      <a:pt x="905" y="415"/>
                    </a:lnTo>
                    <a:lnTo>
                      <a:pt x="913" y="415"/>
                    </a:lnTo>
                    <a:lnTo>
                      <a:pt x="915" y="418"/>
                    </a:lnTo>
                    <a:lnTo>
                      <a:pt x="919" y="420"/>
                    </a:lnTo>
                    <a:lnTo>
                      <a:pt x="921" y="428"/>
                    </a:lnTo>
                    <a:lnTo>
                      <a:pt x="923" y="436"/>
                    </a:lnTo>
                    <a:lnTo>
                      <a:pt x="924" y="438"/>
                    </a:lnTo>
                    <a:lnTo>
                      <a:pt x="928" y="440"/>
                    </a:lnTo>
                    <a:lnTo>
                      <a:pt x="928" y="445"/>
                    </a:lnTo>
                    <a:lnTo>
                      <a:pt x="928" y="449"/>
                    </a:lnTo>
                    <a:lnTo>
                      <a:pt x="924" y="451"/>
                    </a:lnTo>
                    <a:lnTo>
                      <a:pt x="923" y="455"/>
                    </a:lnTo>
                    <a:lnTo>
                      <a:pt x="921" y="457"/>
                    </a:lnTo>
                    <a:lnTo>
                      <a:pt x="919" y="459"/>
                    </a:lnTo>
                    <a:lnTo>
                      <a:pt x="915" y="461"/>
                    </a:lnTo>
                    <a:lnTo>
                      <a:pt x="913" y="464"/>
                    </a:lnTo>
                    <a:lnTo>
                      <a:pt x="911" y="466"/>
                    </a:lnTo>
                    <a:lnTo>
                      <a:pt x="909" y="468"/>
                    </a:lnTo>
                    <a:lnTo>
                      <a:pt x="905" y="470"/>
                    </a:lnTo>
                    <a:lnTo>
                      <a:pt x="903" y="474"/>
                    </a:lnTo>
                    <a:lnTo>
                      <a:pt x="901" y="476"/>
                    </a:lnTo>
                    <a:lnTo>
                      <a:pt x="899" y="478"/>
                    </a:lnTo>
                    <a:lnTo>
                      <a:pt x="896" y="480"/>
                    </a:lnTo>
                    <a:lnTo>
                      <a:pt x="894" y="484"/>
                    </a:lnTo>
                    <a:lnTo>
                      <a:pt x="884" y="484"/>
                    </a:lnTo>
                    <a:lnTo>
                      <a:pt x="875" y="484"/>
                    </a:lnTo>
                    <a:lnTo>
                      <a:pt x="873" y="480"/>
                    </a:lnTo>
                    <a:lnTo>
                      <a:pt x="871" y="478"/>
                    </a:lnTo>
                    <a:lnTo>
                      <a:pt x="871" y="466"/>
                    </a:lnTo>
                    <a:lnTo>
                      <a:pt x="871" y="455"/>
                    </a:lnTo>
                    <a:lnTo>
                      <a:pt x="853" y="455"/>
                    </a:lnTo>
                    <a:lnTo>
                      <a:pt x="844" y="455"/>
                    </a:lnTo>
                    <a:lnTo>
                      <a:pt x="840" y="457"/>
                    </a:lnTo>
                    <a:lnTo>
                      <a:pt x="840" y="459"/>
                    </a:lnTo>
                    <a:lnTo>
                      <a:pt x="838" y="461"/>
                    </a:lnTo>
                    <a:lnTo>
                      <a:pt x="836" y="464"/>
                    </a:lnTo>
                    <a:lnTo>
                      <a:pt x="832" y="466"/>
                    </a:lnTo>
                    <a:lnTo>
                      <a:pt x="830" y="468"/>
                    </a:lnTo>
                    <a:lnTo>
                      <a:pt x="829" y="470"/>
                    </a:lnTo>
                    <a:lnTo>
                      <a:pt x="827" y="474"/>
                    </a:lnTo>
                    <a:lnTo>
                      <a:pt x="823" y="480"/>
                    </a:lnTo>
                    <a:lnTo>
                      <a:pt x="821" y="488"/>
                    </a:lnTo>
                    <a:lnTo>
                      <a:pt x="819" y="489"/>
                    </a:lnTo>
                    <a:lnTo>
                      <a:pt x="817" y="493"/>
                    </a:lnTo>
                    <a:lnTo>
                      <a:pt x="813" y="495"/>
                    </a:lnTo>
                    <a:lnTo>
                      <a:pt x="811" y="497"/>
                    </a:lnTo>
                    <a:lnTo>
                      <a:pt x="809" y="501"/>
                    </a:lnTo>
                    <a:lnTo>
                      <a:pt x="807" y="503"/>
                    </a:lnTo>
                    <a:lnTo>
                      <a:pt x="804" y="509"/>
                    </a:lnTo>
                    <a:lnTo>
                      <a:pt x="802" y="516"/>
                    </a:lnTo>
                    <a:lnTo>
                      <a:pt x="800" y="520"/>
                    </a:lnTo>
                    <a:lnTo>
                      <a:pt x="798" y="522"/>
                    </a:lnTo>
                    <a:lnTo>
                      <a:pt x="794" y="530"/>
                    </a:lnTo>
                    <a:lnTo>
                      <a:pt x="792" y="537"/>
                    </a:lnTo>
                    <a:lnTo>
                      <a:pt x="790" y="539"/>
                    </a:lnTo>
                    <a:lnTo>
                      <a:pt x="788" y="541"/>
                    </a:lnTo>
                    <a:lnTo>
                      <a:pt x="782" y="541"/>
                    </a:lnTo>
                    <a:lnTo>
                      <a:pt x="777" y="541"/>
                    </a:lnTo>
                    <a:lnTo>
                      <a:pt x="775" y="539"/>
                    </a:lnTo>
                    <a:lnTo>
                      <a:pt x="773" y="537"/>
                    </a:lnTo>
                    <a:lnTo>
                      <a:pt x="756" y="534"/>
                    </a:lnTo>
                    <a:lnTo>
                      <a:pt x="738" y="532"/>
                    </a:lnTo>
                    <a:lnTo>
                      <a:pt x="736" y="530"/>
                    </a:lnTo>
                    <a:lnTo>
                      <a:pt x="734" y="526"/>
                    </a:lnTo>
                    <a:lnTo>
                      <a:pt x="729" y="526"/>
                    </a:lnTo>
                    <a:lnTo>
                      <a:pt x="725" y="526"/>
                    </a:lnTo>
                    <a:lnTo>
                      <a:pt x="723" y="530"/>
                    </a:lnTo>
                    <a:lnTo>
                      <a:pt x="719" y="532"/>
                    </a:lnTo>
                    <a:lnTo>
                      <a:pt x="717" y="534"/>
                    </a:lnTo>
                    <a:lnTo>
                      <a:pt x="715" y="537"/>
                    </a:lnTo>
                    <a:lnTo>
                      <a:pt x="711" y="539"/>
                    </a:lnTo>
                    <a:lnTo>
                      <a:pt x="710" y="541"/>
                    </a:lnTo>
                    <a:lnTo>
                      <a:pt x="700" y="541"/>
                    </a:lnTo>
                    <a:lnTo>
                      <a:pt x="690" y="541"/>
                    </a:lnTo>
                    <a:lnTo>
                      <a:pt x="688" y="539"/>
                    </a:lnTo>
                    <a:lnTo>
                      <a:pt x="687" y="537"/>
                    </a:lnTo>
                    <a:lnTo>
                      <a:pt x="687" y="534"/>
                    </a:lnTo>
                    <a:lnTo>
                      <a:pt x="683" y="532"/>
                    </a:lnTo>
                    <a:lnTo>
                      <a:pt x="677" y="532"/>
                    </a:lnTo>
                    <a:lnTo>
                      <a:pt x="667" y="532"/>
                    </a:lnTo>
                    <a:lnTo>
                      <a:pt x="667" y="539"/>
                    </a:lnTo>
                    <a:lnTo>
                      <a:pt x="667" y="547"/>
                    </a:lnTo>
                    <a:lnTo>
                      <a:pt x="664" y="549"/>
                    </a:lnTo>
                    <a:lnTo>
                      <a:pt x="662" y="551"/>
                    </a:lnTo>
                    <a:lnTo>
                      <a:pt x="635" y="553"/>
                    </a:lnTo>
                    <a:lnTo>
                      <a:pt x="608" y="555"/>
                    </a:lnTo>
                    <a:lnTo>
                      <a:pt x="606" y="559"/>
                    </a:lnTo>
                    <a:lnTo>
                      <a:pt x="604" y="560"/>
                    </a:lnTo>
                    <a:lnTo>
                      <a:pt x="602" y="572"/>
                    </a:lnTo>
                    <a:lnTo>
                      <a:pt x="598" y="585"/>
                    </a:lnTo>
                    <a:lnTo>
                      <a:pt x="596" y="587"/>
                    </a:lnTo>
                    <a:lnTo>
                      <a:pt x="594" y="589"/>
                    </a:lnTo>
                    <a:lnTo>
                      <a:pt x="587" y="593"/>
                    </a:lnTo>
                    <a:lnTo>
                      <a:pt x="579" y="595"/>
                    </a:lnTo>
                    <a:lnTo>
                      <a:pt x="577" y="597"/>
                    </a:lnTo>
                    <a:lnTo>
                      <a:pt x="575" y="599"/>
                    </a:lnTo>
                    <a:lnTo>
                      <a:pt x="571" y="601"/>
                    </a:lnTo>
                    <a:lnTo>
                      <a:pt x="569" y="605"/>
                    </a:lnTo>
                    <a:lnTo>
                      <a:pt x="568" y="606"/>
                    </a:lnTo>
                    <a:lnTo>
                      <a:pt x="566" y="608"/>
                    </a:lnTo>
                    <a:lnTo>
                      <a:pt x="562" y="612"/>
                    </a:lnTo>
                    <a:lnTo>
                      <a:pt x="562" y="618"/>
                    </a:lnTo>
                    <a:lnTo>
                      <a:pt x="562" y="626"/>
                    </a:lnTo>
                    <a:lnTo>
                      <a:pt x="566" y="628"/>
                    </a:lnTo>
                    <a:lnTo>
                      <a:pt x="568" y="631"/>
                    </a:lnTo>
                    <a:lnTo>
                      <a:pt x="569" y="633"/>
                    </a:lnTo>
                    <a:lnTo>
                      <a:pt x="571" y="641"/>
                    </a:lnTo>
                    <a:lnTo>
                      <a:pt x="575" y="647"/>
                    </a:lnTo>
                    <a:lnTo>
                      <a:pt x="577" y="651"/>
                    </a:lnTo>
                    <a:lnTo>
                      <a:pt x="579" y="653"/>
                    </a:lnTo>
                    <a:lnTo>
                      <a:pt x="585" y="656"/>
                    </a:lnTo>
                    <a:lnTo>
                      <a:pt x="589" y="662"/>
                    </a:lnTo>
                    <a:lnTo>
                      <a:pt x="587" y="664"/>
                    </a:lnTo>
                    <a:lnTo>
                      <a:pt x="585" y="668"/>
                    </a:lnTo>
                    <a:lnTo>
                      <a:pt x="585" y="691"/>
                    </a:lnTo>
                    <a:lnTo>
                      <a:pt x="585" y="716"/>
                    </a:lnTo>
                    <a:lnTo>
                      <a:pt x="587" y="718"/>
                    </a:lnTo>
                    <a:lnTo>
                      <a:pt x="589" y="720"/>
                    </a:lnTo>
                    <a:lnTo>
                      <a:pt x="594" y="722"/>
                    </a:lnTo>
                    <a:lnTo>
                      <a:pt x="598" y="725"/>
                    </a:lnTo>
                    <a:lnTo>
                      <a:pt x="598" y="750"/>
                    </a:lnTo>
                    <a:lnTo>
                      <a:pt x="598" y="777"/>
                    </a:lnTo>
                    <a:lnTo>
                      <a:pt x="598" y="804"/>
                    </a:lnTo>
                    <a:lnTo>
                      <a:pt x="598" y="831"/>
                    </a:lnTo>
                    <a:lnTo>
                      <a:pt x="594" y="837"/>
                    </a:lnTo>
                    <a:lnTo>
                      <a:pt x="589" y="841"/>
                    </a:lnTo>
                    <a:lnTo>
                      <a:pt x="585" y="846"/>
                    </a:lnTo>
                    <a:lnTo>
                      <a:pt x="579" y="850"/>
                    </a:lnTo>
                    <a:lnTo>
                      <a:pt x="575" y="869"/>
                    </a:lnTo>
                    <a:lnTo>
                      <a:pt x="569" y="890"/>
                    </a:lnTo>
                    <a:lnTo>
                      <a:pt x="564" y="894"/>
                    </a:lnTo>
                    <a:lnTo>
                      <a:pt x="560" y="898"/>
                    </a:lnTo>
                    <a:lnTo>
                      <a:pt x="554" y="904"/>
                    </a:lnTo>
                    <a:lnTo>
                      <a:pt x="550" y="908"/>
                    </a:lnTo>
                    <a:lnTo>
                      <a:pt x="546" y="927"/>
                    </a:lnTo>
                    <a:lnTo>
                      <a:pt x="541" y="948"/>
                    </a:lnTo>
                    <a:lnTo>
                      <a:pt x="535" y="952"/>
                    </a:lnTo>
                    <a:lnTo>
                      <a:pt x="531" y="958"/>
                    </a:lnTo>
                    <a:lnTo>
                      <a:pt x="525" y="961"/>
                    </a:lnTo>
                    <a:lnTo>
                      <a:pt x="522" y="967"/>
                    </a:lnTo>
                    <a:lnTo>
                      <a:pt x="516" y="977"/>
                    </a:lnTo>
                    <a:lnTo>
                      <a:pt x="512" y="986"/>
                    </a:lnTo>
                    <a:lnTo>
                      <a:pt x="506" y="990"/>
                    </a:lnTo>
                    <a:lnTo>
                      <a:pt x="502" y="996"/>
                    </a:lnTo>
                    <a:lnTo>
                      <a:pt x="497" y="1000"/>
                    </a:lnTo>
                    <a:lnTo>
                      <a:pt x="493" y="1006"/>
                    </a:lnTo>
                    <a:lnTo>
                      <a:pt x="487" y="1009"/>
                    </a:lnTo>
                    <a:lnTo>
                      <a:pt x="483" y="1015"/>
                    </a:lnTo>
                    <a:lnTo>
                      <a:pt x="477" y="1025"/>
                    </a:lnTo>
                    <a:lnTo>
                      <a:pt x="474" y="1034"/>
                    </a:lnTo>
                    <a:lnTo>
                      <a:pt x="468" y="1040"/>
                    </a:lnTo>
                    <a:lnTo>
                      <a:pt x="464" y="1044"/>
                    </a:lnTo>
                    <a:lnTo>
                      <a:pt x="458" y="1048"/>
                    </a:lnTo>
                    <a:lnTo>
                      <a:pt x="454" y="1054"/>
                    </a:lnTo>
                    <a:lnTo>
                      <a:pt x="445" y="1059"/>
                    </a:lnTo>
                    <a:lnTo>
                      <a:pt x="435" y="1063"/>
                    </a:lnTo>
                    <a:lnTo>
                      <a:pt x="429" y="1063"/>
                    </a:lnTo>
                    <a:lnTo>
                      <a:pt x="426" y="1067"/>
                    </a:lnTo>
                    <a:lnTo>
                      <a:pt x="426" y="1073"/>
                    </a:lnTo>
                    <a:lnTo>
                      <a:pt x="424" y="1082"/>
                    </a:lnTo>
                    <a:lnTo>
                      <a:pt x="449" y="1082"/>
                    </a:lnTo>
                    <a:lnTo>
                      <a:pt x="474" y="1082"/>
                    </a:lnTo>
                    <a:lnTo>
                      <a:pt x="474" y="1086"/>
                    </a:lnTo>
                    <a:lnTo>
                      <a:pt x="474" y="1088"/>
                    </a:lnTo>
                    <a:lnTo>
                      <a:pt x="470" y="1090"/>
                    </a:lnTo>
                    <a:lnTo>
                      <a:pt x="468" y="1092"/>
                    </a:lnTo>
                    <a:lnTo>
                      <a:pt x="466" y="1096"/>
                    </a:lnTo>
                    <a:lnTo>
                      <a:pt x="464" y="1098"/>
                    </a:lnTo>
                    <a:lnTo>
                      <a:pt x="460" y="1100"/>
                    </a:lnTo>
                    <a:lnTo>
                      <a:pt x="458" y="1102"/>
                    </a:lnTo>
                    <a:lnTo>
                      <a:pt x="456" y="1103"/>
                    </a:lnTo>
                    <a:lnTo>
                      <a:pt x="454" y="1107"/>
                    </a:lnTo>
                    <a:lnTo>
                      <a:pt x="451" y="1109"/>
                    </a:lnTo>
                    <a:lnTo>
                      <a:pt x="449" y="1111"/>
                    </a:lnTo>
                    <a:lnTo>
                      <a:pt x="443" y="1107"/>
                    </a:lnTo>
                    <a:lnTo>
                      <a:pt x="439" y="1102"/>
                    </a:lnTo>
                  </a:path>
                </a:pathLst>
              </a:custGeom>
              <a:grpFill/>
              <a:ln w="3175">
                <a:solidFill>
                  <a:srgbClr val="FF8300"/>
                </a:solidFill>
                <a:round/>
                <a:headEnd/>
                <a:tailEnd/>
              </a:ln>
            </p:spPr>
            <p:txBody>
              <a:bodyPr/>
              <a:lstStyle/>
              <a:p>
                <a:pPr>
                  <a:defRPr/>
                </a:pPr>
                <a:endParaRPr lang="en-GB" sz="1400">
                  <a:solidFill>
                    <a:schemeClr val="tx2"/>
                  </a:solidFill>
                </a:endParaRPr>
              </a:p>
            </p:txBody>
          </p:sp>
          <p:sp>
            <p:nvSpPr>
              <p:cNvPr id="361" name="Freeform 11"/>
              <p:cNvSpPr>
                <a:spLocks/>
              </p:cNvSpPr>
              <p:nvPr>
                <p:custDataLst>
                  <p:tags r:id="rId16"/>
                </p:custDataLst>
              </p:nvPr>
            </p:nvSpPr>
            <p:spPr bwMode="gray">
              <a:xfrm>
                <a:off x="4283500" y="5502159"/>
                <a:ext cx="287062" cy="483547"/>
              </a:xfrm>
              <a:custGeom>
                <a:avLst/>
                <a:gdLst>
                  <a:gd name="T0" fmla="*/ 2147483647 w 211"/>
                  <a:gd name="T1" fmla="*/ 2147483647 h 366"/>
                  <a:gd name="T2" fmla="*/ 2147483647 w 211"/>
                  <a:gd name="T3" fmla="*/ 2147483647 h 366"/>
                  <a:gd name="T4" fmla="*/ 2147483647 w 211"/>
                  <a:gd name="T5" fmla="*/ 2147483647 h 366"/>
                  <a:gd name="T6" fmla="*/ 2147483647 w 211"/>
                  <a:gd name="T7" fmla="*/ 2147483647 h 366"/>
                  <a:gd name="T8" fmla="*/ 2147483647 w 211"/>
                  <a:gd name="T9" fmla="*/ 2147483647 h 366"/>
                  <a:gd name="T10" fmla="*/ 2147483647 w 211"/>
                  <a:gd name="T11" fmla="*/ 2147483647 h 366"/>
                  <a:gd name="T12" fmla="*/ 2147483647 w 211"/>
                  <a:gd name="T13" fmla="*/ 2147483647 h 366"/>
                  <a:gd name="T14" fmla="*/ 2147483647 w 211"/>
                  <a:gd name="T15" fmla="*/ 2147483647 h 366"/>
                  <a:gd name="T16" fmla="*/ 2147483647 w 211"/>
                  <a:gd name="T17" fmla="*/ 2147483647 h 366"/>
                  <a:gd name="T18" fmla="*/ 2147483647 w 211"/>
                  <a:gd name="T19" fmla="*/ 2147483647 h 366"/>
                  <a:gd name="T20" fmla="*/ 2147483647 w 211"/>
                  <a:gd name="T21" fmla="*/ 2147483647 h 366"/>
                  <a:gd name="T22" fmla="*/ 2147483647 w 211"/>
                  <a:gd name="T23" fmla="*/ 2147483647 h 366"/>
                  <a:gd name="T24" fmla="*/ 2147483647 w 211"/>
                  <a:gd name="T25" fmla="*/ 2147483647 h 366"/>
                  <a:gd name="T26" fmla="*/ 2147483647 w 211"/>
                  <a:gd name="T27" fmla="*/ 2147483647 h 366"/>
                  <a:gd name="T28" fmla="*/ 2147483647 w 211"/>
                  <a:gd name="T29" fmla="*/ 2147483647 h 366"/>
                  <a:gd name="T30" fmla="*/ 2147483647 w 211"/>
                  <a:gd name="T31" fmla="*/ 2147483647 h 366"/>
                  <a:gd name="T32" fmla="*/ 2147483647 w 211"/>
                  <a:gd name="T33" fmla="*/ 2147483647 h 366"/>
                  <a:gd name="T34" fmla="*/ 2147483647 w 211"/>
                  <a:gd name="T35" fmla="*/ 2147483647 h 366"/>
                  <a:gd name="T36" fmla="*/ 2147483647 w 211"/>
                  <a:gd name="T37" fmla="*/ 2147483647 h 366"/>
                  <a:gd name="T38" fmla="*/ 2147483647 w 211"/>
                  <a:gd name="T39" fmla="*/ 2147483647 h 366"/>
                  <a:gd name="T40" fmla="*/ 2147483647 w 211"/>
                  <a:gd name="T41" fmla="*/ 2147483647 h 366"/>
                  <a:gd name="T42" fmla="*/ 2147483647 w 211"/>
                  <a:gd name="T43" fmla="*/ 2147483647 h 366"/>
                  <a:gd name="T44" fmla="*/ 0 w 211"/>
                  <a:gd name="T45" fmla="*/ 2147483647 h 366"/>
                  <a:gd name="T46" fmla="*/ 2147483647 w 211"/>
                  <a:gd name="T47" fmla="*/ 2147483647 h 366"/>
                  <a:gd name="T48" fmla="*/ 2147483647 w 211"/>
                  <a:gd name="T49" fmla="*/ 2147483647 h 366"/>
                  <a:gd name="T50" fmla="*/ 2147483647 w 211"/>
                  <a:gd name="T51" fmla="*/ 2147483647 h 366"/>
                  <a:gd name="T52" fmla="*/ 2147483647 w 211"/>
                  <a:gd name="T53" fmla="*/ 2147483647 h 366"/>
                  <a:gd name="T54" fmla="*/ 2147483647 w 211"/>
                  <a:gd name="T55" fmla="*/ 2147483647 h 366"/>
                  <a:gd name="T56" fmla="*/ 2147483647 w 211"/>
                  <a:gd name="T57" fmla="*/ 2147483647 h 366"/>
                  <a:gd name="T58" fmla="*/ 2147483647 w 211"/>
                  <a:gd name="T59" fmla="*/ 2147483647 h 366"/>
                  <a:gd name="T60" fmla="*/ 2147483647 w 211"/>
                  <a:gd name="T61" fmla="*/ 0 h 366"/>
                  <a:gd name="T62" fmla="*/ 2147483647 w 211"/>
                  <a:gd name="T63" fmla="*/ 2147483647 h 366"/>
                  <a:gd name="T64" fmla="*/ 2147483647 w 211"/>
                  <a:gd name="T65" fmla="*/ 0 h 366"/>
                  <a:gd name="T66" fmla="*/ 2147483647 w 211"/>
                  <a:gd name="T67" fmla="*/ 2147483647 h 366"/>
                  <a:gd name="T68" fmla="*/ 2147483647 w 211"/>
                  <a:gd name="T69" fmla="*/ 2147483647 h 366"/>
                  <a:gd name="T70" fmla="*/ 2147483647 w 211"/>
                  <a:gd name="T71" fmla="*/ 2147483647 h 366"/>
                  <a:gd name="T72" fmla="*/ 2147483647 w 211"/>
                  <a:gd name="T73" fmla="*/ 2147483647 h 366"/>
                  <a:gd name="T74" fmla="*/ 2147483647 w 211"/>
                  <a:gd name="T75" fmla="*/ 2147483647 h 366"/>
                  <a:gd name="T76" fmla="*/ 2147483647 w 211"/>
                  <a:gd name="T77" fmla="*/ 2147483647 h 366"/>
                  <a:gd name="T78" fmla="*/ 2147483647 w 211"/>
                  <a:gd name="T79" fmla="*/ 2147483647 h 366"/>
                  <a:gd name="T80" fmla="*/ 2147483647 w 211"/>
                  <a:gd name="T81" fmla="*/ 2147483647 h 366"/>
                  <a:gd name="T82" fmla="*/ 2147483647 w 211"/>
                  <a:gd name="T83" fmla="*/ 2147483647 h 366"/>
                  <a:gd name="T84" fmla="*/ 2147483647 w 211"/>
                  <a:gd name="T85" fmla="*/ 2147483647 h 366"/>
                  <a:gd name="T86" fmla="*/ 2147483647 w 211"/>
                  <a:gd name="T87" fmla="*/ 2147483647 h 366"/>
                  <a:gd name="T88" fmla="*/ 2147483647 w 211"/>
                  <a:gd name="T89" fmla="*/ 2147483647 h 366"/>
                  <a:gd name="T90" fmla="*/ 2147483647 w 211"/>
                  <a:gd name="T91" fmla="*/ 2147483647 h 366"/>
                  <a:gd name="T92" fmla="*/ 2147483647 w 211"/>
                  <a:gd name="T93" fmla="*/ 2147483647 h 366"/>
                  <a:gd name="T94" fmla="*/ 2147483647 w 211"/>
                  <a:gd name="T95" fmla="*/ 2147483647 h 366"/>
                  <a:gd name="T96" fmla="*/ 2147483647 w 211"/>
                  <a:gd name="T97" fmla="*/ 2147483647 h 366"/>
                  <a:gd name="T98" fmla="*/ 2147483647 w 211"/>
                  <a:gd name="T99" fmla="*/ 2147483647 h 366"/>
                  <a:gd name="T100" fmla="*/ 2147483647 w 211"/>
                  <a:gd name="T101" fmla="*/ 2147483647 h 366"/>
                  <a:gd name="T102" fmla="*/ 2147483647 w 211"/>
                  <a:gd name="T103" fmla="*/ 2147483647 h 366"/>
                  <a:gd name="T104" fmla="*/ 2147483647 w 211"/>
                  <a:gd name="T105" fmla="*/ 2147483647 h 366"/>
                  <a:gd name="T106" fmla="*/ 2147483647 w 211"/>
                  <a:gd name="T107" fmla="*/ 2147483647 h 366"/>
                  <a:gd name="T108" fmla="*/ 2147483647 w 211"/>
                  <a:gd name="T109" fmla="*/ 2147483647 h 366"/>
                  <a:gd name="T110" fmla="*/ 2147483647 w 211"/>
                  <a:gd name="T111" fmla="*/ 2147483647 h 366"/>
                  <a:gd name="T112" fmla="*/ 2147483647 w 211"/>
                  <a:gd name="T113" fmla="*/ 2147483647 h 366"/>
                  <a:gd name="T114" fmla="*/ 2147483647 w 211"/>
                  <a:gd name="T115" fmla="*/ 2147483647 h 366"/>
                  <a:gd name="T116" fmla="*/ 2147483647 w 211"/>
                  <a:gd name="T117" fmla="*/ 2147483647 h 36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11"/>
                  <a:gd name="T178" fmla="*/ 0 h 366"/>
                  <a:gd name="T179" fmla="*/ 211 w 211"/>
                  <a:gd name="T180" fmla="*/ 366 h 36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11" h="366">
                    <a:moveTo>
                      <a:pt x="169" y="366"/>
                    </a:moveTo>
                    <a:lnTo>
                      <a:pt x="167" y="364"/>
                    </a:lnTo>
                    <a:lnTo>
                      <a:pt x="163" y="362"/>
                    </a:lnTo>
                    <a:lnTo>
                      <a:pt x="161" y="359"/>
                    </a:lnTo>
                    <a:lnTo>
                      <a:pt x="159" y="357"/>
                    </a:lnTo>
                    <a:lnTo>
                      <a:pt x="155" y="355"/>
                    </a:lnTo>
                    <a:lnTo>
                      <a:pt x="153" y="353"/>
                    </a:lnTo>
                    <a:lnTo>
                      <a:pt x="132" y="345"/>
                    </a:lnTo>
                    <a:lnTo>
                      <a:pt x="111" y="338"/>
                    </a:lnTo>
                    <a:lnTo>
                      <a:pt x="107" y="336"/>
                    </a:lnTo>
                    <a:lnTo>
                      <a:pt x="105" y="334"/>
                    </a:lnTo>
                    <a:lnTo>
                      <a:pt x="103" y="330"/>
                    </a:lnTo>
                    <a:lnTo>
                      <a:pt x="100" y="328"/>
                    </a:lnTo>
                    <a:lnTo>
                      <a:pt x="98" y="326"/>
                    </a:lnTo>
                    <a:lnTo>
                      <a:pt x="96" y="324"/>
                    </a:lnTo>
                    <a:lnTo>
                      <a:pt x="98" y="320"/>
                    </a:lnTo>
                    <a:lnTo>
                      <a:pt x="100" y="318"/>
                    </a:lnTo>
                    <a:lnTo>
                      <a:pt x="100" y="309"/>
                    </a:lnTo>
                    <a:lnTo>
                      <a:pt x="100" y="299"/>
                    </a:lnTo>
                    <a:lnTo>
                      <a:pt x="98" y="297"/>
                    </a:lnTo>
                    <a:lnTo>
                      <a:pt x="96" y="295"/>
                    </a:lnTo>
                    <a:lnTo>
                      <a:pt x="96" y="278"/>
                    </a:lnTo>
                    <a:lnTo>
                      <a:pt x="96" y="261"/>
                    </a:lnTo>
                    <a:lnTo>
                      <a:pt x="88" y="261"/>
                    </a:lnTo>
                    <a:lnTo>
                      <a:pt x="82" y="261"/>
                    </a:lnTo>
                    <a:lnTo>
                      <a:pt x="78" y="259"/>
                    </a:lnTo>
                    <a:lnTo>
                      <a:pt x="77" y="255"/>
                    </a:lnTo>
                    <a:lnTo>
                      <a:pt x="75" y="247"/>
                    </a:lnTo>
                    <a:lnTo>
                      <a:pt x="71" y="242"/>
                    </a:lnTo>
                    <a:lnTo>
                      <a:pt x="69" y="238"/>
                    </a:lnTo>
                    <a:lnTo>
                      <a:pt x="67" y="236"/>
                    </a:lnTo>
                    <a:lnTo>
                      <a:pt x="63" y="234"/>
                    </a:lnTo>
                    <a:lnTo>
                      <a:pt x="61" y="232"/>
                    </a:lnTo>
                    <a:lnTo>
                      <a:pt x="59" y="228"/>
                    </a:lnTo>
                    <a:lnTo>
                      <a:pt x="57" y="226"/>
                    </a:lnTo>
                    <a:lnTo>
                      <a:pt x="55" y="224"/>
                    </a:lnTo>
                    <a:lnTo>
                      <a:pt x="52" y="222"/>
                    </a:lnTo>
                    <a:lnTo>
                      <a:pt x="50" y="219"/>
                    </a:lnTo>
                    <a:lnTo>
                      <a:pt x="48" y="217"/>
                    </a:lnTo>
                    <a:lnTo>
                      <a:pt x="46" y="215"/>
                    </a:lnTo>
                    <a:lnTo>
                      <a:pt x="42" y="213"/>
                    </a:lnTo>
                    <a:lnTo>
                      <a:pt x="40" y="209"/>
                    </a:lnTo>
                    <a:lnTo>
                      <a:pt x="38" y="207"/>
                    </a:lnTo>
                    <a:lnTo>
                      <a:pt x="34" y="205"/>
                    </a:lnTo>
                    <a:lnTo>
                      <a:pt x="32" y="203"/>
                    </a:lnTo>
                    <a:lnTo>
                      <a:pt x="30" y="199"/>
                    </a:lnTo>
                    <a:lnTo>
                      <a:pt x="29" y="197"/>
                    </a:lnTo>
                    <a:lnTo>
                      <a:pt x="25" y="196"/>
                    </a:lnTo>
                    <a:lnTo>
                      <a:pt x="23" y="192"/>
                    </a:lnTo>
                    <a:lnTo>
                      <a:pt x="21" y="190"/>
                    </a:lnTo>
                    <a:lnTo>
                      <a:pt x="19" y="188"/>
                    </a:lnTo>
                    <a:lnTo>
                      <a:pt x="15" y="186"/>
                    </a:lnTo>
                    <a:lnTo>
                      <a:pt x="13" y="182"/>
                    </a:lnTo>
                    <a:lnTo>
                      <a:pt x="11" y="180"/>
                    </a:lnTo>
                    <a:lnTo>
                      <a:pt x="9" y="178"/>
                    </a:lnTo>
                    <a:lnTo>
                      <a:pt x="9" y="163"/>
                    </a:lnTo>
                    <a:lnTo>
                      <a:pt x="9" y="150"/>
                    </a:lnTo>
                    <a:lnTo>
                      <a:pt x="11" y="148"/>
                    </a:lnTo>
                    <a:lnTo>
                      <a:pt x="13" y="144"/>
                    </a:lnTo>
                    <a:lnTo>
                      <a:pt x="13" y="134"/>
                    </a:lnTo>
                    <a:lnTo>
                      <a:pt x="13" y="125"/>
                    </a:lnTo>
                    <a:lnTo>
                      <a:pt x="11" y="123"/>
                    </a:lnTo>
                    <a:lnTo>
                      <a:pt x="9" y="121"/>
                    </a:lnTo>
                    <a:lnTo>
                      <a:pt x="6" y="113"/>
                    </a:lnTo>
                    <a:lnTo>
                      <a:pt x="4" y="105"/>
                    </a:lnTo>
                    <a:lnTo>
                      <a:pt x="2" y="103"/>
                    </a:lnTo>
                    <a:lnTo>
                      <a:pt x="0" y="102"/>
                    </a:lnTo>
                    <a:lnTo>
                      <a:pt x="0" y="86"/>
                    </a:lnTo>
                    <a:lnTo>
                      <a:pt x="0" y="71"/>
                    </a:lnTo>
                    <a:lnTo>
                      <a:pt x="0" y="57"/>
                    </a:lnTo>
                    <a:lnTo>
                      <a:pt x="0" y="42"/>
                    </a:lnTo>
                    <a:lnTo>
                      <a:pt x="2" y="40"/>
                    </a:lnTo>
                    <a:lnTo>
                      <a:pt x="4" y="38"/>
                    </a:lnTo>
                    <a:lnTo>
                      <a:pt x="15" y="36"/>
                    </a:lnTo>
                    <a:lnTo>
                      <a:pt x="29" y="32"/>
                    </a:lnTo>
                    <a:lnTo>
                      <a:pt x="30" y="31"/>
                    </a:lnTo>
                    <a:lnTo>
                      <a:pt x="32" y="29"/>
                    </a:lnTo>
                    <a:lnTo>
                      <a:pt x="40" y="27"/>
                    </a:lnTo>
                    <a:lnTo>
                      <a:pt x="48" y="23"/>
                    </a:lnTo>
                    <a:lnTo>
                      <a:pt x="50" y="21"/>
                    </a:lnTo>
                    <a:lnTo>
                      <a:pt x="52" y="19"/>
                    </a:lnTo>
                    <a:lnTo>
                      <a:pt x="55" y="17"/>
                    </a:lnTo>
                    <a:lnTo>
                      <a:pt x="57" y="13"/>
                    </a:lnTo>
                    <a:lnTo>
                      <a:pt x="59" y="11"/>
                    </a:lnTo>
                    <a:lnTo>
                      <a:pt x="61" y="9"/>
                    </a:lnTo>
                    <a:lnTo>
                      <a:pt x="75" y="6"/>
                    </a:lnTo>
                    <a:lnTo>
                      <a:pt x="86" y="4"/>
                    </a:lnTo>
                    <a:lnTo>
                      <a:pt x="88" y="2"/>
                    </a:lnTo>
                    <a:lnTo>
                      <a:pt x="90" y="0"/>
                    </a:lnTo>
                    <a:lnTo>
                      <a:pt x="94" y="2"/>
                    </a:lnTo>
                    <a:lnTo>
                      <a:pt x="96" y="4"/>
                    </a:lnTo>
                    <a:lnTo>
                      <a:pt x="113" y="2"/>
                    </a:lnTo>
                    <a:lnTo>
                      <a:pt x="128" y="0"/>
                    </a:lnTo>
                    <a:lnTo>
                      <a:pt x="132" y="2"/>
                    </a:lnTo>
                    <a:lnTo>
                      <a:pt x="134" y="4"/>
                    </a:lnTo>
                    <a:lnTo>
                      <a:pt x="144" y="4"/>
                    </a:lnTo>
                    <a:lnTo>
                      <a:pt x="153" y="4"/>
                    </a:lnTo>
                    <a:lnTo>
                      <a:pt x="155" y="2"/>
                    </a:lnTo>
                    <a:lnTo>
                      <a:pt x="159" y="0"/>
                    </a:lnTo>
                    <a:lnTo>
                      <a:pt x="172" y="4"/>
                    </a:lnTo>
                    <a:lnTo>
                      <a:pt x="188" y="9"/>
                    </a:lnTo>
                    <a:lnTo>
                      <a:pt x="190" y="11"/>
                    </a:lnTo>
                    <a:lnTo>
                      <a:pt x="194" y="13"/>
                    </a:lnTo>
                    <a:lnTo>
                      <a:pt x="195" y="31"/>
                    </a:lnTo>
                    <a:lnTo>
                      <a:pt x="197" y="48"/>
                    </a:lnTo>
                    <a:lnTo>
                      <a:pt x="199" y="50"/>
                    </a:lnTo>
                    <a:lnTo>
                      <a:pt x="201" y="54"/>
                    </a:lnTo>
                    <a:lnTo>
                      <a:pt x="205" y="59"/>
                    </a:lnTo>
                    <a:lnTo>
                      <a:pt x="207" y="67"/>
                    </a:lnTo>
                    <a:lnTo>
                      <a:pt x="209" y="69"/>
                    </a:lnTo>
                    <a:lnTo>
                      <a:pt x="211" y="71"/>
                    </a:lnTo>
                    <a:lnTo>
                      <a:pt x="209" y="75"/>
                    </a:lnTo>
                    <a:lnTo>
                      <a:pt x="207" y="77"/>
                    </a:lnTo>
                    <a:lnTo>
                      <a:pt x="205" y="79"/>
                    </a:lnTo>
                    <a:lnTo>
                      <a:pt x="201" y="82"/>
                    </a:lnTo>
                    <a:lnTo>
                      <a:pt x="199" y="84"/>
                    </a:lnTo>
                    <a:lnTo>
                      <a:pt x="197" y="86"/>
                    </a:lnTo>
                    <a:lnTo>
                      <a:pt x="195" y="88"/>
                    </a:lnTo>
                    <a:lnTo>
                      <a:pt x="194" y="92"/>
                    </a:lnTo>
                    <a:lnTo>
                      <a:pt x="190" y="94"/>
                    </a:lnTo>
                    <a:lnTo>
                      <a:pt x="188" y="96"/>
                    </a:lnTo>
                    <a:lnTo>
                      <a:pt x="184" y="98"/>
                    </a:lnTo>
                    <a:lnTo>
                      <a:pt x="182" y="102"/>
                    </a:lnTo>
                    <a:lnTo>
                      <a:pt x="180" y="103"/>
                    </a:lnTo>
                    <a:lnTo>
                      <a:pt x="178" y="105"/>
                    </a:lnTo>
                    <a:lnTo>
                      <a:pt x="178" y="121"/>
                    </a:lnTo>
                    <a:lnTo>
                      <a:pt x="178" y="134"/>
                    </a:lnTo>
                    <a:lnTo>
                      <a:pt x="180" y="138"/>
                    </a:lnTo>
                    <a:lnTo>
                      <a:pt x="182" y="140"/>
                    </a:lnTo>
                    <a:lnTo>
                      <a:pt x="182" y="144"/>
                    </a:lnTo>
                    <a:lnTo>
                      <a:pt x="182" y="150"/>
                    </a:lnTo>
                    <a:lnTo>
                      <a:pt x="180" y="151"/>
                    </a:lnTo>
                    <a:lnTo>
                      <a:pt x="178" y="153"/>
                    </a:lnTo>
                    <a:lnTo>
                      <a:pt x="174" y="178"/>
                    </a:lnTo>
                    <a:lnTo>
                      <a:pt x="172" y="203"/>
                    </a:lnTo>
                    <a:lnTo>
                      <a:pt x="180" y="203"/>
                    </a:lnTo>
                    <a:lnTo>
                      <a:pt x="188" y="203"/>
                    </a:lnTo>
                    <a:lnTo>
                      <a:pt x="190" y="205"/>
                    </a:lnTo>
                    <a:lnTo>
                      <a:pt x="194" y="207"/>
                    </a:lnTo>
                    <a:lnTo>
                      <a:pt x="199" y="209"/>
                    </a:lnTo>
                    <a:lnTo>
                      <a:pt x="207" y="213"/>
                    </a:lnTo>
                    <a:lnTo>
                      <a:pt x="209" y="215"/>
                    </a:lnTo>
                    <a:lnTo>
                      <a:pt x="211" y="217"/>
                    </a:lnTo>
                    <a:lnTo>
                      <a:pt x="211" y="226"/>
                    </a:lnTo>
                    <a:lnTo>
                      <a:pt x="211" y="236"/>
                    </a:lnTo>
                    <a:lnTo>
                      <a:pt x="209" y="238"/>
                    </a:lnTo>
                    <a:lnTo>
                      <a:pt x="207" y="242"/>
                    </a:lnTo>
                    <a:lnTo>
                      <a:pt x="205" y="244"/>
                    </a:lnTo>
                    <a:lnTo>
                      <a:pt x="201" y="245"/>
                    </a:lnTo>
                    <a:lnTo>
                      <a:pt x="199" y="247"/>
                    </a:lnTo>
                    <a:lnTo>
                      <a:pt x="197" y="251"/>
                    </a:lnTo>
                    <a:lnTo>
                      <a:pt x="195" y="253"/>
                    </a:lnTo>
                    <a:lnTo>
                      <a:pt x="194" y="255"/>
                    </a:lnTo>
                    <a:lnTo>
                      <a:pt x="190" y="259"/>
                    </a:lnTo>
                    <a:lnTo>
                      <a:pt x="188" y="261"/>
                    </a:lnTo>
                    <a:lnTo>
                      <a:pt x="188" y="270"/>
                    </a:lnTo>
                    <a:lnTo>
                      <a:pt x="188" y="280"/>
                    </a:lnTo>
                    <a:lnTo>
                      <a:pt x="190" y="282"/>
                    </a:lnTo>
                    <a:lnTo>
                      <a:pt x="194" y="286"/>
                    </a:lnTo>
                    <a:lnTo>
                      <a:pt x="195" y="301"/>
                    </a:lnTo>
                    <a:lnTo>
                      <a:pt x="197" y="318"/>
                    </a:lnTo>
                    <a:lnTo>
                      <a:pt x="199" y="320"/>
                    </a:lnTo>
                    <a:lnTo>
                      <a:pt x="201" y="324"/>
                    </a:lnTo>
                    <a:lnTo>
                      <a:pt x="201" y="328"/>
                    </a:lnTo>
                    <a:lnTo>
                      <a:pt x="201" y="334"/>
                    </a:lnTo>
                    <a:lnTo>
                      <a:pt x="199" y="336"/>
                    </a:lnTo>
                    <a:lnTo>
                      <a:pt x="197" y="338"/>
                    </a:lnTo>
                    <a:lnTo>
                      <a:pt x="195" y="345"/>
                    </a:lnTo>
                    <a:lnTo>
                      <a:pt x="194" y="353"/>
                    </a:lnTo>
                    <a:lnTo>
                      <a:pt x="190" y="355"/>
                    </a:lnTo>
                    <a:lnTo>
                      <a:pt x="188" y="357"/>
                    </a:lnTo>
                    <a:lnTo>
                      <a:pt x="184" y="359"/>
                    </a:lnTo>
                    <a:lnTo>
                      <a:pt x="182" y="362"/>
                    </a:lnTo>
                    <a:lnTo>
                      <a:pt x="180" y="364"/>
                    </a:lnTo>
                    <a:lnTo>
                      <a:pt x="178" y="366"/>
                    </a:lnTo>
                    <a:lnTo>
                      <a:pt x="172" y="366"/>
                    </a:lnTo>
                    <a:lnTo>
                      <a:pt x="169" y="366"/>
                    </a:lnTo>
                  </a:path>
                </a:pathLst>
              </a:custGeom>
              <a:grpFill/>
              <a:ln w="3175">
                <a:solidFill>
                  <a:srgbClr val="FF8300"/>
                </a:solidFill>
                <a:round/>
                <a:headEnd/>
                <a:tailEnd/>
              </a:ln>
            </p:spPr>
            <p:txBody>
              <a:bodyPr/>
              <a:lstStyle/>
              <a:p>
                <a:pPr>
                  <a:defRPr/>
                </a:pPr>
                <a:endParaRPr lang="en-GB" sz="1400">
                  <a:solidFill>
                    <a:schemeClr val="tx2"/>
                  </a:solidFill>
                </a:endParaRPr>
              </a:p>
            </p:txBody>
          </p:sp>
          <p:sp>
            <p:nvSpPr>
              <p:cNvPr id="362" name="Freeform 293"/>
              <p:cNvSpPr>
                <a:spLocks/>
              </p:cNvSpPr>
              <p:nvPr>
                <p:custDataLst>
                  <p:tags r:id="rId17"/>
                </p:custDataLst>
              </p:nvPr>
            </p:nvSpPr>
            <p:spPr bwMode="gray">
              <a:xfrm>
                <a:off x="3809708" y="5734222"/>
                <a:ext cx="606175" cy="372067"/>
              </a:xfrm>
              <a:custGeom>
                <a:avLst/>
                <a:gdLst>
                  <a:gd name="T0" fmla="*/ 2147483647 w 445"/>
                  <a:gd name="T1" fmla="*/ 2147483647 h 282"/>
                  <a:gd name="T2" fmla="*/ 2147483647 w 445"/>
                  <a:gd name="T3" fmla="*/ 2147483647 h 282"/>
                  <a:gd name="T4" fmla="*/ 2147483647 w 445"/>
                  <a:gd name="T5" fmla="*/ 2147483647 h 282"/>
                  <a:gd name="T6" fmla="*/ 2147483647 w 445"/>
                  <a:gd name="T7" fmla="*/ 2147483647 h 282"/>
                  <a:gd name="T8" fmla="*/ 2147483647 w 445"/>
                  <a:gd name="T9" fmla="*/ 2147483647 h 282"/>
                  <a:gd name="T10" fmla="*/ 2147483647 w 445"/>
                  <a:gd name="T11" fmla="*/ 2147483647 h 282"/>
                  <a:gd name="T12" fmla="*/ 0 w 445"/>
                  <a:gd name="T13" fmla="*/ 2147483647 h 282"/>
                  <a:gd name="T14" fmla="*/ 2147483647 w 445"/>
                  <a:gd name="T15" fmla="*/ 2147483647 h 282"/>
                  <a:gd name="T16" fmla="*/ 2147483647 w 445"/>
                  <a:gd name="T17" fmla="*/ 2147483647 h 282"/>
                  <a:gd name="T18" fmla="*/ 2147483647 w 445"/>
                  <a:gd name="T19" fmla="*/ 2147483647 h 282"/>
                  <a:gd name="T20" fmla="*/ 2147483647 w 445"/>
                  <a:gd name="T21" fmla="*/ 2147483647 h 282"/>
                  <a:gd name="T22" fmla="*/ 2147483647 w 445"/>
                  <a:gd name="T23" fmla="*/ 2147483647 h 282"/>
                  <a:gd name="T24" fmla="*/ 2147483647 w 445"/>
                  <a:gd name="T25" fmla="*/ 2147483647 h 282"/>
                  <a:gd name="T26" fmla="*/ 2147483647 w 445"/>
                  <a:gd name="T27" fmla="*/ 2147483647 h 282"/>
                  <a:gd name="T28" fmla="*/ 2147483647 w 445"/>
                  <a:gd name="T29" fmla="*/ 0 h 282"/>
                  <a:gd name="T30" fmla="*/ 2147483647 w 445"/>
                  <a:gd name="T31" fmla="*/ 2147483647 h 282"/>
                  <a:gd name="T32" fmla="*/ 2147483647 w 445"/>
                  <a:gd name="T33" fmla="*/ 2147483647 h 282"/>
                  <a:gd name="T34" fmla="*/ 2147483647 w 445"/>
                  <a:gd name="T35" fmla="*/ 2147483647 h 282"/>
                  <a:gd name="T36" fmla="*/ 2147483647 w 445"/>
                  <a:gd name="T37" fmla="*/ 2147483647 h 282"/>
                  <a:gd name="T38" fmla="*/ 2147483647 w 445"/>
                  <a:gd name="T39" fmla="*/ 2147483647 h 282"/>
                  <a:gd name="T40" fmla="*/ 2147483647 w 445"/>
                  <a:gd name="T41" fmla="*/ 2147483647 h 282"/>
                  <a:gd name="T42" fmla="*/ 2147483647 w 445"/>
                  <a:gd name="T43" fmla="*/ 2147483647 h 282"/>
                  <a:gd name="T44" fmla="*/ 2147483647 w 445"/>
                  <a:gd name="T45" fmla="*/ 2147483647 h 282"/>
                  <a:gd name="T46" fmla="*/ 2147483647 w 445"/>
                  <a:gd name="T47" fmla="*/ 2147483647 h 282"/>
                  <a:gd name="T48" fmla="*/ 2147483647 w 445"/>
                  <a:gd name="T49" fmla="*/ 2147483647 h 282"/>
                  <a:gd name="T50" fmla="*/ 2147483647 w 445"/>
                  <a:gd name="T51" fmla="*/ 2147483647 h 282"/>
                  <a:gd name="T52" fmla="*/ 2147483647 w 445"/>
                  <a:gd name="T53" fmla="*/ 2147483647 h 282"/>
                  <a:gd name="T54" fmla="*/ 2147483647 w 445"/>
                  <a:gd name="T55" fmla="*/ 2147483647 h 282"/>
                  <a:gd name="T56" fmla="*/ 2147483647 w 445"/>
                  <a:gd name="T57" fmla="*/ 0 h 282"/>
                  <a:gd name="T58" fmla="*/ 2147483647 w 445"/>
                  <a:gd name="T59" fmla="*/ 2147483647 h 282"/>
                  <a:gd name="T60" fmla="*/ 2147483647 w 445"/>
                  <a:gd name="T61" fmla="*/ 2147483647 h 282"/>
                  <a:gd name="T62" fmla="*/ 2147483647 w 445"/>
                  <a:gd name="T63" fmla="*/ 2147483647 h 282"/>
                  <a:gd name="T64" fmla="*/ 2147483647 w 445"/>
                  <a:gd name="T65" fmla="*/ 2147483647 h 282"/>
                  <a:gd name="T66" fmla="*/ 2147483647 w 445"/>
                  <a:gd name="T67" fmla="*/ 2147483647 h 282"/>
                  <a:gd name="T68" fmla="*/ 2147483647 w 445"/>
                  <a:gd name="T69" fmla="*/ 2147483647 h 282"/>
                  <a:gd name="T70" fmla="*/ 2147483647 w 445"/>
                  <a:gd name="T71" fmla="*/ 2147483647 h 282"/>
                  <a:gd name="T72" fmla="*/ 2147483647 w 445"/>
                  <a:gd name="T73" fmla="*/ 2147483647 h 282"/>
                  <a:gd name="T74" fmla="*/ 2147483647 w 445"/>
                  <a:gd name="T75" fmla="*/ 2147483647 h 282"/>
                  <a:gd name="T76" fmla="*/ 2147483647 w 445"/>
                  <a:gd name="T77" fmla="*/ 2147483647 h 282"/>
                  <a:gd name="T78" fmla="*/ 2147483647 w 445"/>
                  <a:gd name="T79" fmla="*/ 2147483647 h 282"/>
                  <a:gd name="T80" fmla="*/ 2147483647 w 445"/>
                  <a:gd name="T81" fmla="*/ 2147483647 h 282"/>
                  <a:gd name="T82" fmla="*/ 2147483647 w 445"/>
                  <a:gd name="T83" fmla="*/ 2147483647 h 282"/>
                  <a:gd name="T84" fmla="*/ 2147483647 w 445"/>
                  <a:gd name="T85" fmla="*/ 2147483647 h 282"/>
                  <a:gd name="T86" fmla="*/ 2147483647 w 445"/>
                  <a:gd name="T87" fmla="*/ 2147483647 h 282"/>
                  <a:gd name="T88" fmla="*/ 2147483647 w 445"/>
                  <a:gd name="T89" fmla="*/ 2147483647 h 282"/>
                  <a:gd name="T90" fmla="*/ 2147483647 w 445"/>
                  <a:gd name="T91" fmla="*/ 2147483647 h 282"/>
                  <a:gd name="T92" fmla="*/ 2147483647 w 445"/>
                  <a:gd name="T93" fmla="*/ 2147483647 h 282"/>
                  <a:gd name="T94" fmla="*/ 2147483647 w 445"/>
                  <a:gd name="T95" fmla="*/ 2147483647 h 282"/>
                  <a:gd name="T96" fmla="*/ 2147483647 w 445"/>
                  <a:gd name="T97" fmla="*/ 2147483647 h 282"/>
                  <a:gd name="T98" fmla="*/ 2147483647 w 445"/>
                  <a:gd name="T99" fmla="*/ 2147483647 h 282"/>
                  <a:gd name="T100" fmla="*/ 2147483647 w 445"/>
                  <a:gd name="T101" fmla="*/ 2147483647 h 282"/>
                  <a:gd name="T102" fmla="*/ 2147483647 w 445"/>
                  <a:gd name="T103" fmla="*/ 2147483647 h 282"/>
                  <a:gd name="T104" fmla="*/ 2147483647 w 445"/>
                  <a:gd name="T105" fmla="*/ 2147483647 h 282"/>
                  <a:gd name="T106" fmla="*/ 2147483647 w 445"/>
                  <a:gd name="T107" fmla="*/ 2147483647 h 282"/>
                  <a:gd name="T108" fmla="*/ 2147483647 w 445"/>
                  <a:gd name="T109" fmla="*/ 2147483647 h 282"/>
                  <a:gd name="T110" fmla="*/ 2147483647 w 445"/>
                  <a:gd name="T111" fmla="*/ 2147483647 h 282"/>
                  <a:gd name="T112" fmla="*/ 2147483647 w 445"/>
                  <a:gd name="T113" fmla="*/ 2147483647 h 282"/>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445"/>
                  <a:gd name="T172" fmla="*/ 0 h 282"/>
                  <a:gd name="T173" fmla="*/ 445 w 445"/>
                  <a:gd name="T174" fmla="*/ 282 h 282"/>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445" h="282">
                    <a:moveTo>
                      <a:pt x="145" y="263"/>
                    </a:moveTo>
                    <a:lnTo>
                      <a:pt x="140" y="263"/>
                    </a:lnTo>
                    <a:lnTo>
                      <a:pt x="136" y="263"/>
                    </a:lnTo>
                    <a:lnTo>
                      <a:pt x="136" y="257"/>
                    </a:lnTo>
                    <a:lnTo>
                      <a:pt x="136" y="253"/>
                    </a:lnTo>
                    <a:lnTo>
                      <a:pt x="136" y="248"/>
                    </a:lnTo>
                    <a:lnTo>
                      <a:pt x="136" y="242"/>
                    </a:lnTo>
                    <a:lnTo>
                      <a:pt x="136" y="234"/>
                    </a:lnTo>
                    <a:lnTo>
                      <a:pt x="136" y="225"/>
                    </a:lnTo>
                    <a:lnTo>
                      <a:pt x="115" y="221"/>
                    </a:lnTo>
                    <a:lnTo>
                      <a:pt x="99" y="221"/>
                    </a:lnTo>
                    <a:lnTo>
                      <a:pt x="92" y="223"/>
                    </a:lnTo>
                    <a:lnTo>
                      <a:pt x="84" y="225"/>
                    </a:lnTo>
                    <a:lnTo>
                      <a:pt x="76" y="228"/>
                    </a:lnTo>
                    <a:lnTo>
                      <a:pt x="67" y="232"/>
                    </a:lnTo>
                    <a:lnTo>
                      <a:pt x="57" y="228"/>
                    </a:lnTo>
                    <a:lnTo>
                      <a:pt x="48" y="225"/>
                    </a:lnTo>
                    <a:lnTo>
                      <a:pt x="36" y="179"/>
                    </a:lnTo>
                    <a:lnTo>
                      <a:pt x="25" y="133"/>
                    </a:lnTo>
                    <a:lnTo>
                      <a:pt x="11" y="86"/>
                    </a:lnTo>
                    <a:lnTo>
                      <a:pt x="0" y="40"/>
                    </a:lnTo>
                    <a:lnTo>
                      <a:pt x="7" y="40"/>
                    </a:lnTo>
                    <a:lnTo>
                      <a:pt x="15" y="40"/>
                    </a:lnTo>
                    <a:lnTo>
                      <a:pt x="17" y="42"/>
                    </a:lnTo>
                    <a:lnTo>
                      <a:pt x="19" y="44"/>
                    </a:lnTo>
                    <a:lnTo>
                      <a:pt x="28" y="44"/>
                    </a:lnTo>
                    <a:lnTo>
                      <a:pt x="38" y="44"/>
                    </a:lnTo>
                    <a:lnTo>
                      <a:pt x="40" y="42"/>
                    </a:lnTo>
                    <a:lnTo>
                      <a:pt x="44" y="40"/>
                    </a:lnTo>
                    <a:lnTo>
                      <a:pt x="46" y="37"/>
                    </a:lnTo>
                    <a:lnTo>
                      <a:pt x="48" y="35"/>
                    </a:lnTo>
                    <a:lnTo>
                      <a:pt x="51" y="33"/>
                    </a:lnTo>
                    <a:lnTo>
                      <a:pt x="53" y="31"/>
                    </a:lnTo>
                    <a:lnTo>
                      <a:pt x="80" y="27"/>
                    </a:lnTo>
                    <a:lnTo>
                      <a:pt x="107" y="25"/>
                    </a:lnTo>
                    <a:lnTo>
                      <a:pt x="109" y="23"/>
                    </a:lnTo>
                    <a:lnTo>
                      <a:pt x="111" y="21"/>
                    </a:lnTo>
                    <a:lnTo>
                      <a:pt x="119" y="17"/>
                    </a:lnTo>
                    <a:lnTo>
                      <a:pt x="126" y="15"/>
                    </a:lnTo>
                    <a:lnTo>
                      <a:pt x="128" y="14"/>
                    </a:lnTo>
                    <a:lnTo>
                      <a:pt x="130" y="10"/>
                    </a:lnTo>
                    <a:lnTo>
                      <a:pt x="138" y="8"/>
                    </a:lnTo>
                    <a:lnTo>
                      <a:pt x="145" y="6"/>
                    </a:lnTo>
                    <a:lnTo>
                      <a:pt x="147" y="4"/>
                    </a:lnTo>
                    <a:lnTo>
                      <a:pt x="149" y="0"/>
                    </a:lnTo>
                    <a:lnTo>
                      <a:pt x="155" y="0"/>
                    </a:lnTo>
                    <a:lnTo>
                      <a:pt x="159" y="0"/>
                    </a:lnTo>
                    <a:lnTo>
                      <a:pt x="163" y="4"/>
                    </a:lnTo>
                    <a:lnTo>
                      <a:pt x="165" y="6"/>
                    </a:lnTo>
                    <a:lnTo>
                      <a:pt x="172" y="8"/>
                    </a:lnTo>
                    <a:lnTo>
                      <a:pt x="178" y="10"/>
                    </a:lnTo>
                    <a:lnTo>
                      <a:pt x="180" y="14"/>
                    </a:lnTo>
                    <a:lnTo>
                      <a:pt x="184" y="15"/>
                    </a:lnTo>
                    <a:lnTo>
                      <a:pt x="186" y="17"/>
                    </a:lnTo>
                    <a:lnTo>
                      <a:pt x="188" y="21"/>
                    </a:lnTo>
                    <a:lnTo>
                      <a:pt x="191" y="23"/>
                    </a:lnTo>
                    <a:lnTo>
                      <a:pt x="193" y="25"/>
                    </a:lnTo>
                    <a:lnTo>
                      <a:pt x="195" y="37"/>
                    </a:lnTo>
                    <a:lnTo>
                      <a:pt x="199" y="50"/>
                    </a:lnTo>
                    <a:lnTo>
                      <a:pt x="201" y="52"/>
                    </a:lnTo>
                    <a:lnTo>
                      <a:pt x="203" y="54"/>
                    </a:lnTo>
                    <a:lnTo>
                      <a:pt x="205" y="56"/>
                    </a:lnTo>
                    <a:lnTo>
                      <a:pt x="207" y="60"/>
                    </a:lnTo>
                    <a:lnTo>
                      <a:pt x="211" y="62"/>
                    </a:lnTo>
                    <a:lnTo>
                      <a:pt x="213" y="63"/>
                    </a:lnTo>
                    <a:lnTo>
                      <a:pt x="222" y="63"/>
                    </a:lnTo>
                    <a:lnTo>
                      <a:pt x="232" y="63"/>
                    </a:lnTo>
                    <a:lnTo>
                      <a:pt x="234" y="62"/>
                    </a:lnTo>
                    <a:lnTo>
                      <a:pt x="238" y="60"/>
                    </a:lnTo>
                    <a:lnTo>
                      <a:pt x="239" y="56"/>
                    </a:lnTo>
                    <a:lnTo>
                      <a:pt x="241" y="54"/>
                    </a:lnTo>
                    <a:lnTo>
                      <a:pt x="243" y="52"/>
                    </a:lnTo>
                    <a:lnTo>
                      <a:pt x="247" y="50"/>
                    </a:lnTo>
                    <a:lnTo>
                      <a:pt x="249" y="46"/>
                    </a:lnTo>
                    <a:lnTo>
                      <a:pt x="251" y="44"/>
                    </a:lnTo>
                    <a:lnTo>
                      <a:pt x="253" y="42"/>
                    </a:lnTo>
                    <a:lnTo>
                      <a:pt x="257" y="40"/>
                    </a:lnTo>
                    <a:lnTo>
                      <a:pt x="272" y="33"/>
                    </a:lnTo>
                    <a:lnTo>
                      <a:pt x="289" y="25"/>
                    </a:lnTo>
                    <a:lnTo>
                      <a:pt x="291" y="23"/>
                    </a:lnTo>
                    <a:lnTo>
                      <a:pt x="295" y="21"/>
                    </a:lnTo>
                    <a:lnTo>
                      <a:pt x="316" y="21"/>
                    </a:lnTo>
                    <a:lnTo>
                      <a:pt x="339" y="21"/>
                    </a:lnTo>
                    <a:lnTo>
                      <a:pt x="339" y="14"/>
                    </a:lnTo>
                    <a:lnTo>
                      <a:pt x="339" y="6"/>
                    </a:lnTo>
                    <a:lnTo>
                      <a:pt x="341" y="4"/>
                    </a:lnTo>
                    <a:lnTo>
                      <a:pt x="343" y="0"/>
                    </a:lnTo>
                    <a:lnTo>
                      <a:pt x="347" y="0"/>
                    </a:lnTo>
                    <a:lnTo>
                      <a:pt x="353" y="0"/>
                    </a:lnTo>
                    <a:lnTo>
                      <a:pt x="355" y="4"/>
                    </a:lnTo>
                    <a:lnTo>
                      <a:pt x="358" y="6"/>
                    </a:lnTo>
                    <a:lnTo>
                      <a:pt x="360" y="8"/>
                    </a:lnTo>
                    <a:lnTo>
                      <a:pt x="362" y="10"/>
                    </a:lnTo>
                    <a:lnTo>
                      <a:pt x="364" y="14"/>
                    </a:lnTo>
                    <a:lnTo>
                      <a:pt x="368" y="15"/>
                    </a:lnTo>
                    <a:lnTo>
                      <a:pt x="370" y="17"/>
                    </a:lnTo>
                    <a:lnTo>
                      <a:pt x="372" y="21"/>
                    </a:lnTo>
                    <a:lnTo>
                      <a:pt x="374" y="23"/>
                    </a:lnTo>
                    <a:lnTo>
                      <a:pt x="378" y="25"/>
                    </a:lnTo>
                    <a:lnTo>
                      <a:pt x="379" y="27"/>
                    </a:lnTo>
                    <a:lnTo>
                      <a:pt x="381" y="31"/>
                    </a:lnTo>
                    <a:lnTo>
                      <a:pt x="383" y="33"/>
                    </a:lnTo>
                    <a:lnTo>
                      <a:pt x="387" y="35"/>
                    </a:lnTo>
                    <a:lnTo>
                      <a:pt x="389" y="37"/>
                    </a:lnTo>
                    <a:lnTo>
                      <a:pt x="391" y="40"/>
                    </a:lnTo>
                    <a:lnTo>
                      <a:pt x="395" y="42"/>
                    </a:lnTo>
                    <a:lnTo>
                      <a:pt x="397" y="44"/>
                    </a:lnTo>
                    <a:lnTo>
                      <a:pt x="399" y="46"/>
                    </a:lnTo>
                    <a:lnTo>
                      <a:pt x="401" y="50"/>
                    </a:lnTo>
                    <a:lnTo>
                      <a:pt x="404" y="52"/>
                    </a:lnTo>
                    <a:lnTo>
                      <a:pt x="406" y="54"/>
                    </a:lnTo>
                    <a:lnTo>
                      <a:pt x="408" y="56"/>
                    </a:lnTo>
                    <a:lnTo>
                      <a:pt x="410" y="60"/>
                    </a:lnTo>
                    <a:lnTo>
                      <a:pt x="412" y="62"/>
                    </a:lnTo>
                    <a:lnTo>
                      <a:pt x="416" y="63"/>
                    </a:lnTo>
                    <a:lnTo>
                      <a:pt x="418" y="71"/>
                    </a:lnTo>
                    <a:lnTo>
                      <a:pt x="420" y="79"/>
                    </a:lnTo>
                    <a:lnTo>
                      <a:pt x="424" y="81"/>
                    </a:lnTo>
                    <a:lnTo>
                      <a:pt x="426" y="83"/>
                    </a:lnTo>
                    <a:lnTo>
                      <a:pt x="433" y="100"/>
                    </a:lnTo>
                    <a:lnTo>
                      <a:pt x="439" y="117"/>
                    </a:lnTo>
                    <a:lnTo>
                      <a:pt x="443" y="119"/>
                    </a:lnTo>
                    <a:lnTo>
                      <a:pt x="445" y="121"/>
                    </a:lnTo>
                    <a:lnTo>
                      <a:pt x="445" y="127"/>
                    </a:lnTo>
                    <a:lnTo>
                      <a:pt x="445" y="133"/>
                    </a:lnTo>
                    <a:lnTo>
                      <a:pt x="443" y="134"/>
                    </a:lnTo>
                    <a:lnTo>
                      <a:pt x="439" y="136"/>
                    </a:lnTo>
                    <a:lnTo>
                      <a:pt x="439" y="142"/>
                    </a:lnTo>
                    <a:lnTo>
                      <a:pt x="439" y="146"/>
                    </a:lnTo>
                    <a:lnTo>
                      <a:pt x="443" y="148"/>
                    </a:lnTo>
                    <a:lnTo>
                      <a:pt x="445" y="152"/>
                    </a:lnTo>
                    <a:lnTo>
                      <a:pt x="443" y="154"/>
                    </a:lnTo>
                    <a:lnTo>
                      <a:pt x="439" y="156"/>
                    </a:lnTo>
                    <a:lnTo>
                      <a:pt x="433" y="157"/>
                    </a:lnTo>
                    <a:lnTo>
                      <a:pt x="426" y="161"/>
                    </a:lnTo>
                    <a:lnTo>
                      <a:pt x="424" y="163"/>
                    </a:lnTo>
                    <a:lnTo>
                      <a:pt x="420" y="165"/>
                    </a:lnTo>
                    <a:lnTo>
                      <a:pt x="420" y="171"/>
                    </a:lnTo>
                    <a:lnTo>
                      <a:pt x="420" y="175"/>
                    </a:lnTo>
                    <a:lnTo>
                      <a:pt x="424" y="177"/>
                    </a:lnTo>
                    <a:lnTo>
                      <a:pt x="426" y="180"/>
                    </a:lnTo>
                    <a:lnTo>
                      <a:pt x="426" y="200"/>
                    </a:lnTo>
                    <a:lnTo>
                      <a:pt x="426" y="219"/>
                    </a:lnTo>
                    <a:lnTo>
                      <a:pt x="424" y="221"/>
                    </a:lnTo>
                    <a:lnTo>
                      <a:pt x="420" y="225"/>
                    </a:lnTo>
                    <a:lnTo>
                      <a:pt x="395" y="227"/>
                    </a:lnTo>
                    <a:lnTo>
                      <a:pt x="368" y="228"/>
                    </a:lnTo>
                    <a:lnTo>
                      <a:pt x="364" y="230"/>
                    </a:lnTo>
                    <a:lnTo>
                      <a:pt x="362" y="232"/>
                    </a:lnTo>
                    <a:lnTo>
                      <a:pt x="360" y="236"/>
                    </a:lnTo>
                    <a:lnTo>
                      <a:pt x="358" y="238"/>
                    </a:lnTo>
                    <a:lnTo>
                      <a:pt x="355" y="240"/>
                    </a:lnTo>
                    <a:lnTo>
                      <a:pt x="353" y="242"/>
                    </a:lnTo>
                    <a:lnTo>
                      <a:pt x="341" y="246"/>
                    </a:lnTo>
                    <a:lnTo>
                      <a:pt x="328" y="248"/>
                    </a:lnTo>
                    <a:lnTo>
                      <a:pt x="326" y="250"/>
                    </a:lnTo>
                    <a:lnTo>
                      <a:pt x="324" y="253"/>
                    </a:lnTo>
                    <a:lnTo>
                      <a:pt x="322" y="255"/>
                    </a:lnTo>
                    <a:lnTo>
                      <a:pt x="318" y="257"/>
                    </a:lnTo>
                    <a:lnTo>
                      <a:pt x="316" y="259"/>
                    </a:lnTo>
                    <a:lnTo>
                      <a:pt x="314" y="263"/>
                    </a:lnTo>
                    <a:lnTo>
                      <a:pt x="307" y="265"/>
                    </a:lnTo>
                    <a:lnTo>
                      <a:pt x="299" y="267"/>
                    </a:lnTo>
                    <a:lnTo>
                      <a:pt x="297" y="269"/>
                    </a:lnTo>
                    <a:lnTo>
                      <a:pt x="295" y="273"/>
                    </a:lnTo>
                    <a:lnTo>
                      <a:pt x="291" y="276"/>
                    </a:lnTo>
                    <a:lnTo>
                      <a:pt x="289" y="282"/>
                    </a:lnTo>
                    <a:lnTo>
                      <a:pt x="274" y="271"/>
                    </a:lnTo>
                    <a:lnTo>
                      <a:pt x="257" y="265"/>
                    </a:lnTo>
                    <a:lnTo>
                      <a:pt x="239" y="261"/>
                    </a:lnTo>
                    <a:lnTo>
                      <a:pt x="220" y="259"/>
                    </a:lnTo>
                    <a:lnTo>
                      <a:pt x="182" y="259"/>
                    </a:lnTo>
                    <a:lnTo>
                      <a:pt x="145" y="263"/>
                    </a:lnTo>
                  </a:path>
                </a:pathLst>
              </a:custGeom>
              <a:grpFill/>
              <a:ln w="3175">
                <a:solidFill>
                  <a:srgbClr val="FF8300"/>
                </a:solidFill>
                <a:round/>
                <a:headEnd/>
                <a:tailEnd/>
              </a:ln>
            </p:spPr>
            <p:txBody>
              <a:bodyPr/>
              <a:lstStyle/>
              <a:p>
                <a:pPr>
                  <a:defRPr/>
                </a:pPr>
                <a:endParaRPr lang="en-GB" sz="1400">
                  <a:solidFill>
                    <a:schemeClr val="tx2"/>
                  </a:solidFill>
                </a:endParaRPr>
              </a:p>
            </p:txBody>
          </p:sp>
          <p:sp>
            <p:nvSpPr>
              <p:cNvPr id="363" name="Freeform 294"/>
              <p:cNvSpPr>
                <a:spLocks/>
              </p:cNvSpPr>
              <p:nvPr>
                <p:custDataLst>
                  <p:tags r:id="rId18"/>
                </p:custDataLst>
              </p:nvPr>
            </p:nvSpPr>
            <p:spPr bwMode="gray">
              <a:xfrm>
                <a:off x="3678718" y="5382970"/>
                <a:ext cx="617323" cy="447315"/>
              </a:xfrm>
              <a:custGeom>
                <a:avLst/>
                <a:gdLst>
                  <a:gd name="T0" fmla="*/ 2147483647 w 454"/>
                  <a:gd name="T1" fmla="*/ 2147483647 h 340"/>
                  <a:gd name="T2" fmla="*/ 2147483647 w 454"/>
                  <a:gd name="T3" fmla="*/ 2147483647 h 340"/>
                  <a:gd name="T4" fmla="*/ 2147483647 w 454"/>
                  <a:gd name="T5" fmla="*/ 2147483647 h 340"/>
                  <a:gd name="T6" fmla="*/ 2147483647 w 454"/>
                  <a:gd name="T7" fmla="*/ 2147483647 h 340"/>
                  <a:gd name="T8" fmla="*/ 2147483647 w 454"/>
                  <a:gd name="T9" fmla="*/ 2147483647 h 340"/>
                  <a:gd name="T10" fmla="*/ 2147483647 w 454"/>
                  <a:gd name="T11" fmla="*/ 2147483647 h 340"/>
                  <a:gd name="T12" fmla="*/ 2147483647 w 454"/>
                  <a:gd name="T13" fmla="*/ 2147483647 h 340"/>
                  <a:gd name="T14" fmla="*/ 2147483647 w 454"/>
                  <a:gd name="T15" fmla="*/ 2147483647 h 340"/>
                  <a:gd name="T16" fmla="*/ 2147483647 w 454"/>
                  <a:gd name="T17" fmla="*/ 2147483647 h 340"/>
                  <a:gd name="T18" fmla="*/ 2147483647 w 454"/>
                  <a:gd name="T19" fmla="*/ 2147483647 h 340"/>
                  <a:gd name="T20" fmla="*/ 2147483647 w 454"/>
                  <a:gd name="T21" fmla="*/ 2147483647 h 340"/>
                  <a:gd name="T22" fmla="*/ 2147483647 w 454"/>
                  <a:gd name="T23" fmla="*/ 2147483647 h 340"/>
                  <a:gd name="T24" fmla="*/ 2147483647 w 454"/>
                  <a:gd name="T25" fmla="*/ 2147483647 h 340"/>
                  <a:gd name="T26" fmla="*/ 2147483647 w 454"/>
                  <a:gd name="T27" fmla="*/ 2147483647 h 340"/>
                  <a:gd name="T28" fmla="*/ 2147483647 w 454"/>
                  <a:gd name="T29" fmla="*/ 2147483647 h 340"/>
                  <a:gd name="T30" fmla="*/ 2147483647 w 454"/>
                  <a:gd name="T31" fmla="*/ 2147483647 h 340"/>
                  <a:gd name="T32" fmla="*/ 2147483647 w 454"/>
                  <a:gd name="T33" fmla="*/ 2147483647 h 340"/>
                  <a:gd name="T34" fmla="*/ 2147483647 w 454"/>
                  <a:gd name="T35" fmla="*/ 2147483647 h 340"/>
                  <a:gd name="T36" fmla="*/ 2147483647 w 454"/>
                  <a:gd name="T37" fmla="*/ 2147483647 h 340"/>
                  <a:gd name="T38" fmla="*/ 2147483647 w 454"/>
                  <a:gd name="T39" fmla="*/ 2147483647 h 340"/>
                  <a:gd name="T40" fmla="*/ 2147483647 w 454"/>
                  <a:gd name="T41" fmla="*/ 2147483647 h 340"/>
                  <a:gd name="T42" fmla="*/ 2147483647 w 454"/>
                  <a:gd name="T43" fmla="*/ 2147483647 h 340"/>
                  <a:gd name="T44" fmla="*/ 0 w 454"/>
                  <a:gd name="T45" fmla="*/ 2147483647 h 340"/>
                  <a:gd name="T46" fmla="*/ 2147483647 w 454"/>
                  <a:gd name="T47" fmla="*/ 2147483647 h 340"/>
                  <a:gd name="T48" fmla="*/ 2147483647 w 454"/>
                  <a:gd name="T49" fmla="*/ 2147483647 h 340"/>
                  <a:gd name="T50" fmla="*/ 2147483647 w 454"/>
                  <a:gd name="T51" fmla="*/ 2147483647 h 340"/>
                  <a:gd name="T52" fmla="*/ 2147483647 w 454"/>
                  <a:gd name="T53" fmla="*/ 2147483647 h 340"/>
                  <a:gd name="T54" fmla="*/ 2147483647 w 454"/>
                  <a:gd name="T55" fmla="*/ 2147483647 h 340"/>
                  <a:gd name="T56" fmla="*/ 2147483647 w 454"/>
                  <a:gd name="T57" fmla="*/ 2147483647 h 340"/>
                  <a:gd name="T58" fmla="*/ 2147483647 w 454"/>
                  <a:gd name="T59" fmla="*/ 2147483647 h 340"/>
                  <a:gd name="T60" fmla="*/ 2147483647 w 454"/>
                  <a:gd name="T61" fmla="*/ 2147483647 h 340"/>
                  <a:gd name="T62" fmla="*/ 2147483647 w 454"/>
                  <a:gd name="T63" fmla="*/ 2147483647 h 340"/>
                  <a:gd name="T64" fmla="*/ 2147483647 w 454"/>
                  <a:gd name="T65" fmla="*/ 2147483647 h 340"/>
                  <a:gd name="T66" fmla="*/ 2147483647 w 454"/>
                  <a:gd name="T67" fmla="*/ 2147483647 h 340"/>
                  <a:gd name="T68" fmla="*/ 2147483647 w 454"/>
                  <a:gd name="T69" fmla="*/ 2147483647 h 340"/>
                  <a:gd name="T70" fmla="*/ 2147483647 w 454"/>
                  <a:gd name="T71" fmla="*/ 2147483647 h 340"/>
                  <a:gd name="T72" fmla="*/ 2147483647 w 454"/>
                  <a:gd name="T73" fmla="*/ 2147483647 h 340"/>
                  <a:gd name="T74" fmla="*/ 2147483647 w 454"/>
                  <a:gd name="T75" fmla="*/ 2147483647 h 340"/>
                  <a:gd name="T76" fmla="*/ 2147483647 w 454"/>
                  <a:gd name="T77" fmla="*/ 2147483647 h 340"/>
                  <a:gd name="T78" fmla="*/ 2147483647 w 454"/>
                  <a:gd name="T79" fmla="*/ 2147483647 h 340"/>
                  <a:gd name="T80" fmla="*/ 2147483647 w 454"/>
                  <a:gd name="T81" fmla="*/ 2147483647 h 340"/>
                  <a:gd name="T82" fmla="*/ 2147483647 w 454"/>
                  <a:gd name="T83" fmla="*/ 2147483647 h 340"/>
                  <a:gd name="T84" fmla="*/ 2147483647 w 454"/>
                  <a:gd name="T85" fmla="*/ 2147483647 h 340"/>
                  <a:gd name="T86" fmla="*/ 2147483647 w 454"/>
                  <a:gd name="T87" fmla="*/ 2147483647 h 340"/>
                  <a:gd name="T88" fmla="*/ 2147483647 w 454"/>
                  <a:gd name="T89" fmla="*/ 2147483647 h 340"/>
                  <a:gd name="T90" fmla="*/ 2147483647 w 454"/>
                  <a:gd name="T91" fmla="*/ 2147483647 h 340"/>
                  <a:gd name="T92" fmla="*/ 2147483647 w 454"/>
                  <a:gd name="T93" fmla="*/ 2147483647 h 340"/>
                  <a:gd name="T94" fmla="*/ 2147483647 w 454"/>
                  <a:gd name="T95" fmla="*/ 2147483647 h 340"/>
                  <a:gd name="T96" fmla="*/ 2147483647 w 454"/>
                  <a:gd name="T97" fmla="*/ 2147483647 h 340"/>
                  <a:gd name="T98" fmla="*/ 2147483647 w 454"/>
                  <a:gd name="T99" fmla="*/ 2147483647 h 340"/>
                  <a:gd name="T100" fmla="*/ 2147483647 w 454"/>
                  <a:gd name="T101" fmla="*/ 2147483647 h 340"/>
                  <a:gd name="T102" fmla="*/ 2147483647 w 454"/>
                  <a:gd name="T103" fmla="*/ 2147483647 h 340"/>
                  <a:gd name="T104" fmla="*/ 2147483647 w 454"/>
                  <a:gd name="T105" fmla="*/ 2147483647 h 340"/>
                  <a:gd name="T106" fmla="*/ 2147483647 w 454"/>
                  <a:gd name="T107" fmla="*/ 2147483647 h 340"/>
                  <a:gd name="T108" fmla="*/ 2147483647 w 454"/>
                  <a:gd name="T109" fmla="*/ 2147483647 h 340"/>
                  <a:gd name="T110" fmla="*/ 2147483647 w 454"/>
                  <a:gd name="T111" fmla="*/ 2147483647 h 340"/>
                  <a:gd name="T112" fmla="*/ 2147483647 w 454"/>
                  <a:gd name="T113" fmla="*/ 2147483647 h 340"/>
                  <a:gd name="T114" fmla="*/ 2147483647 w 454"/>
                  <a:gd name="T115" fmla="*/ 2147483647 h 340"/>
                  <a:gd name="T116" fmla="*/ 2147483647 w 454"/>
                  <a:gd name="T117" fmla="*/ 2147483647 h 340"/>
                  <a:gd name="T118" fmla="*/ 2147483647 w 454"/>
                  <a:gd name="T119" fmla="*/ 2147483647 h 340"/>
                  <a:gd name="T120" fmla="*/ 2147483647 w 454"/>
                  <a:gd name="T121" fmla="*/ 2147483647 h 34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54"/>
                  <a:gd name="T184" fmla="*/ 0 h 340"/>
                  <a:gd name="T185" fmla="*/ 454 w 454"/>
                  <a:gd name="T186" fmla="*/ 340 h 340"/>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54" h="340">
                    <a:moveTo>
                      <a:pt x="312" y="340"/>
                    </a:moveTo>
                    <a:lnTo>
                      <a:pt x="310" y="336"/>
                    </a:lnTo>
                    <a:lnTo>
                      <a:pt x="309" y="334"/>
                    </a:lnTo>
                    <a:lnTo>
                      <a:pt x="307" y="332"/>
                    </a:lnTo>
                    <a:lnTo>
                      <a:pt x="303" y="330"/>
                    </a:lnTo>
                    <a:lnTo>
                      <a:pt x="301" y="326"/>
                    </a:lnTo>
                    <a:lnTo>
                      <a:pt x="299" y="324"/>
                    </a:lnTo>
                    <a:lnTo>
                      <a:pt x="297" y="313"/>
                    </a:lnTo>
                    <a:lnTo>
                      <a:pt x="295" y="301"/>
                    </a:lnTo>
                    <a:lnTo>
                      <a:pt x="291" y="297"/>
                    </a:lnTo>
                    <a:lnTo>
                      <a:pt x="289" y="295"/>
                    </a:lnTo>
                    <a:lnTo>
                      <a:pt x="287" y="294"/>
                    </a:lnTo>
                    <a:lnTo>
                      <a:pt x="284" y="290"/>
                    </a:lnTo>
                    <a:lnTo>
                      <a:pt x="282" y="288"/>
                    </a:lnTo>
                    <a:lnTo>
                      <a:pt x="280" y="286"/>
                    </a:lnTo>
                    <a:lnTo>
                      <a:pt x="272" y="284"/>
                    </a:lnTo>
                    <a:lnTo>
                      <a:pt x="264" y="280"/>
                    </a:lnTo>
                    <a:lnTo>
                      <a:pt x="263" y="278"/>
                    </a:lnTo>
                    <a:lnTo>
                      <a:pt x="261" y="276"/>
                    </a:lnTo>
                    <a:lnTo>
                      <a:pt x="251" y="276"/>
                    </a:lnTo>
                    <a:lnTo>
                      <a:pt x="241" y="276"/>
                    </a:lnTo>
                    <a:lnTo>
                      <a:pt x="238" y="278"/>
                    </a:lnTo>
                    <a:lnTo>
                      <a:pt x="236" y="280"/>
                    </a:lnTo>
                    <a:lnTo>
                      <a:pt x="228" y="284"/>
                    </a:lnTo>
                    <a:lnTo>
                      <a:pt x="222" y="286"/>
                    </a:lnTo>
                    <a:lnTo>
                      <a:pt x="218" y="288"/>
                    </a:lnTo>
                    <a:lnTo>
                      <a:pt x="216" y="290"/>
                    </a:lnTo>
                    <a:lnTo>
                      <a:pt x="209" y="294"/>
                    </a:lnTo>
                    <a:lnTo>
                      <a:pt x="203" y="295"/>
                    </a:lnTo>
                    <a:lnTo>
                      <a:pt x="199" y="297"/>
                    </a:lnTo>
                    <a:lnTo>
                      <a:pt x="197" y="301"/>
                    </a:lnTo>
                    <a:lnTo>
                      <a:pt x="170" y="303"/>
                    </a:lnTo>
                    <a:lnTo>
                      <a:pt x="144" y="305"/>
                    </a:lnTo>
                    <a:lnTo>
                      <a:pt x="142" y="307"/>
                    </a:lnTo>
                    <a:lnTo>
                      <a:pt x="140" y="311"/>
                    </a:lnTo>
                    <a:lnTo>
                      <a:pt x="136" y="313"/>
                    </a:lnTo>
                    <a:lnTo>
                      <a:pt x="134" y="315"/>
                    </a:lnTo>
                    <a:lnTo>
                      <a:pt x="132" y="317"/>
                    </a:lnTo>
                    <a:lnTo>
                      <a:pt x="130" y="320"/>
                    </a:lnTo>
                    <a:lnTo>
                      <a:pt x="124" y="320"/>
                    </a:lnTo>
                    <a:lnTo>
                      <a:pt x="121" y="320"/>
                    </a:lnTo>
                    <a:lnTo>
                      <a:pt x="117" y="317"/>
                    </a:lnTo>
                    <a:lnTo>
                      <a:pt x="115" y="315"/>
                    </a:lnTo>
                    <a:lnTo>
                      <a:pt x="105" y="313"/>
                    </a:lnTo>
                    <a:lnTo>
                      <a:pt x="96" y="311"/>
                    </a:lnTo>
                    <a:lnTo>
                      <a:pt x="92" y="311"/>
                    </a:lnTo>
                    <a:lnTo>
                      <a:pt x="86" y="311"/>
                    </a:lnTo>
                    <a:lnTo>
                      <a:pt x="84" y="295"/>
                    </a:lnTo>
                    <a:lnTo>
                      <a:pt x="82" y="280"/>
                    </a:lnTo>
                    <a:lnTo>
                      <a:pt x="65" y="271"/>
                    </a:lnTo>
                    <a:lnTo>
                      <a:pt x="48" y="261"/>
                    </a:lnTo>
                    <a:lnTo>
                      <a:pt x="48" y="257"/>
                    </a:lnTo>
                    <a:lnTo>
                      <a:pt x="48" y="251"/>
                    </a:lnTo>
                    <a:lnTo>
                      <a:pt x="57" y="232"/>
                    </a:lnTo>
                    <a:lnTo>
                      <a:pt x="67" y="213"/>
                    </a:lnTo>
                    <a:lnTo>
                      <a:pt x="51" y="213"/>
                    </a:lnTo>
                    <a:lnTo>
                      <a:pt x="38" y="213"/>
                    </a:lnTo>
                    <a:lnTo>
                      <a:pt x="28" y="209"/>
                    </a:lnTo>
                    <a:lnTo>
                      <a:pt x="19" y="203"/>
                    </a:lnTo>
                    <a:lnTo>
                      <a:pt x="15" y="194"/>
                    </a:lnTo>
                    <a:lnTo>
                      <a:pt x="13" y="184"/>
                    </a:lnTo>
                    <a:lnTo>
                      <a:pt x="11" y="182"/>
                    </a:lnTo>
                    <a:lnTo>
                      <a:pt x="9" y="180"/>
                    </a:lnTo>
                    <a:lnTo>
                      <a:pt x="5" y="163"/>
                    </a:lnTo>
                    <a:lnTo>
                      <a:pt x="3" y="146"/>
                    </a:lnTo>
                    <a:lnTo>
                      <a:pt x="2" y="144"/>
                    </a:lnTo>
                    <a:lnTo>
                      <a:pt x="0" y="140"/>
                    </a:lnTo>
                    <a:lnTo>
                      <a:pt x="0" y="130"/>
                    </a:lnTo>
                    <a:lnTo>
                      <a:pt x="0" y="121"/>
                    </a:lnTo>
                    <a:lnTo>
                      <a:pt x="2" y="119"/>
                    </a:lnTo>
                    <a:lnTo>
                      <a:pt x="3" y="117"/>
                    </a:lnTo>
                    <a:lnTo>
                      <a:pt x="5" y="115"/>
                    </a:lnTo>
                    <a:lnTo>
                      <a:pt x="9" y="111"/>
                    </a:lnTo>
                    <a:lnTo>
                      <a:pt x="11" y="109"/>
                    </a:lnTo>
                    <a:lnTo>
                      <a:pt x="13" y="107"/>
                    </a:lnTo>
                    <a:lnTo>
                      <a:pt x="15" y="94"/>
                    </a:lnTo>
                    <a:lnTo>
                      <a:pt x="19" y="82"/>
                    </a:lnTo>
                    <a:lnTo>
                      <a:pt x="21" y="81"/>
                    </a:lnTo>
                    <a:lnTo>
                      <a:pt x="23" y="79"/>
                    </a:lnTo>
                    <a:lnTo>
                      <a:pt x="40" y="75"/>
                    </a:lnTo>
                    <a:lnTo>
                      <a:pt x="57" y="73"/>
                    </a:lnTo>
                    <a:lnTo>
                      <a:pt x="59" y="71"/>
                    </a:lnTo>
                    <a:lnTo>
                      <a:pt x="63" y="69"/>
                    </a:lnTo>
                    <a:lnTo>
                      <a:pt x="65" y="42"/>
                    </a:lnTo>
                    <a:lnTo>
                      <a:pt x="67" y="15"/>
                    </a:lnTo>
                    <a:lnTo>
                      <a:pt x="69" y="13"/>
                    </a:lnTo>
                    <a:lnTo>
                      <a:pt x="71" y="10"/>
                    </a:lnTo>
                    <a:lnTo>
                      <a:pt x="86" y="8"/>
                    </a:lnTo>
                    <a:lnTo>
                      <a:pt x="99" y="6"/>
                    </a:lnTo>
                    <a:lnTo>
                      <a:pt x="115" y="4"/>
                    </a:lnTo>
                    <a:lnTo>
                      <a:pt x="130" y="0"/>
                    </a:lnTo>
                    <a:lnTo>
                      <a:pt x="132" y="4"/>
                    </a:lnTo>
                    <a:lnTo>
                      <a:pt x="134" y="6"/>
                    </a:lnTo>
                    <a:lnTo>
                      <a:pt x="142" y="8"/>
                    </a:lnTo>
                    <a:lnTo>
                      <a:pt x="149" y="10"/>
                    </a:lnTo>
                    <a:lnTo>
                      <a:pt x="151" y="13"/>
                    </a:lnTo>
                    <a:lnTo>
                      <a:pt x="153" y="15"/>
                    </a:lnTo>
                    <a:lnTo>
                      <a:pt x="167" y="17"/>
                    </a:lnTo>
                    <a:lnTo>
                      <a:pt x="178" y="19"/>
                    </a:lnTo>
                    <a:lnTo>
                      <a:pt x="180" y="23"/>
                    </a:lnTo>
                    <a:lnTo>
                      <a:pt x="182" y="25"/>
                    </a:lnTo>
                    <a:lnTo>
                      <a:pt x="190" y="27"/>
                    </a:lnTo>
                    <a:lnTo>
                      <a:pt x="197" y="29"/>
                    </a:lnTo>
                    <a:lnTo>
                      <a:pt x="199" y="33"/>
                    </a:lnTo>
                    <a:lnTo>
                      <a:pt x="203" y="35"/>
                    </a:lnTo>
                    <a:lnTo>
                      <a:pt x="209" y="36"/>
                    </a:lnTo>
                    <a:lnTo>
                      <a:pt x="216" y="40"/>
                    </a:lnTo>
                    <a:lnTo>
                      <a:pt x="218" y="42"/>
                    </a:lnTo>
                    <a:lnTo>
                      <a:pt x="222" y="44"/>
                    </a:lnTo>
                    <a:lnTo>
                      <a:pt x="228" y="61"/>
                    </a:lnTo>
                    <a:lnTo>
                      <a:pt x="236" y="79"/>
                    </a:lnTo>
                    <a:lnTo>
                      <a:pt x="238" y="81"/>
                    </a:lnTo>
                    <a:lnTo>
                      <a:pt x="241" y="82"/>
                    </a:lnTo>
                    <a:lnTo>
                      <a:pt x="263" y="84"/>
                    </a:lnTo>
                    <a:lnTo>
                      <a:pt x="284" y="88"/>
                    </a:lnTo>
                    <a:lnTo>
                      <a:pt x="287" y="90"/>
                    </a:lnTo>
                    <a:lnTo>
                      <a:pt x="289" y="92"/>
                    </a:lnTo>
                    <a:lnTo>
                      <a:pt x="297" y="94"/>
                    </a:lnTo>
                    <a:lnTo>
                      <a:pt x="303" y="98"/>
                    </a:lnTo>
                    <a:lnTo>
                      <a:pt x="307" y="100"/>
                    </a:lnTo>
                    <a:lnTo>
                      <a:pt x="309" y="102"/>
                    </a:lnTo>
                    <a:lnTo>
                      <a:pt x="324" y="104"/>
                    </a:lnTo>
                    <a:lnTo>
                      <a:pt x="339" y="104"/>
                    </a:lnTo>
                    <a:lnTo>
                      <a:pt x="357" y="106"/>
                    </a:lnTo>
                    <a:lnTo>
                      <a:pt x="372" y="107"/>
                    </a:lnTo>
                    <a:lnTo>
                      <a:pt x="374" y="109"/>
                    </a:lnTo>
                    <a:lnTo>
                      <a:pt x="376" y="111"/>
                    </a:lnTo>
                    <a:lnTo>
                      <a:pt x="374" y="115"/>
                    </a:lnTo>
                    <a:lnTo>
                      <a:pt x="372" y="117"/>
                    </a:lnTo>
                    <a:lnTo>
                      <a:pt x="372" y="121"/>
                    </a:lnTo>
                    <a:lnTo>
                      <a:pt x="372" y="127"/>
                    </a:lnTo>
                    <a:lnTo>
                      <a:pt x="374" y="129"/>
                    </a:lnTo>
                    <a:lnTo>
                      <a:pt x="376" y="130"/>
                    </a:lnTo>
                    <a:lnTo>
                      <a:pt x="376" y="153"/>
                    </a:lnTo>
                    <a:lnTo>
                      <a:pt x="376" y="175"/>
                    </a:lnTo>
                    <a:lnTo>
                      <a:pt x="387" y="175"/>
                    </a:lnTo>
                    <a:lnTo>
                      <a:pt x="393" y="175"/>
                    </a:lnTo>
                    <a:lnTo>
                      <a:pt x="395" y="173"/>
                    </a:lnTo>
                    <a:lnTo>
                      <a:pt x="395" y="169"/>
                    </a:lnTo>
                    <a:lnTo>
                      <a:pt x="399" y="167"/>
                    </a:lnTo>
                    <a:lnTo>
                      <a:pt x="401" y="165"/>
                    </a:lnTo>
                    <a:lnTo>
                      <a:pt x="403" y="157"/>
                    </a:lnTo>
                    <a:lnTo>
                      <a:pt x="406" y="152"/>
                    </a:lnTo>
                    <a:lnTo>
                      <a:pt x="408" y="148"/>
                    </a:lnTo>
                    <a:lnTo>
                      <a:pt x="410" y="146"/>
                    </a:lnTo>
                    <a:lnTo>
                      <a:pt x="422" y="146"/>
                    </a:lnTo>
                    <a:lnTo>
                      <a:pt x="435" y="146"/>
                    </a:lnTo>
                    <a:lnTo>
                      <a:pt x="435" y="159"/>
                    </a:lnTo>
                    <a:lnTo>
                      <a:pt x="437" y="175"/>
                    </a:lnTo>
                    <a:lnTo>
                      <a:pt x="437" y="188"/>
                    </a:lnTo>
                    <a:lnTo>
                      <a:pt x="439" y="203"/>
                    </a:lnTo>
                    <a:lnTo>
                      <a:pt x="441" y="205"/>
                    </a:lnTo>
                    <a:lnTo>
                      <a:pt x="445" y="209"/>
                    </a:lnTo>
                    <a:lnTo>
                      <a:pt x="447" y="215"/>
                    </a:lnTo>
                    <a:lnTo>
                      <a:pt x="449" y="223"/>
                    </a:lnTo>
                    <a:lnTo>
                      <a:pt x="451" y="224"/>
                    </a:lnTo>
                    <a:lnTo>
                      <a:pt x="454" y="228"/>
                    </a:lnTo>
                    <a:lnTo>
                      <a:pt x="454" y="232"/>
                    </a:lnTo>
                    <a:lnTo>
                      <a:pt x="454" y="238"/>
                    </a:lnTo>
                    <a:lnTo>
                      <a:pt x="451" y="240"/>
                    </a:lnTo>
                    <a:lnTo>
                      <a:pt x="449" y="242"/>
                    </a:lnTo>
                    <a:lnTo>
                      <a:pt x="441" y="259"/>
                    </a:lnTo>
                    <a:lnTo>
                      <a:pt x="435" y="276"/>
                    </a:lnTo>
                    <a:lnTo>
                      <a:pt x="431" y="278"/>
                    </a:lnTo>
                    <a:lnTo>
                      <a:pt x="429" y="280"/>
                    </a:lnTo>
                    <a:lnTo>
                      <a:pt x="408" y="288"/>
                    </a:lnTo>
                    <a:lnTo>
                      <a:pt x="385" y="295"/>
                    </a:lnTo>
                    <a:lnTo>
                      <a:pt x="383" y="297"/>
                    </a:lnTo>
                    <a:lnTo>
                      <a:pt x="381" y="301"/>
                    </a:lnTo>
                    <a:lnTo>
                      <a:pt x="364" y="301"/>
                    </a:lnTo>
                    <a:lnTo>
                      <a:pt x="347" y="301"/>
                    </a:lnTo>
                    <a:lnTo>
                      <a:pt x="347" y="307"/>
                    </a:lnTo>
                    <a:lnTo>
                      <a:pt x="347" y="315"/>
                    </a:lnTo>
                    <a:lnTo>
                      <a:pt x="345" y="317"/>
                    </a:lnTo>
                    <a:lnTo>
                      <a:pt x="343" y="320"/>
                    </a:lnTo>
                    <a:lnTo>
                      <a:pt x="339" y="322"/>
                    </a:lnTo>
                    <a:lnTo>
                      <a:pt x="337" y="324"/>
                    </a:lnTo>
                    <a:lnTo>
                      <a:pt x="335" y="326"/>
                    </a:lnTo>
                    <a:lnTo>
                      <a:pt x="334" y="330"/>
                    </a:lnTo>
                    <a:lnTo>
                      <a:pt x="330" y="332"/>
                    </a:lnTo>
                    <a:lnTo>
                      <a:pt x="328" y="334"/>
                    </a:lnTo>
                    <a:lnTo>
                      <a:pt x="326" y="336"/>
                    </a:lnTo>
                    <a:lnTo>
                      <a:pt x="324" y="340"/>
                    </a:lnTo>
                    <a:lnTo>
                      <a:pt x="318" y="340"/>
                    </a:lnTo>
                    <a:lnTo>
                      <a:pt x="312" y="340"/>
                    </a:lnTo>
                  </a:path>
                </a:pathLst>
              </a:custGeom>
              <a:grpFill/>
              <a:ln w="3175">
                <a:solidFill>
                  <a:srgbClr val="FF8300"/>
                </a:solidFill>
                <a:round/>
                <a:headEnd/>
                <a:tailEnd/>
              </a:ln>
            </p:spPr>
            <p:txBody>
              <a:bodyPr/>
              <a:lstStyle/>
              <a:p>
                <a:pPr>
                  <a:defRPr/>
                </a:pPr>
                <a:endParaRPr lang="en-GB" sz="1400">
                  <a:solidFill>
                    <a:schemeClr val="tx2"/>
                  </a:solidFill>
                </a:endParaRPr>
              </a:p>
            </p:txBody>
          </p:sp>
          <p:sp>
            <p:nvSpPr>
              <p:cNvPr id="364" name="Freeform 295"/>
              <p:cNvSpPr>
                <a:spLocks/>
              </p:cNvSpPr>
              <p:nvPr>
                <p:custDataLst>
                  <p:tags r:id="rId19"/>
                </p:custDataLst>
              </p:nvPr>
            </p:nvSpPr>
            <p:spPr bwMode="gray">
              <a:xfrm>
                <a:off x="3387475" y="5153130"/>
                <a:ext cx="381821" cy="518385"/>
              </a:xfrm>
              <a:custGeom>
                <a:avLst/>
                <a:gdLst>
                  <a:gd name="T0" fmla="*/ 2147483647 w 280"/>
                  <a:gd name="T1" fmla="*/ 2147483647 h 395"/>
                  <a:gd name="T2" fmla="*/ 2147483647 w 280"/>
                  <a:gd name="T3" fmla="*/ 2147483647 h 395"/>
                  <a:gd name="T4" fmla="*/ 2147483647 w 280"/>
                  <a:gd name="T5" fmla="*/ 2147483647 h 395"/>
                  <a:gd name="T6" fmla="*/ 2147483647 w 280"/>
                  <a:gd name="T7" fmla="*/ 2147483647 h 395"/>
                  <a:gd name="T8" fmla="*/ 0 w 280"/>
                  <a:gd name="T9" fmla="*/ 2147483647 h 395"/>
                  <a:gd name="T10" fmla="*/ 2147483647 w 280"/>
                  <a:gd name="T11" fmla="*/ 2147483647 h 395"/>
                  <a:gd name="T12" fmla="*/ 2147483647 w 280"/>
                  <a:gd name="T13" fmla="*/ 2147483647 h 395"/>
                  <a:gd name="T14" fmla="*/ 2147483647 w 280"/>
                  <a:gd name="T15" fmla="*/ 2147483647 h 395"/>
                  <a:gd name="T16" fmla="*/ 2147483647 w 280"/>
                  <a:gd name="T17" fmla="*/ 2147483647 h 395"/>
                  <a:gd name="T18" fmla="*/ 2147483647 w 280"/>
                  <a:gd name="T19" fmla="*/ 2147483647 h 395"/>
                  <a:gd name="T20" fmla="*/ 2147483647 w 280"/>
                  <a:gd name="T21" fmla="*/ 2147483647 h 395"/>
                  <a:gd name="T22" fmla="*/ 2147483647 w 280"/>
                  <a:gd name="T23" fmla="*/ 2147483647 h 395"/>
                  <a:gd name="T24" fmla="*/ 2147483647 w 280"/>
                  <a:gd name="T25" fmla="*/ 2147483647 h 395"/>
                  <a:gd name="T26" fmla="*/ 2147483647 w 280"/>
                  <a:gd name="T27" fmla="*/ 2147483647 h 395"/>
                  <a:gd name="T28" fmla="*/ 2147483647 w 280"/>
                  <a:gd name="T29" fmla="*/ 2147483647 h 395"/>
                  <a:gd name="T30" fmla="*/ 2147483647 w 280"/>
                  <a:gd name="T31" fmla="*/ 2147483647 h 395"/>
                  <a:gd name="T32" fmla="*/ 2147483647 w 280"/>
                  <a:gd name="T33" fmla="*/ 2147483647 h 395"/>
                  <a:gd name="T34" fmla="*/ 2147483647 w 280"/>
                  <a:gd name="T35" fmla="*/ 2147483647 h 395"/>
                  <a:gd name="T36" fmla="*/ 2147483647 w 280"/>
                  <a:gd name="T37" fmla="*/ 2147483647 h 395"/>
                  <a:gd name="T38" fmla="*/ 2147483647 w 280"/>
                  <a:gd name="T39" fmla="*/ 2147483647 h 395"/>
                  <a:gd name="T40" fmla="*/ 2147483647 w 280"/>
                  <a:gd name="T41" fmla="*/ 2147483647 h 395"/>
                  <a:gd name="T42" fmla="*/ 2147483647 w 280"/>
                  <a:gd name="T43" fmla="*/ 2147483647 h 395"/>
                  <a:gd name="T44" fmla="*/ 2147483647 w 280"/>
                  <a:gd name="T45" fmla="*/ 2147483647 h 395"/>
                  <a:gd name="T46" fmla="*/ 2147483647 w 280"/>
                  <a:gd name="T47" fmla="*/ 2147483647 h 395"/>
                  <a:gd name="T48" fmla="*/ 2147483647 w 280"/>
                  <a:gd name="T49" fmla="*/ 2147483647 h 395"/>
                  <a:gd name="T50" fmla="*/ 2147483647 w 280"/>
                  <a:gd name="T51" fmla="*/ 2147483647 h 395"/>
                  <a:gd name="T52" fmla="*/ 2147483647 w 280"/>
                  <a:gd name="T53" fmla="*/ 2147483647 h 395"/>
                  <a:gd name="T54" fmla="*/ 2147483647 w 280"/>
                  <a:gd name="T55" fmla="*/ 2147483647 h 395"/>
                  <a:gd name="T56" fmla="*/ 2147483647 w 280"/>
                  <a:gd name="T57" fmla="*/ 0 h 395"/>
                  <a:gd name="T58" fmla="*/ 2147483647 w 280"/>
                  <a:gd name="T59" fmla="*/ 2147483647 h 395"/>
                  <a:gd name="T60" fmla="*/ 2147483647 w 280"/>
                  <a:gd name="T61" fmla="*/ 2147483647 h 395"/>
                  <a:gd name="T62" fmla="*/ 2147483647 w 280"/>
                  <a:gd name="T63" fmla="*/ 2147483647 h 395"/>
                  <a:gd name="T64" fmla="*/ 2147483647 w 280"/>
                  <a:gd name="T65" fmla="*/ 2147483647 h 395"/>
                  <a:gd name="T66" fmla="*/ 2147483647 w 280"/>
                  <a:gd name="T67" fmla="*/ 2147483647 h 395"/>
                  <a:gd name="T68" fmla="*/ 2147483647 w 280"/>
                  <a:gd name="T69" fmla="*/ 2147483647 h 395"/>
                  <a:gd name="T70" fmla="*/ 2147483647 w 280"/>
                  <a:gd name="T71" fmla="*/ 2147483647 h 395"/>
                  <a:gd name="T72" fmla="*/ 2147483647 w 280"/>
                  <a:gd name="T73" fmla="*/ 2147483647 h 395"/>
                  <a:gd name="T74" fmla="*/ 2147483647 w 280"/>
                  <a:gd name="T75" fmla="*/ 2147483647 h 395"/>
                  <a:gd name="T76" fmla="*/ 2147483647 w 280"/>
                  <a:gd name="T77" fmla="*/ 2147483647 h 395"/>
                  <a:gd name="T78" fmla="*/ 2147483647 w 280"/>
                  <a:gd name="T79" fmla="*/ 2147483647 h 395"/>
                  <a:gd name="T80" fmla="*/ 2147483647 w 280"/>
                  <a:gd name="T81" fmla="*/ 2147483647 h 395"/>
                  <a:gd name="T82" fmla="*/ 2147483647 w 280"/>
                  <a:gd name="T83" fmla="*/ 2147483647 h 395"/>
                  <a:gd name="T84" fmla="*/ 2147483647 w 280"/>
                  <a:gd name="T85" fmla="*/ 2147483647 h 395"/>
                  <a:gd name="T86" fmla="*/ 2147483647 w 280"/>
                  <a:gd name="T87" fmla="*/ 2147483647 h 395"/>
                  <a:gd name="T88" fmla="*/ 2147483647 w 280"/>
                  <a:gd name="T89" fmla="*/ 2147483647 h 395"/>
                  <a:gd name="T90" fmla="*/ 2147483647 w 280"/>
                  <a:gd name="T91" fmla="*/ 2147483647 h 395"/>
                  <a:gd name="T92" fmla="*/ 2147483647 w 280"/>
                  <a:gd name="T93" fmla="*/ 2147483647 h 395"/>
                  <a:gd name="T94" fmla="*/ 2147483647 w 280"/>
                  <a:gd name="T95" fmla="*/ 2147483647 h 395"/>
                  <a:gd name="T96" fmla="*/ 2147483647 w 280"/>
                  <a:gd name="T97" fmla="*/ 2147483647 h 395"/>
                  <a:gd name="T98" fmla="*/ 2147483647 w 280"/>
                  <a:gd name="T99" fmla="*/ 2147483647 h 395"/>
                  <a:gd name="T100" fmla="*/ 2147483647 w 280"/>
                  <a:gd name="T101" fmla="*/ 2147483647 h 395"/>
                  <a:gd name="T102" fmla="*/ 2147483647 w 280"/>
                  <a:gd name="T103" fmla="*/ 2147483647 h 395"/>
                  <a:gd name="T104" fmla="*/ 2147483647 w 280"/>
                  <a:gd name="T105" fmla="*/ 2147483647 h 395"/>
                  <a:gd name="T106" fmla="*/ 2147483647 w 280"/>
                  <a:gd name="T107" fmla="*/ 2147483647 h 395"/>
                  <a:gd name="T108" fmla="*/ 2147483647 w 280"/>
                  <a:gd name="T109" fmla="*/ 2147483647 h 395"/>
                  <a:gd name="T110" fmla="*/ 2147483647 w 280"/>
                  <a:gd name="T111" fmla="*/ 2147483647 h 395"/>
                  <a:gd name="T112" fmla="*/ 2147483647 w 280"/>
                  <a:gd name="T113" fmla="*/ 2147483647 h 395"/>
                  <a:gd name="T114" fmla="*/ 2147483647 w 280"/>
                  <a:gd name="T115" fmla="*/ 2147483647 h 395"/>
                  <a:gd name="T116" fmla="*/ 2147483647 w 280"/>
                  <a:gd name="T117" fmla="*/ 2147483647 h 395"/>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80"/>
                  <a:gd name="T178" fmla="*/ 0 h 395"/>
                  <a:gd name="T179" fmla="*/ 280 w 280"/>
                  <a:gd name="T180" fmla="*/ 395 h 395"/>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80" h="395">
                    <a:moveTo>
                      <a:pt x="115" y="395"/>
                    </a:moveTo>
                    <a:lnTo>
                      <a:pt x="115" y="386"/>
                    </a:lnTo>
                    <a:lnTo>
                      <a:pt x="115" y="376"/>
                    </a:lnTo>
                    <a:lnTo>
                      <a:pt x="105" y="376"/>
                    </a:lnTo>
                    <a:lnTo>
                      <a:pt x="96" y="376"/>
                    </a:lnTo>
                    <a:lnTo>
                      <a:pt x="96" y="363"/>
                    </a:lnTo>
                    <a:lnTo>
                      <a:pt x="96" y="347"/>
                    </a:lnTo>
                    <a:lnTo>
                      <a:pt x="69" y="336"/>
                    </a:lnTo>
                    <a:lnTo>
                      <a:pt x="42" y="322"/>
                    </a:lnTo>
                    <a:lnTo>
                      <a:pt x="30" y="330"/>
                    </a:lnTo>
                    <a:lnTo>
                      <a:pt x="19" y="338"/>
                    </a:lnTo>
                    <a:lnTo>
                      <a:pt x="13" y="338"/>
                    </a:lnTo>
                    <a:lnTo>
                      <a:pt x="9" y="338"/>
                    </a:lnTo>
                    <a:lnTo>
                      <a:pt x="4" y="338"/>
                    </a:lnTo>
                    <a:lnTo>
                      <a:pt x="0" y="338"/>
                    </a:lnTo>
                    <a:lnTo>
                      <a:pt x="4" y="328"/>
                    </a:lnTo>
                    <a:lnTo>
                      <a:pt x="9" y="318"/>
                    </a:lnTo>
                    <a:lnTo>
                      <a:pt x="9" y="313"/>
                    </a:lnTo>
                    <a:lnTo>
                      <a:pt x="9" y="309"/>
                    </a:lnTo>
                    <a:lnTo>
                      <a:pt x="15" y="309"/>
                    </a:lnTo>
                    <a:lnTo>
                      <a:pt x="17" y="307"/>
                    </a:lnTo>
                    <a:lnTo>
                      <a:pt x="19" y="301"/>
                    </a:lnTo>
                    <a:lnTo>
                      <a:pt x="19" y="290"/>
                    </a:lnTo>
                    <a:lnTo>
                      <a:pt x="13" y="290"/>
                    </a:lnTo>
                    <a:lnTo>
                      <a:pt x="9" y="290"/>
                    </a:lnTo>
                    <a:lnTo>
                      <a:pt x="9" y="280"/>
                    </a:lnTo>
                    <a:lnTo>
                      <a:pt x="9" y="270"/>
                    </a:lnTo>
                    <a:lnTo>
                      <a:pt x="9" y="265"/>
                    </a:lnTo>
                    <a:lnTo>
                      <a:pt x="9" y="261"/>
                    </a:lnTo>
                    <a:lnTo>
                      <a:pt x="9" y="255"/>
                    </a:lnTo>
                    <a:lnTo>
                      <a:pt x="9" y="251"/>
                    </a:lnTo>
                    <a:lnTo>
                      <a:pt x="9" y="245"/>
                    </a:lnTo>
                    <a:lnTo>
                      <a:pt x="9" y="242"/>
                    </a:lnTo>
                    <a:lnTo>
                      <a:pt x="9" y="234"/>
                    </a:lnTo>
                    <a:lnTo>
                      <a:pt x="9" y="226"/>
                    </a:lnTo>
                    <a:lnTo>
                      <a:pt x="11" y="224"/>
                    </a:lnTo>
                    <a:lnTo>
                      <a:pt x="13" y="221"/>
                    </a:lnTo>
                    <a:lnTo>
                      <a:pt x="17" y="209"/>
                    </a:lnTo>
                    <a:lnTo>
                      <a:pt x="19" y="198"/>
                    </a:lnTo>
                    <a:lnTo>
                      <a:pt x="21" y="196"/>
                    </a:lnTo>
                    <a:lnTo>
                      <a:pt x="23" y="192"/>
                    </a:lnTo>
                    <a:lnTo>
                      <a:pt x="27" y="190"/>
                    </a:lnTo>
                    <a:lnTo>
                      <a:pt x="28" y="188"/>
                    </a:lnTo>
                    <a:lnTo>
                      <a:pt x="30" y="186"/>
                    </a:lnTo>
                    <a:lnTo>
                      <a:pt x="34" y="182"/>
                    </a:lnTo>
                    <a:lnTo>
                      <a:pt x="40" y="171"/>
                    </a:lnTo>
                    <a:lnTo>
                      <a:pt x="48" y="159"/>
                    </a:lnTo>
                    <a:lnTo>
                      <a:pt x="50" y="155"/>
                    </a:lnTo>
                    <a:lnTo>
                      <a:pt x="51" y="153"/>
                    </a:lnTo>
                    <a:lnTo>
                      <a:pt x="55" y="151"/>
                    </a:lnTo>
                    <a:lnTo>
                      <a:pt x="57" y="150"/>
                    </a:lnTo>
                    <a:lnTo>
                      <a:pt x="59" y="146"/>
                    </a:lnTo>
                    <a:lnTo>
                      <a:pt x="63" y="144"/>
                    </a:lnTo>
                    <a:lnTo>
                      <a:pt x="69" y="142"/>
                    </a:lnTo>
                    <a:lnTo>
                      <a:pt x="76" y="140"/>
                    </a:lnTo>
                    <a:lnTo>
                      <a:pt x="78" y="138"/>
                    </a:lnTo>
                    <a:lnTo>
                      <a:pt x="82" y="134"/>
                    </a:lnTo>
                    <a:lnTo>
                      <a:pt x="82" y="121"/>
                    </a:lnTo>
                    <a:lnTo>
                      <a:pt x="82" y="105"/>
                    </a:lnTo>
                    <a:lnTo>
                      <a:pt x="78" y="104"/>
                    </a:lnTo>
                    <a:lnTo>
                      <a:pt x="76" y="100"/>
                    </a:lnTo>
                    <a:lnTo>
                      <a:pt x="75" y="98"/>
                    </a:lnTo>
                    <a:lnTo>
                      <a:pt x="73" y="96"/>
                    </a:lnTo>
                    <a:lnTo>
                      <a:pt x="69" y="94"/>
                    </a:lnTo>
                    <a:lnTo>
                      <a:pt x="67" y="92"/>
                    </a:lnTo>
                    <a:lnTo>
                      <a:pt x="55" y="88"/>
                    </a:lnTo>
                    <a:lnTo>
                      <a:pt x="44" y="86"/>
                    </a:lnTo>
                    <a:lnTo>
                      <a:pt x="40" y="84"/>
                    </a:lnTo>
                    <a:lnTo>
                      <a:pt x="38" y="82"/>
                    </a:lnTo>
                    <a:lnTo>
                      <a:pt x="38" y="77"/>
                    </a:lnTo>
                    <a:lnTo>
                      <a:pt x="38" y="71"/>
                    </a:lnTo>
                    <a:lnTo>
                      <a:pt x="40" y="69"/>
                    </a:lnTo>
                    <a:lnTo>
                      <a:pt x="44" y="67"/>
                    </a:lnTo>
                    <a:lnTo>
                      <a:pt x="46" y="65"/>
                    </a:lnTo>
                    <a:lnTo>
                      <a:pt x="48" y="61"/>
                    </a:lnTo>
                    <a:lnTo>
                      <a:pt x="50" y="59"/>
                    </a:lnTo>
                    <a:lnTo>
                      <a:pt x="51" y="57"/>
                    </a:lnTo>
                    <a:lnTo>
                      <a:pt x="55" y="40"/>
                    </a:lnTo>
                    <a:lnTo>
                      <a:pt x="57" y="23"/>
                    </a:lnTo>
                    <a:lnTo>
                      <a:pt x="59" y="21"/>
                    </a:lnTo>
                    <a:lnTo>
                      <a:pt x="63" y="19"/>
                    </a:lnTo>
                    <a:lnTo>
                      <a:pt x="65" y="15"/>
                    </a:lnTo>
                    <a:lnTo>
                      <a:pt x="67" y="13"/>
                    </a:lnTo>
                    <a:lnTo>
                      <a:pt x="69" y="11"/>
                    </a:lnTo>
                    <a:lnTo>
                      <a:pt x="73" y="9"/>
                    </a:lnTo>
                    <a:lnTo>
                      <a:pt x="82" y="4"/>
                    </a:lnTo>
                    <a:lnTo>
                      <a:pt x="92" y="0"/>
                    </a:lnTo>
                    <a:lnTo>
                      <a:pt x="94" y="2"/>
                    </a:lnTo>
                    <a:lnTo>
                      <a:pt x="96" y="4"/>
                    </a:lnTo>
                    <a:lnTo>
                      <a:pt x="94" y="6"/>
                    </a:lnTo>
                    <a:lnTo>
                      <a:pt x="92" y="9"/>
                    </a:lnTo>
                    <a:lnTo>
                      <a:pt x="92" y="13"/>
                    </a:lnTo>
                    <a:lnTo>
                      <a:pt x="92" y="19"/>
                    </a:lnTo>
                    <a:lnTo>
                      <a:pt x="94" y="21"/>
                    </a:lnTo>
                    <a:lnTo>
                      <a:pt x="96" y="23"/>
                    </a:lnTo>
                    <a:lnTo>
                      <a:pt x="98" y="25"/>
                    </a:lnTo>
                    <a:lnTo>
                      <a:pt x="101" y="29"/>
                    </a:lnTo>
                    <a:lnTo>
                      <a:pt x="103" y="31"/>
                    </a:lnTo>
                    <a:lnTo>
                      <a:pt x="105" y="33"/>
                    </a:lnTo>
                    <a:lnTo>
                      <a:pt x="119" y="34"/>
                    </a:lnTo>
                    <a:lnTo>
                      <a:pt x="130" y="38"/>
                    </a:lnTo>
                    <a:lnTo>
                      <a:pt x="132" y="40"/>
                    </a:lnTo>
                    <a:lnTo>
                      <a:pt x="134" y="42"/>
                    </a:lnTo>
                    <a:lnTo>
                      <a:pt x="136" y="46"/>
                    </a:lnTo>
                    <a:lnTo>
                      <a:pt x="140" y="48"/>
                    </a:lnTo>
                    <a:lnTo>
                      <a:pt x="142" y="50"/>
                    </a:lnTo>
                    <a:lnTo>
                      <a:pt x="144" y="52"/>
                    </a:lnTo>
                    <a:lnTo>
                      <a:pt x="149" y="56"/>
                    </a:lnTo>
                    <a:lnTo>
                      <a:pt x="159" y="56"/>
                    </a:lnTo>
                    <a:lnTo>
                      <a:pt x="169" y="56"/>
                    </a:lnTo>
                    <a:lnTo>
                      <a:pt x="172" y="52"/>
                    </a:lnTo>
                    <a:lnTo>
                      <a:pt x="176" y="50"/>
                    </a:lnTo>
                    <a:lnTo>
                      <a:pt x="178" y="48"/>
                    </a:lnTo>
                    <a:lnTo>
                      <a:pt x="182" y="48"/>
                    </a:lnTo>
                    <a:lnTo>
                      <a:pt x="188" y="48"/>
                    </a:lnTo>
                    <a:lnTo>
                      <a:pt x="190" y="50"/>
                    </a:lnTo>
                    <a:lnTo>
                      <a:pt x="193" y="52"/>
                    </a:lnTo>
                    <a:lnTo>
                      <a:pt x="201" y="56"/>
                    </a:lnTo>
                    <a:lnTo>
                      <a:pt x="216" y="56"/>
                    </a:lnTo>
                    <a:lnTo>
                      <a:pt x="234" y="56"/>
                    </a:lnTo>
                    <a:lnTo>
                      <a:pt x="241" y="52"/>
                    </a:lnTo>
                    <a:lnTo>
                      <a:pt x="243" y="50"/>
                    </a:lnTo>
                    <a:lnTo>
                      <a:pt x="245" y="48"/>
                    </a:lnTo>
                    <a:lnTo>
                      <a:pt x="249" y="50"/>
                    </a:lnTo>
                    <a:lnTo>
                      <a:pt x="251" y="52"/>
                    </a:lnTo>
                    <a:lnTo>
                      <a:pt x="253" y="59"/>
                    </a:lnTo>
                    <a:lnTo>
                      <a:pt x="255" y="67"/>
                    </a:lnTo>
                    <a:lnTo>
                      <a:pt x="257" y="69"/>
                    </a:lnTo>
                    <a:lnTo>
                      <a:pt x="261" y="71"/>
                    </a:lnTo>
                    <a:lnTo>
                      <a:pt x="263" y="79"/>
                    </a:lnTo>
                    <a:lnTo>
                      <a:pt x="266" y="86"/>
                    </a:lnTo>
                    <a:lnTo>
                      <a:pt x="268" y="88"/>
                    </a:lnTo>
                    <a:lnTo>
                      <a:pt x="270" y="92"/>
                    </a:lnTo>
                    <a:lnTo>
                      <a:pt x="272" y="117"/>
                    </a:lnTo>
                    <a:lnTo>
                      <a:pt x="276" y="144"/>
                    </a:lnTo>
                    <a:lnTo>
                      <a:pt x="278" y="146"/>
                    </a:lnTo>
                    <a:lnTo>
                      <a:pt x="280" y="150"/>
                    </a:lnTo>
                    <a:lnTo>
                      <a:pt x="280" y="159"/>
                    </a:lnTo>
                    <a:lnTo>
                      <a:pt x="280" y="169"/>
                    </a:lnTo>
                    <a:lnTo>
                      <a:pt x="278" y="171"/>
                    </a:lnTo>
                    <a:lnTo>
                      <a:pt x="276" y="173"/>
                    </a:lnTo>
                    <a:lnTo>
                      <a:pt x="272" y="199"/>
                    </a:lnTo>
                    <a:lnTo>
                      <a:pt x="270" y="226"/>
                    </a:lnTo>
                    <a:lnTo>
                      <a:pt x="268" y="228"/>
                    </a:lnTo>
                    <a:lnTo>
                      <a:pt x="266" y="232"/>
                    </a:lnTo>
                    <a:lnTo>
                      <a:pt x="249" y="234"/>
                    </a:lnTo>
                    <a:lnTo>
                      <a:pt x="232" y="236"/>
                    </a:lnTo>
                    <a:lnTo>
                      <a:pt x="228" y="238"/>
                    </a:lnTo>
                    <a:lnTo>
                      <a:pt x="226" y="242"/>
                    </a:lnTo>
                    <a:lnTo>
                      <a:pt x="224" y="253"/>
                    </a:lnTo>
                    <a:lnTo>
                      <a:pt x="222" y="265"/>
                    </a:lnTo>
                    <a:lnTo>
                      <a:pt x="218" y="267"/>
                    </a:lnTo>
                    <a:lnTo>
                      <a:pt x="216" y="270"/>
                    </a:lnTo>
                    <a:lnTo>
                      <a:pt x="215" y="272"/>
                    </a:lnTo>
                    <a:lnTo>
                      <a:pt x="213" y="274"/>
                    </a:lnTo>
                    <a:lnTo>
                      <a:pt x="209" y="278"/>
                    </a:lnTo>
                    <a:lnTo>
                      <a:pt x="207" y="280"/>
                    </a:lnTo>
                    <a:lnTo>
                      <a:pt x="207" y="293"/>
                    </a:lnTo>
                    <a:lnTo>
                      <a:pt x="207" y="309"/>
                    </a:lnTo>
                    <a:lnTo>
                      <a:pt x="209" y="311"/>
                    </a:lnTo>
                    <a:lnTo>
                      <a:pt x="213" y="315"/>
                    </a:lnTo>
                    <a:lnTo>
                      <a:pt x="215" y="330"/>
                    </a:lnTo>
                    <a:lnTo>
                      <a:pt x="216" y="347"/>
                    </a:lnTo>
                    <a:lnTo>
                      <a:pt x="218" y="349"/>
                    </a:lnTo>
                    <a:lnTo>
                      <a:pt x="222" y="353"/>
                    </a:lnTo>
                    <a:lnTo>
                      <a:pt x="222" y="359"/>
                    </a:lnTo>
                    <a:lnTo>
                      <a:pt x="222" y="366"/>
                    </a:lnTo>
                    <a:lnTo>
                      <a:pt x="216" y="366"/>
                    </a:lnTo>
                    <a:lnTo>
                      <a:pt x="213" y="366"/>
                    </a:lnTo>
                    <a:lnTo>
                      <a:pt x="207" y="372"/>
                    </a:lnTo>
                    <a:lnTo>
                      <a:pt x="203" y="376"/>
                    </a:lnTo>
                    <a:lnTo>
                      <a:pt x="180" y="380"/>
                    </a:lnTo>
                    <a:lnTo>
                      <a:pt x="167" y="382"/>
                    </a:lnTo>
                    <a:lnTo>
                      <a:pt x="157" y="387"/>
                    </a:lnTo>
                    <a:lnTo>
                      <a:pt x="144" y="395"/>
                    </a:lnTo>
                    <a:lnTo>
                      <a:pt x="130" y="395"/>
                    </a:lnTo>
                    <a:lnTo>
                      <a:pt x="115" y="395"/>
                    </a:lnTo>
                  </a:path>
                </a:pathLst>
              </a:custGeom>
              <a:grpFill/>
              <a:ln w="3175">
                <a:solidFill>
                  <a:srgbClr val="FF8300"/>
                </a:solidFill>
                <a:round/>
                <a:headEnd/>
                <a:tailEnd/>
              </a:ln>
            </p:spPr>
            <p:txBody>
              <a:bodyPr/>
              <a:lstStyle/>
              <a:p>
                <a:pPr>
                  <a:defRPr/>
                </a:pPr>
                <a:endParaRPr lang="en-GB" sz="1400">
                  <a:solidFill>
                    <a:schemeClr val="tx2"/>
                  </a:solidFill>
                </a:endParaRPr>
              </a:p>
            </p:txBody>
          </p:sp>
          <p:sp>
            <p:nvSpPr>
              <p:cNvPr id="365" name="Freeform 300"/>
              <p:cNvSpPr>
                <a:spLocks/>
              </p:cNvSpPr>
              <p:nvPr>
                <p:custDataLst>
                  <p:tags r:id="rId20"/>
                </p:custDataLst>
              </p:nvPr>
            </p:nvSpPr>
            <p:spPr bwMode="gray">
              <a:xfrm>
                <a:off x="3742820" y="4980988"/>
                <a:ext cx="827743" cy="610356"/>
              </a:xfrm>
              <a:custGeom>
                <a:avLst/>
                <a:gdLst>
                  <a:gd name="T0" fmla="*/ 2147483647 w 608"/>
                  <a:gd name="T1" fmla="*/ 2147483647 h 464"/>
                  <a:gd name="T2" fmla="*/ 2147483647 w 608"/>
                  <a:gd name="T3" fmla="*/ 2147483647 h 464"/>
                  <a:gd name="T4" fmla="*/ 2147483647 w 608"/>
                  <a:gd name="T5" fmla="*/ 2147483647 h 464"/>
                  <a:gd name="T6" fmla="*/ 2147483647 w 608"/>
                  <a:gd name="T7" fmla="*/ 2147483647 h 464"/>
                  <a:gd name="T8" fmla="*/ 2147483647 w 608"/>
                  <a:gd name="T9" fmla="*/ 2147483647 h 464"/>
                  <a:gd name="T10" fmla="*/ 2147483647 w 608"/>
                  <a:gd name="T11" fmla="*/ 2147483647 h 464"/>
                  <a:gd name="T12" fmla="*/ 2147483647 w 608"/>
                  <a:gd name="T13" fmla="*/ 2147483647 h 464"/>
                  <a:gd name="T14" fmla="*/ 2147483647 w 608"/>
                  <a:gd name="T15" fmla="*/ 2147483647 h 464"/>
                  <a:gd name="T16" fmla="*/ 2147483647 w 608"/>
                  <a:gd name="T17" fmla="*/ 2147483647 h 464"/>
                  <a:gd name="T18" fmla="*/ 2147483647 w 608"/>
                  <a:gd name="T19" fmla="*/ 2147483647 h 464"/>
                  <a:gd name="T20" fmla="*/ 2147483647 w 608"/>
                  <a:gd name="T21" fmla="*/ 2147483647 h 464"/>
                  <a:gd name="T22" fmla="*/ 2147483647 w 608"/>
                  <a:gd name="T23" fmla="*/ 2147483647 h 464"/>
                  <a:gd name="T24" fmla="*/ 2147483647 w 608"/>
                  <a:gd name="T25" fmla="*/ 2147483647 h 464"/>
                  <a:gd name="T26" fmla="*/ 2147483647 w 608"/>
                  <a:gd name="T27" fmla="*/ 2147483647 h 464"/>
                  <a:gd name="T28" fmla="*/ 2147483647 w 608"/>
                  <a:gd name="T29" fmla="*/ 2147483647 h 464"/>
                  <a:gd name="T30" fmla="*/ 2147483647 w 608"/>
                  <a:gd name="T31" fmla="*/ 2147483647 h 464"/>
                  <a:gd name="T32" fmla="*/ 2147483647 w 608"/>
                  <a:gd name="T33" fmla="*/ 2147483647 h 464"/>
                  <a:gd name="T34" fmla="*/ 2147483647 w 608"/>
                  <a:gd name="T35" fmla="*/ 2147483647 h 464"/>
                  <a:gd name="T36" fmla="*/ 2147483647 w 608"/>
                  <a:gd name="T37" fmla="*/ 2147483647 h 464"/>
                  <a:gd name="T38" fmla="*/ 2147483647 w 608"/>
                  <a:gd name="T39" fmla="*/ 2147483647 h 464"/>
                  <a:gd name="T40" fmla="*/ 2147483647 w 608"/>
                  <a:gd name="T41" fmla="*/ 2147483647 h 464"/>
                  <a:gd name="T42" fmla="*/ 2147483647 w 608"/>
                  <a:gd name="T43" fmla="*/ 2147483647 h 464"/>
                  <a:gd name="T44" fmla="*/ 2147483647 w 608"/>
                  <a:gd name="T45" fmla="*/ 2147483647 h 464"/>
                  <a:gd name="T46" fmla="*/ 2147483647 w 608"/>
                  <a:gd name="T47" fmla="*/ 2147483647 h 464"/>
                  <a:gd name="T48" fmla="*/ 2147483647 w 608"/>
                  <a:gd name="T49" fmla="*/ 2147483647 h 464"/>
                  <a:gd name="T50" fmla="*/ 2147483647 w 608"/>
                  <a:gd name="T51" fmla="*/ 2147483647 h 464"/>
                  <a:gd name="T52" fmla="*/ 2147483647 w 608"/>
                  <a:gd name="T53" fmla="*/ 2147483647 h 464"/>
                  <a:gd name="T54" fmla="*/ 2147483647 w 608"/>
                  <a:gd name="T55" fmla="*/ 2147483647 h 464"/>
                  <a:gd name="T56" fmla="*/ 2147483647 w 608"/>
                  <a:gd name="T57" fmla="*/ 2147483647 h 464"/>
                  <a:gd name="T58" fmla="*/ 2147483647 w 608"/>
                  <a:gd name="T59" fmla="*/ 2147483647 h 464"/>
                  <a:gd name="T60" fmla="*/ 2147483647 w 608"/>
                  <a:gd name="T61" fmla="*/ 2147483647 h 464"/>
                  <a:gd name="T62" fmla="*/ 2147483647 w 608"/>
                  <a:gd name="T63" fmla="*/ 2147483647 h 464"/>
                  <a:gd name="T64" fmla="*/ 2147483647 w 608"/>
                  <a:gd name="T65" fmla="*/ 2147483647 h 464"/>
                  <a:gd name="T66" fmla="*/ 2147483647 w 608"/>
                  <a:gd name="T67" fmla="*/ 2147483647 h 464"/>
                  <a:gd name="T68" fmla="*/ 2147483647 w 608"/>
                  <a:gd name="T69" fmla="*/ 2147483647 h 464"/>
                  <a:gd name="T70" fmla="*/ 2147483647 w 608"/>
                  <a:gd name="T71" fmla="*/ 2147483647 h 464"/>
                  <a:gd name="T72" fmla="*/ 2147483647 w 608"/>
                  <a:gd name="T73" fmla="*/ 2147483647 h 464"/>
                  <a:gd name="T74" fmla="*/ 2147483647 w 608"/>
                  <a:gd name="T75" fmla="*/ 2147483647 h 464"/>
                  <a:gd name="T76" fmla="*/ 2147483647 w 608"/>
                  <a:gd name="T77" fmla="*/ 2147483647 h 464"/>
                  <a:gd name="T78" fmla="*/ 2147483647 w 608"/>
                  <a:gd name="T79" fmla="*/ 2147483647 h 464"/>
                  <a:gd name="T80" fmla="*/ 2147483647 w 608"/>
                  <a:gd name="T81" fmla="*/ 2147483647 h 464"/>
                  <a:gd name="T82" fmla="*/ 2147483647 w 608"/>
                  <a:gd name="T83" fmla="*/ 2147483647 h 464"/>
                  <a:gd name="T84" fmla="*/ 2147483647 w 608"/>
                  <a:gd name="T85" fmla="*/ 2147483647 h 464"/>
                  <a:gd name="T86" fmla="*/ 2147483647 w 608"/>
                  <a:gd name="T87" fmla="*/ 2147483647 h 464"/>
                  <a:gd name="T88" fmla="*/ 2147483647 w 608"/>
                  <a:gd name="T89" fmla="*/ 2147483647 h 464"/>
                  <a:gd name="T90" fmla="*/ 2147483647 w 608"/>
                  <a:gd name="T91" fmla="*/ 2147483647 h 464"/>
                  <a:gd name="T92" fmla="*/ 2147483647 w 608"/>
                  <a:gd name="T93" fmla="*/ 2147483647 h 464"/>
                  <a:gd name="T94" fmla="*/ 2147483647 w 608"/>
                  <a:gd name="T95" fmla="*/ 2147483647 h 464"/>
                  <a:gd name="T96" fmla="*/ 2147483647 w 608"/>
                  <a:gd name="T97" fmla="*/ 2147483647 h 464"/>
                  <a:gd name="T98" fmla="*/ 0 w 608"/>
                  <a:gd name="T99" fmla="*/ 2147483647 h 464"/>
                  <a:gd name="T100" fmla="*/ 2147483647 w 608"/>
                  <a:gd name="T101" fmla="*/ 2147483647 h 464"/>
                  <a:gd name="T102" fmla="*/ 2147483647 w 608"/>
                  <a:gd name="T103" fmla="*/ 2147483647 h 464"/>
                  <a:gd name="T104" fmla="*/ 2147483647 w 608"/>
                  <a:gd name="T105" fmla="*/ 2147483647 h 464"/>
                  <a:gd name="T106" fmla="*/ 2147483647 w 608"/>
                  <a:gd name="T107" fmla="*/ 2147483647 h 464"/>
                  <a:gd name="T108" fmla="*/ 2147483647 w 608"/>
                  <a:gd name="T109" fmla="*/ 2147483647 h 464"/>
                  <a:gd name="T110" fmla="*/ 2147483647 w 608"/>
                  <a:gd name="T111" fmla="*/ 2147483647 h 464"/>
                  <a:gd name="T112" fmla="*/ 2147483647 w 608"/>
                  <a:gd name="T113" fmla="*/ 2147483647 h 464"/>
                  <a:gd name="T114" fmla="*/ 2147483647 w 608"/>
                  <a:gd name="T115" fmla="*/ 2147483647 h 464"/>
                  <a:gd name="T116" fmla="*/ 2147483647 w 608"/>
                  <a:gd name="T117" fmla="*/ 2147483647 h 464"/>
                  <a:gd name="T118" fmla="*/ 2147483647 w 608"/>
                  <a:gd name="T119" fmla="*/ 2147483647 h 464"/>
                  <a:gd name="T120" fmla="*/ 2147483647 w 608"/>
                  <a:gd name="T121" fmla="*/ 0 h 464"/>
                  <a:gd name="T122" fmla="*/ 2147483647 w 608"/>
                  <a:gd name="T123" fmla="*/ 2147483647 h 464"/>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608"/>
                  <a:gd name="T187" fmla="*/ 0 h 464"/>
                  <a:gd name="T188" fmla="*/ 608 w 608"/>
                  <a:gd name="T189" fmla="*/ 464 h 464"/>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608" h="464">
                    <a:moveTo>
                      <a:pt x="213" y="9"/>
                    </a:moveTo>
                    <a:lnTo>
                      <a:pt x="228" y="21"/>
                    </a:lnTo>
                    <a:lnTo>
                      <a:pt x="241" y="25"/>
                    </a:lnTo>
                    <a:lnTo>
                      <a:pt x="257" y="28"/>
                    </a:lnTo>
                    <a:lnTo>
                      <a:pt x="276" y="28"/>
                    </a:lnTo>
                    <a:lnTo>
                      <a:pt x="278" y="30"/>
                    </a:lnTo>
                    <a:lnTo>
                      <a:pt x="280" y="34"/>
                    </a:lnTo>
                    <a:lnTo>
                      <a:pt x="282" y="36"/>
                    </a:lnTo>
                    <a:lnTo>
                      <a:pt x="286" y="38"/>
                    </a:lnTo>
                    <a:lnTo>
                      <a:pt x="287" y="42"/>
                    </a:lnTo>
                    <a:lnTo>
                      <a:pt x="289" y="44"/>
                    </a:lnTo>
                    <a:lnTo>
                      <a:pt x="309" y="44"/>
                    </a:lnTo>
                    <a:lnTo>
                      <a:pt x="328" y="44"/>
                    </a:lnTo>
                    <a:lnTo>
                      <a:pt x="332" y="42"/>
                    </a:lnTo>
                    <a:lnTo>
                      <a:pt x="333" y="38"/>
                    </a:lnTo>
                    <a:lnTo>
                      <a:pt x="335" y="36"/>
                    </a:lnTo>
                    <a:lnTo>
                      <a:pt x="337" y="34"/>
                    </a:lnTo>
                    <a:lnTo>
                      <a:pt x="339" y="30"/>
                    </a:lnTo>
                    <a:lnTo>
                      <a:pt x="343" y="28"/>
                    </a:lnTo>
                    <a:lnTo>
                      <a:pt x="351" y="27"/>
                    </a:lnTo>
                    <a:lnTo>
                      <a:pt x="358" y="25"/>
                    </a:lnTo>
                    <a:lnTo>
                      <a:pt x="360" y="21"/>
                    </a:lnTo>
                    <a:lnTo>
                      <a:pt x="362" y="19"/>
                    </a:lnTo>
                    <a:lnTo>
                      <a:pt x="372" y="19"/>
                    </a:lnTo>
                    <a:lnTo>
                      <a:pt x="381" y="19"/>
                    </a:lnTo>
                    <a:lnTo>
                      <a:pt x="383" y="21"/>
                    </a:lnTo>
                    <a:lnTo>
                      <a:pt x="387" y="25"/>
                    </a:lnTo>
                    <a:lnTo>
                      <a:pt x="397" y="27"/>
                    </a:lnTo>
                    <a:lnTo>
                      <a:pt x="406" y="28"/>
                    </a:lnTo>
                    <a:lnTo>
                      <a:pt x="408" y="44"/>
                    </a:lnTo>
                    <a:lnTo>
                      <a:pt x="410" y="57"/>
                    </a:lnTo>
                    <a:lnTo>
                      <a:pt x="412" y="59"/>
                    </a:lnTo>
                    <a:lnTo>
                      <a:pt x="416" y="63"/>
                    </a:lnTo>
                    <a:lnTo>
                      <a:pt x="418" y="84"/>
                    </a:lnTo>
                    <a:lnTo>
                      <a:pt x="420" y="107"/>
                    </a:lnTo>
                    <a:lnTo>
                      <a:pt x="422" y="109"/>
                    </a:lnTo>
                    <a:lnTo>
                      <a:pt x="426" y="111"/>
                    </a:lnTo>
                    <a:lnTo>
                      <a:pt x="443" y="113"/>
                    </a:lnTo>
                    <a:lnTo>
                      <a:pt x="462" y="113"/>
                    </a:lnTo>
                    <a:lnTo>
                      <a:pt x="479" y="115"/>
                    </a:lnTo>
                    <a:lnTo>
                      <a:pt x="497" y="117"/>
                    </a:lnTo>
                    <a:lnTo>
                      <a:pt x="500" y="119"/>
                    </a:lnTo>
                    <a:lnTo>
                      <a:pt x="502" y="121"/>
                    </a:lnTo>
                    <a:lnTo>
                      <a:pt x="510" y="122"/>
                    </a:lnTo>
                    <a:lnTo>
                      <a:pt x="518" y="126"/>
                    </a:lnTo>
                    <a:lnTo>
                      <a:pt x="520" y="128"/>
                    </a:lnTo>
                    <a:lnTo>
                      <a:pt x="521" y="130"/>
                    </a:lnTo>
                    <a:lnTo>
                      <a:pt x="529" y="144"/>
                    </a:lnTo>
                    <a:lnTo>
                      <a:pt x="537" y="155"/>
                    </a:lnTo>
                    <a:lnTo>
                      <a:pt x="539" y="157"/>
                    </a:lnTo>
                    <a:lnTo>
                      <a:pt x="541" y="159"/>
                    </a:lnTo>
                    <a:lnTo>
                      <a:pt x="543" y="161"/>
                    </a:lnTo>
                    <a:lnTo>
                      <a:pt x="546" y="165"/>
                    </a:lnTo>
                    <a:lnTo>
                      <a:pt x="548" y="167"/>
                    </a:lnTo>
                    <a:lnTo>
                      <a:pt x="550" y="169"/>
                    </a:lnTo>
                    <a:lnTo>
                      <a:pt x="552" y="170"/>
                    </a:lnTo>
                    <a:lnTo>
                      <a:pt x="556" y="174"/>
                    </a:lnTo>
                    <a:lnTo>
                      <a:pt x="558" y="176"/>
                    </a:lnTo>
                    <a:lnTo>
                      <a:pt x="560" y="178"/>
                    </a:lnTo>
                    <a:lnTo>
                      <a:pt x="568" y="182"/>
                    </a:lnTo>
                    <a:lnTo>
                      <a:pt x="575" y="184"/>
                    </a:lnTo>
                    <a:lnTo>
                      <a:pt x="577" y="186"/>
                    </a:lnTo>
                    <a:lnTo>
                      <a:pt x="579" y="188"/>
                    </a:lnTo>
                    <a:lnTo>
                      <a:pt x="577" y="192"/>
                    </a:lnTo>
                    <a:lnTo>
                      <a:pt x="575" y="193"/>
                    </a:lnTo>
                    <a:lnTo>
                      <a:pt x="571" y="205"/>
                    </a:lnTo>
                    <a:lnTo>
                      <a:pt x="569" y="218"/>
                    </a:lnTo>
                    <a:lnTo>
                      <a:pt x="568" y="220"/>
                    </a:lnTo>
                    <a:lnTo>
                      <a:pt x="566" y="222"/>
                    </a:lnTo>
                    <a:lnTo>
                      <a:pt x="564" y="230"/>
                    </a:lnTo>
                    <a:lnTo>
                      <a:pt x="560" y="236"/>
                    </a:lnTo>
                    <a:lnTo>
                      <a:pt x="558" y="240"/>
                    </a:lnTo>
                    <a:lnTo>
                      <a:pt x="556" y="241"/>
                    </a:lnTo>
                    <a:lnTo>
                      <a:pt x="552" y="245"/>
                    </a:lnTo>
                    <a:lnTo>
                      <a:pt x="552" y="251"/>
                    </a:lnTo>
                    <a:lnTo>
                      <a:pt x="552" y="259"/>
                    </a:lnTo>
                    <a:lnTo>
                      <a:pt x="556" y="261"/>
                    </a:lnTo>
                    <a:lnTo>
                      <a:pt x="558" y="263"/>
                    </a:lnTo>
                    <a:lnTo>
                      <a:pt x="560" y="266"/>
                    </a:lnTo>
                    <a:lnTo>
                      <a:pt x="560" y="272"/>
                    </a:lnTo>
                    <a:lnTo>
                      <a:pt x="560" y="280"/>
                    </a:lnTo>
                    <a:lnTo>
                      <a:pt x="571" y="280"/>
                    </a:lnTo>
                    <a:lnTo>
                      <a:pt x="585" y="280"/>
                    </a:lnTo>
                    <a:lnTo>
                      <a:pt x="587" y="282"/>
                    </a:lnTo>
                    <a:lnTo>
                      <a:pt x="591" y="286"/>
                    </a:lnTo>
                    <a:lnTo>
                      <a:pt x="596" y="287"/>
                    </a:lnTo>
                    <a:lnTo>
                      <a:pt x="604" y="289"/>
                    </a:lnTo>
                    <a:lnTo>
                      <a:pt x="606" y="291"/>
                    </a:lnTo>
                    <a:lnTo>
                      <a:pt x="608" y="295"/>
                    </a:lnTo>
                    <a:lnTo>
                      <a:pt x="608" y="305"/>
                    </a:lnTo>
                    <a:lnTo>
                      <a:pt x="608" y="314"/>
                    </a:lnTo>
                    <a:lnTo>
                      <a:pt x="606" y="316"/>
                    </a:lnTo>
                    <a:lnTo>
                      <a:pt x="604" y="318"/>
                    </a:lnTo>
                    <a:lnTo>
                      <a:pt x="596" y="322"/>
                    </a:lnTo>
                    <a:lnTo>
                      <a:pt x="591" y="324"/>
                    </a:lnTo>
                    <a:lnTo>
                      <a:pt x="587" y="326"/>
                    </a:lnTo>
                    <a:lnTo>
                      <a:pt x="585" y="328"/>
                    </a:lnTo>
                    <a:lnTo>
                      <a:pt x="583" y="343"/>
                    </a:lnTo>
                    <a:lnTo>
                      <a:pt x="581" y="358"/>
                    </a:lnTo>
                    <a:lnTo>
                      <a:pt x="581" y="372"/>
                    </a:lnTo>
                    <a:lnTo>
                      <a:pt x="579" y="387"/>
                    </a:lnTo>
                    <a:lnTo>
                      <a:pt x="566" y="389"/>
                    </a:lnTo>
                    <a:lnTo>
                      <a:pt x="550" y="391"/>
                    </a:lnTo>
                    <a:lnTo>
                      <a:pt x="548" y="393"/>
                    </a:lnTo>
                    <a:lnTo>
                      <a:pt x="546" y="397"/>
                    </a:lnTo>
                    <a:lnTo>
                      <a:pt x="541" y="397"/>
                    </a:lnTo>
                    <a:lnTo>
                      <a:pt x="537" y="397"/>
                    </a:lnTo>
                    <a:lnTo>
                      <a:pt x="533" y="393"/>
                    </a:lnTo>
                    <a:lnTo>
                      <a:pt x="531" y="391"/>
                    </a:lnTo>
                    <a:lnTo>
                      <a:pt x="514" y="393"/>
                    </a:lnTo>
                    <a:lnTo>
                      <a:pt x="497" y="397"/>
                    </a:lnTo>
                    <a:lnTo>
                      <a:pt x="495" y="393"/>
                    </a:lnTo>
                    <a:lnTo>
                      <a:pt x="493" y="391"/>
                    </a:lnTo>
                    <a:lnTo>
                      <a:pt x="487" y="391"/>
                    </a:lnTo>
                    <a:lnTo>
                      <a:pt x="483" y="391"/>
                    </a:lnTo>
                    <a:lnTo>
                      <a:pt x="481" y="393"/>
                    </a:lnTo>
                    <a:lnTo>
                      <a:pt x="479" y="397"/>
                    </a:lnTo>
                    <a:lnTo>
                      <a:pt x="466" y="399"/>
                    </a:lnTo>
                    <a:lnTo>
                      <a:pt x="454" y="401"/>
                    </a:lnTo>
                    <a:lnTo>
                      <a:pt x="452" y="403"/>
                    </a:lnTo>
                    <a:lnTo>
                      <a:pt x="449" y="406"/>
                    </a:lnTo>
                    <a:lnTo>
                      <a:pt x="447" y="408"/>
                    </a:lnTo>
                    <a:lnTo>
                      <a:pt x="445" y="410"/>
                    </a:lnTo>
                    <a:lnTo>
                      <a:pt x="443" y="414"/>
                    </a:lnTo>
                    <a:lnTo>
                      <a:pt x="439" y="416"/>
                    </a:lnTo>
                    <a:lnTo>
                      <a:pt x="431" y="418"/>
                    </a:lnTo>
                    <a:lnTo>
                      <a:pt x="426" y="420"/>
                    </a:lnTo>
                    <a:lnTo>
                      <a:pt x="422" y="424"/>
                    </a:lnTo>
                    <a:lnTo>
                      <a:pt x="420" y="426"/>
                    </a:lnTo>
                    <a:lnTo>
                      <a:pt x="408" y="428"/>
                    </a:lnTo>
                    <a:lnTo>
                      <a:pt x="397" y="429"/>
                    </a:lnTo>
                    <a:lnTo>
                      <a:pt x="393" y="433"/>
                    </a:lnTo>
                    <a:lnTo>
                      <a:pt x="391" y="435"/>
                    </a:lnTo>
                    <a:lnTo>
                      <a:pt x="374" y="437"/>
                    </a:lnTo>
                    <a:lnTo>
                      <a:pt x="358" y="439"/>
                    </a:lnTo>
                    <a:lnTo>
                      <a:pt x="355" y="443"/>
                    </a:lnTo>
                    <a:lnTo>
                      <a:pt x="353" y="445"/>
                    </a:lnTo>
                    <a:lnTo>
                      <a:pt x="351" y="452"/>
                    </a:lnTo>
                    <a:lnTo>
                      <a:pt x="347" y="460"/>
                    </a:lnTo>
                    <a:lnTo>
                      <a:pt x="345" y="462"/>
                    </a:lnTo>
                    <a:lnTo>
                      <a:pt x="343" y="464"/>
                    </a:lnTo>
                    <a:lnTo>
                      <a:pt x="337" y="445"/>
                    </a:lnTo>
                    <a:lnTo>
                      <a:pt x="333" y="426"/>
                    </a:lnTo>
                    <a:lnTo>
                      <a:pt x="332" y="424"/>
                    </a:lnTo>
                    <a:lnTo>
                      <a:pt x="328" y="420"/>
                    </a:lnTo>
                    <a:lnTo>
                      <a:pt x="332" y="418"/>
                    </a:lnTo>
                    <a:lnTo>
                      <a:pt x="333" y="416"/>
                    </a:lnTo>
                    <a:lnTo>
                      <a:pt x="333" y="410"/>
                    </a:lnTo>
                    <a:lnTo>
                      <a:pt x="333" y="406"/>
                    </a:lnTo>
                    <a:lnTo>
                      <a:pt x="332" y="403"/>
                    </a:lnTo>
                    <a:lnTo>
                      <a:pt x="328" y="401"/>
                    </a:lnTo>
                    <a:lnTo>
                      <a:pt x="312" y="401"/>
                    </a:lnTo>
                    <a:lnTo>
                      <a:pt x="297" y="399"/>
                    </a:lnTo>
                    <a:lnTo>
                      <a:pt x="282" y="397"/>
                    </a:lnTo>
                    <a:lnTo>
                      <a:pt x="264" y="397"/>
                    </a:lnTo>
                    <a:lnTo>
                      <a:pt x="262" y="393"/>
                    </a:lnTo>
                    <a:lnTo>
                      <a:pt x="261" y="391"/>
                    </a:lnTo>
                    <a:lnTo>
                      <a:pt x="253" y="389"/>
                    </a:lnTo>
                    <a:lnTo>
                      <a:pt x="247" y="387"/>
                    </a:lnTo>
                    <a:lnTo>
                      <a:pt x="243" y="383"/>
                    </a:lnTo>
                    <a:lnTo>
                      <a:pt x="241" y="381"/>
                    </a:lnTo>
                    <a:lnTo>
                      <a:pt x="220" y="380"/>
                    </a:lnTo>
                    <a:lnTo>
                      <a:pt x="197" y="378"/>
                    </a:lnTo>
                    <a:lnTo>
                      <a:pt x="195" y="374"/>
                    </a:lnTo>
                    <a:lnTo>
                      <a:pt x="193" y="372"/>
                    </a:lnTo>
                    <a:lnTo>
                      <a:pt x="186" y="355"/>
                    </a:lnTo>
                    <a:lnTo>
                      <a:pt x="178" y="339"/>
                    </a:lnTo>
                    <a:lnTo>
                      <a:pt x="176" y="335"/>
                    </a:lnTo>
                    <a:lnTo>
                      <a:pt x="174" y="334"/>
                    </a:lnTo>
                    <a:lnTo>
                      <a:pt x="167" y="332"/>
                    </a:lnTo>
                    <a:lnTo>
                      <a:pt x="159" y="328"/>
                    </a:lnTo>
                    <a:lnTo>
                      <a:pt x="157" y="326"/>
                    </a:lnTo>
                    <a:lnTo>
                      <a:pt x="155" y="324"/>
                    </a:lnTo>
                    <a:lnTo>
                      <a:pt x="147" y="322"/>
                    </a:lnTo>
                    <a:lnTo>
                      <a:pt x="140" y="318"/>
                    </a:lnTo>
                    <a:lnTo>
                      <a:pt x="138" y="316"/>
                    </a:lnTo>
                    <a:lnTo>
                      <a:pt x="134" y="314"/>
                    </a:lnTo>
                    <a:lnTo>
                      <a:pt x="122" y="312"/>
                    </a:lnTo>
                    <a:lnTo>
                      <a:pt x="111" y="309"/>
                    </a:lnTo>
                    <a:lnTo>
                      <a:pt x="107" y="307"/>
                    </a:lnTo>
                    <a:lnTo>
                      <a:pt x="105" y="305"/>
                    </a:lnTo>
                    <a:lnTo>
                      <a:pt x="97" y="303"/>
                    </a:lnTo>
                    <a:lnTo>
                      <a:pt x="92" y="299"/>
                    </a:lnTo>
                    <a:lnTo>
                      <a:pt x="88" y="297"/>
                    </a:lnTo>
                    <a:lnTo>
                      <a:pt x="86" y="295"/>
                    </a:lnTo>
                    <a:lnTo>
                      <a:pt x="71" y="291"/>
                    </a:lnTo>
                    <a:lnTo>
                      <a:pt x="55" y="287"/>
                    </a:lnTo>
                    <a:lnTo>
                      <a:pt x="40" y="284"/>
                    </a:lnTo>
                    <a:lnTo>
                      <a:pt x="23" y="280"/>
                    </a:lnTo>
                    <a:lnTo>
                      <a:pt x="21" y="278"/>
                    </a:lnTo>
                    <a:lnTo>
                      <a:pt x="19" y="276"/>
                    </a:lnTo>
                    <a:lnTo>
                      <a:pt x="17" y="249"/>
                    </a:lnTo>
                    <a:lnTo>
                      <a:pt x="15" y="222"/>
                    </a:lnTo>
                    <a:lnTo>
                      <a:pt x="11" y="220"/>
                    </a:lnTo>
                    <a:lnTo>
                      <a:pt x="9" y="218"/>
                    </a:lnTo>
                    <a:lnTo>
                      <a:pt x="7" y="211"/>
                    </a:lnTo>
                    <a:lnTo>
                      <a:pt x="5" y="203"/>
                    </a:lnTo>
                    <a:lnTo>
                      <a:pt x="2" y="201"/>
                    </a:lnTo>
                    <a:lnTo>
                      <a:pt x="0" y="197"/>
                    </a:lnTo>
                    <a:lnTo>
                      <a:pt x="0" y="193"/>
                    </a:lnTo>
                    <a:lnTo>
                      <a:pt x="0" y="188"/>
                    </a:lnTo>
                    <a:lnTo>
                      <a:pt x="2" y="186"/>
                    </a:lnTo>
                    <a:lnTo>
                      <a:pt x="5" y="184"/>
                    </a:lnTo>
                    <a:lnTo>
                      <a:pt x="7" y="172"/>
                    </a:lnTo>
                    <a:lnTo>
                      <a:pt x="9" y="159"/>
                    </a:lnTo>
                    <a:lnTo>
                      <a:pt x="11" y="157"/>
                    </a:lnTo>
                    <a:lnTo>
                      <a:pt x="15" y="155"/>
                    </a:lnTo>
                    <a:lnTo>
                      <a:pt x="17" y="151"/>
                    </a:lnTo>
                    <a:lnTo>
                      <a:pt x="19" y="149"/>
                    </a:lnTo>
                    <a:lnTo>
                      <a:pt x="21" y="147"/>
                    </a:lnTo>
                    <a:lnTo>
                      <a:pt x="23" y="145"/>
                    </a:lnTo>
                    <a:lnTo>
                      <a:pt x="26" y="132"/>
                    </a:lnTo>
                    <a:lnTo>
                      <a:pt x="28" y="121"/>
                    </a:lnTo>
                    <a:lnTo>
                      <a:pt x="30" y="119"/>
                    </a:lnTo>
                    <a:lnTo>
                      <a:pt x="34" y="117"/>
                    </a:lnTo>
                    <a:lnTo>
                      <a:pt x="40" y="113"/>
                    </a:lnTo>
                    <a:lnTo>
                      <a:pt x="48" y="111"/>
                    </a:lnTo>
                    <a:lnTo>
                      <a:pt x="50" y="109"/>
                    </a:lnTo>
                    <a:lnTo>
                      <a:pt x="53" y="107"/>
                    </a:lnTo>
                    <a:lnTo>
                      <a:pt x="59" y="103"/>
                    </a:lnTo>
                    <a:lnTo>
                      <a:pt x="67" y="101"/>
                    </a:lnTo>
                    <a:lnTo>
                      <a:pt x="69" y="99"/>
                    </a:lnTo>
                    <a:lnTo>
                      <a:pt x="73" y="96"/>
                    </a:lnTo>
                    <a:lnTo>
                      <a:pt x="74" y="94"/>
                    </a:lnTo>
                    <a:lnTo>
                      <a:pt x="76" y="92"/>
                    </a:lnTo>
                    <a:lnTo>
                      <a:pt x="78" y="90"/>
                    </a:lnTo>
                    <a:lnTo>
                      <a:pt x="82" y="86"/>
                    </a:lnTo>
                    <a:lnTo>
                      <a:pt x="84" y="74"/>
                    </a:lnTo>
                    <a:lnTo>
                      <a:pt x="86" y="63"/>
                    </a:lnTo>
                    <a:lnTo>
                      <a:pt x="88" y="59"/>
                    </a:lnTo>
                    <a:lnTo>
                      <a:pt x="92" y="57"/>
                    </a:lnTo>
                    <a:lnTo>
                      <a:pt x="94" y="51"/>
                    </a:lnTo>
                    <a:lnTo>
                      <a:pt x="96" y="44"/>
                    </a:lnTo>
                    <a:lnTo>
                      <a:pt x="99" y="42"/>
                    </a:lnTo>
                    <a:lnTo>
                      <a:pt x="101" y="38"/>
                    </a:lnTo>
                    <a:lnTo>
                      <a:pt x="103" y="27"/>
                    </a:lnTo>
                    <a:lnTo>
                      <a:pt x="105" y="15"/>
                    </a:lnTo>
                    <a:lnTo>
                      <a:pt x="107" y="11"/>
                    </a:lnTo>
                    <a:lnTo>
                      <a:pt x="111" y="9"/>
                    </a:lnTo>
                    <a:lnTo>
                      <a:pt x="119" y="7"/>
                    </a:lnTo>
                    <a:lnTo>
                      <a:pt x="126" y="3"/>
                    </a:lnTo>
                    <a:lnTo>
                      <a:pt x="128" y="2"/>
                    </a:lnTo>
                    <a:lnTo>
                      <a:pt x="130" y="0"/>
                    </a:lnTo>
                    <a:lnTo>
                      <a:pt x="140" y="0"/>
                    </a:lnTo>
                    <a:lnTo>
                      <a:pt x="149" y="0"/>
                    </a:lnTo>
                    <a:lnTo>
                      <a:pt x="151" y="2"/>
                    </a:lnTo>
                    <a:lnTo>
                      <a:pt x="155" y="3"/>
                    </a:lnTo>
                    <a:lnTo>
                      <a:pt x="168" y="5"/>
                    </a:lnTo>
                    <a:lnTo>
                      <a:pt x="184" y="7"/>
                    </a:lnTo>
                    <a:lnTo>
                      <a:pt x="197" y="7"/>
                    </a:lnTo>
                    <a:lnTo>
                      <a:pt x="213" y="9"/>
                    </a:lnTo>
                  </a:path>
                </a:pathLst>
              </a:custGeom>
              <a:grpFill/>
              <a:ln w="3175">
                <a:solidFill>
                  <a:srgbClr val="FF8300"/>
                </a:solidFill>
                <a:round/>
                <a:headEnd/>
                <a:tailEnd/>
              </a:ln>
            </p:spPr>
            <p:txBody>
              <a:bodyPr/>
              <a:lstStyle/>
              <a:p>
                <a:pPr>
                  <a:defRPr/>
                </a:pPr>
                <a:endParaRPr lang="en-GB" sz="1400">
                  <a:solidFill>
                    <a:schemeClr val="tx2"/>
                  </a:solidFill>
                </a:endParaRPr>
              </a:p>
            </p:txBody>
          </p:sp>
          <p:sp>
            <p:nvSpPr>
              <p:cNvPr id="366" name="Freeform 5"/>
              <p:cNvSpPr>
                <a:spLocks/>
              </p:cNvSpPr>
              <p:nvPr/>
            </p:nvSpPr>
            <p:spPr bwMode="gray">
              <a:xfrm>
                <a:off x="3219602" y="3292057"/>
                <a:ext cx="225748" cy="239683"/>
              </a:xfrm>
              <a:custGeom>
                <a:avLst/>
                <a:gdLst/>
                <a:ahLst/>
                <a:cxnLst>
                  <a:cxn ang="0">
                    <a:pos x="34" y="179"/>
                  </a:cxn>
                  <a:cxn ang="0">
                    <a:pos x="25" y="169"/>
                  </a:cxn>
                  <a:cxn ang="0">
                    <a:pos x="19" y="161"/>
                  </a:cxn>
                  <a:cxn ang="0">
                    <a:pos x="21" y="157"/>
                  </a:cxn>
                  <a:cxn ang="0">
                    <a:pos x="36" y="154"/>
                  </a:cxn>
                  <a:cxn ang="0">
                    <a:pos x="48" y="136"/>
                  </a:cxn>
                  <a:cxn ang="0">
                    <a:pos x="44" y="125"/>
                  </a:cxn>
                  <a:cxn ang="0">
                    <a:pos x="40" y="119"/>
                  </a:cxn>
                  <a:cxn ang="0">
                    <a:pos x="44" y="115"/>
                  </a:cxn>
                  <a:cxn ang="0">
                    <a:pos x="48" y="108"/>
                  </a:cxn>
                  <a:cxn ang="0">
                    <a:pos x="28" y="96"/>
                  </a:cxn>
                  <a:cxn ang="0">
                    <a:pos x="5" y="90"/>
                  </a:cxn>
                  <a:cxn ang="0">
                    <a:pos x="0" y="77"/>
                  </a:cxn>
                  <a:cxn ang="0">
                    <a:pos x="9" y="67"/>
                  </a:cxn>
                  <a:cxn ang="0">
                    <a:pos x="21" y="67"/>
                  </a:cxn>
                  <a:cxn ang="0">
                    <a:pos x="27" y="69"/>
                  </a:cxn>
                  <a:cxn ang="0">
                    <a:pos x="34" y="69"/>
                  </a:cxn>
                  <a:cxn ang="0">
                    <a:pos x="44" y="62"/>
                  </a:cxn>
                  <a:cxn ang="0">
                    <a:pos x="53" y="52"/>
                  </a:cxn>
                  <a:cxn ang="0">
                    <a:pos x="63" y="48"/>
                  </a:cxn>
                  <a:cxn ang="0">
                    <a:pos x="73" y="42"/>
                  </a:cxn>
                  <a:cxn ang="0">
                    <a:pos x="78" y="33"/>
                  </a:cxn>
                  <a:cxn ang="0">
                    <a:pos x="78" y="23"/>
                  </a:cxn>
                  <a:cxn ang="0">
                    <a:pos x="78" y="14"/>
                  </a:cxn>
                  <a:cxn ang="0">
                    <a:pos x="92" y="10"/>
                  </a:cxn>
                  <a:cxn ang="0">
                    <a:pos x="111" y="4"/>
                  </a:cxn>
                  <a:cxn ang="0">
                    <a:pos x="126" y="0"/>
                  </a:cxn>
                  <a:cxn ang="0">
                    <a:pos x="147" y="0"/>
                  </a:cxn>
                  <a:cxn ang="0">
                    <a:pos x="163" y="2"/>
                  </a:cxn>
                  <a:cxn ang="0">
                    <a:pos x="165" y="6"/>
                  </a:cxn>
                  <a:cxn ang="0">
                    <a:pos x="165" y="14"/>
                  </a:cxn>
                  <a:cxn ang="0">
                    <a:pos x="159" y="19"/>
                  </a:cxn>
                  <a:cxn ang="0">
                    <a:pos x="149" y="23"/>
                  </a:cxn>
                  <a:cxn ang="0">
                    <a:pos x="130" y="37"/>
                  </a:cxn>
                  <a:cxn ang="0">
                    <a:pos x="115" y="46"/>
                  </a:cxn>
                  <a:cxn ang="0">
                    <a:pos x="109" y="58"/>
                  </a:cxn>
                  <a:cxn ang="0">
                    <a:pos x="99" y="71"/>
                  </a:cxn>
                  <a:cxn ang="0">
                    <a:pos x="90" y="83"/>
                  </a:cxn>
                  <a:cxn ang="0">
                    <a:pos x="86" y="94"/>
                  </a:cxn>
                  <a:cxn ang="0">
                    <a:pos x="86" y="108"/>
                  </a:cxn>
                  <a:cxn ang="0">
                    <a:pos x="82" y="123"/>
                  </a:cxn>
                  <a:cxn ang="0">
                    <a:pos x="76" y="161"/>
                  </a:cxn>
                  <a:cxn ang="0">
                    <a:pos x="63" y="180"/>
                  </a:cxn>
                  <a:cxn ang="0">
                    <a:pos x="48" y="180"/>
                  </a:cxn>
                </a:cxnLst>
                <a:rect l="0" t="0" r="r" b="b"/>
                <a:pathLst>
                  <a:path w="165" h="182">
                    <a:moveTo>
                      <a:pt x="40" y="182"/>
                    </a:moveTo>
                    <a:lnTo>
                      <a:pt x="34" y="179"/>
                    </a:lnTo>
                    <a:lnTo>
                      <a:pt x="28" y="173"/>
                    </a:lnTo>
                    <a:lnTo>
                      <a:pt x="25" y="169"/>
                    </a:lnTo>
                    <a:lnTo>
                      <a:pt x="19" y="163"/>
                    </a:lnTo>
                    <a:lnTo>
                      <a:pt x="19" y="161"/>
                    </a:lnTo>
                    <a:lnTo>
                      <a:pt x="19" y="159"/>
                    </a:lnTo>
                    <a:lnTo>
                      <a:pt x="21" y="157"/>
                    </a:lnTo>
                    <a:lnTo>
                      <a:pt x="25" y="154"/>
                    </a:lnTo>
                    <a:lnTo>
                      <a:pt x="36" y="154"/>
                    </a:lnTo>
                    <a:lnTo>
                      <a:pt x="48" y="154"/>
                    </a:lnTo>
                    <a:lnTo>
                      <a:pt x="48" y="136"/>
                    </a:lnTo>
                    <a:lnTo>
                      <a:pt x="48" y="129"/>
                    </a:lnTo>
                    <a:lnTo>
                      <a:pt x="44" y="125"/>
                    </a:lnTo>
                    <a:lnTo>
                      <a:pt x="40" y="125"/>
                    </a:lnTo>
                    <a:lnTo>
                      <a:pt x="40" y="119"/>
                    </a:lnTo>
                    <a:lnTo>
                      <a:pt x="40" y="115"/>
                    </a:lnTo>
                    <a:lnTo>
                      <a:pt x="44" y="115"/>
                    </a:lnTo>
                    <a:lnTo>
                      <a:pt x="48" y="113"/>
                    </a:lnTo>
                    <a:lnTo>
                      <a:pt x="48" y="108"/>
                    </a:lnTo>
                    <a:lnTo>
                      <a:pt x="48" y="96"/>
                    </a:lnTo>
                    <a:lnTo>
                      <a:pt x="28" y="96"/>
                    </a:lnTo>
                    <a:lnTo>
                      <a:pt x="9" y="96"/>
                    </a:lnTo>
                    <a:lnTo>
                      <a:pt x="5" y="90"/>
                    </a:lnTo>
                    <a:lnTo>
                      <a:pt x="0" y="86"/>
                    </a:lnTo>
                    <a:lnTo>
                      <a:pt x="0" y="77"/>
                    </a:lnTo>
                    <a:lnTo>
                      <a:pt x="0" y="67"/>
                    </a:lnTo>
                    <a:lnTo>
                      <a:pt x="9" y="67"/>
                    </a:lnTo>
                    <a:lnTo>
                      <a:pt x="19" y="67"/>
                    </a:lnTo>
                    <a:lnTo>
                      <a:pt x="21" y="67"/>
                    </a:lnTo>
                    <a:lnTo>
                      <a:pt x="25" y="67"/>
                    </a:lnTo>
                    <a:lnTo>
                      <a:pt x="27" y="69"/>
                    </a:lnTo>
                    <a:lnTo>
                      <a:pt x="28" y="73"/>
                    </a:lnTo>
                    <a:lnTo>
                      <a:pt x="34" y="69"/>
                    </a:lnTo>
                    <a:lnTo>
                      <a:pt x="40" y="67"/>
                    </a:lnTo>
                    <a:lnTo>
                      <a:pt x="44" y="62"/>
                    </a:lnTo>
                    <a:lnTo>
                      <a:pt x="48" y="58"/>
                    </a:lnTo>
                    <a:lnTo>
                      <a:pt x="53" y="52"/>
                    </a:lnTo>
                    <a:lnTo>
                      <a:pt x="57" y="48"/>
                    </a:lnTo>
                    <a:lnTo>
                      <a:pt x="63" y="48"/>
                    </a:lnTo>
                    <a:lnTo>
                      <a:pt x="69" y="48"/>
                    </a:lnTo>
                    <a:lnTo>
                      <a:pt x="73" y="42"/>
                    </a:lnTo>
                    <a:lnTo>
                      <a:pt x="78" y="38"/>
                    </a:lnTo>
                    <a:lnTo>
                      <a:pt x="78" y="33"/>
                    </a:lnTo>
                    <a:lnTo>
                      <a:pt x="78" y="29"/>
                    </a:lnTo>
                    <a:lnTo>
                      <a:pt x="78" y="23"/>
                    </a:lnTo>
                    <a:lnTo>
                      <a:pt x="78" y="19"/>
                    </a:lnTo>
                    <a:lnTo>
                      <a:pt x="78" y="14"/>
                    </a:lnTo>
                    <a:lnTo>
                      <a:pt x="78" y="10"/>
                    </a:lnTo>
                    <a:lnTo>
                      <a:pt x="92" y="10"/>
                    </a:lnTo>
                    <a:lnTo>
                      <a:pt x="107" y="10"/>
                    </a:lnTo>
                    <a:lnTo>
                      <a:pt x="111" y="4"/>
                    </a:lnTo>
                    <a:lnTo>
                      <a:pt x="117" y="0"/>
                    </a:lnTo>
                    <a:lnTo>
                      <a:pt x="126" y="0"/>
                    </a:lnTo>
                    <a:lnTo>
                      <a:pt x="136" y="0"/>
                    </a:lnTo>
                    <a:lnTo>
                      <a:pt x="147" y="0"/>
                    </a:lnTo>
                    <a:lnTo>
                      <a:pt x="161" y="0"/>
                    </a:lnTo>
                    <a:lnTo>
                      <a:pt x="163" y="2"/>
                    </a:lnTo>
                    <a:lnTo>
                      <a:pt x="165" y="4"/>
                    </a:lnTo>
                    <a:lnTo>
                      <a:pt x="165" y="6"/>
                    </a:lnTo>
                    <a:lnTo>
                      <a:pt x="165" y="10"/>
                    </a:lnTo>
                    <a:lnTo>
                      <a:pt x="165" y="14"/>
                    </a:lnTo>
                    <a:lnTo>
                      <a:pt x="165" y="19"/>
                    </a:lnTo>
                    <a:lnTo>
                      <a:pt x="159" y="19"/>
                    </a:lnTo>
                    <a:lnTo>
                      <a:pt x="155" y="19"/>
                    </a:lnTo>
                    <a:lnTo>
                      <a:pt x="149" y="23"/>
                    </a:lnTo>
                    <a:lnTo>
                      <a:pt x="145" y="29"/>
                    </a:lnTo>
                    <a:lnTo>
                      <a:pt x="130" y="37"/>
                    </a:lnTo>
                    <a:lnTo>
                      <a:pt x="119" y="42"/>
                    </a:lnTo>
                    <a:lnTo>
                      <a:pt x="115" y="46"/>
                    </a:lnTo>
                    <a:lnTo>
                      <a:pt x="113" y="52"/>
                    </a:lnTo>
                    <a:lnTo>
                      <a:pt x="109" y="58"/>
                    </a:lnTo>
                    <a:lnTo>
                      <a:pt x="107" y="67"/>
                    </a:lnTo>
                    <a:lnTo>
                      <a:pt x="99" y="71"/>
                    </a:lnTo>
                    <a:lnTo>
                      <a:pt x="94" y="77"/>
                    </a:lnTo>
                    <a:lnTo>
                      <a:pt x="90" y="83"/>
                    </a:lnTo>
                    <a:lnTo>
                      <a:pt x="88" y="88"/>
                    </a:lnTo>
                    <a:lnTo>
                      <a:pt x="86" y="94"/>
                    </a:lnTo>
                    <a:lnTo>
                      <a:pt x="86" y="100"/>
                    </a:lnTo>
                    <a:lnTo>
                      <a:pt x="86" y="108"/>
                    </a:lnTo>
                    <a:lnTo>
                      <a:pt x="88" y="115"/>
                    </a:lnTo>
                    <a:lnTo>
                      <a:pt x="82" y="123"/>
                    </a:lnTo>
                    <a:lnTo>
                      <a:pt x="78" y="140"/>
                    </a:lnTo>
                    <a:lnTo>
                      <a:pt x="76" y="161"/>
                    </a:lnTo>
                    <a:lnTo>
                      <a:pt x="78" y="182"/>
                    </a:lnTo>
                    <a:lnTo>
                      <a:pt x="63" y="180"/>
                    </a:lnTo>
                    <a:lnTo>
                      <a:pt x="55" y="179"/>
                    </a:lnTo>
                    <a:lnTo>
                      <a:pt x="48" y="180"/>
                    </a:lnTo>
                    <a:lnTo>
                      <a:pt x="40" y="182"/>
                    </a:lnTo>
                  </a:path>
                </a:pathLst>
              </a:custGeom>
              <a:grpFill/>
              <a:ln w="3175">
                <a:solidFill>
                  <a:srgbClr val="FF8300"/>
                </a:solidFill>
                <a:round/>
                <a:headEnd/>
                <a:tailEnd/>
              </a:ln>
            </p:spPr>
            <p:txBody>
              <a:bodyPr/>
              <a:lstStyle/>
              <a:p>
                <a:pPr>
                  <a:defRPr/>
                </a:pPr>
                <a:endParaRPr lang="en-GB" sz="1400">
                  <a:solidFill>
                    <a:schemeClr val="tx2"/>
                  </a:solidFill>
                </a:endParaRPr>
              </a:p>
            </p:txBody>
          </p:sp>
          <p:sp>
            <p:nvSpPr>
              <p:cNvPr id="367" name="Freeform 6"/>
              <p:cNvSpPr>
                <a:spLocks/>
              </p:cNvSpPr>
              <p:nvPr/>
            </p:nvSpPr>
            <p:spPr bwMode="gray">
              <a:xfrm>
                <a:off x="3430021" y="3048194"/>
                <a:ext cx="557403" cy="243863"/>
              </a:xfrm>
              <a:custGeom>
                <a:avLst/>
                <a:gdLst/>
                <a:ahLst/>
                <a:cxnLst>
                  <a:cxn ang="0">
                    <a:pos x="10" y="178"/>
                  </a:cxn>
                  <a:cxn ang="0">
                    <a:pos x="0" y="169"/>
                  </a:cxn>
                  <a:cxn ang="0">
                    <a:pos x="19" y="153"/>
                  </a:cxn>
                  <a:cxn ang="0">
                    <a:pos x="4" y="146"/>
                  </a:cxn>
                  <a:cxn ang="0">
                    <a:pos x="0" y="134"/>
                  </a:cxn>
                  <a:cxn ang="0">
                    <a:pos x="13" y="130"/>
                  </a:cxn>
                  <a:cxn ang="0">
                    <a:pos x="29" y="125"/>
                  </a:cxn>
                  <a:cxn ang="0">
                    <a:pos x="42" y="121"/>
                  </a:cxn>
                  <a:cxn ang="0">
                    <a:pos x="58" y="105"/>
                  </a:cxn>
                  <a:cxn ang="0">
                    <a:pos x="73" y="105"/>
                  </a:cxn>
                  <a:cxn ang="0">
                    <a:pos x="86" y="86"/>
                  </a:cxn>
                  <a:cxn ang="0">
                    <a:pos x="96" y="77"/>
                  </a:cxn>
                  <a:cxn ang="0">
                    <a:pos x="106" y="67"/>
                  </a:cxn>
                  <a:cxn ang="0">
                    <a:pos x="117" y="54"/>
                  </a:cxn>
                  <a:cxn ang="0">
                    <a:pos x="125" y="48"/>
                  </a:cxn>
                  <a:cxn ang="0">
                    <a:pos x="144" y="42"/>
                  </a:cxn>
                  <a:cxn ang="0">
                    <a:pos x="165" y="38"/>
                  </a:cxn>
                  <a:cxn ang="0">
                    <a:pos x="178" y="29"/>
                  </a:cxn>
                  <a:cxn ang="0">
                    <a:pos x="194" y="29"/>
                  </a:cxn>
                  <a:cxn ang="0">
                    <a:pos x="236" y="13"/>
                  </a:cxn>
                  <a:cxn ang="0">
                    <a:pos x="251" y="9"/>
                  </a:cxn>
                  <a:cxn ang="0">
                    <a:pos x="274" y="19"/>
                  </a:cxn>
                  <a:cxn ang="0">
                    <a:pos x="280" y="29"/>
                  </a:cxn>
                  <a:cxn ang="0">
                    <a:pos x="324" y="29"/>
                  </a:cxn>
                  <a:cxn ang="0">
                    <a:pos x="357" y="19"/>
                  </a:cxn>
                  <a:cxn ang="0">
                    <a:pos x="363" y="9"/>
                  </a:cxn>
                  <a:cxn ang="0">
                    <a:pos x="378" y="0"/>
                  </a:cxn>
                  <a:cxn ang="0">
                    <a:pos x="397" y="0"/>
                  </a:cxn>
                  <a:cxn ang="0">
                    <a:pos x="407" y="9"/>
                  </a:cxn>
                  <a:cxn ang="0">
                    <a:pos x="397" y="23"/>
                  </a:cxn>
                  <a:cxn ang="0">
                    <a:pos x="378" y="29"/>
                  </a:cxn>
                  <a:cxn ang="0">
                    <a:pos x="372" y="42"/>
                  </a:cxn>
                  <a:cxn ang="0">
                    <a:pos x="357" y="48"/>
                  </a:cxn>
                  <a:cxn ang="0">
                    <a:pos x="320" y="57"/>
                  </a:cxn>
                  <a:cxn ang="0">
                    <a:pos x="271" y="57"/>
                  </a:cxn>
                  <a:cxn ang="0">
                    <a:pos x="263" y="48"/>
                  </a:cxn>
                  <a:cxn ang="0">
                    <a:pos x="251" y="57"/>
                  </a:cxn>
                  <a:cxn ang="0">
                    <a:pos x="196" y="69"/>
                  </a:cxn>
                  <a:cxn ang="0">
                    <a:pos x="165" y="82"/>
                  </a:cxn>
                  <a:cxn ang="0">
                    <a:pos x="131" y="105"/>
                  </a:cxn>
                  <a:cxn ang="0">
                    <a:pos x="86" y="115"/>
                  </a:cxn>
                  <a:cxn ang="0">
                    <a:pos x="77" y="134"/>
                  </a:cxn>
                  <a:cxn ang="0">
                    <a:pos x="29" y="184"/>
                  </a:cxn>
                  <a:cxn ang="0">
                    <a:pos x="17" y="184"/>
                  </a:cxn>
                </a:cxnLst>
                <a:rect l="0" t="0" r="r" b="b"/>
                <a:pathLst>
                  <a:path w="407" h="184">
                    <a:moveTo>
                      <a:pt x="13" y="184"/>
                    </a:moveTo>
                    <a:lnTo>
                      <a:pt x="12" y="180"/>
                    </a:lnTo>
                    <a:lnTo>
                      <a:pt x="10" y="178"/>
                    </a:lnTo>
                    <a:lnTo>
                      <a:pt x="4" y="176"/>
                    </a:lnTo>
                    <a:lnTo>
                      <a:pt x="0" y="175"/>
                    </a:lnTo>
                    <a:lnTo>
                      <a:pt x="0" y="169"/>
                    </a:lnTo>
                    <a:lnTo>
                      <a:pt x="0" y="163"/>
                    </a:lnTo>
                    <a:lnTo>
                      <a:pt x="10" y="159"/>
                    </a:lnTo>
                    <a:lnTo>
                      <a:pt x="19" y="153"/>
                    </a:lnTo>
                    <a:lnTo>
                      <a:pt x="13" y="150"/>
                    </a:lnTo>
                    <a:lnTo>
                      <a:pt x="10" y="146"/>
                    </a:lnTo>
                    <a:lnTo>
                      <a:pt x="4" y="146"/>
                    </a:lnTo>
                    <a:lnTo>
                      <a:pt x="0" y="146"/>
                    </a:lnTo>
                    <a:lnTo>
                      <a:pt x="0" y="140"/>
                    </a:lnTo>
                    <a:lnTo>
                      <a:pt x="0" y="134"/>
                    </a:lnTo>
                    <a:lnTo>
                      <a:pt x="4" y="134"/>
                    </a:lnTo>
                    <a:lnTo>
                      <a:pt x="10" y="134"/>
                    </a:lnTo>
                    <a:lnTo>
                      <a:pt x="13" y="130"/>
                    </a:lnTo>
                    <a:lnTo>
                      <a:pt x="19" y="125"/>
                    </a:lnTo>
                    <a:lnTo>
                      <a:pt x="25" y="125"/>
                    </a:lnTo>
                    <a:lnTo>
                      <a:pt x="29" y="125"/>
                    </a:lnTo>
                    <a:lnTo>
                      <a:pt x="35" y="125"/>
                    </a:lnTo>
                    <a:lnTo>
                      <a:pt x="38" y="125"/>
                    </a:lnTo>
                    <a:lnTo>
                      <a:pt x="42" y="121"/>
                    </a:lnTo>
                    <a:lnTo>
                      <a:pt x="48" y="115"/>
                    </a:lnTo>
                    <a:lnTo>
                      <a:pt x="54" y="111"/>
                    </a:lnTo>
                    <a:lnTo>
                      <a:pt x="58" y="105"/>
                    </a:lnTo>
                    <a:lnTo>
                      <a:pt x="63" y="105"/>
                    </a:lnTo>
                    <a:lnTo>
                      <a:pt x="67" y="105"/>
                    </a:lnTo>
                    <a:lnTo>
                      <a:pt x="73" y="105"/>
                    </a:lnTo>
                    <a:lnTo>
                      <a:pt x="77" y="105"/>
                    </a:lnTo>
                    <a:lnTo>
                      <a:pt x="83" y="96"/>
                    </a:lnTo>
                    <a:lnTo>
                      <a:pt x="86" y="86"/>
                    </a:lnTo>
                    <a:lnTo>
                      <a:pt x="92" y="86"/>
                    </a:lnTo>
                    <a:lnTo>
                      <a:pt x="96" y="86"/>
                    </a:lnTo>
                    <a:lnTo>
                      <a:pt x="96" y="77"/>
                    </a:lnTo>
                    <a:lnTo>
                      <a:pt x="96" y="67"/>
                    </a:lnTo>
                    <a:lnTo>
                      <a:pt x="102" y="67"/>
                    </a:lnTo>
                    <a:lnTo>
                      <a:pt x="106" y="67"/>
                    </a:lnTo>
                    <a:lnTo>
                      <a:pt x="111" y="63"/>
                    </a:lnTo>
                    <a:lnTo>
                      <a:pt x="117" y="57"/>
                    </a:lnTo>
                    <a:lnTo>
                      <a:pt x="117" y="54"/>
                    </a:lnTo>
                    <a:lnTo>
                      <a:pt x="117" y="48"/>
                    </a:lnTo>
                    <a:lnTo>
                      <a:pt x="121" y="48"/>
                    </a:lnTo>
                    <a:lnTo>
                      <a:pt x="125" y="48"/>
                    </a:lnTo>
                    <a:lnTo>
                      <a:pt x="131" y="48"/>
                    </a:lnTo>
                    <a:lnTo>
                      <a:pt x="134" y="48"/>
                    </a:lnTo>
                    <a:lnTo>
                      <a:pt x="144" y="42"/>
                    </a:lnTo>
                    <a:lnTo>
                      <a:pt x="155" y="38"/>
                    </a:lnTo>
                    <a:lnTo>
                      <a:pt x="159" y="38"/>
                    </a:lnTo>
                    <a:lnTo>
                      <a:pt x="165" y="38"/>
                    </a:lnTo>
                    <a:lnTo>
                      <a:pt x="169" y="33"/>
                    </a:lnTo>
                    <a:lnTo>
                      <a:pt x="175" y="29"/>
                    </a:lnTo>
                    <a:lnTo>
                      <a:pt x="178" y="29"/>
                    </a:lnTo>
                    <a:lnTo>
                      <a:pt x="184" y="29"/>
                    </a:lnTo>
                    <a:lnTo>
                      <a:pt x="188" y="29"/>
                    </a:lnTo>
                    <a:lnTo>
                      <a:pt x="194" y="29"/>
                    </a:lnTo>
                    <a:lnTo>
                      <a:pt x="213" y="23"/>
                    </a:lnTo>
                    <a:lnTo>
                      <a:pt x="232" y="19"/>
                    </a:lnTo>
                    <a:lnTo>
                      <a:pt x="236" y="13"/>
                    </a:lnTo>
                    <a:lnTo>
                      <a:pt x="242" y="9"/>
                    </a:lnTo>
                    <a:lnTo>
                      <a:pt x="246" y="9"/>
                    </a:lnTo>
                    <a:lnTo>
                      <a:pt x="251" y="9"/>
                    </a:lnTo>
                    <a:lnTo>
                      <a:pt x="261" y="13"/>
                    </a:lnTo>
                    <a:lnTo>
                      <a:pt x="271" y="19"/>
                    </a:lnTo>
                    <a:lnTo>
                      <a:pt x="274" y="19"/>
                    </a:lnTo>
                    <a:lnTo>
                      <a:pt x="280" y="19"/>
                    </a:lnTo>
                    <a:lnTo>
                      <a:pt x="280" y="23"/>
                    </a:lnTo>
                    <a:lnTo>
                      <a:pt x="280" y="29"/>
                    </a:lnTo>
                    <a:lnTo>
                      <a:pt x="290" y="29"/>
                    </a:lnTo>
                    <a:lnTo>
                      <a:pt x="299" y="29"/>
                    </a:lnTo>
                    <a:lnTo>
                      <a:pt x="324" y="29"/>
                    </a:lnTo>
                    <a:lnTo>
                      <a:pt x="349" y="29"/>
                    </a:lnTo>
                    <a:lnTo>
                      <a:pt x="353" y="23"/>
                    </a:lnTo>
                    <a:lnTo>
                      <a:pt x="357" y="19"/>
                    </a:lnTo>
                    <a:lnTo>
                      <a:pt x="357" y="13"/>
                    </a:lnTo>
                    <a:lnTo>
                      <a:pt x="357" y="9"/>
                    </a:lnTo>
                    <a:lnTo>
                      <a:pt x="363" y="9"/>
                    </a:lnTo>
                    <a:lnTo>
                      <a:pt x="367" y="9"/>
                    </a:lnTo>
                    <a:lnTo>
                      <a:pt x="372" y="4"/>
                    </a:lnTo>
                    <a:lnTo>
                      <a:pt x="378" y="0"/>
                    </a:lnTo>
                    <a:lnTo>
                      <a:pt x="382" y="0"/>
                    </a:lnTo>
                    <a:lnTo>
                      <a:pt x="388" y="0"/>
                    </a:lnTo>
                    <a:lnTo>
                      <a:pt x="397" y="0"/>
                    </a:lnTo>
                    <a:lnTo>
                      <a:pt x="407" y="0"/>
                    </a:lnTo>
                    <a:lnTo>
                      <a:pt x="407" y="4"/>
                    </a:lnTo>
                    <a:lnTo>
                      <a:pt x="407" y="9"/>
                    </a:lnTo>
                    <a:lnTo>
                      <a:pt x="407" y="13"/>
                    </a:lnTo>
                    <a:lnTo>
                      <a:pt x="407" y="19"/>
                    </a:lnTo>
                    <a:lnTo>
                      <a:pt x="397" y="23"/>
                    </a:lnTo>
                    <a:lnTo>
                      <a:pt x="388" y="29"/>
                    </a:lnTo>
                    <a:lnTo>
                      <a:pt x="382" y="29"/>
                    </a:lnTo>
                    <a:lnTo>
                      <a:pt x="378" y="29"/>
                    </a:lnTo>
                    <a:lnTo>
                      <a:pt x="378" y="33"/>
                    </a:lnTo>
                    <a:lnTo>
                      <a:pt x="378" y="38"/>
                    </a:lnTo>
                    <a:lnTo>
                      <a:pt x="372" y="42"/>
                    </a:lnTo>
                    <a:lnTo>
                      <a:pt x="367" y="48"/>
                    </a:lnTo>
                    <a:lnTo>
                      <a:pt x="363" y="48"/>
                    </a:lnTo>
                    <a:lnTo>
                      <a:pt x="357" y="48"/>
                    </a:lnTo>
                    <a:lnTo>
                      <a:pt x="347" y="54"/>
                    </a:lnTo>
                    <a:lnTo>
                      <a:pt x="338" y="57"/>
                    </a:lnTo>
                    <a:lnTo>
                      <a:pt x="320" y="57"/>
                    </a:lnTo>
                    <a:lnTo>
                      <a:pt x="305" y="57"/>
                    </a:lnTo>
                    <a:lnTo>
                      <a:pt x="288" y="57"/>
                    </a:lnTo>
                    <a:lnTo>
                      <a:pt x="271" y="57"/>
                    </a:lnTo>
                    <a:lnTo>
                      <a:pt x="271" y="52"/>
                    </a:lnTo>
                    <a:lnTo>
                      <a:pt x="269" y="50"/>
                    </a:lnTo>
                    <a:lnTo>
                      <a:pt x="263" y="48"/>
                    </a:lnTo>
                    <a:lnTo>
                      <a:pt x="251" y="48"/>
                    </a:lnTo>
                    <a:lnTo>
                      <a:pt x="251" y="54"/>
                    </a:lnTo>
                    <a:lnTo>
                      <a:pt x="251" y="57"/>
                    </a:lnTo>
                    <a:lnTo>
                      <a:pt x="223" y="61"/>
                    </a:lnTo>
                    <a:lnTo>
                      <a:pt x="207" y="63"/>
                    </a:lnTo>
                    <a:lnTo>
                      <a:pt x="196" y="69"/>
                    </a:lnTo>
                    <a:lnTo>
                      <a:pt x="184" y="77"/>
                    </a:lnTo>
                    <a:lnTo>
                      <a:pt x="173" y="80"/>
                    </a:lnTo>
                    <a:lnTo>
                      <a:pt x="165" y="82"/>
                    </a:lnTo>
                    <a:lnTo>
                      <a:pt x="161" y="88"/>
                    </a:lnTo>
                    <a:lnTo>
                      <a:pt x="155" y="96"/>
                    </a:lnTo>
                    <a:lnTo>
                      <a:pt x="131" y="105"/>
                    </a:lnTo>
                    <a:lnTo>
                      <a:pt x="106" y="115"/>
                    </a:lnTo>
                    <a:lnTo>
                      <a:pt x="96" y="115"/>
                    </a:lnTo>
                    <a:lnTo>
                      <a:pt x="86" y="115"/>
                    </a:lnTo>
                    <a:lnTo>
                      <a:pt x="86" y="125"/>
                    </a:lnTo>
                    <a:lnTo>
                      <a:pt x="86" y="134"/>
                    </a:lnTo>
                    <a:lnTo>
                      <a:pt x="77" y="134"/>
                    </a:lnTo>
                    <a:lnTo>
                      <a:pt x="67" y="134"/>
                    </a:lnTo>
                    <a:lnTo>
                      <a:pt x="48" y="159"/>
                    </a:lnTo>
                    <a:lnTo>
                      <a:pt x="29" y="184"/>
                    </a:lnTo>
                    <a:lnTo>
                      <a:pt x="25" y="184"/>
                    </a:lnTo>
                    <a:lnTo>
                      <a:pt x="19" y="184"/>
                    </a:lnTo>
                    <a:lnTo>
                      <a:pt x="17" y="184"/>
                    </a:lnTo>
                    <a:lnTo>
                      <a:pt x="13" y="184"/>
                    </a:lnTo>
                  </a:path>
                </a:pathLst>
              </a:custGeom>
              <a:grpFill/>
              <a:ln w="3175">
                <a:solidFill>
                  <a:srgbClr val="FF8300"/>
                </a:solidFill>
                <a:round/>
                <a:headEnd/>
                <a:tailEnd/>
              </a:ln>
            </p:spPr>
            <p:txBody>
              <a:bodyPr/>
              <a:lstStyle/>
              <a:p>
                <a:pPr>
                  <a:defRPr/>
                </a:pPr>
                <a:endParaRPr lang="en-GB" sz="1400">
                  <a:solidFill>
                    <a:schemeClr val="tx2"/>
                  </a:solidFill>
                </a:endParaRPr>
              </a:p>
            </p:txBody>
          </p:sp>
          <p:sp>
            <p:nvSpPr>
              <p:cNvPr id="368" name="Freeform 7"/>
              <p:cNvSpPr/>
              <p:nvPr/>
            </p:nvSpPr>
            <p:spPr bwMode="gray">
              <a:xfrm>
                <a:off x="2001677" y="3612948"/>
                <a:ext cx="1596959" cy="751761"/>
              </a:xfrm>
              <a:custGeom>
                <a:avLst/>
                <a:gdLst>
                  <a:gd name="connsiteX0" fmla="*/ 492918 w 1819275"/>
                  <a:gd name="connsiteY0" fmla="*/ 856018 h 856415"/>
                  <a:gd name="connsiteX1" fmla="*/ 523875 w 1819275"/>
                  <a:gd name="connsiteY1" fmla="*/ 853637 h 856415"/>
                  <a:gd name="connsiteX2" fmla="*/ 545306 w 1819275"/>
                  <a:gd name="connsiteY2" fmla="*/ 841731 h 856415"/>
                  <a:gd name="connsiteX3" fmla="*/ 559593 w 1819275"/>
                  <a:gd name="connsiteY3" fmla="*/ 836968 h 856415"/>
                  <a:gd name="connsiteX4" fmla="*/ 578643 w 1819275"/>
                  <a:gd name="connsiteY4" fmla="*/ 832206 h 856415"/>
                  <a:gd name="connsiteX5" fmla="*/ 585787 w 1819275"/>
                  <a:gd name="connsiteY5" fmla="*/ 827443 h 856415"/>
                  <a:gd name="connsiteX6" fmla="*/ 600075 w 1819275"/>
                  <a:gd name="connsiteY6" fmla="*/ 820300 h 856415"/>
                  <a:gd name="connsiteX7" fmla="*/ 604837 w 1819275"/>
                  <a:gd name="connsiteY7" fmla="*/ 784581 h 856415"/>
                  <a:gd name="connsiteX8" fmla="*/ 609600 w 1819275"/>
                  <a:gd name="connsiteY8" fmla="*/ 770293 h 856415"/>
                  <a:gd name="connsiteX9" fmla="*/ 616743 w 1819275"/>
                  <a:gd name="connsiteY9" fmla="*/ 765531 h 856415"/>
                  <a:gd name="connsiteX10" fmla="*/ 626268 w 1819275"/>
                  <a:gd name="connsiteY10" fmla="*/ 760768 h 856415"/>
                  <a:gd name="connsiteX11" fmla="*/ 645318 w 1819275"/>
                  <a:gd name="connsiteY11" fmla="*/ 746481 h 856415"/>
                  <a:gd name="connsiteX12" fmla="*/ 654843 w 1819275"/>
                  <a:gd name="connsiteY12" fmla="*/ 739337 h 856415"/>
                  <a:gd name="connsiteX13" fmla="*/ 661987 w 1819275"/>
                  <a:gd name="connsiteY13" fmla="*/ 734575 h 856415"/>
                  <a:gd name="connsiteX14" fmla="*/ 673893 w 1819275"/>
                  <a:gd name="connsiteY14" fmla="*/ 720287 h 856415"/>
                  <a:gd name="connsiteX15" fmla="*/ 666750 w 1819275"/>
                  <a:gd name="connsiteY15" fmla="*/ 684568 h 856415"/>
                  <a:gd name="connsiteX16" fmla="*/ 652462 w 1819275"/>
                  <a:gd name="connsiteY16" fmla="*/ 670281 h 856415"/>
                  <a:gd name="connsiteX17" fmla="*/ 623887 w 1819275"/>
                  <a:gd name="connsiteY17" fmla="*/ 675043 h 856415"/>
                  <a:gd name="connsiteX18" fmla="*/ 609600 w 1819275"/>
                  <a:gd name="connsiteY18" fmla="*/ 679806 h 856415"/>
                  <a:gd name="connsiteX19" fmla="*/ 602456 w 1819275"/>
                  <a:gd name="connsiteY19" fmla="*/ 682187 h 856415"/>
                  <a:gd name="connsiteX20" fmla="*/ 585787 w 1819275"/>
                  <a:gd name="connsiteY20" fmla="*/ 679806 h 856415"/>
                  <a:gd name="connsiteX21" fmla="*/ 569118 w 1819275"/>
                  <a:gd name="connsiteY21" fmla="*/ 675043 h 856415"/>
                  <a:gd name="connsiteX22" fmla="*/ 557212 w 1819275"/>
                  <a:gd name="connsiteY22" fmla="*/ 660756 h 856415"/>
                  <a:gd name="connsiteX23" fmla="*/ 550068 w 1819275"/>
                  <a:gd name="connsiteY23" fmla="*/ 653612 h 856415"/>
                  <a:gd name="connsiteX24" fmla="*/ 552450 w 1819275"/>
                  <a:gd name="connsiteY24" fmla="*/ 636943 h 856415"/>
                  <a:gd name="connsiteX25" fmla="*/ 564356 w 1819275"/>
                  <a:gd name="connsiteY25" fmla="*/ 622656 h 856415"/>
                  <a:gd name="connsiteX26" fmla="*/ 571500 w 1819275"/>
                  <a:gd name="connsiteY26" fmla="*/ 620275 h 856415"/>
                  <a:gd name="connsiteX27" fmla="*/ 578643 w 1819275"/>
                  <a:gd name="connsiteY27" fmla="*/ 615512 h 856415"/>
                  <a:gd name="connsiteX28" fmla="*/ 588168 w 1819275"/>
                  <a:gd name="connsiteY28" fmla="*/ 613131 h 856415"/>
                  <a:gd name="connsiteX29" fmla="*/ 595312 w 1819275"/>
                  <a:gd name="connsiteY29" fmla="*/ 605987 h 856415"/>
                  <a:gd name="connsiteX30" fmla="*/ 609600 w 1819275"/>
                  <a:gd name="connsiteY30" fmla="*/ 598843 h 856415"/>
                  <a:gd name="connsiteX31" fmla="*/ 623887 w 1819275"/>
                  <a:gd name="connsiteY31" fmla="*/ 586937 h 856415"/>
                  <a:gd name="connsiteX32" fmla="*/ 623887 w 1819275"/>
                  <a:gd name="connsiteY32" fmla="*/ 570268 h 856415"/>
                  <a:gd name="connsiteX33" fmla="*/ 633412 w 1819275"/>
                  <a:gd name="connsiteY33" fmla="*/ 432156 h 856415"/>
                  <a:gd name="connsiteX34" fmla="*/ 657225 w 1819275"/>
                  <a:gd name="connsiteY34" fmla="*/ 436918 h 856415"/>
                  <a:gd name="connsiteX35" fmla="*/ 673893 w 1819275"/>
                  <a:gd name="connsiteY35" fmla="*/ 444062 h 856415"/>
                  <a:gd name="connsiteX36" fmla="*/ 692943 w 1819275"/>
                  <a:gd name="connsiteY36" fmla="*/ 446443 h 856415"/>
                  <a:gd name="connsiteX37" fmla="*/ 707231 w 1819275"/>
                  <a:gd name="connsiteY37" fmla="*/ 451206 h 856415"/>
                  <a:gd name="connsiteX38" fmla="*/ 714375 w 1819275"/>
                  <a:gd name="connsiteY38" fmla="*/ 453587 h 856415"/>
                  <a:gd name="connsiteX39" fmla="*/ 723900 w 1819275"/>
                  <a:gd name="connsiteY39" fmla="*/ 455968 h 856415"/>
                  <a:gd name="connsiteX40" fmla="*/ 735806 w 1819275"/>
                  <a:gd name="connsiteY40" fmla="*/ 470256 h 856415"/>
                  <a:gd name="connsiteX41" fmla="*/ 738187 w 1819275"/>
                  <a:gd name="connsiteY41" fmla="*/ 477400 h 856415"/>
                  <a:gd name="connsiteX42" fmla="*/ 769143 w 1819275"/>
                  <a:gd name="connsiteY42" fmla="*/ 489306 h 856415"/>
                  <a:gd name="connsiteX43" fmla="*/ 783431 w 1819275"/>
                  <a:gd name="connsiteY43" fmla="*/ 494068 h 856415"/>
                  <a:gd name="connsiteX44" fmla="*/ 809625 w 1819275"/>
                  <a:gd name="connsiteY44" fmla="*/ 510737 h 856415"/>
                  <a:gd name="connsiteX45" fmla="*/ 838200 w 1819275"/>
                  <a:gd name="connsiteY45" fmla="*/ 508356 h 856415"/>
                  <a:gd name="connsiteX46" fmla="*/ 847725 w 1819275"/>
                  <a:gd name="connsiteY46" fmla="*/ 522643 h 856415"/>
                  <a:gd name="connsiteX47" fmla="*/ 857250 w 1819275"/>
                  <a:gd name="connsiteY47" fmla="*/ 529787 h 856415"/>
                  <a:gd name="connsiteX48" fmla="*/ 871537 w 1819275"/>
                  <a:gd name="connsiteY48" fmla="*/ 527406 h 856415"/>
                  <a:gd name="connsiteX49" fmla="*/ 876300 w 1819275"/>
                  <a:gd name="connsiteY49" fmla="*/ 513118 h 856415"/>
                  <a:gd name="connsiteX50" fmla="*/ 873918 w 1819275"/>
                  <a:gd name="connsiteY50" fmla="*/ 451206 h 856415"/>
                  <a:gd name="connsiteX51" fmla="*/ 869156 w 1819275"/>
                  <a:gd name="connsiteY51" fmla="*/ 432156 h 856415"/>
                  <a:gd name="connsiteX52" fmla="*/ 866775 w 1819275"/>
                  <a:gd name="connsiteY52" fmla="*/ 422631 h 856415"/>
                  <a:gd name="connsiteX53" fmla="*/ 864393 w 1819275"/>
                  <a:gd name="connsiteY53" fmla="*/ 413106 h 856415"/>
                  <a:gd name="connsiteX54" fmla="*/ 857250 w 1819275"/>
                  <a:gd name="connsiteY54" fmla="*/ 398818 h 856415"/>
                  <a:gd name="connsiteX55" fmla="*/ 859631 w 1819275"/>
                  <a:gd name="connsiteY55" fmla="*/ 358337 h 856415"/>
                  <a:gd name="connsiteX56" fmla="*/ 862012 w 1819275"/>
                  <a:gd name="connsiteY56" fmla="*/ 348812 h 856415"/>
                  <a:gd name="connsiteX57" fmla="*/ 873918 w 1819275"/>
                  <a:gd name="connsiteY57" fmla="*/ 336906 h 856415"/>
                  <a:gd name="connsiteX58" fmla="*/ 881062 w 1819275"/>
                  <a:gd name="connsiteY58" fmla="*/ 334525 h 856415"/>
                  <a:gd name="connsiteX59" fmla="*/ 904875 w 1819275"/>
                  <a:gd name="connsiteY59" fmla="*/ 325000 h 856415"/>
                  <a:gd name="connsiteX60" fmla="*/ 912018 w 1819275"/>
                  <a:gd name="connsiteY60" fmla="*/ 322618 h 856415"/>
                  <a:gd name="connsiteX61" fmla="*/ 938212 w 1819275"/>
                  <a:gd name="connsiteY61" fmla="*/ 320237 h 856415"/>
                  <a:gd name="connsiteX62" fmla="*/ 947737 w 1819275"/>
                  <a:gd name="connsiteY62" fmla="*/ 317856 h 856415"/>
                  <a:gd name="connsiteX63" fmla="*/ 981075 w 1819275"/>
                  <a:gd name="connsiteY63" fmla="*/ 313093 h 856415"/>
                  <a:gd name="connsiteX64" fmla="*/ 995362 w 1819275"/>
                  <a:gd name="connsiteY64" fmla="*/ 310712 h 856415"/>
                  <a:gd name="connsiteX65" fmla="*/ 1012031 w 1819275"/>
                  <a:gd name="connsiteY65" fmla="*/ 308331 h 856415"/>
                  <a:gd name="connsiteX66" fmla="*/ 1023937 w 1819275"/>
                  <a:gd name="connsiteY66" fmla="*/ 305950 h 856415"/>
                  <a:gd name="connsiteX67" fmla="*/ 1085850 w 1819275"/>
                  <a:gd name="connsiteY67" fmla="*/ 303568 h 856415"/>
                  <a:gd name="connsiteX68" fmla="*/ 1102518 w 1819275"/>
                  <a:gd name="connsiteY68" fmla="*/ 301187 h 856415"/>
                  <a:gd name="connsiteX69" fmla="*/ 1112043 w 1819275"/>
                  <a:gd name="connsiteY69" fmla="*/ 296425 h 856415"/>
                  <a:gd name="connsiteX70" fmla="*/ 1119187 w 1819275"/>
                  <a:gd name="connsiteY70" fmla="*/ 298806 h 856415"/>
                  <a:gd name="connsiteX71" fmla="*/ 1143000 w 1819275"/>
                  <a:gd name="connsiteY71" fmla="*/ 313093 h 856415"/>
                  <a:gd name="connsiteX72" fmla="*/ 1157287 w 1819275"/>
                  <a:gd name="connsiteY72" fmla="*/ 325000 h 856415"/>
                  <a:gd name="connsiteX73" fmla="*/ 1171575 w 1819275"/>
                  <a:gd name="connsiteY73" fmla="*/ 329762 h 856415"/>
                  <a:gd name="connsiteX74" fmla="*/ 1178718 w 1819275"/>
                  <a:gd name="connsiteY74" fmla="*/ 334525 h 856415"/>
                  <a:gd name="connsiteX75" fmla="*/ 1185862 w 1819275"/>
                  <a:gd name="connsiteY75" fmla="*/ 336906 h 856415"/>
                  <a:gd name="connsiteX76" fmla="*/ 1207293 w 1819275"/>
                  <a:gd name="connsiteY76" fmla="*/ 351193 h 856415"/>
                  <a:gd name="connsiteX77" fmla="*/ 1214437 w 1819275"/>
                  <a:gd name="connsiteY77" fmla="*/ 355956 h 856415"/>
                  <a:gd name="connsiteX78" fmla="*/ 1228725 w 1819275"/>
                  <a:gd name="connsiteY78" fmla="*/ 370243 h 856415"/>
                  <a:gd name="connsiteX79" fmla="*/ 1233487 w 1819275"/>
                  <a:gd name="connsiteY79" fmla="*/ 377387 h 856415"/>
                  <a:gd name="connsiteX80" fmla="*/ 1240631 w 1819275"/>
                  <a:gd name="connsiteY80" fmla="*/ 379768 h 856415"/>
                  <a:gd name="connsiteX81" fmla="*/ 1245393 w 1819275"/>
                  <a:gd name="connsiteY81" fmla="*/ 386912 h 856415"/>
                  <a:gd name="connsiteX82" fmla="*/ 1254918 w 1819275"/>
                  <a:gd name="connsiteY82" fmla="*/ 389293 h 856415"/>
                  <a:gd name="connsiteX83" fmla="*/ 1262062 w 1819275"/>
                  <a:gd name="connsiteY83" fmla="*/ 394056 h 856415"/>
                  <a:gd name="connsiteX84" fmla="*/ 1278731 w 1819275"/>
                  <a:gd name="connsiteY84" fmla="*/ 401200 h 856415"/>
                  <a:gd name="connsiteX85" fmla="*/ 1293018 w 1819275"/>
                  <a:gd name="connsiteY85" fmla="*/ 413106 h 856415"/>
                  <a:gd name="connsiteX86" fmla="*/ 1302543 w 1819275"/>
                  <a:gd name="connsiteY86" fmla="*/ 415487 h 856415"/>
                  <a:gd name="connsiteX87" fmla="*/ 1309687 w 1819275"/>
                  <a:gd name="connsiteY87" fmla="*/ 420250 h 856415"/>
                  <a:gd name="connsiteX88" fmla="*/ 1323975 w 1819275"/>
                  <a:gd name="connsiteY88" fmla="*/ 425012 h 856415"/>
                  <a:gd name="connsiteX89" fmla="*/ 1331118 w 1819275"/>
                  <a:gd name="connsiteY89" fmla="*/ 427393 h 856415"/>
                  <a:gd name="connsiteX90" fmla="*/ 1345406 w 1819275"/>
                  <a:gd name="connsiteY90" fmla="*/ 429775 h 856415"/>
                  <a:gd name="connsiteX91" fmla="*/ 1362075 w 1819275"/>
                  <a:gd name="connsiteY91" fmla="*/ 432156 h 856415"/>
                  <a:gd name="connsiteX92" fmla="*/ 1371600 w 1819275"/>
                  <a:gd name="connsiteY92" fmla="*/ 434537 h 856415"/>
                  <a:gd name="connsiteX93" fmla="*/ 1388268 w 1819275"/>
                  <a:gd name="connsiteY93" fmla="*/ 444062 h 856415"/>
                  <a:gd name="connsiteX94" fmla="*/ 1395412 w 1819275"/>
                  <a:gd name="connsiteY94" fmla="*/ 446443 h 856415"/>
                  <a:gd name="connsiteX95" fmla="*/ 1404937 w 1819275"/>
                  <a:gd name="connsiteY95" fmla="*/ 451206 h 856415"/>
                  <a:gd name="connsiteX96" fmla="*/ 1419225 w 1819275"/>
                  <a:gd name="connsiteY96" fmla="*/ 455968 h 856415"/>
                  <a:gd name="connsiteX97" fmla="*/ 1426368 w 1819275"/>
                  <a:gd name="connsiteY97" fmla="*/ 458350 h 856415"/>
                  <a:gd name="connsiteX98" fmla="*/ 1433512 w 1819275"/>
                  <a:gd name="connsiteY98" fmla="*/ 460731 h 856415"/>
                  <a:gd name="connsiteX99" fmla="*/ 1443037 w 1819275"/>
                  <a:gd name="connsiteY99" fmla="*/ 475018 h 856415"/>
                  <a:gd name="connsiteX100" fmla="*/ 1445418 w 1819275"/>
                  <a:gd name="connsiteY100" fmla="*/ 482162 h 856415"/>
                  <a:gd name="connsiteX101" fmla="*/ 1459706 w 1819275"/>
                  <a:gd name="connsiteY101" fmla="*/ 491687 h 856415"/>
                  <a:gd name="connsiteX102" fmla="*/ 1466850 w 1819275"/>
                  <a:gd name="connsiteY102" fmla="*/ 496450 h 856415"/>
                  <a:gd name="connsiteX103" fmla="*/ 1483518 w 1819275"/>
                  <a:gd name="connsiteY103" fmla="*/ 501212 h 856415"/>
                  <a:gd name="connsiteX104" fmla="*/ 1500187 w 1819275"/>
                  <a:gd name="connsiteY104" fmla="*/ 505975 h 856415"/>
                  <a:gd name="connsiteX105" fmla="*/ 1514475 w 1819275"/>
                  <a:gd name="connsiteY105" fmla="*/ 515500 h 856415"/>
                  <a:gd name="connsiteX106" fmla="*/ 1531143 w 1819275"/>
                  <a:gd name="connsiteY106" fmla="*/ 525025 h 856415"/>
                  <a:gd name="connsiteX107" fmla="*/ 1545431 w 1819275"/>
                  <a:gd name="connsiteY107" fmla="*/ 527406 h 856415"/>
                  <a:gd name="connsiteX108" fmla="*/ 1552575 w 1819275"/>
                  <a:gd name="connsiteY108" fmla="*/ 529787 h 856415"/>
                  <a:gd name="connsiteX109" fmla="*/ 1564481 w 1819275"/>
                  <a:gd name="connsiteY109" fmla="*/ 532168 h 856415"/>
                  <a:gd name="connsiteX110" fmla="*/ 1604962 w 1819275"/>
                  <a:gd name="connsiteY110" fmla="*/ 529787 h 856415"/>
                  <a:gd name="connsiteX111" fmla="*/ 1612106 w 1819275"/>
                  <a:gd name="connsiteY111" fmla="*/ 525025 h 856415"/>
                  <a:gd name="connsiteX112" fmla="*/ 1621631 w 1819275"/>
                  <a:gd name="connsiteY112" fmla="*/ 520262 h 856415"/>
                  <a:gd name="connsiteX113" fmla="*/ 1631156 w 1819275"/>
                  <a:gd name="connsiteY113" fmla="*/ 513118 h 856415"/>
                  <a:gd name="connsiteX114" fmla="*/ 1638300 w 1819275"/>
                  <a:gd name="connsiteY114" fmla="*/ 510737 h 856415"/>
                  <a:gd name="connsiteX115" fmla="*/ 1647825 w 1819275"/>
                  <a:gd name="connsiteY115" fmla="*/ 505975 h 856415"/>
                  <a:gd name="connsiteX116" fmla="*/ 1654968 w 1819275"/>
                  <a:gd name="connsiteY116" fmla="*/ 503593 h 856415"/>
                  <a:gd name="connsiteX117" fmla="*/ 1662112 w 1819275"/>
                  <a:gd name="connsiteY117" fmla="*/ 498831 h 856415"/>
                  <a:gd name="connsiteX118" fmla="*/ 1671637 w 1819275"/>
                  <a:gd name="connsiteY118" fmla="*/ 496450 h 856415"/>
                  <a:gd name="connsiteX119" fmla="*/ 1678781 w 1819275"/>
                  <a:gd name="connsiteY119" fmla="*/ 494068 h 856415"/>
                  <a:gd name="connsiteX120" fmla="*/ 1685925 w 1819275"/>
                  <a:gd name="connsiteY120" fmla="*/ 486925 h 856415"/>
                  <a:gd name="connsiteX121" fmla="*/ 1693068 w 1819275"/>
                  <a:gd name="connsiteY121" fmla="*/ 482162 h 856415"/>
                  <a:gd name="connsiteX122" fmla="*/ 1709737 w 1819275"/>
                  <a:gd name="connsiteY122" fmla="*/ 470256 h 856415"/>
                  <a:gd name="connsiteX123" fmla="*/ 1716881 w 1819275"/>
                  <a:gd name="connsiteY123" fmla="*/ 455968 h 856415"/>
                  <a:gd name="connsiteX124" fmla="*/ 1740693 w 1819275"/>
                  <a:gd name="connsiteY124" fmla="*/ 441681 h 856415"/>
                  <a:gd name="connsiteX125" fmla="*/ 1747837 w 1819275"/>
                  <a:gd name="connsiteY125" fmla="*/ 439300 h 856415"/>
                  <a:gd name="connsiteX126" fmla="*/ 1754981 w 1819275"/>
                  <a:gd name="connsiteY126" fmla="*/ 434537 h 856415"/>
                  <a:gd name="connsiteX127" fmla="*/ 1778793 w 1819275"/>
                  <a:gd name="connsiteY127" fmla="*/ 427393 h 856415"/>
                  <a:gd name="connsiteX128" fmla="*/ 1788318 w 1819275"/>
                  <a:gd name="connsiteY128" fmla="*/ 417868 h 856415"/>
                  <a:gd name="connsiteX129" fmla="*/ 1795462 w 1819275"/>
                  <a:gd name="connsiteY129" fmla="*/ 415487 h 856415"/>
                  <a:gd name="connsiteX130" fmla="*/ 1802606 w 1819275"/>
                  <a:gd name="connsiteY130" fmla="*/ 408343 h 856415"/>
                  <a:gd name="connsiteX131" fmla="*/ 1804987 w 1819275"/>
                  <a:gd name="connsiteY131" fmla="*/ 401200 h 856415"/>
                  <a:gd name="connsiteX132" fmla="*/ 1800225 w 1819275"/>
                  <a:gd name="connsiteY132" fmla="*/ 344050 h 856415"/>
                  <a:gd name="connsiteX133" fmla="*/ 1802606 w 1819275"/>
                  <a:gd name="connsiteY133" fmla="*/ 313093 h 856415"/>
                  <a:gd name="connsiteX134" fmla="*/ 1816893 w 1819275"/>
                  <a:gd name="connsiteY134" fmla="*/ 303568 h 856415"/>
                  <a:gd name="connsiteX135" fmla="*/ 1819275 w 1819275"/>
                  <a:gd name="connsiteY135" fmla="*/ 294043 h 856415"/>
                  <a:gd name="connsiteX136" fmla="*/ 1814512 w 1819275"/>
                  <a:gd name="connsiteY136" fmla="*/ 277375 h 856415"/>
                  <a:gd name="connsiteX137" fmla="*/ 1807368 w 1819275"/>
                  <a:gd name="connsiteY137" fmla="*/ 272612 h 856415"/>
                  <a:gd name="connsiteX138" fmla="*/ 1797843 w 1819275"/>
                  <a:gd name="connsiteY138" fmla="*/ 265468 h 856415"/>
                  <a:gd name="connsiteX139" fmla="*/ 1790700 w 1819275"/>
                  <a:gd name="connsiteY139" fmla="*/ 263087 h 856415"/>
                  <a:gd name="connsiteX140" fmla="*/ 1766887 w 1819275"/>
                  <a:gd name="connsiteY140" fmla="*/ 246418 h 856415"/>
                  <a:gd name="connsiteX141" fmla="*/ 1757362 w 1819275"/>
                  <a:gd name="connsiteY141" fmla="*/ 241656 h 856415"/>
                  <a:gd name="connsiteX142" fmla="*/ 1750218 w 1819275"/>
                  <a:gd name="connsiteY142" fmla="*/ 236893 h 856415"/>
                  <a:gd name="connsiteX143" fmla="*/ 1731168 w 1819275"/>
                  <a:gd name="connsiteY143" fmla="*/ 227368 h 856415"/>
                  <a:gd name="connsiteX144" fmla="*/ 1724025 w 1819275"/>
                  <a:gd name="connsiteY144" fmla="*/ 222606 h 856415"/>
                  <a:gd name="connsiteX145" fmla="*/ 1709737 w 1819275"/>
                  <a:gd name="connsiteY145" fmla="*/ 217843 h 856415"/>
                  <a:gd name="connsiteX146" fmla="*/ 1693068 w 1819275"/>
                  <a:gd name="connsiteY146" fmla="*/ 208318 h 856415"/>
                  <a:gd name="connsiteX147" fmla="*/ 1681162 w 1819275"/>
                  <a:gd name="connsiteY147" fmla="*/ 205937 h 856415"/>
                  <a:gd name="connsiteX148" fmla="*/ 1659731 w 1819275"/>
                  <a:gd name="connsiteY148" fmla="*/ 186887 h 856415"/>
                  <a:gd name="connsiteX149" fmla="*/ 1643062 w 1819275"/>
                  <a:gd name="connsiteY149" fmla="*/ 167837 h 856415"/>
                  <a:gd name="connsiteX150" fmla="*/ 1628775 w 1819275"/>
                  <a:gd name="connsiteY150" fmla="*/ 158312 h 856415"/>
                  <a:gd name="connsiteX151" fmla="*/ 1614487 w 1819275"/>
                  <a:gd name="connsiteY151" fmla="*/ 153550 h 856415"/>
                  <a:gd name="connsiteX152" fmla="*/ 1607343 w 1819275"/>
                  <a:gd name="connsiteY152" fmla="*/ 167837 h 856415"/>
                  <a:gd name="connsiteX153" fmla="*/ 1612106 w 1819275"/>
                  <a:gd name="connsiteY153" fmla="*/ 196412 h 856415"/>
                  <a:gd name="connsiteX154" fmla="*/ 1614487 w 1819275"/>
                  <a:gd name="connsiteY154" fmla="*/ 224987 h 856415"/>
                  <a:gd name="connsiteX155" fmla="*/ 1607343 w 1819275"/>
                  <a:gd name="connsiteY155" fmla="*/ 277375 h 856415"/>
                  <a:gd name="connsiteX156" fmla="*/ 1593056 w 1819275"/>
                  <a:gd name="connsiteY156" fmla="*/ 284518 h 856415"/>
                  <a:gd name="connsiteX157" fmla="*/ 1585912 w 1819275"/>
                  <a:gd name="connsiteY157" fmla="*/ 289281 h 856415"/>
                  <a:gd name="connsiteX158" fmla="*/ 1562100 w 1819275"/>
                  <a:gd name="connsiteY158" fmla="*/ 294043 h 856415"/>
                  <a:gd name="connsiteX159" fmla="*/ 1547812 w 1819275"/>
                  <a:gd name="connsiteY159" fmla="*/ 305950 h 856415"/>
                  <a:gd name="connsiteX160" fmla="*/ 1538287 w 1819275"/>
                  <a:gd name="connsiteY160" fmla="*/ 341668 h 856415"/>
                  <a:gd name="connsiteX161" fmla="*/ 1531143 w 1819275"/>
                  <a:gd name="connsiteY161" fmla="*/ 346431 h 856415"/>
                  <a:gd name="connsiteX162" fmla="*/ 1516856 w 1819275"/>
                  <a:gd name="connsiteY162" fmla="*/ 344050 h 856415"/>
                  <a:gd name="connsiteX163" fmla="*/ 1509712 w 1819275"/>
                  <a:gd name="connsiteY163" fmla="*/ 336906 h 856415"/>
                  <a:gd name="connsiteX164" fmla="*/ 1502568 w 1819275"/>
                  <a:gd name="connsiteY164" fmla="*/ 332143 h 856415"/>
                  <a:gd name="connsiteX165" fmla="*/ 1495425 w 1819275"/>
                  <a:gd name="connsiteY165" fmla="*/ 329762 h 856415"/>
                  <a:gd name="connsiteX166" fmla="*/ 1471612 w 1819275"/>
                  <a:gd name="connsiteY166" fmla="*/ 325000 h 856415"/>
                  <a:gd name="connsiteX167" fmla="*/ 1464468 w 1819275"/>
                  <a:gd name="connsiteY167" fmla="*/ 310712 h 856415"/>
                  <a:gd name="connsiteX168" fmla="*/ 1471612 w 1819275"/>
                  <a:gd name="connsiteY168" fmla="*/ 294043 h 856415"/>
                  <a:gd name="connsiteX169" fmla="*/ 1478756 w 1819275"/>
                  <a:gd name="connsiteY169" fmla="*/ 289281 h 856415"/>
                  <a:gd name="connsiteX170" fmla="*/ 1485900 w 1819275"/>
                  <a:gd name="connsiteY170" fmla="*/ 286900 h 856415"/>
                  <a:gd name="connsiteX171" fmla="*/ 1500187 w 1819275"/>
                  <a:gd name="connsiteY171" fmla="*/ 277375 h 856415"/>
                  <a:gd name="connsiteX172" fmla="*/ 1514475 w 1819275"/>
                  <a:gd name="connsiteY172" fmla="*/ 267850 h 856415"/>
                  <a:gd name="connsiteX173" fmla="*/ 1528762 w 1819275"/>
                  <a:gd name="connsiteY173" fmla="*/ 260706 h 856415"/>
                  <a:gd name="connsiteX174" fmla="*/ 1535906 w 1819275"/>
                  <a:gd name="connsiteY174" fmla="*/ 258325 h 856415"/>
                  <a:gd name="connsiteX175" fmla="*/ 1535906 w 1819275"/>
                  <a:gd name="connsiteY175" fmla="*/ 239275 h 856415"/>
                  <a:gd name="connsiteX176" fmla="*/ 1519237 w 1819275"/>
                  <a:gd name="connsiteY176" fmla="*/ 241656 h 856415"/>
                  <a:gd name="connsiteX177" fmla="*/ 1485900 w 1819275"/>
                  <a:gd name="connsiteY177" fmla="*/ 239275 h 856415"/>
                  <a:gd name="connsiteX178" fmla="*/ 1471612 w 1819275"/>
                  <a:gd name="connsiteY178" fmla="*/ 236893 h 856415"/>
                  <a:gd name="connsiteX179" fmla="*/ 1431131 w 1819275"/>
                  <a:gd name="connsiteY179" fmla="*/ 232131 h 856415"/>
                  <a:gd name="connsiteX180" fmla="*/ 1423987 w 1819275"/>
                  <a:gd name="connsiteY180" fmla="*/ 229750 h 856415"/>
                  <a:gd name="connsiteX181" fmla="*/ 1402556 w 1819275"/>
                  <a:gd name="connsiteY181" fmla="*/ 224987 h 856415"/>
                  <a:gd name="connsiteX182" fmla="*/ 1395412 w 1819275"/>
                  <a:gd name="connsiteY182" fmla="*/ 220225 h 856415"/>
                  <a:gd name="connsiteX183" fmla="*/ 1371600 w 1819275"/>
                  <a:gd name="connsiteY183" fmla="*/ 215462 h 856415"/>
                  <a:gd name="connsiteX184" fmla="*/ 1352550 w 1819275"/>
                  <a:gd name="connsiteY184" fmla="*/ 210700 h 856415"/>
                  <a:gd name="connsiteX185" fmla="*/ 1309687 w 1819275"/>
                  <a:gd name="connsiteY185" fmla="*/ 215462 h 856415"/>
                  <a:gd name="connsiteX186" fmla="*/ 1302543 w 1819275"/>
                  <a:gd name="connsiteY186" fmla="*/ 217843 h 856415"/>
                  <a:gd name="connsiteX187" fmla="*/ 1295400 w 1819275"/>
                  <a:gd name="connsiteY187" fmla="*/ 224987 h 856415"/>
                  <a:gd name="connsiteX188" fmla="*/ 1281112 w 1819275"/>
                  <a:gd name="connsiteY188" fmla="*/ 234512 h 856415"/>
                  <a:gd name="connsiteX189" fmla="*/ 1269206 w 1819275"/>
                  <a:gd name="connsiteY189" fmla="*/ 232131 h 856415"/>
                  <a:gd name="connsiteX190" fmla="*/ 1259681 w 1819275"/>
                  <a:gd name="connsiteY190" fmla="*/ 229750 h 856415"/>
                  <a:gd name="connsiteX191" fmla="*/ 1250156 w 1819275"/>
                  <a:gd name="connsiteY191" fmla="*/ 215462 h 856415"/>
                  <a:gd name="connsiteX192" fmla="*/ 1243012 w 1819275"/>
                  <a:gd name="connsiteY192" fmla="*/ 201175 h 856415"/>
                  <a:gd name="connsiteX193" fmla="*/ 1233487 w 1819275"/>
                  <a:gd name="connsiteY193" fmla="*/ 198793 h 856415"/>
                  <a:gd name="connsiteX194" fmla="*/ 1221581 w 1819275"/>
                  <a:gd name="connsiteY194" fmla="*/ 201175 h 856415"/>
                  <a:gd name="connsiteX195" fmla="*/ 1197768 w 1819275"/>
                  <a:gd name="connsiteY195" fmla="*/ 217843 h 856415"/>
                  <a:gd name="connsiteX196" fmla="*/ 1181100 w 1819275"/>
                  <a:gd name="connsiteY196" fmla="*/ 224987 h 856415"/>
                  <a:gd name="connsiteX197" fmla="*/ 1164431 w 1819275"/>
                  <a:gd name="connsiteY197" fmla="*/ 229750 h 856415"/>
                  <a:gd name="connsiteX198" fmla="*/ 1157287 w 1819275"/>
                  <a:gd name="connsiteY198" fmla="*/ 224987 h 856415"/>
                  <a:gd name="connsiteX199" fmla="*/ 1159668 w 1819275"/>
                  <a:gd name="connsiteY199" fmla="*/ 215462 h 856415"/>
                  <a:gd name="connsiteX200" fmla="*/ 1171575 w 1819275"/>
                  <a:gd name="connsiteY200" fmla="*/ 203556 h 856415"/>
                  <a:gd name="connsiteX201" fmla="*/ 1176337 w 1819275"/>
                  <a:gd name="connsiteY201" fmla="*/ 189268 h 856415"/>
                  <a:gd name="connsiteX202" fmla="*/ 1171575 w 1819275"/>
                  <a:gd name="connsiteY202" fmla="*/ 153550 h 856415"/>
                  <a:gd name="connsiteX203" fmla="*/ 1164431 w 1819275"/>
                  <a:gd name="connsiteY203" fmla="*/ 136881 h 856415"/>
                  <a:gd name="connsiteX204" fmla="*/ 1150143 w 1819275"/>
                  <a:gd name="connsiteY204" fmla="*/ 129737 h 856415"/>
                  <a:gd name="connsiteX205" fmla="*/ 1143000 w 1819275"/>
                  <a:gd name="connsiteY205" fmla="*/ 132118 h 856415"/>
                  <a:gd name="connsiteX206" fmla="*/ 1138237 w 1819275"/>
                  <a:gd name="connsiteY206" fmla="*/ 139262 h 856415"/>
                  <a:gd name="connsiteX207" fmla="*/ 1131093 w 1819275"/>
                  <a:gd name="connsiteY207" fmla="*/ 163075 h 856415"/>
                  <a:gd name="connsiteX208" fmla="*/ 1123950 w 1819275"/>
                  <a:gd name="connsiteY208" fmla="*/ 184506 h 856415"/>
                  <a:gd name="connsiteX209" fmla="*/ 1121568 w 1819275"/>
                  <a:gd name="connsiteY209" fmla="*/ 191650 h 856415"/>
                  <a:gd name="connsiteX210" fmla="*/ 1114425 w 1819275"/>
                  <a:gd name="connsiteY210" fmla="*/ 198793 h 856415"/>
                  <a:gd name="connsiteX211" fmla="*/ 1102518 w 1819275"/>
                  <a:gd name="connsiteY211" fmla="*/ 213081 h 856415"/>
                  <a:gd name="connsiteX212" fmla="*/ 1085850 w 1819275"/>
                  <a:gd name="connsiteY212" fmla="*/ 217843 h 856415"/>
                  <a:gd name="connsiteX213" fmla="*/ 1057275 w 1819275"/>
                  <a:gd name="connsiteY213" fmla="*/ 215462 h 856415"/>
                  <a:gd name="connsiteX214" fmla="*/ 1050131 w 1819275"/>
                  <a:gd name="connsiteY214" fmla="*/ 208318 h 856415"/>
                  <a:gd name="connsiteX215" fmla="*/ 1042987 w 1819275"/>
                  <a:gd name="connsiteY215" fmla="*/ 194031 h 856415"/>
                  <a:gd name="connsiteX216" fmla="*/ 1023937 w 1819275"/>
                  <a:gd name="connsiteY216" fmla="*/ 186887 h 856415"/>
                  <a:gd name="connsiteX217" fmla="*/ 1000125 w 1819275"/>
                  <a:gd name="connsiteY217" fmla="*/ 189268 h 856415"/>
                  <a:gd name="connsiteX218" fmla="*/ 990600 w 1819275"/>
                  <a:gd name="connsiteY218" fmla="*/ 203556 h 856415"/>
                  <a:gd name="connsiteX219" fmla="*/ 983456 w 1819275"/>
                  <a:gd name="connsiteY219" fmla="*/ 208318 h 856415"/>
                  <a:gd name="connsiteX220" fmla="*/ 942975 w 1819275"/>
                  <a:gd name="connsiteY220" fmla="*/ 213081 h 856415"/>
                  <a:gd name="connsiteX221" fmla="*/ 938212 w 1819275"/>
                  <a:gd name="connsiteY221" fmla="*/ 227368 h 856415"/>
                  <a:gd name="connsiteX222" fmla="*/ 935831 w 1819275"/>
                  <a:gd name="connsiteY222" fmla="*/ 234512 h 856415"/>
                  <a:gd name="connsiteX223" fmla="*/ 931068 w 1819275"/>
                  <a:gd name="connsiteY223" fmla="*/ 241656 h 856415"/>
                  <a:gd name="connsiteX224" fmla="*/ 900112 w 1819275"/>
                  <a:gd name="connsiteY224" fmla="*/ 232131 h 856415"/>
                  <a:gd name="connsiteX225" fmla="*/ 907256 w 1819275"/>
                  <a:gd name="connsiteY225" fmla="*/ 224987 h 856415"/>
                  <a:gd name="connsiteX226" fmla="*/ 907256 w 1819275"/>
                  <a:gd name="connsiteY226" fmla="*/ 203556 h 856415"/>
                  <a:gd name="connsiteX227" fmla="*/ 904875 w 1819275"/>
                  <a:gd name="connsiteY227" fmla="*/ 191650 h 856415"/>
                  <a:gd name="connsiteX228" fmla="*/ 897731 w 1819275"/>
                  <a:gd name="connsiteY228" fmla="*/ 189268 h 856415"/>
                  <a:gd name="connsiteX229" fmla="*/ 876300 w 1819275"/>
                  <a:gd name="connsiteY229" fmla="*/ 198793 h 856415"/>
                  <a:gd name="connsiteX230" fmla="*/ 871537 w 1819275"/>
                  <a:gd name="connsiteY230" fmla="*/ 205937 h 856415"/>
                  <a:gd name="connsiteX231" fmla="*/ 857250 w 1819275"/>
                  <a:gd name="connsiteY231" fmla="*/ 213081 h 856415"/>
                  <a:gd name="connsiteX232" fmla="*/ 826293 w 1819275"/>
                  <a:gd name="connsiteY232" fmla="*/ 210700 h 856415"/>
                  <a:gd name="connsiteX233" fmla="*/ 802481 w 1819275"/>
                  <a:gd name="connsiteY233" fmla="*/ 205937 h 856415"/>
                  <a:gd name="connsiteX234" fmla="*/ 795337 w 1819275"/>
                  <a:gd name="connsiteY234" fmla="*/ 201175 h 856415"/>
                  <a:gd name="connsiteX235" fmla="*/ 790575 w 1819275"/>
                  <a:gd name="connsiteY235" fmla="*/ 186887 h 856415"/>
                  <a:gd name="connsiteX236" fmla="*/ 778668 w 1819275"/>
                  <a:gd name="connsiteY236" fmla="*/ 129737 h 856415"/>
                  <a:gd name="connsiteX237" fmla="*/ 769143 w 1819275"/>
                  <a:gd name="connsiteY237" fmla="*/ 132118 h 856415"/>
                  <a:gd name="connsiteX238" fmla="*/ 764381 w 1819275"/>
                  <a:gd name="connsiteY238" fmla="*/ 146406 h 856415"/>
                  <a:gd name="connsiteX239" fmla="*/ 759618 w 1819275"/>
                  <a:gd name="connsiteY239" fmla="*/ 189268 h 856415"/>
                  <a:gd name="connsiteX240" fmla="*/ 757237 w 1819275"/>
                  <a:gd name="connsiteY240" fmla="*/ 215462 h 856415"/>
                  <a:gd name="connsiteX241" fmla="*/ 740568 w 1819275"/>
                  <a:gd name="connsiteY241" fmla="*/ 213081 h 856415"/>
                  <a:gd name="connsiteX242" fmla="*/ 721518 w 1819275"/>
                  <a:gd name="connsiteY242" fmla="*/ 208318 h 856415"/>
                  <a:gd name="connsiteX243" fmla="*/ 719137 w 1819275"/>
                  <a:gd name="connsiteY243" fmla="*/ 198793 h 856415"/>
                  <a:gd name="connsiteX244" fmla="*/ 731043 w 1819275"/>
                  <a:gd name="connsiteY244" fmla="*/ 177362 h 856415"/>
                  <a:gd name="connsiteX245" fmla="*/ 738187 w 1819275"/>
                  <a:gd name="connsiteY245" fmla="*/ 172600 h 856415"/>
                  <a:gd name="connsiteX246" fmla="*/ 733425 w 1819275"/>
                  <a:gd name="connsiteY246" fmla="*/ 144025 h 856415"/>
                  <a:gd name="connsiteX247" fmla="*/ 728662 w 1819275"/>
                  <a:gd name="connsiteY247" fmla="*/ 136881 h 856415"/>
                  <a:gd name="connsiteX248" fmla="*/ 697706 w 1819275"/>
                  <a:gd name="connsiteY248" fmla="*/ 141643 h 856415"/>
                  <a:gd name="connsiteX249" fmla="*/ 690562 w 1819275"/>
                  <a:gd name="connsiteY249" fmla="*/ 144025 h 856415"/>
                  <a:gd name="connsiteX250" fmla="*/ 685800 w 1819275"/>
                  <a:gd name="connsiteY250" fmla="*/ 160693 h 856415"/>
                  <a:gd name="connsiteX251" fmla="*/ 683418 w 1819275"/>
                  <a:gd name="connsiteY251" fmla="*/ 174981 h 856415"/>
                  <a:gd name="connsiteX252" fmla="*/ 676275 w 1819275"/>
                  <a:gd name="connsiteY252" fmla="*/ 191650 h 856415"/>
                  <a:gd name="connsiteX253" fmla="*/ 671512 w 1819275"/>
                  <a:gd name="connsiteY253" fmla="*/ 198793 h 856415"/>
                  <a:gd name="connsiteX254" fmla="*/ 657225 w 1819275"/>
                  <a:gd name="connsiteY254" fmla="*/ 208318 h 856415"/>
                  <a:gd name="connsiteX255" fmla="*/ 642937 w 1819275"/>
                  <a:gd name="connsiteY255" fmla="*/ 213081 h 856415"/>
                  <a:gd name="connsiteX256" fmla="*/ 607218 w 1819275"/>
                  <a:gd name="connsiteY256" fmla="*/ 208318 h 856415"/>
                  <a:gd name="connsiteX257" fmla="*/ 588168 w 1819275"/>
                  <a:gd name="connsiteY257" fmla="*/ 198793 h 856415"/>
                  <a:gd name="connsiteX258" fmla="*/ 585787 w 1819275"/>
                  <a:gd name="connsiteY258" fmla="*/ 191650 h 856415"/>
                  <a:gd name="connsiteX259" fmla="*/ 581025 w 1819275"/>
                  <a:gd name="connsiteY259" fmla="*/ 146406 h 856415"/>
                  <a:gd name="connsiteX260" fmla="*/ 576262 w 1819275"/>
                  <a:gd name="connsiteY260" fmla="*/ 139262 h 856415"/>
                  <a:gd name="connsiteX261" fmla="*/ 564356 w 1819275"/>
                  <a:gd name="connsiteY261" fmla="*/ 141643 h 856415"/>
                  <a:gd name="connsiteX262" fmla="*/ 557212 w 1819275"/>
                  <a:gd name="connsiteY262" fmla="*/ 155931 h 856415"/>
                  <a:gd name="connsiteX263" fmla="*/ 554831 w 1819275"/>
                  <a:gd name="connsiteY263" fmla="*/ 203556 h 856415"/>
                  <a:gd name="connsiteX264" fmla="*/ 550068 w 1819275"/>
                  <a:gd name="connsiteY264" fmla="*/ 213081 h 856415"/>
                  <a:gd name="connsiteX265" fmla="*/ 540543 w 1819275"/>
                  <a:gd name="connsiteY265" fmla="*/ 215462 h 856415"/>
                  <a:gd name="connsiteX266" fmla="*/ 531018 w 1819275"/>
                  <a:gd name="connsiteY266" fmla="*/ 213081 h 856415"/>
                  <a:gd name="connsiteX267" fmla="*/ 523875 w 1819275"/>
                  <a:gd name="connsiteY267" fmla="*/ 205937 h 856415"/>
                  <a:gd name="connsiteX268" fmla="*/ 516731 w 1819275"/>
                  <a:gd name="connsiteY268" fmla="*/ 189268 h 856415"/>
                  <a:gd name="connsiteX269" fmla="*/ 523875 w 1819275"/>
                  <a:gd name="connsiteY269" fmla="*/ 167837 h 856415"/>
                  <a:gd name="connsiteX270" fmla="*/ 526256 w 1819275"/>
                  <a:gd name="connsiteY270" fmla="*/ 160693 h 856415"/>
                  <a:gd name="connsiteX271" fmla="*/ 528637 w 1819275"/>
                  <a:gd name="connsiteY271" fmla="*/ 151168 h 856415"/>
                  <a:gd name="connsiteX272" fmla="*/ 531018 w 1819275"/>
                  <a:gd name="connsiteY272" fmla="*/ 129737 h 856415"/>
                  <a:gd name="connsiteX273" fmla="*/ 531018 w 1819275"/>
                  <a:gd name="connsiteY273" fmla="*/ 101162 h 856415"/>
                  <a:gd name="connsiteX274" fmla="*/ 516731 w 1819275"/>
                  <a:gd name="connsiteY274" fmla="*/ 96400 h 856415"/>
                  <a:gd name="connsiteX275" fmla="*/ 492918 w 1819275"/>
                  <a:gd name="connsiteY275" fmla="*/ 98781 h 856415"/>
                  <a:gd name="connsiteX276" fmla="*/ 490537 w 1819275"/>
                  <a:gd name="connsiteY276" fmla="*/ 108306 h 856415"/>
                  <a:gd name="connsiteX277" fmla="*/ 488156 w 1819275"/>
                  <a:gd name="connsiteY277" fmla="*/ 122593 h 856415"/>
                  <a:gd name="connsiteX278" fmla="*/ 485775 w 1819275"/>
                  <a:gd name="connsiteY278" fmla="*/ 146406 h 856415"/>
                  <a:gd name="connsiteX279" fmla="*/ 478631 w 1819275"/>
                  <a:gd name="connsiteY279" fmla="*/ 153550 h 856415"/>
                  <a:gd name="connsiteX280" fmla="*/ 473868 w 1819275"/>
                  <a:gd name="connsiteY280" fmla="*/ 160693 h 856415"/>
                  <a:gd name="connsiteX281" fmla="*/ 471487 w 1819275"/>
                  <a:gd name="connsiteY281" fmla="*/ 186887 h 856415"/>
                  <a:gd name="connsiteX282" fmla="*/ 469106 w 1819275"/>
                  <a:gd name="connsiteY282" fmla="*/ 201175 h 856415"/>
                  <a:gd name="connsiteX283" fmla="*/ 454818 w 1819275"/>
                  <a:gd name="connsiteY283" fmla="*/ 210700 h 856415"/>
                  <a:gd name="connsiteX284" fmla="*/ 433387 w 1819275"/>
                  <a:gd name="connsiteY284" fmla="*/ 201175 h 856415"/>
                  <a:gd name="connsiteX285" fmla="*/ 431006 w 1819275"/>
                  <a:gd name="connsiteY285" fmla="*/ 194031 h 856415"/>
                  <a:gd name="connsiteX286" fmla="*/ 433387 w 1819275"/>
                  <a:gd name="connsiteY286" fmla="*/ 186887 h 856415"/>
                  <a:gd name="connsiteX287" fmla="*/ 440531 w 1819275"/>
                  <a:gd name="connsiteY287" fmla="*/ 184506 h 856415"/>
                  <a:gd name="connsiteX288" fmla="*/ 447675 w 1819275"/>
                  <a:gd name="connsiteY288" fmla="*/ 177362 h 856415"/>
                  <a:gd name="connsiteX289" fmla="*/ 438150 w 1819275"/>
                  <a:gd name="connsiteY289" fmla="*/ 158312 h 856415"/>
                  <a:gd name="connsiteX290" fmla="*/ 428625 w 1819275"/>
                  <a:gd name="connsiteY290" fmla="*/ 160693 h 856415"/>
                  <a:gd name="connsiteX291" fmla="*/ 421481 w 1819275"/>
                  <a:gd name="connsiteY291" fmla="*/ 167837 h 856415"/>
                  <a:gd name="connsiteX292" fmla="*/ 416718 w 1819275"/>
                  <a:gd name="connsiteY292" fmla="*/ 184506 h 856415"/>
                  <a:gd name="connsiteX293" fmla="*/ 414337 w 1819275"/>
                  <a:gd name="connsiteY293" fmla="*/ 191650 h 856415"/>
                  <a:gd name="connsiteX294" fmla="*/ 407193 w 1819275"/>
                  <a:gd name="connsiteY294" fmla="*/ 194031 h 856415"/>
                  <a:gd name="connsiteX295" fmla="*/ 402431 w 1819275"/>
                  <a:gd name="connsiteY295" fmla="*/ 186887 h 856415"/>
                  <a:gd name="connsiteX296" fmla="*/ 397668 w 1819275"/>
                  <a:gd name="connsiteY296" fmla="*/ 170218 h 856415"/>
                  <a:gd name="connsiteX297" fmla="*/ 392906 w 1819275"/>
                  <a:gd name="connsiteY297" fmla="*/ 163075 h 856415"/>
                  <a:gd name="connsiteX298" fmla="*/ 390525 w 1819275"/>
                  <a:gd name="connsiteY298" fmla="*/ 155931 h 856415"/>
                  <a:gd name="connsiteX299" fmla="*/ 378618 w 1819275"/>
                  <a:gd name="connsiteY299" fmla="*/ 141643 h 856415"/>
                  <a:gd name="connsiteX300" fmla="*/ 373856 w 1819275"/>
                  <a:gd name="connsiteY300" fmla="*/ 132118 h 856415"/>
                  <a:gd name="connsiteX301" fmla="*/ 366712 w 1819275"/>
                  <a:gd name="connsiteY301" fmla="*/ 127356 h 856415"/>
                  <a:gd name="connsiteX302" fmla="*/ 364331 w 1819275"/>
                  <a:gd name="connsiteY302" fmla="*/ 120212 h 856415"/>
                  <a:gd name="connsiteX303" fmla="*/ 350043 w 1819275"/>
                  <a:gd name="connsiteY303" fmla="*/ 115450 h 856415"/>
                  <a:gd name="connsiteX304" fmla="*/ 340518 w 1819275"/>
                  <a:gd name="connsiteY304" fmla="*/ 110687 h 856415"/>
                  <a:gd name="connsiteX305" fmla="*/ 335756 w 1819275"/>
                  <a:gd name="connsiteY305" fmla="*/ 103543 h 856415"/>
                  <a:gd name="connsiteX306" fmla="*/ 328612 w 1819275"/>
                  <a:gd name="connsiteY306" fmla="*/ 98781 h 856415"/>
                  <a:gd name="connsiteX307" fmla="*/ 319087 w 1819275"/>
                  <a:gd name="connsiteY307" fmla="*/ 84493 h 856415"/>
                  <a:gd name="connsiteX308" fmla="*/ 328612 w 1819275"/>
                  <a:gd name="connsiteY308" fmla="*/ 55918 h 856415"/>
                  <a:gd name="connsiteX309" fmla="*/ 338137 w 1819275"/>
                  <a:gd name="connsiteY309" fmla="*/ 53537 h 856415"/>
                  <a:gd name="connsiteX310" fmla="*/ 338137 w 1819275"/>
                  <a:gd name="connsiteY310" fmla="*/ 34487 h 856415"/>
                  <a:gd name="connsiteX311" fmla="*/ 335756 w 1819275"/>
                  <a:gd name="connsiteY311" fmla="*/ 27343 h 856415"/>
                  <a:gd name="connsiteX312" fmla="*/ 328612 w 1819275"/>
                  <a:gd name="connsiteY312" fmla="*/ 22581 h 856415"/>
                  <a:gd name="connsiteX313" fmla="*/ 314325 w 1819275"/>
                  <a:gd name="connsiteY313" fmla="*/ 10675 h 856415"/>
                  <a:gd name="connsiteX314" fmla="*/ 302418 w 1819275"/>
                  <a:gd name="connsiteY314" fmla="*/ 1150 h 856415"/>
                  <a:gd name="connsiteX315" fmla="*/ 295275 w 1819275"/>
                  <a:gd name="connsiteY315" fmla="*/ 5912 h 856415"/>
                  <a:gd name="connsiteX316" fmla="*/ 292893 w 1819275"/>
                  <a:gd name="connsiteY316" fmla="*/ 24962 h 856415"/>
                  <a:gd name="connsiteX317" fmla="*/ 280987 w 1819275"/>
                  <a:gd name="connsiteY317" fmla="*/ 36868 h 856415"/>
                  <a:gd name="connsiteX318" fmla="*/ 266700 w 1819275"/>
                  <a:gd name="connsiteY318" fmla="*/ 39250 h 856415"/>
                  <a:gd name="connsiteX319" fmla="*/ 261937 w 1819275"/>
                  <a:gd name="connsiteY319" fmla="*/ 113068 h 856415"/>
                  <a:gd name="connsiteX320" fmla="*/ 271462 w 1819275"/>
                  <a:gd name="connsiteY320" fmla="*/ 120212 h 856415"/>
                  <a:gd name="connsiteX321" fmla="*/ 285750 w 1819275"/>
                  <a:gd name="connsiteY321" fmla="*/ 129737 h 856415"/>
                  <a:gd name="connsiteX322" fmla="*/ 292893 w 1819275"/>
                  <a:gd name="connsiteY322" fmla="*/ 134500 h 856415"/>
                  <a:gd name="connsiteX323" fmla="*/ 297656 w 1819275"/>
                  <a:gd name="connsiteY323" fmla="*/ 141643 h 856415"/>
                  <a:gd name="connsiteX324" fmla="*/ 295275 w 1819275"/>
                  <a:gd name="connsiteY324" fmla="*/ 148787 h 856415"/>
                  <a:gd name="connsiteX325" fmla="*/ 219075 w 1819275"/>
                  <a:gd name="connsiteY325" fmla="*/ 146406 h 856415"/>
                  <a:gd name="connsiteX326" fmla="*/ 207168 w 1819275"/>
                  <a:gd name="connsiteY326" fmla="*/ 124975 h 856415"/>
                  <a:gd name="connsiteX327" fmla="*/ 200025 w 1819275"/>
                  <a:gd name="connsiteY327" fmla="*/ 122593 h 856415"/>
                  <a:gd name="connsiteX328" fmla="*/ 188118 w 1819275"/>
                  <a:gd name="connsiteY328" fmla="*/ 177362 h 856415"/>
                  <a:gd name="connsiteX329" fmla="*/ 171450 w 1819275"/>
                  <a:gd name="connsiteY329" fmla="*/ 196412 h 856415"/>
                  <a:gd name="connsiteX330" fmla="*/ 157162 w 1819275"/>
                  <a:gd name="connsiteY330" fmla="*/ 210700 h 856415"/>
                  <a:gd name="connsiteX331" fmla="*/ 147637 w 1819275"/>
                  <a:gd name="connsiteY331" fmla="*/ 208318 h 856415"/>
                  <a:gd name="connsiteX332" fmla="*/ 152400 w 1819275"/>
                  <a:gd name="connsiteY332" fmla="*/ 165456 h 856415"/>
                  <a:gd name="connsiteX333" fmla="*/ 157162 w 1819275"/>
                  <a:gd name="connsiteY333" fmla="*/ 129737 h 856415"/>
                  <a:gd name="connsiteX334" fmla="*/ 154781 w 1819275"/>
                  <a:gd name="connsiteY334" fmla="*/ 101162 h 856415"/>
                  <a:gd name="connsiteX335" fmla="*/ 147637 w 1819275"/>
                  <a:gd name="connsiteY335" fmla="*/ 103543 h 856415"/>
                  <a:gd name="connsiteX336" fmla="*/ 133350 w 1819275"/>
                  <a:gd name="connsiteY336" fmla="*/ 115450 h 856415"/>
                  <a:gd name="connsiteX337" fmla="*/ 130968 w 1819275"/>
                  <a:gd name="connsiteY337" fmla="*/ 122593 h 856415"/>
                  <a:gd name="connsiteX338" fmla="*/ 121443 w 1819275"/>
                  <a:gd name="connsiteY338" fmla="*/ 136881 h 856415"/>
                  <a:gd name="connsiteX339" fmla="*/ 116681 w 1819275"/>
                  <a:gd name="connsiteY339" fmla="*/ 144025 h 856415"/>
                  <a:gd name="connsiteX340" fmla="*/ 107156 w 1819275"/>
                  <a:gd name="connsiteY340" fmla="*/ 158312 h 856415"/>
                  <a:gd name="connsiteX341" fmla="*/ 100012 w 1819275"/>
                  <a:gd name="connsiteY341" fmla="*/ 179743 h 856415"/>
                  <a:gd name="connsiteX342" fmla="*/ 97631 w 1819275"/>
                  <a:gd name="connsiteY342" fmla="*/ 186887 h 856415"/>
                  <a:gd name="connsiteX343" fmla="*/ 95250 w 1819275"/>
                  <a:gd name="connsiteY343" fmla="*/ 194031 h 856415"/>
                  <a:gd name="connsiteX344" fmla="*/ 97631 w 1819275"/>
                  <a:gd name="connsiteY344" fmla="*/ 236893 h 856415"/>
                  <a:gd name="connsiteX345" fmla="*/ 100012 w 1819275"/>
                  <a:gd name="connsiteY345" fmla="*/ 246418 h 856415"/>
                  <a:gd name="connsiteX346" fmla="*/ 102393 w 1819275"/>
                  <a:gd name="connsiteY346" fmla="*/ 260706 h 856415"/>
                  <a:gd name="connsiteX347" fmla="*/ 100012 w 1819275"/>
                  <a:gd name="connsiteY347" fmla="*/ 274993 h 856415"/>
                  <a:gd name="connsiteX348" fmla="*/ 85725 w 1819275"/>
                  <a:gd name="connsiteY348" fmla="*/ 289281 h 856415"/>
                  <a:gd name="connsiteX349" fmla="*/ 80962 w 1819275"/>
                  <a:gd name="connsiteY349" fmla="*/ 296425 h 856415"/>
                  <a:gd name="connsiteX350" fmla="*/ 76200 w 1819275"/>
                  <a:gd name="connsiteY350" fmla="*/ 310712 h 856415"/>
                  <a:gd name="connsiteX351" fmla="*/ 69056 w 1819275"/>
                  <a:gd name="connsiteY351" fmla="*/ 327381 h 856415"/>
                  <a:gd name="connsiteX352" fmla="*/ 61912 w 1819275"/>
                  <a:gd name="connsiteY352" fmla="*/ 332143 h 856415"/>
                  <a:gd name="connsiteX353" fmla="*/ 47625 w 1819275"/>
                  <a:gd name="connsiteY353" fmla="*/ 346431 h 856415"/>
                  <a:gd name="connsiteX354" fmla="*/ 40481 w 1819275"/>
                  <a:gd name="connsiteY354" fmla="*/ 360718 h 856415"/>
                  <a:gd name="connsiteX355" fmla="*/ 26193 w 1819275"/>
                  <a:gd name="connsiteY355" fmla="*/ 370243 h 856415"/>
                  <a:gd name="connsiteX356" fmla="*/ 14287 w 1819275"/>
                  <a:gd name="connsiteY356" fmla="*/ 375006 h 856415"/>
                  <a:gd name="connsiteX357" fmla="*/ 23812 w 1819275"/>
                  <a:gd name="connsiteY357" fmla="*/ 389293 h 856415"/>
                  <a:gd name="connsiteX358" fmla="*/ 28575 w 1819275"/>
                  <a:gd name="connsiteY358" fmla="*/ 396437 h 856415"/>
                  <a:gd name="connsiteX359" fmla="*/ 21431 w 1819275"/>
                  <a:gd name="connsiteY359" fmla="*/ 403581 h 856415"/>
                  <a:gd name="connsiteX360" fmla="*/ 14287 w 1819275"/>
                  <a:gd name="connsiteY360" fmla="*/ 408343 h 856415"/>
                  <a:gd name="connsiteX361" fmla="*/ 11906 w 1819275"/>
                  <a:gd name="connsiteY361" fmla="*/ 415487 h 856415"/>
                  <a:gd name="connsiteX362" fmla="*/ 4762 w 1819275"/>
                  <a:gd name="connsiteY362" fmla="*/ 422631 h 856415"/>
                  <a:gd name="connsiteX363" fmla="*/ 0 w 1819275"/>
                  <a:gd name="connsiteY363" fmla="*/ 429775 h 856415"/>
                  <a:gd name="connsiteX364" fmla="*/ 4762 w 1819275"/>
                  <a:gd name="connsiteY364" fmla="*/ 463112 h 856415"/>
                  <a:gd name="connsiteX365" fmla="*/ 7143 w 1819275"/>
                  <a:gd name="connsiteY365" fmla="*/ 477400 h 856415"/>
                  <a:gd name="connsiteX366" fmla="*/ 11906 w 1819275"/>
                  <a:gd name="connsiteY366" fmla="*/ 494068 h 856415"/>
                  <a:gd name="connsiteX367" fmla="*/ 19050 w 1819275"/>
                  <a:gd name="connsiteY367" fmla="*/ 520262 h 856415"/>
                  <a:gd name="connsiteX368" fmla="*/ 23812 w 1819275"/>
                  <a:gd name="connsiteY368" fmla="*/ 534550 h 856415"/>
                  <a:gd name="connsiteX369" fmla="*/ 35718 w 1819275"/>
                  <a:gd name="connsiteY369" fmla="*/ 548837 h 856415"/>
                  <a:gd name="connsiteX370" fmla="*/ 52387 w 1819275"/>
                  <a:gd name="connsiteY370" fmla="*/ 558362 h 856415"/>
                  <a:gd name="connsiteX371" fmla="*/ 59531 w 1819275"/>
                  <a:gd name="connsiteY371" fmla="*/ 560743 h 856415"/>
                  <a:gd name="connsiteX372" fmla="*/ 69056 w 1819275"/>
                  <a:gd name="connsiteY372" fmla="*/ 565506 h 856415"/>
                  <a:gd name="connsiteX373" fmla="*/ 83343 w 1819275"/>
                  <a:gd name="connsiteY373" fmla="*/ 575031 h 856415"/>
                  <a:gd name="connsiteX374" fmla="*/ 88106 w 1819275"/>
                  <a:gd name="connsiteY374" fmla="*/ 582175 h 856415"/>
                  <a:gd name="connsiteX375" fmla="*/ 97631 w 1819275"/>
                  <a:gd name="connsiteY375" fmla="*/ 596462 h 856415"/>
                  <a:gd name="connsiteX376" fmla="*/ 104775 w 1819275"/>
                  <a:gd name="connsiteY376" fmla="*/ 598843 h 856415"/>
                  <a:gd name="connsiteX377" fmla="*/ 114300 w 1819275"/>
                  <a:gd name="connsiteY377" fmla="*/ 603606 h 856415"/>
                  <a:gd name="connsiteX378" fmla="*/ 128587 w 1819275"/>
                  <a:gd name="connsiteY378" fmla="*/ 608368 h 856415"/>
                  <a:gd name="connsiteX379" fmla="*/ 135731 w 1819275"/>
                  <a:gd name="connsiteY379" fmla="*/ 610750 h 856415"/>
                  <a:gd name="connsiteX380" fmla="*/ 145256 w 1819275"/>
                  <a:gd name="connsiteY380" fmla="*/ 615512 h 856415"/>
                  <a:gd name="connsiteX381" fmla="*/ 154781 w 1819275"/>
                  <a:gd name="connsiteY381" fmla="*/ 622656 h 856415"/>
                  <a:gd name="connsiteX382" fmla="*/ 169068 w 1819275"/>
                  <a:gd name="connsiteY382" fmla="*/ 627418 h 856415"/>
                  <a:gd name="connsiteX383" fmla="*/ 173831 w 1819275"/>
                  <a:gd name="connsiteY383" fmla="*/ 634562 h 856415"/>
                  <a:gd name="connsiteX384" fmla="*/ 180975 w 1819275"/>
                  <a:gd name="connsiteY384" fmla="*/ 636943 h 856415"/>
                  <a:gd name="connsiteX385" fmla="*/ 188118 w 1819275"/>
                  <a:gd name="connsiteY385" fmla="*/ 641706 h 856415"/>
                  <a:gd name="connsiteX386" fmla="*/ 204787 w 1819275"/>
                  <a:gd name="connsiteY386" fmla="*/ 651231 h 856415"/>
                  <a:gd name="connsiteX387" fmla="*/ 216693 w 1819275"/>
                  <a:gd name="connsiteY387" fmla="*/ 665518 h 856415"/>
                  <a:gd name="connsiteX388" fmla="*/ 235743 w 1819275"/>
                  <a:gd name="connsiteY388" fmla="*/ 672662 h 856415"/>
                  <a:gd name="connsiteX389" fmla="*/ 285750 w 1819275"/>
                  <a:gd name="connsiteY389" fmla="*/ 672662 h 856415"/>
                  <a:gd name="connsiteX390" fmla="*/ 295275 w 1819275"/>
                  <a:gd name="connsiteY390" fmla="*/ 679806 h 856415"/>
                  <a:gd name="connsiteX391" fmla="*/ 302418 w 1819275"/>
                  <a:gd name="connsiteY391" fmla="*/ 682187 h 856415"/>
                  <a:gd name="connsiteX392" fmla="*/ 330993 w 1819275"/>
                  <a:gd name="connsiteY392" fmla="*/ 686950 h 856415"/>
                  <a:gd name="connsiteX393" fmla="*/ 338137 w 1819275"/>
                  <a:gd name="connsiteY393" fmla="*/ 694093 h 856415"/>
                  <a:gd name="connsiteX394" fmla="*/ 345281 w 1819275"/>
                  <a:gd name="connsiteY394" fmla="*/ 696475 h 856415"/>
                  <a:gd name="connsiteX395" fmla="*/ 350043 w 1819275"/>
                  <a:gd name="connsiteY395" fmla="*/ 703618 h 856415"/>
                  <a:gd name="connsiteX396" fmla="*/ 352425 w 1819275"/>
                  <a:gd name="connsiteY396" fmla="*/ 713143 h 856415"/>
                  <a:gd name="connsiteX397" fmla="*/ 354806 w 1819275"/>
                  <a:gd name="connsiteY397" fmla="*/ 720287 h 856415"/>
                  <a:gd name="connsiteX398" fmla="*/ 357187 w 1819275"/>
                  <a:gd name="connsiteY398" fmla="*/ 732193 h 856415"/>
                  <a:gd name="connsiteX399" fmla="*/ 366712 w 1819275"/>
                  <a:gd name="connsiteY399" fmla="*/ 744100 h 856415"/>
                  <a:gd name="connsiteX400" fmla="*/ 421481 w 1819275"/>
                  <a:gd name="connsiteY400" fmla="*/ 746481 h 856415"/>
                  <a:gd name="connsiteX401" fmla="*/ 438150 w 1819275"/>
                  <a:gd name="connsiteY401" fmla="*/ 753625 h 856415"/>
                  <a:gd name="connsiteX402" fmla="*/ 447675 w 1819275"/>
                  <a:gd name="connsiteY402" fmla="*/ 765531 h 856415"/>
                  <a:gd name="connsiteX403" fmla="*/ 459581 w 1819275"/>
                  <a:gd name="connsiteY403" fmla="*/ 779818 h 856415"/>
                  <a:gd name="connsiteX404" fmla="*/ 469106 w 1819275"/>
                  <a:gd name="connsiteY404" fmla="*/ 794106 h 856415"/>
                  <a:gd name="connsiteX405" fmla="*/ 473868 w 1819275"/>
                  <a:gd name="connsiteY405" fmla="*/ 801250 h 856415"/>
                  <a:gd name="connsiteX406" fmla="*/ 476250 w 1819275"/>
                  <a:gd name="connsiteY406" fmla="*/ 825062 h 856415"/>
                  <a:gd name="connsiteX407" fmla="*/ 481012 w 1819275"/>
                  <a:gd name="connsiteY407" fmla="*/ 832206 h 856415"/>
                  <a:gd name="connsiteX408" fmla="*/ 488156 w 1819275"/>
                  <a:gd name="connsiteY408" fmla="*/ 846493 h 856415"/>
                  <a:gd name="connsiteX409" fmla="*/ 497681 w 1819275"/>
                  <a:gd name="connsiteY409" fmla="*/ 856018 h 856415"/>
                  <a:gd name="connsiteX410" fmla="*/ 492918 w 1819275"/>
                  <a:gd name="connsiteY410" fmla="*/ 856018 h 8564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Lst>
                <a:rect l="l" t="t" r="r" b="b"/>
                <a:pathLst>
                  <a:path w="1819275" h="856415">
                    <a:moveTo>
                      <a:pt x="492918" y="856018"/>
                    </a:moveTo>
                    <a:cubicBezTo>
                      <a:pt x="497284" y="855621"/>
                      <a:pt x="513605" y="854921"/>
                      <a:pt x="523875" y="853637"/>
                    </a:cubicBezTo>
                    <a:cubicBezTo>
                      <a:pt x="535361" y="852201"/>
                      <a:pt x="531409" y="846364"/>
                      <a:pt x="545306" y="841731"/>
                    </a:cubicBezTo>
                    <a:cubicBezTo>
                      <a:pt x="550068" y="840143"/>
                      <a:pt x="554670" y="837952"/>
                      <a:pt x="559593" y="836968"/>
                    </a:cubicBezTo>
                    <a:cubicBezTo>
                      <a:pt x="573961" y="834095"/>
                      <a:pt x="567660" y="835867"/>
                      <a:pt x="578643" y="832206"/>
                    </a:cubicBezTo>
                    <a:cubicBezTo>
                      <a:pt x="581024" y="830618"/>
                      <a:pt x="583227" y="828723"/>
                      <a:pt x="585787" y="827443"/>
                    </a:cubicBezTo>
                    <a:cubicBezTo>
                      <a:pt x="605513" y="817580"/>
                      <a:pt x="579592" y="833953"/>
                      <a:pt x="600075" y="820300"/>
                    </a:cubicBezTo>
                    <a:cubicBezTo>
                      <a:pt x="606839" y="800006"/>
                      <a:pt x="597067" y="831203"/>
                      <a:pt x="604837" y="784581"/>
                    </a:cubicBezTo>
                    <a:cubicBezTo>
                      <a:pt x="605662" y="779629"/>
                      <a:pt x="605423" y="773078"/>
                      <a:pt x="609600" y="770293"/>
                    </a:cubicBezTo>
                    <a:cubicBezTo>
                      <a:pt x="611981" y="768706"/>
                      <a:pt x="614258" y="766951"/>
                      <a:pt x="616743" y="765531"/>
                    </a:cubicBezTo>
                    <a:cubicBezTo>
                      <a:pt x="619825" y="763770"/>
                      <a:pt x="623314" y="762737"/>
                      <a:pt x="626268" y="760768"/>
                    </a:cubicBezTo>
                    <a:cubicBezTo>
                      <a:pt x="632872" y="756365"/>
                      <a:pt x="638968" y="751243"/>
                      <a:pt x="645318" y="746481"/>
                    </a:cubicBezTo>
                    <a:cubicBezTo>
                      <a:pt x="648493" y="744100"/>
                      <a:pt x="651541" y="741538"/>
                      <a:pt x="654843" y="739337"/>
                    </a:cubicBezTo>
                    <a:cubicBezTo>
                      <a:pt x="657224" y="737750"/>
                      <a:pt x="659788" y="736407"/>
                      <a:pt x="661987" y="734575"/>
                    </a:cubicBezTo>
                    <a:cubicBezTo>
                      <a:pt x="668863" y="728845"/>
                      <a:pt x="669211" y="727312"/>
                      <a:pt x="673893" y="720287"/>
                    </a:cubicBezTo>
                    <a:cubicBezTo>
                      <a:pt x="672434" y="702775"/>
                      <a:pt x="676466" y="695499"/>
                      <a:pt x="666750" y="684568"/>
                    </a:cubicBezTo>
                    <a:cubicBezTo>
                      <a:pt x="662275" y="679534"/>
                      <a:pt x="652462" y="670281"/>
                      <a:pt x="652462" y="670281"/>
                    </a:cubicBezTo>
                    <a:cubicBezTo>
                      <a:pt x="638961" y="671968"/>
                      <a:pt x="635122" y="671672"/>
                      <a:pt x="623887" y="675043"/>
                    </a:cubicBezTo>
                    <a:cubicBezTo>
                      <a:pt x="619079" y="676486"/>
                      <a:pt x="614362" y="678218"/>
                      <a:pt x="609600" y="679806"/>
                    </a:cubicBezTo>
                    <a:lnTo>
                      <a:pt x="602456" y="682187"/>
                    </a:lnTo>
                    <a:cubicBezTo>
                      <a:pt x="596900" y="681393"/>
                      <a:pt x="591309" y="680810"/>
                      <a:pt x="585787" y="679806"/>
                    </a:cubicBezTo>
                    <a:cubicBezTo>
                      <a:pt x="579204" y="678609"/>
                      <a:pt x="575242" y="677085"/>
                      <a:pt x="569118" y="675043"/>
                    </a:cubicBezTo>
                    <a:cubicBezTo>
                      <a:pt x="548250" y="654175"/>
                      <a:pt x="573789" y="680647"/>
                      <a:pt x="557212" y="660756"/>
                    </a:cubicBezTo>
                    <a:cubicBezTo>
                      <a:pt x="555056" y="658169"/>
                      <a:pt x="552449" y="655993"/>
                      <a:pt x="550068" y="653612"/>
                    </a:cubicBezTo>
                    <a:cubicBezTo>
                      <a:pt x="550862" y="648056"/>
                      <a:pt x="550837" y="642319"/>
                      <a:pt x="552450" y="636943"/>
                    </a:cubicBezTo>
                    <a:cubicBezTo>
                      <a:pt x="553548" y="633282"/>
                      <a:pt x="561699" y="624427"/>
                      <a:pt x="564356" y="622656"/>
                    </a:cubicBezTo>
                    <a:cubicBezTo>
                      <a:pt x="566445" y="621264"/>
                      <a:pt x="569119" y="621069"/>
                      <a:pt x="571500" y="620275"/>
                    </a:cubicBezTo>
                    <a:cubicBezTo>
                      <a:pt x="573881" y="618687"/>
                      <a:pt x="576013" y="616639"/>
                      <a:pt x="578643" y="615512"/>
                    </a:cubicBezTo>
                    <a:cubicBezTo>
                      <a:pt x="581651" y="614223"/>
                      <a:pt x="585326" y="614755"/>
                      <a:pt x="588168" y="613131"/>
                    </a:cubicBezTo>
                    <a:cubicBezTo>
                      <a:pt x="591092" y="611460"/>
                      <a:pt x="592725" y="608143"/>
                      <a:pt x="595312" y="605987"/>
                    </a:cubicBezTo>
                    <a:cubicBezTo>
                      <a:pt x="605545" y="597460"/>
                      <a:pt x="598863" y="604212"/>
                      <a:pt x="609600" y="598843"/>
                    </a:cubicBezTo>
                    <a:cubicBezTo>
                      <a:pt x="616231" y="595528"/>
                      <a:pt x="618620" y="592204"/>
                      <a:pt x="623887" y="586937"/>
                    </a:cubicBezTo>
                    <a:cubicBezTo>
                      <a:pt x="629596" y="569808"/>
                      <a:pt x="623887" y="591199"/>
                      <a:pt x="623887" y="570268"/>
                    </a:cubicBezTo>
                    <a:cubicBezTo>
                      <a:pt x="623887" y="432836"/>
                      <a:pt x="583473" y="448800"/>
                      <a:pt x="633412" y="432156"/>
                    </a:cubicBezTo>
                    <a:cubicBezTo>
                      <a:pt x="643268" y="433564"/>
                      <a:pt x="648915" y="433356"/>
                      <a:pt x="657225" y="436918"/>
                    </a:cubicBezTo>
                    <a:cubicBezTo>
                      <a:pt x="663275" y="439511"/>
                      <a:pt x="667426" y="442886"/>
                      <a:pt x="673893" y="444062"/>
                    </a:cubicBezTo>
                    <a:cubicBezTo>
                      <a:pt x="680189" y="445207"/>
                      <a:pt x="686593" y="445649"/>
                      <a:pt x="692943" y="446443"/>
                    </a:cubicBezTo>
                    <a:lnTo>
                      <a:pt x="707231" y="451206"/>
                    </a:lnTo>
                    <a:cubicBezTo>
                      <a:pt x="709612" y="452000"/>
                      <a:pt x="711940" y="452978"/>
                      <a:pt x="714375" y="453587"/>
                    </a:cubicBezTo>
                    <a:lnTo>
                      <a:pt x="723900" y="455968"/>
                    </a:lnTo>
                    <a:cubicBezTo>
                      <a:pt x="729164" y="461233"/>
                      <a:pt x="732492" y="463627"/>
                      <a:pt x="735806" y="470256"/>
                    </a:cubicBezTo>
                    <a:cubicBezTo>
                      <a:pt x="736929" y="472501"/>
                      <a:pt x="736412" y="475625"/>
                      <a:pt x="738187" y="477400"/>
                    </a:cubicBezTo>
                    <a:cubicBezTo>
                      <a:pt x="749772" y="488985"/>
                      <a:pt x="754038" y="487148"/>
                      <a:pt x="769143" y="489306"/>
                    </a:cubicBezTo>
                    <a:cubicBezTo>
                      <a:pt x="773906" y="490893"/>
                      <a:pt x="779415" y="491056"/>
                      <a:pt x="783431" y="494068"/>
                    </a:cubicBezTo>
                    <a:cubicBezTo>
                      <a:pt x="804489" y="509862"/>
                      <a:pt x="794951" y="505846"/>
                      <a:pt x="809625" y="510737"/>
                    </a:cubicBezTo>
                    <a:cubicBezTo>
                      <a:pt x="828493" y="504448"/>
                      <a:pt x="818960" y="505150"/>
                      <a:pt x="838200" y="508356"/>
                    </a:cubicBezTo>
                    <a:cubicBezTo>
                      <a:pt x="853965" y="513611"/>
                      <a:pt x="837138" y="505705"/>
                      <a:pt x="847725" y="522643"/>
                    </a:cubicBezTo>
                    <a:cubicBezTo>
                      <a:pt x="849829" y="526008"/>
                      <a:pt x="854075" y="527406"/>
                      <a:pt x="857250" y="529787"/>
                    </a:cubicBezTo>
                    <a:cubicBezTo>
                      <a:pt x="862012" y="528993"/>
                      <a:pt x="867904" y="530585"/>
                      <a:pt x="871537" y="527406"/>
                    </a:cubicBezTo>
                    <a:cubicBezTo>
                      <a:pt x="875315" y="524100"/>
                      <a:pt x="876300" y="513118"/>
                      <a:pt x="876300" y="513118"/>
                    </a:cubicBezTo>
                    <a:cubicBezTo>
                      <a:pt x="875506" y="492481"/>
                      <a:pt x="875733" y="471779"/>
                      <a:pt x="873918" y="451206"/>
                    </a:cubicBezTo>
                    <a:cubicBezTo>
                      <a:pt x="873343" y="444686"/>
                      <a:pt x="870743" y="438506"/>
                      <a:pt x="869156" y="432156"/>
                    </a:cubicBezTo>
                    <a:lnTo>
                      <a:pt x="866775" y="422631"/>
                    </a:lnTo>
                    <a:cubicBezTo>
                      <a:pt x="865981" y="419456"/>
                      <a:pt x="866208" y="415829"/>
                      <a:pt x="864393" y="413106"/>
                    </a:cubicBezTo>
                    <a:cubicBezTo>
                      <a:pt x="858239" y="403873"/>
                      <a:pt x="860536" y="408677"/>
                      <a:pt x="857250" y="398818"/>
                    </a:cubicBezTo>
                    <a:cubicBezTo>
                      <a:pt x="858044" y="385324"/>
                      <a:pt x="858350" y="371793"/>
                      <a:pt x="859631" y="358337"/>
                    </a:cubicBezTo>
                    <a:cubicBezTo>
                      <a:pt x="859941" y="355079"/>
                      <a:pt x="860723" y="351820"/>
                      <a:pt x="862012" y="348812"/>
                    </a:cubicBezTo>
                    <a:cubicBezTo>
                      <a:pt x="864609" y="342751"/>
                      <a:pt x="868146" y="339792"/>
                      <a:pt x="873918" y="336906"/>
                    </a:cubicBezTo>
                    <a:cubicBezTo>
                      <a:pt x="876163" y="335784"/>
                      <a:pt x="878755" y="335514"/>
                      <a:pt x="881062" y="334525"/>
                    </a:cubicBezTo>
                    <a:cubicBezTo>
                      <a:pt x="905604" y="324007"/>
                      <a:pt x="872332" y="335848"/>
                      <a:pt x="904875" y="325000"/>
                    </a:cubicBezTo>
                    <a:cubicBezTo>
                      <a:pt x="907256" y="324206"/>
                      <a:pt x="909518" y="322845"/>
                      <a:pt x="912018" y="322618"/>
                    </a:cubicBezTo>
                    <a:lnTo>
                      <a:pt x="938212" y="320237"/>
                    </a:lnTo>
                    <a:cubicBezTo>
                      <a:pt x="941387" y="319443"/>
                      <a:pt x="944528" y="318498"/>
                      <a:pt x="947737" y="317856"/>
                    </a:cubicBezTo>
                    <a:cubicBezTo>
                      <a:pt x="961931" y="315018"/>
                      <a:pt x="965725" y="315286"/>
                      <a:pt x="981075" y="313093"/>
                    </a:cubicBezTo>
                    <a:cubicBezTo>
                      <a:pt x="985854" y="312410"/>
                      <a:pt x="990590" y="311446"/>
                      <a:pt x="995362" y="310712"/>
                    </a:cubicBezTo>
                    <a:cubicBezTo>
                      <a:pt x="1000909" y="309859"/>
                      <a:pt x="1006495" y="309254"/>
                      <a:pt x="1012031" y="308331"/>
                    </a:cubicBezTo>
                    <a:cubicBezTo>
                      <a:pt x="1016023" y="307666"/>
                      <a:pt x="1019898" y="306211"/>
                      <a:pt x="1023937" y="305950"/>
                    </a:cubicBezTo>
                    <a:cubicBezTo>
                      <a:pt x="1044547" y="304620"/>
                      <a:pt x="1065212" y="304362"/>
                      <a:pt x="1085850" y="303568"/>
                    </a:cubicBezTo>
                    <a:cubicBezTo>
                      <a:pt x="1091406" y="302774"/>
                      <a:pt x="1097103" y="302664"/>
                      <a:pt x="1102518" y="301187"/>
                    </a:cubicBezTo>
                    <a:cubicBezTo>
                      <a:pt x="1105943" y="300253"/>
                      <a:pt x="1108529" y="296927"/>
                      <a:pt x="1112043" y="296425"/>
                    </a:cubicBezTo>
                    <a:cubicBezTo>
                      <a:pt x="1114528" y="296070"/>
                      <a:pt x="1116880" y="297817"/>
                      <a:pt x="1119187" y="298806"/>
                    </a:cubicBezTo>
                    <a:cubicBezTo>
                      <a:pt x="1125764" y="301624"/>
                      <a:pt x="1138768" y="308861"/>
                      <a:pt x="1143000" y="313093"/>
                    </a:cubicBezTo>
                    <a:cubicBezTo>
                      <a:pt x="1147486" y="317579"/>
                      <a:pt x="1151319" y="322348"/>
                      <a:pt x="1157287" y="325000"/>
                    </a:cubicBezTo>
                    <a:cubicBezTo>
                      <a:pt x="1161875" y="327039"/>
                      <a:pt x="1171575" y="329762"/>
                      <a:pt x="1171575" y="329762"/>
                    </a:cubicBezTo>
                    <a:cubicBezTo>
                      <a:pt x="1173956" y="331350"/>
                      <a:pt x="1176158" y="333245"/>
                      <a:pt x="1178718" y="334525"/>
                    </a:cubicBezTo>
                    <a:cubicBezTo>
                      <a:pt x="1180963" y="335648"/>
                      <a:pt x="1183668" y="335687"/>
                      <a:pt x="1185862" y="336906"/>
                    </a:cubicBezTo>
                    <a:cubicBezTo>
                      <a:pt x="1185864" y="336907"/>
                      <a:pt x="1203720" y="348811"/>
                      <a:pt x="1207293" y="351193"/>
                    </a:cubicBezTo>
                    <a:cubicBezTo>
                      <a:pt x="1209674" y="352781"/>
                      <a:pt x="1212413" y="353932"/>
                      <a:pt x="1214437" y="355956"/>
                    </a:cubicBezTo>
                    <a:cubicBezTo>
                      <a:pt x="1219200" y="360718"/>
                      <a:pt x="1224989" y="364639"/>
                      <a:pt x="1228725" y="370243"/>
                    </a:cubicBezTo>
                    <a:cubicBezTo>
                      <a:pt x="1230312" y="372624"/>
                      <a:pt x="1231252" y="375599"/>
                      <a:pt x="1233487" y="377387"/>
                    </a:cubicBezTo>
                    <a:cubicBezTo>
                      <a:pt x="1235447" y="378955"/>
                      <a:pt x="1238250" y="378974"/>
                      <a:pt x="1240631" y="379768"/>
                    </a:cubicBezTo>
                    <a:cubicBezTo>
                      <a:pt x="1242218" y="382149"/>
                      <a:pt x="1243012" y="385324"/>
                      <a:pt x="1245393" y="386912"/>
                    </a:cubicBezTo>
                    <a:cubicBezTo>
                      <a:pt x="1248116" y="388727"/>
                      <a:pt x="1251910" y="388004"/>
                      <a:pt x="1254918" y="389293"/>
                    </a:cubicBezTo>
                    <a:cubicBezTo>
                      <a:pt x="1257549" y="390420"/>
                      <a:pt x="1259502" y="392776"/>
                      <a:pt x="1262062" y="394056"/>
                    </a:cubicBezTo>
                    <a:cubicBezTo>
                      <a:pt x="1272432" y="399241"/>
                      <a:pt x="1267161" y="392936"/>
                      <a:pt x="1278731" y="401200"/>
                    </a:cubicBezTo>
                    <a:cubicBezTo>
                      <a:pt x="1287307" y="407325"/>
                      <a:pt x="1283576" y="409059"/>
                      <a:pt x="1293018" y="413106"/>
                    </a:cubicBezTo>
                    <a:cubicBezTo>
                      <a:pt x="1296026" y="414395"/>
                      <a:pt x="1299368" y="414693"/>
                      <a:pt x="1302543" y="415487"/>
                    </a:cubicBezTo>
                    <a:cubicBezTo>
                      <a:pt x="1304924" y="417075"/>
                      <a:pt x="1307072" y="419088"/>
                      <a:pt x="1309687" y="420250"/>
                    </a:cubicBezTo>
                    <a:cubicBezTo>
                      <a:pt x="1314275" y="422289"/>
                      <a:pt x="1319212" y="423425"/>
                      <a:pt x="1323975" y="425012"/>
                    </a:cubicBezTo>
                    <a:cubicBezTo>
                      <a:pt x="1326356" y="425806"/>
                      <a:pt x="1328642" y="426980"/>
                      <a:pt x="1331118" y="427393"/>
                    </a:cubicBezTo>
                    <a:lnTo>
                      <a:pt x="1345406" y="429775"/>
                    </a:lnTo>
                    <a:cubicBezTo>
                      <a:pt x="1350953" y="430629"/>
                      <a:pt x="1356553" y="431152"/>
                      <a:pt x="1362075" y="432156"/>
                    </a:cubicBezTo>
                    <a:cubicBezTo>
                      <a:pt x="1365295" y="432741"/>
                      <a:pt x="1368425" y="433743"/>
                      <a:pt x="1371600" y="434537"/>
                    </a:cubicBezTo>
                    <a:cubicBezTo>
                      <a:pt x="1378776" y="439322"/>
                      <a:pt x="1379806" y="440436"/>
                      <a:pt x="1388268" y="444062"/>
                    </a:cubicBezTo>
                    <a:cubicBezTo>
                      <a:pt x="1390575" y="445051"/>
                      <a:pt x="1393105" y="445454"/>
                      <a:pt x="1395412" y="446443"/>
                    </a:cubicBezTo>
                    <a:cubicBezTo>
                      <a:pt x="1398675" y="447841"/>
                      <a:pt x="1401641" y="449888"/>
                      <a:pt x="1404937" y="451206"/>
                    </a:cubicBezTo>
                    <a:cubicBezTo>
                      <a:pt x="1409598" y="453070"/>
                      <a:pt x="1414462" y="454380"/>
                      <a:pt x="1419225" y="455968"/>
                    </a:cubicBezTo>
                    <a:lnTo>
                      <a:pt x="1426368" y="458350"/>
                    </a:lnTo>
                    <a:lnTo>
                      <a:pt x="1433512" y="460731"/>
                    </a:lnTo>
                    <a:cubicBezTo>
                      <a:pt x="1439174" y="477718"/>
                      <a:pt x="1431145" y="457181"/>
                      <a:pt x="1443037" y="475018"/>
                    </a:cubicBezTo>
                    <a:cubicBezTo>
                      <a:pt x="1444429" y="477107"/>
                      <a:pt x="1443643" y="480387"/>
                      <a:pt x="1445418" y="482162"/>
                    </a:cubicBezTo>
                    <a:cubicBezTo>
                      <a:pt x="1449465" y="486209"/>
                      <a:pt x="1454943" y="488512"/>
                      <a:pt x="1459706" y="491687"/>
                    </a:cubicBezTo>
                    <a:cubicBezTo>
                      <a:pt x="1462087" y="493275"/>
                      <a:pt x="1464135" y="495545"/>
                      <a:pt x="1466850" y="496450"/>
                    </a:cubicBezTo>
                    <a:cubicBezTo>
                      <a:pt x="1483970" y="502157"/>
                      <a:pt x="1462597" y="495235"/>
                      <a:pt x="1483518" y="501212"/>
                    </a:cubicBezTo>
                    <a:cubicBezTo>
                      <a:pt x="1507472" y="508055"/>
                      <a:pt x="1470358" y="498515"/>
                      <a:pt x="1500187" y="505975"/>
                    </a:cubicBezTo>
                    <a:lnTo>
                      <a:pt x="1514475" y="515500"/>
                    </a:lnTo>
                    <a:cubicBezTo>
                      <a:pt x="1519257" y="518688"/>
                      <a:pt x="1525651" y="523378"/>
                      <a:pt x="1531143" y="525025"/>
                    </a:cubicBezTo>
                    <a:cubicBezTo>
                      <a:pt x="1535768" y="526412"/>
                      <a:pt x="1540718" y="526359"/>
                      <a:pt x="1545431" y="527406"/>
                    </a:cubicBezTo>
                    <a:cubicBezTo>
                      <a:pt x="1547881" y="527950"/>
                      <a:pt x="1550140" y="529178"/>
                      <a:pt x="1552575" y="529787"/>
                    </a:cubicBezTo>
                    <a:cubicBezTo>
                      <a:pt x="1556501" y="530769"/>
                      <a:pt x="1560512" y="531374"/>
                      <a:pt x="1564481" y="532168"/>
                    </a:cubicBezTo>
                    <a:cubicBezTo>
                      <a:pt x="1577975" y="531374"/>
                      <a:pt x="1591595" y="531792"/>
                      <a:pt x="1604962" y="529787"/>
                    </a:cubicBezTo>
                    <a:cubicBezTo>
                      <a:pt x="1607792" y="529363"/>
                      <a:pt x="1609621" y="526445"/>
                      <a:pt x="1612106" y="525025"/>
                    </a:cubicBezTo>
                    <a:cubicBezTo>
                      <a:pt x="1615188" y="523264"/>
                      <a:pt x="1618621" y="522143"/>
                      <a:pt x="1621631" y="520262"/>
                    </a:cubicBezTo>
                    <a:cubicBezTo>
                      <a:pt x="1624996" y="518158"/>
                      <a:pt x="1627710" y="515087"/>
                      <a:pt x="1631156" y="513118"/>
                    </a:cubicBezTo>
                    <a:cubicBezTo>
                      <a:pt x="1633335" y="511873"/>
                      <a:pt x="1635993" y="511726"/>
                      <a:pt x="1638300" y="510737"/>
                    </a:cubicBezTo>
                    <a:cubicBezTo>
                      <a:pt x="1641563" y="509339"/>
                      <a:pt x="1644562" y="507373"/>
                      <a:pt x="1647825" y="505975"/>
                    </a:cubicBezTo>
                    <a:cubicBezTo>
                      <a:pt x="1650132" y="504986"/>
                      <a:pt x="1652723" y="504716"/>
                      <a:pt x="1654968" y="503593"/>
                    </a:cubicBezTo>
                    <a:cubicBezTo>
                      <a:pt x="1657528" y="502313"/>
                      <a:pt x="1659481" y="499958"/>
                      <a:pt x="1662112" y="498831"/>
                    </a:cubicBezTo>
                    <a:cubicBezTo>
                      <a:pt x="1665120" y="497542"/>
                      <a:pt x="1668490" y="497349"/>
                      <a:pt x="1671637" y="496450"/>
                    </a:cubicBezTo>
                    <a:cubicBezTo>
                      <a:pt x="1674051" y="495760"/>
                      <a:pt x="1676400" y="494862"/>
                      <a:pt x="1678781" y="494068"/>
                    </a:cubicBezTo>
                    <a:cubicBezTo>
                      <a:pt x="1681162" y="491687"/>
                      <a:pt x="1683338" y="489081"/>
                      <a:pt x="1685925" y="486925"/>
                    </a:cubicBezTo>
                    <a:cubicBezTo>
                      <a:pt x="1688123" y="485093"/>
                      <a:pt x="1690739" y="483826"/>
                      <a:pt x="1693068" y="482162"/>
                    </a:cubicBezTo>
                    <a:cubicBezTo>
                      <a:pt x="1713699" y="467424"/>
                      <a:pt x="1692933" y="481457"/>
                      <a:pt x="1709737" y="470256"/>
                    </a:cubicBezTo>
                    <a:cubicBezTo>
                      <a:pt x="1711436" y="465159"/>
                      <a:pt x="1712535" y="459771"/>
                      <a:pt x="1716881" y="455968"/>
                    </a:cubicBezTo>
                    <a:cubicBezTo>
                      <a:pt x="1722300" y="451226"/>
                      <a:pt x="1733380" y="444815"/>
                      <a:pt x="1740693" y="441681"/>
                    </a:cubicBezTo>
                    <a:cubicBezTo>
                      <a:pt x="1743000" y="440692"/>
                      <a:pt x="1745456" y="440094"/>
                      <a:pt x="1747837" y="439300"/>
                    </a:cubicBezTo>
                    <a:cubicBezTo>
                      <a:pt x="1750218" y="437712"/>
                      <a:pt x="1752366" y="435699"/>
                      <a:pt x="1754981" y="434537"/>
                    </a:cubicBezTo>
                    <a:cubicBezTo>
                      <a:pt x="1762428" y="431227"/>
                      <a:pt x="1770881" y="429372"/>
                      <a:pt x="1778793" y="427393"/>
                    </a:cubicBezTo>
                    <a:cubicBezTo>
                      <a:pt x="1781968" y="424218"/>
                      <a:pt x="1784664" y="420478"/>
                      <a:pt x="1788318" y="417868"/>
                    </a:cubicBezTo>
                    <a:cubicBezTo>
                      <a:pt x="1790361" y="416409"/>
                      <a:pt x="1793373" y="416879"/>
                      <a:pt x="1795462" y="415487"/>
                    </a:cubicBezTo>
                    <a:cubicBezTo>
                      <a:pt x="1798264" y="413619"/>
                      <a:pt x="1800225" y="410724"/>
                      <a:pt x="1802606" y="408343"/>
                    </a:cubicBezTo>
                    <a:cubicBezTo>
                      <a:pt x="1803400" y="405962"/>
                      <a:pt x="1804987" y="403710"/>
                      <a:pt x="1804987" y="401200"/>
                    </a:cubicBezTo>
                    <a:cubicBezTo>
                      <a:pt x="1804987" y="360485"/>
                      <a:pt x="1805937" y="366900"/>
                      <a:pt x="1800225" y="344050"/>
                    </a:cubicBezTo>
                    <a:cubicBezTo>
                      <a:pt x="1801019" y="333731"/>
                      <a:pt x="1798666" y="322663"/>
                      <a:pt x="1802606" y="313093"/>
                    </a:cubicBezTo>
                    <a:cubicBezTo>
                      <a:pt x="1804785" y="307800"/>
                      <a:pt x="1816893" y="303568"/>
                      <a:pt x="1816893" y="303568"/>
                    </a:cubicBezTo>
                    <a:cubicBezTo>
                      <a:pt x="1817687" y="300393"/>
                      <a:pt x="1819275" y="297316"/>
                      <a:pt x="1819275" y="294043"/>
                    </a:cubicBezTo>
                    <a:cubicBezTo>
                      <a:pt x="1819275" y="293617"/>
                      <a:pt x="1815634" y="278778"/>
                      <a:pt x="1814512" y="277375"/>
                    </a:cubicBezTo>
                    <a:cubicBezTo>
                      <a:pt x="1812724" y="275140"/>
                      <a:pt x="1809697" y="274276"/>
                      <a:pt x="1807368" y="272612"/>
                    </a:cubicBezTo>
                    <a:cubicBezTo>
                      <a:pt x="1804139" y="270305"/>
                      <a:pt x="1801289" y="267437"/>
                      <a:pt x="1797843" y="265468"/>
                    </a:cubicBezTo>
                    <a:cubicBezTo>
                      <a:pt x="1795664" y="264223"/>
                      <a:pt x="1792894" y="264306"/>
                      <a:pt x="1790700" y="263087"/>
                    </a:cubicBezTo>
                    <a:cubicBezTo>
                      <a:pt x="1764622" y="248600"/>
                      <a:pt x="1786876" y="258911"/>
                      <a:pt x="1766887" y="246418"/>
                    </a:cubicBezTo>
                    <a:cubicBezTo>
                      <a:pt x="1763877" y="244537"/>
                      <a:pt x="1760444" y="243417"/>
                      <a:pt x="1757362" y="241656"/>
                    </a:cubicBezTo>
                    <a:cubicBezTo>
                      <a:pt x="1754877" y="240236"/>
                      <a:pt x="1752731" y="238264"/>
                      <a:pt x="1750218" y="236893"/>
                    </a:cubicBezTo>
                    <a:cubicBezTo>
                      <a:pt x="1743985" y="233493"/>
                      <a:pt x="1737075" y="231306"/>
                      <a:pt x="1731168" y="227368"/>
                    </a:cubicBezTo>
                    <a:cubicBezTo>
                      <a:pt x="1728787" y="225781"/>
                      <a:pt x="1726640" y="223768"/>
                      <a:pt x="1724025" y="222606"/>
                    </a:cubicBezTo>
                    <a:cubicBezTo>
                      <a:pt x="1719437" y="220567"/>
                      <a:pt x="1713914" y="220628"/>
                      <a:pt x="1709737" y="217843"/>
                    </a:cubicBezTo>
                    <a:cubicBezTo>
                      <a:pt x="1704513" y="214361"/>
                      <a:pt x="1699107" y="210331"/>
                      <a:pt x="1693068" y="208318"/>
                    </a:cubicBezTo>
                    <a:cubicBezTo>
                      <a:pt x="1689228" y="207038"/>
                      <a:pt x="1685131" y="206731"/>
                      <a:pt x="1681162" y="205937"/>
                    </a:cubicBezTo>
                    <a:cubicBezTo>
                      <a:pt x="1672571" y="200210"/>
                      <a:pt x="1666258" y="196677"/>
                      <a:pt x="1659731" y="186887"/>
                    </a:cubicBezTo>
                    <a:cubicBezTo>
                      <a:pt x="1648618" y="170219"/>
                      <a:pt x="1654968" y="175775"/>
                      <a:pt x="1643062" y="167837"/>
                    </a:cubicBezTo>
                    <a:cubicBezTo>
                      <a:pt x="1636037" y="157298"/>
                      <a:pt x="1641589" y="162156"/>
                      <a:pt x="1628775" y="158312"/>
                    </a:cubicBezTo>
                    <a:cubicBezTo>
                      <a:pt x="1623966" y="156870"/>
                      <a:pt x="1614487" y="153550"/>
                      <a:pt x="1614487" y="153550"/>
                    </a:cubicBezTo>
                    <a:cubicBezTo>
                      <a:pt x="1612080" y="157161"/>
                      <a:pt x="1607343" y="162909"/>
                      <a:pt x="1607343" y="167837"/>
                    </a:cubicBezTo>
                    <a:cubicBezTo>
                      <a:pt x="1607343" y="183784"/>
                      <a:pt x="1608381" y="185236"/>
                      <a:pt x="1612106" y="196412"/>
                    </a:cubicBezTo>
                    <a:cubicBezTo>
                      <a:pt x="1612900" y="205937"/>
                      <a:pt x="1614487" y="215429"/>
                      <a:pt x="1614487" y="224987"/>
                    </a:cubicBezTo>
                    <a:cubicBezTo>
                      <a:pt x="1614487" y="235896"/>
                      <a:pt x="1620004" y="264714"/>
                      <a:pt x="1607343" y="277375"/>
                    </a:cubicBezTo>
                    <a:cubicBezTo>
                      <a:pt x="1602727" y="281991"/>
                      <a:pt x="1598866" y="282582"/>
                      <a:pt x="1593056" y="284518"/>
                    </a:cubicBezTo>
                    <a:cubicBezTo>
                      <a:pt x="1590675" y="286106"/>
                      <a:pt x="1588648" y="288439"/>
                      <a:pt x="1585912" y="289281"/>
                    </a:cubicBezTo>
                    <a:cubicBezTo>
                      <a:pt x="1578175" y="291661"/>
                      <a:pt x="1562100" y="294043"/>
                      <a:pt x="1562100" y="294043"/>
                    </a:cubicBezTo>
                    <a:cubicBezTo>
                      <a:pt x="1556749" y="296719"/>
                      <a:pt x="1549115" y="298567"/>
                      <a:pt x="1547812" y="305950"/>
                    </a:cubicBezTo>
                    <a:cubicBezTo>
                      <a:pt x="1541252" y="343124"/>
                      <a:pt x="1556901" y="335464"/>
                      <a:pt x="1538287" y="341668"/>
                    </a:cubicBezTo>
                    <a:cubicBezTo>
                      <a:pt x="1535906" y="343256"/>
                      <a:pt x="1533988" y="346115"/>
                      <a:pt x="1531143" y="346431"/>
                    </a:cubicBezTo>
                    <a:cubicBezTo>
                      <a:pt x="1526345" y="346964"/>
                      <a:pt x="1521268" y="346011"/>
                      <a:pt x="1516856" y="344050"/>
                    </a:cubicBezTo>
                    <a:cubicBezTo>
                      <a:pt x="1513779" y="342682"/>
                      <a:pt x="1512299" y="339062"/>
                      <a:pt x="1509712" y="336906"/>
                    </a:cubicBezTo>
                    <a:cubicBezTo>
                      <a:pt x="1507513" y="335074"/>
                      <a:pt x="1505128" y="333423"/>
                      <a:pt x="1502568" y="332143"/>
                    </a:cubicBezTo>
                    <a:cubicBezTo>
                      <a:pt x="1500323" y="331021"/>
                      <a:pt x="1497838" y="330451"/>
                      <a:pt x="1495425" y="329762"/>
                    </a:cubicBezTo>
                    <a:cubicBezTo>
                      <a:pt x="1485479" y="326921"/>
                      <a:pt x="1482838" y="326871"/>
                      <a:pt x="1471612" y="325000"/>
                    </a:cubicBezTo>
                    <a:cubicBezTo>
                      <a:pt x="1469205" y="321390"/>
                      <a:pt x="1464468" y="315639"/>
                      <a:pt x="1464468" y="310712"/>
                    </a:cubicBezTo>
                    <a:cubicBezTo>
                      <a:pt x="1464468" y="305249"/>
                      <a:pt x="1467725" y="297930"/>
                      <a:pt x="1471612" y="294043"/>
                    </a:cubicBezTo>
                    <a:cubicBezTo>
                      <a:pt x="1473636" y="292019"/>
                      <a:pt x="1476196" y="290561"/>
                      <a:pt x="1478756" y="289281"/>
                    </a:cubicBezTo>
                    <a:cubicBezTo>
                      <a:pt x="1481001" y="288159"/>
                      <a:pt x="1483519" y="287694"/>
                      <a:pt x="1485900" y="286900"/>
                    </a:cubicBezTo>
                    <a:cubicBezTo>
                      <a:pt x="1501751" y="271047"/>
                      <a:pt x="1484681" y="285989"/>
                      <a:pt x="1500187" y="277375"/>
                    </a:cubicBezTo>
                    <a:cubicBezTo>
                      <a:pt x="1505191" y="274595"/>
                      <a:pt x="1509045" y="269661"/>
                      <a:pt x="1514475" y="267850"/>
                    </a:cubicBezTo>
                    <a:cubicBezTo>
                      <a:pt x="1532439" y="261860"/>
                      <a:pt x="1510287" y="269942"/>
                      <a:pt x="1528762" y="260706"/>
                    </a:cubicBezTo>
                    <a:cubicBezTo>
                      <a:pt x="1531007" y="259584"/>
                      <a:pt x="1533525" y="259119"/>
                      <a:pt x="1535906" y="258325"/>
                    </a:cubicBezTo>
                    <a:cubicBezTo>
                      <a:pt x="1537276" y="254216"/>
                      <a:pt x="1542473" y="242559"/>
                      <a:pt x="1535906" y="239275"/>
                    </a:cubicBezTo>
                    <a:cubicBezTo>
                      <a:pt x="1530886" y="236765"/>
                      <a:pt x="1524793" y="240862"/>
                      <a:pt x="1519237" y="241656"/>
                    </a:cubicBezTo>
                    <a:cubicBezTo>
                      <a:pt x="1508125" y="240862"/>
                      <a:pt x="1496985" y="240384"/>
                      <a:pt x="1485900" y="239275"/>
                    </a:cubicBezTo>
                    <a:cubicBezTo>
                      <a:pt x="1481096" y="238795"/>
                      <a:pt x="1476392" y="237576"/>
                      <a:pt x="1471612" y="236893"/>
                    </a:cubicBezTo>
                    <a:cubicBezTo>
                      <a:pt x="1460168" y="235258"/>
                      <a:pt x="1442369" y="233380"/>
                      <a:pt x="1431131" y="232131"/>
                    </a:cubicBezTo>
                    <a:cubicBezTo>
                      <a:pt x="1428750" y="231337"/>
                      <a:pt x="1426401" y="230440"/>
                      <a:pt x="1423987" y="229750"/>
                    </a:cubicBezTo>
                    <a:cubicBezTo>
                      <a:pt x="1416129" y="227505"/>
                      <a:pt x="1410754" y="226626"/>
                      <a:pt x="1402556" y="224987"/>
                    </a:cubicBezTo>
                    <a:cubicBezTo>
                      <a:pt x="1400175" y="223400"/>
                      <a:pt x="1397972" y="221505"/>
                      <a:pt x="1395412" y="220225"/>
                    </a:cubicBezTo>
                    <a:cubicBezTo>
                      <a:pt x="1388562" y="216800"/>
                      <a:pt x="1378191" y="216560"/>
                      <a:pt x="1371600" y="215462"/>
                    </a:cubicBezTo>
                    <a:cubicBezTo>
                      <a:pt x="1360104" y="213546"/>
                      <a:pt x="1361752" y="213767"/>
                      <a:pt x="1352550" y="210700"/>
                    </a:cubicBezTo>
                    <a:cubicBezTo>
                      <a:pt x="1341506" y="211704"/>
                      <a:pt x="1321758" y="213048"/>
                      <a:pt x="1309687" y="215462"/>
                    </a:cubicBezTo>
                    <a:cubicBezTo>
                      <a:pt x="1307226" y="215954"/>
                      <a:pt x="1304924" y="217049"/>
                      <a:pt x="1302543" y="217843"/>
                    </a:cubicBezTo>
                    <a:cubicBezTo>
                      <a:pt x="1300162" y="220224"/>
                      <a:pt x="1298058" y="222920"/>
                      <a:pt x="1295400" y="224987"/>
                    </a:cubicBezTo>
                    <a:cubicBezTo>
                      <a:pt x="1290882" y="228501"/>
                      <a:pt x="1281112" y="234512"/>
                      <a:pt x="1281112" y="234512"/>
                    </a:cubicBezTo>
                    <a:cubicBezTo>
                      <a:pt x="1277143" y="233718"/>
                      <a:pt x="1273157" y="233009"/>
                      <a:pt x="1269206" y="232131"/>
                    </a:cubicBezTo>
                    <a:cubicBezTo>
                      <a:pt x="1266011" y="231421"/>
                      <a:pt x="1262144" y="231905"/>
                      <a:pt x="1259681" y="229750"/>
                    </a:cubicBezTo>
                    <a:cubicBezTo>
                      <a:pt x="1255373" y="225981"/>
                      <a:pt x="1251966" y="220892"/>
                      <a:pt x="1250156" y="215462"/>
                    </a:cubicBezTo>
                    <a:cubicBezTo>
                      <a:pt x="1248797" y="211385"/>
                      <a:pt x="1246970" y="203814"/>
                      <a:pt x="1243012" y="201175"/>
                    </a:cubicBezTo>
                    <a:cubicBezTo>
                      <a:pt x="1240289" y="199360"/>
                      <a:pt x="1236662" y="199587"/>
                      <a:pt x="1233487" y="198793"/>
                    </a:cubicBezTo>
                    <a:cubicBezTo>
                      <a:pt x="1229518" y="199587"/>
                      <a:pt x="1225279" y="199531"/>
                      <a:pt x="1221581" y="201175"/>
                    </a:cubicBezTo>
                    <a:cubicBezTo>
                      <a:pt x="1205267" y="208426"/>
                      <a:pt x="1218545" y="210914"/>
                      <a:pt x="1197768" y="217843"/>
                    </a:cubicBezTo>
                    <a:cubicBezTo>
                      <a:pt x="1181003" y="223434"/>
                      <a:pt x="1201715" y="216153"/>
                      <a:pt x="1181100" y="224987"/>
                    </a:cubicBezTo>
                    <a:cubicBezTo>
                      <a:pt x="1176321" y="227035"/>
                      <a:pt x="1169259" y="228543"/>
                      <a:pt x="1164431" y="229750"/>
                    </a:cubicBezTo>
                    <a:cubicBezTo>
                      <a:pt x="1162050" y="228162"/>
                      <a:pt x="1158192" y="227702"/>
                      <a:pt x="1157287" y="224987"/>
                    </a:cubicBezTo>
                    <a:cubicBezTo>
                      <a:pt x="1156252" y="221882"/>
                      <a:pt x="1158379" y="218470"/>
                      <a:pt x="1159668" y="215462"/>
                    </a:cubicBezTo>
                    <a:cubicBezTo>
                      <a:pt x="1162843" y="208053"/>
                      <a:pt x="1165225" y="207789"/>
                      <a:pt x="1171575" y="203556"/>
                    </a:cubicBezTo>
                    <a:cubicBezTo>
                      <a:pt x="1173162" y="198793"/>
                      <a:pt x="1176791" y="194268"/>
                      <a:pt x="1176337" y="189268"/>
                    </a:cubicBezTo>
                    <a:cubicBezTo>
                      <a:pt x="1174466" y="168682"/>
                      <a:pt x="1175781" y="168270"/>
                      <a:pt x="1171575" y="153550"/>
                    </a:cubicBezTo>
                    <a:cubicBezTo>
                      <a:pt x="1170281" y="149021"/>
                      <a:pt x="1167189" y="140191"/>
                      <a:pt x="1164431" y="136881"/>
                    </a:cubicBezTo>
                    <a:cubicBezTo>
                      <a:pt x="1160880" y="132619"/>
                      <a:pt x="1155020" y="131362"/>
                      <a:pt x="1150143" y="129737"/>
                    </a:cubicBezTo>
                    <a:cubicBezTo>
                      <a:pt x="1147762" y="130531"/>
                      <a:pt x="1144960" y="130550"/>
                      <a:pt x="1143000" y="132118"/>
                    </a:cubicBezTo>
                    <a:cubicBezTo>
                      <a:pt x="1140765" y="133906"/>
                      <a:pt x="1139399" y="136647"/>
                      <a:pt x="1138237" y="139262"/>
                    </a:cubicBezTo>
                    <a:cubicBezTo>
                      <a:pt x="1133063" y="150905"/>
                      <a:pt x="1134287" y="152428"/>
                      <a:pt x="1131093" y="163075"/>
                    </a:cubicBezTo>
                    <a:cubicBezTo>
                      <a:pt x="1128929" y="170287"/>
                      <a:pt x="1126331" y="177362"/>
                      <a:pt x="1123950" y="184506"/>
                    </a:cubicBezTo>
                    <a:cubicBezTo>
                      <a:pt x="1123156" y="186887"/>
                      <a:pt x="1123343" y="189875"/>
                      <a:pt x="1121568" y="191650"/>
                    </a:cubicBezTo>
                    <a:cubicBezTo>
                      <a:pt x="1119187" y="194031"/>
                      <a:pt x="1116581" y="196206"/>
                      <a:pt x="1114425" y="198793"/>
                    </a:cubicBezTo>
                    <a:cubicBezTo>
                      <a:pt x="1108934" y="205382"/>
                      <a:pt x="1110344" y="207864"/>
                      <a:pt x="1102518" y="213081"/>
                    </a:cubicBezTo>
                    <a:cubicBezTo>
                      <a:pt x="1100468" y="214448"/>
                      <a:pt x="1087120" y="217525"/>
                      <a:pt x="1085850" y="217843"/>
                    </a:cubicBezTo>
                    <a:cubicBezTo>
                      <a:pt x="1076325" y="217049"/>
                      <a:pt x="1066510" y="217925"/>
                      <a:pt x="1057275" y="215462"/>
                    </a:cubicBezTo>
                    <a:cubicBezTo>
                      <a:pt x="1054021" y="214594"/>
                      <a:pt x="1051999" y="211120"/>
                      <a:pt x="1050131" y="208318"/>
                    </a:cubicBezTo>
                    <a:cubicBezTo>
                      <a:pt x="1044847" y="200393"/>
                      <a:pt x="1051420" y="201059"/>
                      <a:pt x="1042987" y="194031"/>
                    </a:cubicBezTo>
                    <a:cubicBezTo>
                      <a:pt x="1037649" y="189583"/>
                      <a:pt x="1030347" y="188489"/>
                      <a:pt x="1023937" y="186887"/>
                    </a:cubicBezTo>
                    <a:cubicBezTo>
                      <a:pt x="1016000" y="187681"/>
                      <a:pt x="1007749" y="186922"/>
                      <a:pt x="1000125" y="189268"/>
                    </a:cubicBezTo>
                    <a:cubicBezTo>
                      <a:pt x="989171" y="192639"/>
                      <a:pt x="995563" y="197352"/>
                      <a:pt x="990600" y="203556"/>
                    </a:cubicBezTo>
                    <a:cubicBezTo>
                      <a:pt x="988812" y="205791"/>
                      <a:pt x="986016" y="207038"/>
                      <a:pt x="983456" y="208318"/>
                    </a:cubicBezTo>
                    <a:cubicBezTo>
                      <a:pt x="972628" y="213732"/>
                      <a:pt x="948263" y="212703"/>
                      <a:pt x="942975" y="213081"/>
                    </a:cubicBezTo>
                    <a:lnTo>
                      <a:pt x="938212" y="227368"/>
                    </a:lnTo>
                    <a:cubicBezTo>
                      <a:pt x="937418" y="229749"/>
                      <a:pt x="937223" y="232424"/>
                      <a:pt x="935831" y="234512"/>
                    </a:cubicBezTo>
                    <a:lnTo>
                      <a:pt x="931068" y="241656"/>
                    </a:lnTo>
                    <a:cubicBezTo>
                      <a:pt x="920243" y="240883"/>
                      <a:pt x="888572" y="249442"/>
                      <a:pt x="900112" y="232131"/>
                    </a:cubicBezTo>
                    <a:cubicBezTo>
                      <a:pt x="901980" y="229329"/>
                      <a:pt x="904875" y="227368"/>
                      <a:pt x="907256" y="224987"/>
                    </a:cubicBezTo>
                    <a:cubicBezTo>
                      <a:pt x="911078" y="213519"/>
                      <a:pt x="910214" y="219826"/>
                      <a:pt x="907256" y="203556"/>
                    </a:cubicBezTo>
                    <a:cubicBezTo>
                      <a:pt x="906532" y="199574"/>
                      <a:pt x="907120" y="195018"/>
                      <a:pt x="904875" y="191650"/>
                    </a:cubicBezTo>
                    <a:cubicBezTo>
                      <a:pt x="903483" y="189561"/>
                      <a:pt x="900112" y="190062"/>
                      <a:pt x="897731" y="189268"/>
                    </a:cubicBezTo>
                    <a:cubicBezTo>
                      <a:pt x="880728" y="194936"/>
                      <a:pt x="887620" y="191246"/>
                      <a:pt x="876300" y="198793"/>
                    </a:cubicBezTo>
                    <a:cubicBezTo>
                      <a:pt x="874712" y="201174"/>
                      <a:pt x="873561" y="203913"/>
                      <a:pt x="871537" y="205937"/>
                    </a:cubicBezTo>
                    <a:cubicBezTo>
                      <a:pt x="866920" y="210554"/>
                      <a:pt x="863061" y="211144"/>
                      <a:pt x="857250" y="213081"/>
                    </a:cubicBezTo>
                    <a:cubicBezTo>
                      <a:pt x="846931" y="212287"/>
                      <a:pt x="836586" y="211784"/>
                      <a:pt x="826293" y="210700"/>
                    </a:cubicBezTo>
                    <a:cubicBezTo>
                      <a:pt x="816216" y="209639"/>
                      <a:pt x="811648" y="208228"/>
                      <a:pt x="802481" y="205937"/>
                    </a:cubicBezTo>
                    <a:cubicBezTo>
                      <a:pt x="800100" y="204350"/>
                      <a:pt x="796854" y="203602"/>
                      <a:pt x="795337" y="201175"/>
                    </a:cubicBezTo>
                    <a:cubicBezTo>
                      <a:pt x="792676" y="196918"/>
                      <a:pt x="790575" y="186887"/>
                      <a:pt x="790575" y="186887"/>
                    </a:cubicBezTo>
                    <a:cubicBezTo>
                      <a:pt x="789705" y="166887"/>
                      <a:pt x="805625" y="129737"/>
                      <a:pt x="778668" y="129737"/>
                    </a:cubicBezTo>
                    <a:cubicBezTo>
                      <a:pt x="775395" y="129737"/>
                      <a:pt x="772318" y="131324"/>
                      <a:pt x="769143" y="132118"/>
                    </a:cubicBezTo>
                    <a:cubicBezTo>
                      <a:pt x="767556" y="136881"/>
                      <a:pt x="764766" y="141401"/>
                      <a:pt x="764381" y="146406"/>
                    </a:cubicBezTo>
                    <a:cubicBezTo>
                      <a:pt x="761690" y="181397"/>
                      <a:pt x="764030" y="167214"/>
                      <a:pt x="759618" y="189268"/>
                    </a:cubicBezTo>
                    <a:cubicBezTo>
                      <a:pt x="758824" y="197999"/>
                      <a:pt x="760009" y="207145"/>
                      <a:pt x="757237" y="215462"/>
                    </a:cubicBezTo>
                    <a:cubicBezTo>
                      <a:pt x="754719" y="223017"/>
                      <a:pt x="741034" y="213236"/>
                      <a:pt x="740568" y="213081"/>
                    </a:cubicBezTo>
                    <a:cubicBezTo>
                      <a:pt x="734358" y="211011"/>
                      <a:pt x="721518" y="208318"/>
                      <a:pt x="721518" y="208318"/>
                    </a:cubicBezTo>
                    <a:cubicBezTo>
                      <a:pt x="720724" y="205143"/>
                      <a:pt x="718811" y="202049"/>
                      <a:pt x="719137" y="198793"/>
                    </a:cubicBezTo>
                    <a:cubicBezTo>
                      <a:pt x="720225" y="187920"/>
                      <a:pt x="723530" y="183623"/>
                      <a:pt x="731043" y="177362"/>
                    </a:cubicBezTo>
                    <a:cubicBezTo>
                      <a:pt x="733242" y="175530"/>
                      <a:pt x="735806" y="174187"/>
                      <a:pt x="738187" y="172600"/>
                    </a:cubicBezTo>
                    <a:cubicBezTo>
                      <a:pt x="737433" y="165812"/>
                      <a:pt x="737414" y="152003"/>
                      <a:pt x="733425" y="144025"/>
                    </a:cubicBezTo>
                    <a:cubicBezTo>
                      <a:pt x="732145" y="141465"/>
                      <a:pt x="730250" y="139262"/>
                      <a:pt x="728662" y="136881"/>
                    </a:cubicBezTo>
                    <a:cubicBezTo>
                      <a:pt x="723347" y="137640"/>
                      <a:pt x="703651" y="140322"/>
                      <a:pt x="697706" y="141643"/>
                    </a:cubicBezTo>
                    <a:cubicBezTo>
                      <a:pt x="695256" y="142188"/>
                      <a:pt x="692943" y="143231"/>
                      <a:pt x="690562" y="144025"/>
                    </a:cubicBezTo>
                    <a:cubicBezTo>
                      <a:pt x="688292" y="150836"/>
                      <a:pt x="687296" y="153215"/>
                      <a:pt x="685800" y="160693"/>
                    </a:cubicBezTo>
                    <a:cubicBezTo>
                      <a:pt x="684853" y="165428"/>
                      <a:pt x="684465" y="170268"/>
                      <a:pt x="683418" y="174981"/>
                    </a:cubicBezTo>
                    <a:cubicBezTo>
                      <a:pt x="682204" y="180446"/>
                      <a:pt x="678923" y="187017"/>
                      <a:pt x="676275" y="191650"/>
                    </a:cubicBezTo>
                    <a:cubicBezTo>
                      <a:pt x="674855" y="194135"/>
                      <a:pt x="673666" y="196909"/>
                      <a:pt x="671512" y="198793"/>
                    </a:cubicBezTo>
                    <a:cubicBezTo>
                      <a:pt x="667204" y="202562"/>
                      <a:pt x="662655" y="206508"/>
                      <a:pt x="657225" y="208318"/>
                    </a:cubicBezTo>
                    <a:lnTo>
                      <a:pt x="642937" y="213081"/>
                    </a:lnTo>
                    <a:cubicBezTo>
                      <a:pt x="632003" y="212170"/>
                      <a:pt x="618139" y="213282"/>
                      <a:pt x="607218" y="208318"/>
                    </a:cubicBezTo>
                    <a:cubicBezTo>
                      <a:pt x="600755" y="205380"/>
                      <a:pt x="588168" y="198793"/>
                      <a:pt x="588168" y="198793"/>
                    </a:cubicBezTo>
                    <a:cubicBezTo>
                      <a:pt x="587374" y="196412"/>
                      <a:pt x="586064" y="194144"/>
                      <a:pt x="585787" y="191650"/>
                    </a:cubicBezTo>
                    <a:cubicBezTo>
                      <a:pt x="585658" y="190493"/>
                      <a:pt x="585622" y="157133"/>
                      <a:pt x="581025" y="146406"/>
                    </a:cubicBezTo>
                    <a:cubicBezTo>
                      <a:pt x="579898" y="143775"/>
                      <a:pt x="577850" y="141643"/>
                      <a:pt x="576262" y="139262"/>
                    </a:cubicBezTo>
                    <a:cubicBezTo>
                      <a:pt x="572293" y="140056"/>
                      <a:pt x="567870" y="139635"/>
                      <a:pt x="564356" y="141643"/>
                    </a:cubicBezTo>
                    <a:cubicBezTo>
                      <a:pt x="560553" y="143816"/>
                      <a:pt x="558434" y="152263"/>
                      <a:pt x="557212" y="155931"/>
                    </a:cubicBezTo>
                    <a:cubicBezTo>
                      <a:pt x="556418" y="171806"/>
                      <a:pt x="556803" y="187784"/>
                      <a:pt x="554831" y="203556"/>
                    </a:cubicBezTo>
                    <a:cubicBezTo>
                      <a:pt x="554391" y="207078"/>
                      <a:pt x="552795" y="210809"/>
                      <a:pt x="550068" y="213081"/>
                    </a:cubicBezTo>
                    <a:cubicBezTo>
                      <a:pt x="547554" y="215176"/>
                      <a:pt x="543718" y="214668"/>
                      <a:pt x="540543" y="215462"/>
                    </a:cubicBezTo>
                    <a:cubicBezTo>
                      <a:pt x="537368" y="214668"/>
                      <a:pt x="533859" y="214705"/>
                      <a:pt x="531018" y="213081"/>
                    </a:cubicBezTo>
                    <a:cubicBezTo>
                      <a:pt x="528094" y="211410"/>
                      <a:pt x="525832" y="208677"/>
                      <a:pt x="523875" y="205937"/>
                    </a:cubicBezTo>
                    <a:cubicBezTo>
                      <a:pt x="520195" y="200785"/>
                      <a:pt x="518675" y="195100"/>
                      <a:pt x="516731" y="189268"/>
                    </a:cubicBezTo>
                    <a:lnTo>
                      <a:pt x="523875" y="167837"/>
                    </a:lnTo>
                    <a:cubicBezTo>
                      <a:pt x="524669" y="165456"/>
                      <a:pt x="525647" y="163128"/>
                      <a:pt x="526256" y="160693"/>
                    </a:cubicBezTo>
                    <a:lnTo>
                      <a:pt x="528637" y="151168"/>
                    </a:lnTo>
                    <a:cubicBezTo>
                      <a:pt x="529431" y="144024"/>
                      <a:pt x="529836" y="136827"/>
                      <a:pt x="531018" y="129737"/>
                    </a:cubicBezTo>
                    <a:cubicBezTo>
                      <a:pt x="532918" y="118340"/>
                      <a:pt x="541568" y="117740"/>
                      <a:pt x="531018" y="101162"/>
                    </a:cubicBezTo>
                    <a:cubicBezTo>
                      <a:pt x="528323" y="96927"/>
                      <a:pt x="516731" y="96400"/>
                      <a:pt x="516731" y="96400"/>
                    </a:cubicBezTo>
                    <a:cubicBezTo>
                      <a:pt x="508793" y="97194"/>
                      <a:pt x="500180" y="95480"/>
                      <a:pt x="492918" y="98781"/>
                    </a:cubicBezTo>
                    <a:cubicBezTo>
                      <a:pt x="489939" y="100135"/>
                      <a:pt x="491179" y="105097"/>
                      <a:pt x="490537" y="108306"/>
                    </a:cubicBezTo>
                    <a:cubicBezTo>
                      <a:pt x="489590" y="113040"/>
                      <a:pt x="488755" y="117802"/>
                      <a:pt x="488156" y="122593"/>
                    </a:cubicBezTo>
                    <a:cubicBezTo>
                      <a:pt x="487167" y="130509"/>
                      <a:pt x="488121" y="138781"/>
                      <a:pt x="485775" y="146406"/>
                    </a:cubicBezTo>
                    <a:cubicBezTo>
                      <a:pt x="484785" y="149625"/>
                      <a:pt x="480787" y="150963"/>
                      <a:pt x="478631" y="153550"/>
                    </a:cubicBezTo>
                    <a:cubicBezTo>
                      <a:pt x="476799" y="155748"/>
                      <a:pt x="475456" y="158312"/>
                      <a:pt x="473868" y="160693"/>
                    </a:cubicBezTo>
                    <a:cubicBezTo>
                      <a:pt x="473074" y="169424"/>
                      <a:pt x="472511" y="178180"/>
                      <a:pt x="471487" y="186887"/>
                    </a:cubicBezTo>
                    <a:cubicBezTo>
                      <a:pt x="470923" y="191682"/>
                      <a:pt x="471875" y="197219"/>
                      <a:pt x="469106" y="201175"/>
                    </a:cubicBezTo>
                    <a:cubicBezTo>
                      <a:pt x="465824" y="205864"/>
                      <a:pt x="454818" y="210700"/>
                      <a:pt x="454818" y="210700"/>
                    </a:cubicBezTo>
                    <a:cubicBezTo>
                      <a:pt x="450456" y="209246"/>
                      <a:pt x="437502" y="206319"/>
                      <a:pt x="433387" y="201175"/>
                    </a:cubicBezTo>
                    <a:cubicBezTo>
                      <a:pt x="431819" y="199215"/>
                      <a:pt x="431800" y="196412"/>
                      <a:pt x="431006" y="194031"/>
                    </a:cubicBezTo>
                    <a:cubicBezTo>
                      <a:pt x="431800" y="191650"/>
                      <a:pt x="431612" y="188662"/>
                      <a:pt x="433387" y="186887"/>
                    </a:cubicBezTo>
                    <a:cubicBezTo>
                      <a:pt x="435162" y="185112"/>
                      <a:pt x="438442" y="185898"/>
                      <a:pt x="440531" y="184506"/>
                    </a:cubicBezTo>
                    <a:cubicBezTo>
                      <a:pt x="443333" y="182638"/>
                      <a:pt x="445294" y="179743"/>
                      <a:pt x="447675" y="177362"/>
                    </a:cubicBezTo>
                    <a:cubicBezTo>
                      <a:pt x="446455" y="171265"/>
                      <a:pt x="446638" y="160738"/>
                      <a:pt x="438150" y="158312"/>
                    </a:cubicBezTo>
                    <a:cubicBezTo>
                      <a:pt x="435003" y="157413"/>
                      <a:pt x="431800" y="159899"/>
                      <a:pt x="428625" y="160693"/>
                    </a:cubicBezTo>
                    <a:cubicBezTo>
                      <a:pt x="426244" y="163074"/>
                      <a:pt x="423349" y="165035"/>
                      <a:pt x="421481" y="167837"/>
                    </a:cubicBezTo>
                    <a:cubicBezTo>
                      <a:pt x="420056" y="169975"/>
                      <a:pt x="417114" y="183121"/>
                      <a:pt x="416718" y="184506"/>
                    </a:cubicBezTo>
                    <a:cubicBezTo>
                      <a:pt x="416028" y="186920"/>
                      <a:pt x="416112" y="189875"/>
                      <a:pt x="414337" y="191650"/>
                    </a:cubicBezTo>
                    <a:cubicBezTo>
                      <a:pt x="412562" y="193425"/>
                      <a:pt x="409574" y="193237"/>
                      <a:pt x="407193" y="194031"/>
                    </a:cubicBezTo>
                    <a:cubicBezTo>
                      <a:pt x="405606" y="191650"/>
                      <a:pt x="403558" y="189518"/>
                      <a:pt x="402431" y="186887"/>
                    </a:cubicBezTo>
                    <a:cubicBezTo>
                      <a:pt x="397849" y="176195"/>
                      <a:pt x="402306" y="179494"/>
                      <a:pt x="397668" y="170218"/>
                    </a:cubicBezTo>
                    <a:cubicBezTo>
                      <a:pt x="396388" y="167659"/>
                      <a:pt x="394493" y="165456"/>
                      <a:pt x="392906" y="163075"/>
                    </a:cubicBezTo>
                    <a:cubicBezTo>
                      <a:pt x="392112" y="160694"/>
                      <a:pt x="391648" y="158176"/>
                      <a:pt x="390525" y="155931"/>
                    </a:cubicBezTo>
                    <a:cubicBezTo>
                      <a:pt x="387210" y="149301"/>
                      <a:pt x="383884" y="146909"/>
                      <a:pt x="378618" y="141643"/>
                    </a:cubicBezTo>
                    <a:cubicBezTo>
                      <a:pt x="377031" y="138468"/>
                      <a:pt x="376128" y="134845"/>
                      <a:pt x="373856" y="132118"/>
                    </a:cubicBezTo>
                    <a:cubicBezTo>
                      <a:pt x="372024" y="129919"/>
                      <a:pt x="368500" y="129591"/>
                      <a:pt x="366712" y="127356"/>
                    </a:cubicBezTo>
                    <a:cubicBezTo>
                      <a:pt x="365144" y="125396"/>
                      <a:pt x="366374" y="121671"/>
                      <a:pt x="364331" y="120212"/>
                    </a:cubicBezTo>
                    <a:cubicBezTo>
                      <a:pt x="360246" y="117294"/>
                      <a:pt x="354533" y="117695"/>
                      <a:pt x="350043" y="115450"/>
                    </a:cubicBezTo>
                    <a:lnTo>
                      <a:pt x="340518" y="110687"/>
                    </a:lnTo>
                    <a:cubicBezTo>
                      <a:pt x="338931" y="108306"/>
                      <a:pt x="337780" y="105567"/>
                      <a:pt x="335756" y="103543"/>
                    </a:cubicBezTo>
                    <a:cubicBezTo>
                      <a:pt x="333732" y="101519"/>
                      <a:pt x="330497" y="100935"/>
                      <a:pt x="328612" y="98781"/>
                    </a:cubicBezTo>
                    <a:cubicBezTo>
                      <a:pt x="324843" y="94473"/>
                      <a:pt x="319087" y="84493"/>
                      <a:pt x="319087" y="84493"/>
                    </a:cubicBezTo>
                    <a:cubicBezTo>
                      <a:pt x="320797" y="67389"/>
                      <a:pt x="315174" y="61677"/>
                      <a:pt x="328612" y="55918"/>
                    </a:cubicBezTo>
                    <a:cubicBezTo>
                      <a:pt x="331620" y="54629"/>
                      <a:pt x="334962" y="54331"/>
                      <a:pt x="338137" y="53537"/>
                    </a:cubicBezTo>
                    <a:cubicBezTo>
                      <a:pt x="341543" y="43317"/>
                      <a:pt x="341421" y="47623"/>
                      <a:pt x="338137" y="34487"/>
                    </a:cubicBezTo>
                    <a:cubicBezTo>
                      <a:pt x="337528" y="32052"/>
                      <a:pt x="337324" y="29303"/>
                      <a:pt x="335756" y="27343"/>
                    </a:cubicBezTo>
                    <a:cubicBezTo>
                      <a:pt x="333968" y="25108"/>
                      <a:pt x="330811" y="24413"/>
                      <a:pt x="328612" y="22581"/>
                    </a:cubicBezTo>
                    <a:cubicBezTo>
                      <a:pt x="310272" y="7298"/>
                      <a:pt x="332064" y="22501"/>
                      <a:pt x="314325" y="10675"/>
                    </a:cubicBezTo>
                    <a:cubicBezTo>
                      <a:pt x="311542" y="6501"/>
                      <a:pt x="309320" y="0"/>
                      <a:pt x="302418" y="1150"/>
                    </a:cubicBezTo>
                    <a:cubicBezTo>
                      <a:pt x="299595" y="1620"/>
                      <a:pt x="297656" y="4325"/>
                      <a:pt x="295275" y="5912"/>
                    </a:cubicBezTo>
                    <a:cubicBezTo>
                      <a:pt x="294481" y="12262"/>
                      <a:pt x="294577" y="18788"/>
                      <a:pt x="292893" y="24962"/>
                    </a:cubicBezTo>
                    <a:cubicBezTo>
                      <a:pt x="291623" y="29620"/>
                      <a:pt x="285433" y="35386"/>
                      <a:pt x="280987" y="36868"/>
                    </a:cubicBezTo>
                    <a:cubicBezTo>
                      <a:pt x="276407" y="38395"/>
                      <a:pt x="271462" y="38456"/>
                      <a:pt x="266700" y="39250"/>
                    </a:cubicBezTo>
                    <a:cubicBezTo>
                      <a:pt x="241377" y="56130"/>
                      <a:pt x="251526" y="46438"/>
                      <a:pt x="261937" y="113068"/>
                    </a:cubicBezTo>
                    <a:cubicBezTo>
                      <a:pt x="262550" y="116989"/>
                      <a:pt x="268211" y="117936"/>
                      <a:pt x="271462" y="120212"/>
                    </a:cubicBezTo>
                    <a:cubicBezTo>
                      <a:pt x="276151" y="123494"/>
                      <a:pt x="280987" y="126562"/>
                      <a:pt x="285750" y="129737"/>
                    </a:cubicBezTo>
                    <a:lnTo>
                      <a:pt x="292893" y="134500"/>
                    </a:lnTo>
                    <a:cubicBezTo>
                      <a:pt x="294481" y="136881"/>
                      <a:pt x="297185" y="138820"/>
                      <a:pt x="297656" y="141643"/>
                    </a:cubicBezTo>
                    <a:cubicBezTo>
                      <a:pt x="298069" y="144119"/>
                      <a:pt x="297781" y="148635"/>
                      <a:pt x="295275" y="148787"/>
                    </a:cubicBezTo>
                    <a:cubicBezTo>
                      <a:pt x="269909" y="150324"/>
                      <a:pt x="244475" y="147200"/>
                      <a:pt x="219075" y="146406"/>
                    </a:cubicBezTo>
                    <a:cubicBezTo>
                      <a:pt x="215524" y="135753"/>
                      <a:pt x="216335" y="131087"/>
                      <a:pt x="207168" y="124975"/>
                    </a:cubicBezTo>
                    <a:cubicBezTo>
                      <a:pt x="205080" y="123583"/>
                      <a:pt x="202406" y="123387"/>
                      <a:pt x="200025" y="122593"/>
                    </a:cubicBezTo>
                    <a:cubicBezTo>
                      <a:pt x="172090" y="129579"/>
                      <a:pt x="198404" y="119766"/>
                      <a:pt x="188118" y="177362"/>
                    </a:cubicBezTo>
                    <a:cubicBezTo>
                      <a:pt x="185553" y="191726"/>
                      <a:pt x="179083" y="189627"/>
                      <a:pt x="171450" y="196412"/>
                    </a:cubicBezTo>
                    <a:cubicBezTo>
                      <a:pt x="166416" y="200887"/>
                      <a:pt x="157162" y="210700"/>
                      <a:pt x="157162" y="210700"/>
                    </a:cubicBezTo>
                    <a:cubicBezTo>
                      <a:pt x="153987" y="209906"/>
                      <a:pt x="147980" y="211573"/>
                      <a:pt x="147637" y="208318"/>
                    </a:cubicBezTo>
                    <a:cubicBezTo>
                      <a:pt x="146132" y="194022"/>
                      <a:pt x="150617" y="179720"/>
                      <a:pt x="152400" y="165456"/>
                    </a:cubicBezTo>
                    <a:cubicBezTo>
                      <a:pt x="155477" y="140837"/>
                      <a:pt x="153876" y="152741"/>
                      <a:pt x="157162" y="129737"/>
                    </a:cubicBezTo>
                    <a:cubicBezTo>
                      <a:pt x="156368" y="120212"/>
                      <a:pt x="158047" y="110145"/>
                      <a:pt x="154781" y="101162"/>
                    </a:cubicBezTo>
                    <a:cubicBezTo>
                      <a:pt x="153923" y="98803"/>
                      <a:pt x="149882" y="102420"/>
                      <a:pt x="147637" y="103543"/>
                    </a:cubicBezTo>
                    <a:cubicBezTo>
                      <a:pt x="141006" y="106858"/>
                      <a:pt x="138616" y="110183"/>
                      <a:pt x="133350" y="115450"/>
                    </a:cubicBezTo>
                    <a:cubicBezTo>
                      <a:pt x="132556" y="117831"/>
                      <a:pt x="132187" y="120399"/>
                      <a:pt x="130968" y="122593"/>
                    </a:cubicBezTo>
                    <a:cubicBezTo>
                      <a:pt x="128188" y="127597"/>
                      <a:pt x="124618" y="132118"/>
                      <a:pt x="121443" y="136881"/>
                    </a:cubicBezTo>
                    <a:lnTo>
                      <a:pt x="116681" y="144025"/>
                    </a:lnTo>
                    <a:lnTo>
                      <a:pt x="107156" y="158312"/>
                    </a:lnTo>
                    <a:lnTo>
                      <a:pt x="100012" y="179743"/>
                    </a:lnTo>
                    <a:lnTo>
                      <a:pt x="97631" y="186887"/>
                    </a:lnTo>
                    <a:lnTo>
                      <a:pt x="95250" y="194031"/>
                    </a:lnTo>
                    <a:cubicBezTo>
                      <a:pt x="96044" y="208318"/>
                      <a:pt x="96336" y="222642"/>
                      <a:pt x="97631" y="236893"/>
                    </a:cubicBezTo>
                    <a:cubicBezTo>
                      <a:pt x="97927" y="240152"/>
                      <a:pt x="99370" y="243209"/>
                      <a:pt x="100012" y="246418"/>
                    </a:cubicBezTo>
                    <a:cubicBezTo>
                      <a:pt x="100959" y="251153"/>
                      <a:pt x="101599" y="255943"/>
                      <a:pt x="102393" y="260706"/>
                    </a:cubicBezTo>
                    <a:cubicBezTo>
                      <a:pt x="101599" y="265468"/>
                      <a:pt x="102445" y="270823"/>
                      <a:pt x="100012" y="274993"/>
                    </a:cubicBezTo>
                    <a:cubicBezTo>
                      <a:pt x="96618" y="280811"/>
                      <a:pt x="89461" y="283677"/>
                      <a:pt x="85725" y="289281"/>
                    </a:cubicBezTo>
                    <a:lnTo>
                      <a:pt x="80962" y="296425"/>
                    </a:lnTo>
                    <a:cubicBezTo>
                      <a:pt x="79375" y="301187"/>
                      <a:pt x="77418" y="305842"/>
                      <a:pt x="76200" y="310712"/>
                    </a:cubicBezTo>
                    <a:cubicBezTo>
                      <a:pt x="74378" y="317996"/>
                      <a:pt x="74536" y="321901"/>
                      <a:pt x="69056" y="327381"/>
                    </a:cubicBezTo>
                    <a:cubicBezTo>
                      <a:pt x="67032" y="329405"/>
                      <a:pt x="64051" y="330242"/>
                      <a:pt x="61912" y="332143"/>
                    </a:cubicBezTo>
                    <a:cubicBezTo>
                      <a:pt x="56878" y="336618"/>
                      <a:pt x="47625" y="346431"/>
                      <a:pt x="47625" y="346431"/>
                    </a:cubicBezTo>
                    <a:cubicBezTo>
                      <a:pt x="45926" y="351525"/>
                      <a:pt x="44824" y="356918"/>
                      <a:pt x="40481" y="360718"/>
                    </a:cubicBezTo>
                    <a:cubicBezTo>
                      <a:pt x="36173" y="364487"/>
                      <a:pt x="26193" y="370243"/>
                      <a:pt x="26193" y="370243"/>
                    </a:cubicBezTo>
                    <a:cubicBezTo>
                      <a:pt x="19273" y="365630"/>
                      <a:pt x="16389" y="360295"/>
                      <a:pt x="14287" y="375006"/>
                    </a:cubicBezTo>
                    <a:cubicBezTo>
                      <a:pt x="13368" y="381437"/>
                      <a:pt x="20749" y="385617"/>
                      <a:pt x="23812" y="389293"/>
                    </a:cubicBezTo>
                    <a:cubicBezTo>
                      <a:pt x="25644" y="391492"/>
                      <a:pt x="26987" y="394056"/>
                      <a:pt x="28575" y="396437"/>
                    </a:cubicBezTo>
                    <a:cubicBezTo>
                      <a:pt x="26194" y="398818"/>
                      <a:pt x="24018" y="401425"/>
                      <a:pt x="21431" y="403581"/>
                    </a:cubicBezTo>
                    <a:cubicBezTo>
                      <a:pt x="19232" y="405413"/>
                      <a:pt x="16075" y="406108"/>
                      <a:pt x="14287" y="408343"/>
                    </a:cubicBezTo>
                    <a:cubicBezTo>
                      <a:pt x="12719" y="410303"/>
                      <a:pt x="13298" y="413398"/>
                      <a:pt x="11906" y="415487"/>
                    </a:cubicBezTo>
                    <a:cubicBezTo>
                      <a:pt x="10038" y="418289"/>
                      <a:pt x="6918" y="420044"/>
                      <a:pt x="4762" y="422631"/>
                    </a:cubicBezTo>
                    <a:cubicBezTo>
                      <a:pt x="2930" y="424830"/>
                      <a:pt x="1587" y="427394"/>
                      <a:pt x="0" y="429775"/>
                    </a:cubicBezTo>
                    <a:cubicBezTo>
                      <a:pt x="3790" y="463887"/>
                      <a:pt x="430" y="439282"/>
                      <a:pt x="4762" y="463112"/>
                    </a:cubicBezTo>
                    <a:cubicBezTo>
                      <a:pt x="5626" y="467862"/>
                      <a:pt x="6095" y="472687"/>
                      <a:pt x="7143" y="477400"/>
                    </a:cubicBezTo>
                    <a:cubicBezTo>
                      <a:pt x="10922" y="494402"/>
                      <a:pt x="8445" y="473302"/>
                      <a:pt x="11906" y="494068"/>
                    </a:cubicBezTo>
                    <a:cubicBezTo>
                      <a:pt x="15858" y="517782"/>
                      <a:pt x="10193" y="506978"/>
                      <a:pt x="19050" y="520262"/>
                    </a:cubicBezTo>
                    <a:cubicBezTo>
                      <a:pt x="20637" y="525025"/>
                      <a:pt x="21027" y="530373"/>
                      <a:pt x="23812" y="534550"/>
                    </a:cubicBezTo>
                    <a:cubicBezTo>
                      <a:pt x="28494" y="541571"/>
                      <a:pt x="28845" y="543109"/>
                      <a:pt x="35718" y="548837"/>
                    </a:cubicBezTo>
                    <a:cubicBezTo>
                      <a:pt x="39939" y="552355"/>
                      <a:pt x="47590" y="556306"/>
                      <a:pt x="52387" y="558362"/>
                    </a:cubicBezTo>
                    <a:cubicBezTo>
                      <a:pt x="54694" y="559351"/>
                      <a:pt x="57224" y="559754"/>
                      <a:pt x="59531" y="560743"/>
                    </a:cubicBezTo>
                    <a:cubicBezTo>
                      <a:pt x="62794" y="562141"/>
                      <a:pt x="66012" y="563680"/>
                      <a:pt x="69056" y="565506"/>
                    </a:cubicBezTo>
                    <a:cubicBezTo>
                      <a:pt x="73964" y="568451"/>
                      <a:pt x="83343" y="575031"/>
                      <a:pt x="83343" y="575031"/>
                    </a:cubicBezTo>
                    <a:cubicBezTo>
                      <a:pt x="84931" y="577412"/>
                      <a:pt x="86826" y="579615"/>
                      <a:pt x="88106" y="582175"/>
                    </a:cubicBezTo>
                    <a:cubicBezTo>
                      <a:pt x="92475" y="590913"/>
                      <a:pt x="87474" y="589691"/>
                      <a:pt x="97631" y="596462"/>
                    </a:cubicBezTo>
                    <a:cubicBezTo>
                      <a:pt x="99720" y="597854"/>
                      <a:pt x="102468" y="597854"/>
                      <a:pt x="104775" y="598843"/>
                    </a:cubicBezTo>
                    <a:cubicBezTo>
                      <a:pt x="108038" y="600241"/>
                      <a:pt x="111004" y="602288"/>
                      <a:pt x="114300" y="603606"/>
                    </a:cubicBezTo>
                    <a:cubicBezTo>
                      <a:pt x="118961" y="605470"/>
                      <a:pt x="123825" y="606781"/>
                      <a:pt x="128587" y="608368"/>
                    </a:cubicBezTo>
                    <a:cubicBezTo>
                      <a:pt x="130968" y="609162"/>
                      <a:pt x="133486" y="609627"/>
                      <a:pt x="135731" y="610750"/>
                    </a:cubicBezTo>
                    <a:cubicBezTo>
                      <a:pt x="138906" y="612337"/>
                      <a:pt x="142246" y="613631"/>
                      <a:pt x="145256" y="615512"/>
                    </a:cubicBezTo>
                    <a:cubicBezTo>
                      <a:pt x="148622" y="617615"/>
                      <a:pt x="151231" y="620881"/>
                      <a:pt x="154781" y="622656"/>
                    </a:cubicBezTo>
                    <a:cubicBezTo>
                      <a:pt x="159271" y="624901"/>
                      <a:pt x="169068" y="627418"/>
                      <a:pt x="169068" y="627418"/>
                    </a:cubicBezTo>
                    <a:cubicBezTo>
                      <a:pt x="170656" y="629799"/>
                      <a:pt x="171596" y="632774"/>
                      <a:pt x="173831" y="634562"/>
                    </a:cubicBezTo>
                    <a:cubicBezTo>
                      <a:pt x="175791" y="636130"/>
                      <a:pt x="178730" y="635820"/>
                      <a:pt x="180975" y="636943"/>
                    </a:cubicBezTo>
                    <a:cubicBezTo>
                      <a:pt x="183535" y="638223"/>
                      <a:pt x="185633" y="640286"/>
                      <a:pt x="188118" y="641706"/>
                    </a:cubicBezTo>
                    <a:cubicBezTo>
                      <a:pt x="209275" y="653796"/>
                      <a:pt x="187375" y="639622"/>
                      <a:pt x="204787" y="651231"/>
                    </a:cubicBezTo>
                    <a:cubicBezTo>
                      <a:pt x="208584" y="656927"/>
                      <a:pt x="210860" y="661351"/>
                      <a:pt x="216693" y="665518"/>
                    </a:cubicBezTo>
                    <a:cubicBezTo>
                      <a:pt x="223399" y="670308"/>
                      <a:pt x="228071" y="670744"/>
                      <a:pt x="235743" y="672662"/>
                    </a:cubicBezTo>
                    <a:cubicBezTo>
                      <a:pt x="255338" y="669863"/>
                      <a:pt x="262897" y="667584"/>
                      <a:pt x="285750" y="672662"/>
                    </a:cubicBezTo>
                    <a:cubicBezTo>
                      <a:pt x="289624" y="673523"/>
                      <a:pt x="291829" y="677837"/>
                      <a:pt x="295275" y="679806"/>
                    </a:cubicBezTo>
                    <a:cubicBezTo>
                      <a:pt x="297454" y="681051"/>
                      <a:pt x="299983" y="681578"/>
                      <a:pt x="302418" y="682187"/>
                    </a:cubicBezTo>
                    <a:cubicBezTo>
                      <a:pt x="311697" y="684506"/>
                      <a:pt x="321594" y="685607"/>
                      <a:pt x="330993" y="686950"/>
                    </a:cubicBezTo>
                    <a:cubicBezTo>
                      <a:pt x="333374" y="689331"/>
                      <a:pt x="335335" y="692225"/>
                      <a:pt x="338137" y="694093"/>
                    </a:cubicBezTo>
                    <a:cubicBezTo>
                      <a:pt x="340226" y="695485"/>
                      <a:pt x="343321" y="694907"/>
                      <a:pt x="345281" y="696475"/>
                    </a:cubicBezTo>
                    <a:cubicBezTo>
                      <a:pt x="347516" y="698263"/>
                      <a:pt x="348456" y="701237"/>
                      <a:pt x="350043" y="703618"/>
                    </a:cubicBezTo>
                    <a:cubicBezTo>
                      <a:pt x="350837" y="706793"/>
                      <a:pt x="351526" y="709996"/>
                      <a:pt x="352425" y="713143"/>
                    </a:cubicBezTo>
                    <a:cubicBezTo>
                      <a:pt x="353115" y="715557"/>
                      <a:pt x="354197" y="717852"/>
                      <a:pt x="354806" y="720287"/>
                    </a:cubicBezTo>
                    <a:cubicBezTo>
                      <a:pt x="355788" y="724213"/>
                      <a:pt x="356205" y="728267"/>
                      <a:pt x="357187" y="732193"/>
                    </a:cubicBezTo>
                    <a:cubicBezTo>
                      <a:pt x="358478" y="737358"/>
                      <a:pt x="359754" y="743297"/>
                      <a:pt x="366712" y="744100"/>
                    </a:cubicBezTo>
                    <a:cubicBezTo>
                      <a:pt x="384865" y="746195"/>
                      <a:pt x="403225" y="745687"/>
                      <a:pt x="421481" y="746481"/>
                    </a:cubicBezTo>
                    <a:cubicBezTo>
                      <a:pt x="427202" y="747911"/>
                      <a:pt x="434038" y="748485"/>
                      <a:pt x="438150" y="753625"/>
                    </a:cubicBezTo>
                    <a:cubicBezTo>
                      <a:pt x="451296" y="770057"/>
                      <a:pt x="427199" y="751880"/>
                      <a:pt x="447675" y="765531"/>
                    </a:cubicBezTo>
                    <a:cubicBezTo>
                      <a:pt x="464685" y="791050"/>
                      <a:pt x="438199" y="752327"/>
                      <a:pt x="459581" y="779818"/>
                    </a:cubicBezTo>
                    <a:cubicBezTo>
                      <a:pt x="463095" y="784336"/>
                      <a:pt x="465931" y="789343"/>
                      <a:pt x="469106" y="794106"/>
                    </a:cubicBezTo>
                    <a:lnTo>
                      <a:pt x="473868" y="801250"/>
                    </a:lnTo>
                    <a:cubicBezTo>
                      <a:pt x="474662" y="809187"/>
                      <a:pt x="474456" y="817289"/>
                      <a:pt x="476250" y="825062"/>
                    </a:cubicBezTo>
                    <a:cubicBezTo>
                      <a:pt x="476894" y="827851"/>
                      <a:pt x="479732" y="829646"/>
                      <a:pt x="481012" y="832206"/>
                    </a:cubicBezTo>
                    <a:cubicBezTo>
                      <a:pt x="490863" y="851910"/>
                      <a:pt x="474516" y="826037"/>
                      <a:pt x="488156" y="846493"/>
                    </a:cubicBezTo>
                    <a:cubicBezTo>
                      <a:pt x="491042" y="855153"/>
                      <a:pt x="488444" y="853709"/>
                      <a:pt x="497681" y="856018"/>
                    </a:cubicBezTo>
                    <a:cubicBezTo>
                      <a:pt x="498451" y="856210"/>
                      <a:pt x="488552" y="856415"/>
                      <a:pt x="492918" y="856018"/>
                    </a:cubicBezTo>
                    <a:close/>
                  </a:path>
                </a:pathLst>
              </a:custGeom>
              <a:grpFill/>
              <a:ln w="3175">
                <a:solidFill>
                  <a:srgbClr val="FF8300"/>
                </a:solidFill>
                <a:round/>
                <a:headEnd/>
                <a:tailEnd/>
              </a:ln>
            </p:spPr>
            <p:txBody>
              <a:bodyPr/>
              <a:lstStyle/>
              <a:p>
                <a:pPr>
                  <a:defRPr/>
                </a:pPr>
                <a:endParaRPr lang="en-GB" sz="1400">
                  <a:solidFill>
                    <a:schemeClr val="tx2"/>
                  </a:solidFill>
                </a:endParaRPr>
              </a:p>
            </p:txBody>
          </p:sp>
          <p:sp>
            <p:nvSpPr>
              <p:cNvPr id="369" name="Freeform 12"/>
              <p:cNvSpPr/>
              <p:nvPr/>
            </p:nvSpPr>
            <p:spPr bwMode="gray">
              <a:xfrm>
                <a:off x="3050987" y="3532437"/>
                <a:ext cx="1360760" cy="1325225"/>
              </a:xfrm>
              <a:custGeom>
                <a:avLst/>
                <a:gdLst>
                  <a:gd name="connsiteX0" fmla="*/ 111919 w 1550194"/>
                  <a:gd name="connsiteY0" fmla="*/ 1500187 h 1509712"/>
                  <a:gd name="connsiteX1" fmla="*/ 109538 w 1550194"/>
                  <a:gd name="connsiteY1" fmla="*/ 1469231 h 1509712"/>
                  <a:gd name="connsiteX2" fmla="*/ 104775 w 1550194"/>
                  <a:gd name="connsiteY2" fmla="*/ 1462087 h 1509712"/>
                  <a:gd name="connsiteX3" fmla="*/ 97631 w 1550194"/>
                  <a:gd name="connsiteY3" fmla="*/ 1447800 h 1509712"/>
                  <a:gd name="connsiteX4" fmla="*/ 100013 w 1550194"/>
                  <a:gd name="connsiteY4" fmla="*/ 1423987 h 1509712"/>
                  <a:gd name="connsiteX5" fmla="*/ 102394 w 1550194"/>
                  <a:gd name="connsiteY5" fmla="*/ 1416844 h 1509712"/>
                  <a:gd name="connsiteX6" fmla="*/ 107156 w 1550194"/>
                  <a:gd name="connsiteY6" fmla="*/ 1371600 h 1509712"/>
                  <a:gd name="connsiteX7" fmla="*/ 111919 w 1550194"/>
                  <a:gd name="connsiteY7" fmla="*/ 1364456 h 1509712"/>
                  <a:gd name="connsiteX8" fmla="*/ 111919 w 1550194"/>
                  <a:gd name="connsiteY8" fmla="*/ 1316831 h 1509712"/>
                  <a:gd name="connsiteX9" fmla="*/ 107156 w 1550194"/>
                  <a:gd name="connsiteY9" fmla="*/ 1300162 h 1509712"/>
                  <a:gd name="connsiteX10" fmla="*/ 102394 w 1550194"/>
                  <a:gd name="connsiteY10" fmla="*/ 1293019 h 1509712"/>
                  <a:gd name="connsiteX11" fmla="*/ 92869 w 1550194"/>
                  <a:gd name="connsiteY11" fmla="*/ 1281112 h 1509712"/>
                  <a:gd name="connsiteX12" fmla="*/ 80963 w 1550194"/>
                  <a:gd name="connsiteY12" fmla="*/ 1269206 h 1509712"/>
                  <a:gd name="connsiteX13" fmla="*/ 66675 w 1550194"/>
                  <a:gd name="connsiteY13" fmla="*/ 1257300 h 1509712"/>
                  <a:gd name="connsiteX14" fmla="*/ 54769 w 1550194"/>
                  <a:gd name="connsiteY14" fmla="*/ 1247775 h 1509712"/>
                  <a:gd name="connsiteX15" fmla="*/ 42863 w 1550194"/>
                  <a:gd name="connsiteY15" fmla="*/ 1233487 h 1509712"/>
                  <a:gd name="connsiteX16" fmla="*/ 35719 w 1550194"/>
                  <a:gd name="connsiteY16" fmla="*/ 1228725 h 1509712"/>
                  <a:gd name="connsiteX17" fmla="*/ 21431 w 1550194"/>
                  <a:gd name="connsiteY17" fmla="*/ 1214437 h 1509712"/>
                  <a:gd name="connsiteX18" fmla="*/ 14288 w 1550194"/>
                  <a:gd name="connsiteY18" fmla="*/ 1207294 h 1509712"/>
                  <a:gd name="connsiteX19" fmla="*/ 7144 w 1550194"/>
                  <a:gd name="connsiteY19" fmla="*/ 1202531 h 1509712"/>
                  <a:gd name="connsiteX20" fmla="*/ 0 w 1550194"/>
                  <a:gd name="connsiteY20" fmla="*/ 1188244 h 1509712"/>
                  <a:gd name="connsiteX21" fmla="*/ 2381 w 1550194"/>
                  <a:gd name="connsiteY21" fmla="*/ 1173956 h 1509712"/>
                  <a:gd name="connsiteX22" fmla="*/ 4763 w 1550194"/>
                  <a:gd name="connsiteY22" fmla="*/ 1164431 h 1509712"/>
                  <a:gd name="connsiteX23" fmla="*/ 11906 w 1550194"/>
                  <a:gd name="connsiteY23" fmla="*/ 1159669 h 1509712"/>
                  <a:gd name="connsiteX24" fmla="*/ 16669 w 1550194"/>
                  <a:gd name="connsiteY24" fmla="*/ 1150144 h 1509712"/>
                  <a:gd name="connsiteX25" fmla="*/ 26194 w 1550194"/>
                  <a:gd name="connsiteY25" fmla="*/ 1135856 h 1509712"/>
                  <a:gd name="connsiteX26" fmla="*/ 28575 w 1550194"/>
                  <a:gd name="connsiteY26" fmla="*/ 1047750 h 1509712"/>
                  <a:gd name="connsiteX27" fmla="*/ 35719 w 1550194"/>
                  <a:gd name="connsiteY27" fmla="*/ 1019175 h 1509712"/>
                  <a:gd name="connsiteX28" fmla="*/ 38100 w 1550194"/>
                  <a:gd name="connsiteY28" fmla="*/ 1012031 h 1509712"/>
                  <a:gd name="connsiteX29" fmla="*/ 40481 w 1550194"/>
                  <a:gd name="connsiteY29" fmla="*/ 1002506 h 1509712"/>
                  <a:gd name="connsiteX30" fmla="*/ 47625 w 1550194"/>
                  <a:gd name="connsiteY30" fmla="*/ 981075 h 1509712"/>
                  <a:gd name="connsiteX31" fmla="*/ 52388 w 1550194"/>
                  <a:gd name="connsiteY31" fmla="*/ 966787 h 1509712"/>
                  <a:gd name="connsiteX32" fmla="*/ 66675 w 1550194"/>
                  <a:gd name="connsiteY32" fmla="*/ 954881 h 1509712"/>
                  <a:gd name="connsiteX33" fmla="*/ 69056 w 1550194"/>
                  <a:gd name="connsiteY33" fmla="*/ 947737 h 1509712"/>
                  <a:gd name="connsiteX34" fmla="*/ 76200 w 1550194"/>
                  <a:gd name="connsiteY34" fmla="*/ 942975 h 1509712"/>
                  <a:gd name="connsiteX35" fmla="*/ 83344 w 1550194"/>
                  <a:gd name="connsiteY35" fmla="*/ 935831 h 1509712"/>
                  <a:gd name="connsiteX36" fmla="*/ 92869 w 1550194"/>
                  <a:gd name="connsiteY36" fmla="*/ 921544 h 1509712"/>
                  <a:gd name="connsiteX37" fmla="*/ 100013 w 1550194"/>
                  <a:gd name="connsiteY37" fmla="*/ 904875 h 1509712"/>
                  <a:gd name="connsiteX38" fmla="*/ 104775 w 1550194"/>
                  <a:gd name="connsiteY38" fmla="*/ 890587 h 1509712"/>
                  <a:gd name="connsiteX39" fmla="*/ 107156 w 1550194"/>
                  <a:gd name="connsiteY39" fmla="*/ 883444 h 1509712"/>
                  <a:gd name="connsiteX40" fmla="*/ 121444 w 1550194"/>
                  <a:gd name="connsiteY40" fmla="*/ 873919 h 1509712"/>
                  <a:gd name="connsiteX41" fmla="*/ 133350 w 1550194"/>
                  <a:gd name="connsiteY41" fmla="*/ 859631 h 1509712"/>
                  <a:gd name="connsiteX42" fmla="*/ 142875 w 1550194"/>
                  <a:gd name="connsiteY42" fmla="*/ 854869 h 1509712"/>
                  <a:gd name="connsiteX43" fmla="*/ 150019 w 1550194"/>
                  <a:gd name="connsiteY43" fmla="*/ 850106 h 1509712"/>
                  <a:gd name="connsiteX44" fmla="*/ 159544 w 1550194"/>
                  <a:gd name="connsiteY44" fmla="*/ 842962 h 1509712"/>
                  <a:gd name="connsiteX45" fmla="*/ 169069 w 1550194"/>
                  <a:gd name="connsiteY45" fmla="*/ 840581 h 1509712"/>
                  <a:gd name="connsiteX46" fmla="*/ 235744 w 1550194"/>
                  <a:gd name="connsiteY46" fmla="*/ 838200 h 1509712"/>
                  <a:gd name="connsiteX47" fmla="*/ 250031 w 1550194"/>
                  <a:gd name="connsiteY47" fmla="*/ 831056 h 1509712"/>
                  <a:gd name="connsiteX48" fmla="*/ 257175 w 1550194"/>
                  <a:gd name="connsiteY48" fmla="*/ 828675 h 1509712"/>
                  <a:gd name="connsiteX49" fmla="*/ 271463 w 1550194"/>
                  <a:gd name="connsiteY49" fmla="*/ 819150 h 1509712"/>
                  <a:gd name="connsiteX50" fmla="*/ 290513 w 1550194"/>
                  <a:gd name="connsiteY50" fmla="*/ 814387 h 1509712"/>
                  <a:gd name="connsiteX51" fmla="*/ 304800 w 1550194"/>
                  <a:gd name="connsiteY51" fmla="*/ 804862 h 1509712"/>
                  <a:gd name="connsiteX52" fmla="*/ 311944 w 1550194"/>
                  <a:gd name="connsiteY52" fmla="*/ 797719 h 1509712"/>
                  <a:gd name="connsiteX53" fmla="*/ 319088 w 1550194"/>
                  <a:gd name="connsiteY53" fmla="*/ 792956 h 1509712"/>
                  <a:gd name="connsiteX54" fmla="*/ 330994 w 1550194"/>
                  <a:gd name="connsiteY54" fmla="*/ 781050 h 1509712"/>
                  <a:gd name="connsiteX55" fmla="*/ 345281 w 1550194"/>
                  <a:gd name="connsiteY55" fmla="*/ 771525 h 1509712"/>
                  <a:gd name="connsiteX56" fmla="*/ 359569 w 1550194"/>
                  <a:gd name="connsiteY56" fmla="*/ 759619 h 1509712"/>
                  <a:gd name="connsiteX57" fmla="*/ 366713 w 1550194"/>
                  <a:gd name="connsiteY57" fmla="*/ 757237 h 1509712"/>
                  <a:gd name="connsiteX58" fmla="*/ 371475 w 1550194"/>
                  <a:gd name="connsiteY58" fmla="*/ 750094 h 1509712"/>
                  <a:gd name="connsiteX59" fmla="*/ 388144 w 1550194"/>
                  <a:gd name="connsiteY59" fmla="*/ 742950 h 1509712"/>
                  <a:gd name="connsiteX60" fmla="*/ 402431 w 1550194"/>
                  <a:gd name="connsiteY60" fmla="*/ 731044 h 1509712"/>
                  <a:gd name="connsiteX61" fmla="*/ 419100 w 1550194"/>
                  <a:gd name="connsiteY61" fmla="*/ 723900 h 1509712"/>
                  <a:gd name="connsiteX62" fmla="*/ 440531 w 1550194"/>
                  <a:gd name="connsiteY62" fmla="*/ 711994 h 1509712"/>
                  <a:gd name="connsiteX63" fmla="*/ 461963 w 1550194"/>
                  <a:gd name="connsiteY63" fmla="*/ 700087 h 1509712"/>
                  <a:gd name="connsiteX64" fmla="*/ 471488 w 1550194"/>
                  <a:gd name="connsiteY64" fmla="*/ 697706 h 1509712"/>
                  <a:gd name="connsiteX65" fmla="*/ 478631 w 1550194"/>
                  <a:gd name="connsiteY65" fmla="*/ 692944 h 1509712"/>
                  <a:gd name="connsiteX66" fmla="*/ 495300 w 1550194"/>
                  <a:gd name="connsiteY66" fmla="*/ 688181 h 1509712"/>
                  <a:gd name="connsiteX67" fmla="*/ 509588 w 1550194"/>
                  <a:gd name="connsiteY67" fmla="*/ 676275 h 1509712"/>
                  <a:gd name="connsiteX68" fmla="*/ 531019 w 1550194"/>
                  <a:gd name="connsiteY68" fmla="*/ 664369 h 1509712"/>
                  <a:gd name="connsiteX69" fmla="*/ 535781 w 1550194"/>
                  <a:gd name="connsiteY69" fmla="*/ 657225 h 1509712"/>
                  <a:gd name="connsiteX70" fmla="*/ 550069 w 1550194"/>
                  <a:gd name="connsiteY70" fmla="*/ 647700 h 1509712"/>
                  <a:gd name="connsiteX71" fmla="*/ 552450 w 1550194"/>
                  <a:gd name="connsiteY71" fmla="*/ 640556 h 1509712"/>
                  <a:gd name="connsiteX72" fmla="*/ 566738 w 1550194"/>
                  <a:gd name="connsiteY72" fmla="*/ 628650 h 1509712"/>
                  <a:gd name="connsiteX73" fmla="*/ 576263 w 1550194"/>
                  <a:gd name="connsiteY73" fmla="*/ 614362 h 1509712"/>
                  <a:gd name="connsiteX74" fmla="*/ 581025 w 1550194"/>
                  <a:gd name="connsiteY74" fmla="*/ 600075 h 1509712"/>
                  <a:gd name="connsiteX75" fmla="*/ 578644 w 1550194"/>
                  <a:gd name="connsiteY75" fmla="*/ 538162 h 1509712"/>
                  <a:gd name="connsiteX76" fmla="*/ 576263 w 1550194"/>
                  <a:gd name="connsiteY76" fmla="*/ 531019 h 1509712"/>
                  <a:gd name="connsiteX77" fmla="*/ 590550 w 1550194"/>
                  <a:gd name="connsiteY77" fmla="*/ 523875 h 1509712"/>
                  <a:gd name="connsiteX78" fmla="*/ 595313 w 1550194"/>
                  <a:gd name="connsiteY78" fmla="*/ 516731 h 1509712"/>
                  <a:gd name="connsiteX79" fmla="*/ 602456 w 1550194"/>
                  <a:gd name="connsiteY79" fmla="*/ 514350 h 1509712"/>
                  <a:gd name="connsiteX80" fmla="*/ 611981 w 1550194"/>
                  <a:gd name="connsiteY80" fmla="*/ 500062 h 1509712"/>
                  <a:gd name="connsiteX81" fmla="*/ 609600 w 1550194"/>
                  <a:gd name="connsiteY81" fmla="*/ 483394 h 1509712"/>
                  <a:gd name="connsiteX82" fmla="*/ 604838 w 1550194"/>
                  <a:gd name="connsiteY82" fmla="*/ 476250 h 1509712"/>
                  <a:gd name="connsiteX83" fmla="*/ 602456 w 1550194"/>
                  <a:gd name="connsiteY83" fmla="*/ 469106 h 1509712"/>
                  <a:gd name="connsiteX84" fmla="*/ 595313 w 1550194"/>
                  <a:gd name="connsiteY84" fmla="*/ 438150 h 1509712"/>
                  <a:gd name="connsiteX85" fmla="*/ 607219 w 1550194"/>
                  <a:gd name="connsiteY85" fmla="*/ 402431 h 1509712"/>
                  <a:gd name="connsiteX86" fmla="*/ 621506 w 1550194"/>
                  <a:gd name="connsiteY86" fmla="*/ 392906 h 1509712"/>
                  <a:gd name="connsiteX87" fmla="*/ 626269 w 1550194"/>
                  <a:gd name="connsiteY87" fmla="*/ 426244 h 1509712"/>
                  <a:gd name="connsiteX88" fmla="*/ 631031 w 1550194"/>
                  <a:gd name="connsiteY88" fmla="*/ 433387 h 1509712"/>
                  <a:gd name="connsiteX89" fmla="*/ 642938 w 1550194"/>
                  <a:gd name="connsiteY89" fmla="*/ 457200 h 1509712"/>
                  <a:gd name="connsiteX90" fmla="*/ 647700 w 1550194"/>
                  <a:gd name="connsiteY90" fmla="*/ 464344 h 1509712"/>
                  <a:gd name="connsiteX91" fmla="*/ 654844 w 1550194"/>
                  <a:gd name="connsiteY91" fmla="*/ 469106 h 1509712"/>
                  <a:gd name="connsiteX92" fmla="*/ 659606 w 1550194"/>
                  <a:gd name="connsiteY92" fmla="*/ 476250 h 1509712"/>
                  <a:gd name="connsiteX93" fmla="*/ 652463 w 1550194"/>
                  <a:gd name="connsiteY93" fmla="*/ 500062 h 1509712"/>
                  <a:gd name="connsiteX94" fmla="*/ 657225 w 1550194"/>
                  <a:gd name="connsiteY94" fmla="*/ 516731 h 1509712"/>
                  <a:gd name="connsiteX95" fmla="*/ 678656 w 1550194"/>
                  <a:gd name="connsiteY95" fmla="*/ 528637 h 1509712"/>
                  <a:gd name="connsiteX96" fmla="*/ 697706 w 1550194"/>
                  <a:gd name="connsiteY96" fmla="*/ 533400 h 1509712"/>
                  <a:gd name="connsiteX97" fmla="*/ 711994 w 1550194"/>
                  <a:gd name="connsiteY97" fmla="*/ 545306 h 1509712"/>
                  <a:gd name="connsiteX98" fmla="*/ 714375 w 1550194"/>
                  <a:gd name="connsiteY98" fmla="*/ 552450 h 1509712"/>
                  <a:gd name="connsiteX99" fmla="*/ 719138 w 1550194"/>
                  <a:gd name="connsiteY99" fmla="*/ 559594 h 1509712"/>
                  <a:gd name="connsiteX100" fmla="*/ 721519 w 1550194"/>
                  <a:gd name="connsiteY100" fmla="*/ 566737 h 1509712"/>
                  <a:gd name="connsiteX101" fmla="*/ 735806 w 1550194"/>
                  <a:gd name="connsiteY101" fmla="*/ 573881 h 1509712"/>
                  <a:gd name="connsiteX102" fmla="*/ 752475 w 1550194"/>
                  <a:gd name="connsiteY102" fmla="*/ 566737 h 1509712"/>
                  <a:gd name="connsiteX103" fmla="*/ 757238 w 1550194"/>
                  <a:gd name="connsiteY103" fmla="*/ 559594 h 1509712"/>
                  <a:gd name="connsiteX104" fmla="*/ 766763 w 1550194"/>
                  <a:gd name="connsiteY104" fmla="*/ 550069 h 1509712"/>
                  <a:gd name="connsiteX105" fmla="*/ 778669 w 1550194"/>
                  <a:gd name="connsiteY105" fmla="*/ 535781 h 1509712"/>
                  <a:gd name="connsiteX106" fmla="*/ 776288 w 1550194"/>
                  <a:gd name="connsiteY106" fmla="*/ 485775 h 1509712"/>
                  <a:gd name="connsiteX107" fmla="*/ 771525 w 1550194"/>
                  <a:gd name="connsiteY107" fmla="*/ 471487 h 1509712"/>
                  <a:gd name="connsiteX108" fmla="*/ 769144 w 1550194"/>
                  <a:gd name="connsiteY108" fmla="*/ 464344 h 1509712"/>
                  <a:gd name="connsiteX109" fmla="*/ 766763 w 1550194"/>
                  <a:gd name="connsiteY109" fmla="*/ 450056 h 1509712"/>
                  <a:gd name="connsiteX110" fmla="*/ 764381 w 1550194"/>
                  <a:gd name="connsiteY110" fmla="*/ 397669 h 1509712"/>
                  <a:gd name="connsiteX111" fmla="*/ 735806 w 1550194"/>
                  <a:gd name="connsiteY111" fmla="*/ 395287 h 1509712"/>
                  <a:gd name="connsiteX112" fmla="*/ 719138 w 1550194"/>
                  <a:gd name="connsiteY112" fmla="*/ 390525 h 1509712"/>
                  <a:gd name="connsiteX113" fmla="*/ 704850 w 1550194"/>
                  <a:gd name="connsiteY113" fmla="*/ 378619 h 1509712"/>
                  <a:gd name="connsiteX114" fmla="*/ 702469 w 1550194"/>
                  <a:gd name="connsiteY114" fmla="*/ 345281 h 1509712"/>
                  <a:gd name="connsiteX115" fmla="*/ 707231 w 1550194"/>
                  <a:gd name="connsiteY115" fmla="*/ 338137 h 1509712"/>
                  <a:gd name="connsiteX116" fmla="*/ 714375 w 1550194"/>
                  <a:gd name="connsiteY116" fmla="*/ 333375 h 1509712"/>
                  <a:gd name="connsiteX117" fmla="*/ 728663 w 1550194"/>
                  <a:gd name="connsiteY117" fmla="*/ 319087 h 1509712"/>
                  <a:gd name="connsiteX118" fmla="*/ 742950 w 1550194"/>
                  <a:gd name="connsiteY118" fmla="*/ 309562 h 1509712"/>
                  <a:gd name="connsiteX119" fmla="*/ 757238 w 1550194"/>
                  <a:gd name="connsiteY119" fmla="*/ 295275 h 1509712"/>
                  <a:gd name="connsiteX120" fmla="*/ 762000 w 1550194"/>
                  <a:gd name="connsiteY120" fmla="*/ 280987 h 1509712"/>
                  <a:gd name="connsiteX121" fmla="*/ 766763 w 1550194"/>
                  <a:gd name="connsiteY121" fmla="*/ 261937 h 1509712"/>
                  <a:gd name="connsiteX122" fmla="*/ 776288 w 1550194"/>
                  <a:gd name="connsiteY122" fmla="*/ 247650 h 1509712"/>
                  <a:gd name="connsiteX123" fmla="*/ 781050 w 1550194"/>
                  <a:gd name="connsiteY123" fmla="*/ 240506 h 1509712"/>
                  <a:gd name="connsiteX124" fmla="*/ 778669 w 1550194"/>
                  <a:gd name="connsiteY124" fmla="*/ 228600 h 1509712"/>
                  <a:gd name="connsiteX125" fmla="*/ 766763 w 1550194"/>
                  <a:gd name="connsiteY125" fmla="*/ 214312 h 1509712"/>
                  <a:gd name="connsiteX126" fmla="*/ 769144 w 1550194"/>
                  <a:gd name="connsiteY126" fmla="*/ 197644 h 1509712"/>
                  <a:gd name="connsiteX127" fmla="*/ 776288 w 1550194"/>
                  <a:gd name="connsiteY127" fmla="*/ 195262 h 1509712"/>
                  <a:gd name="connsiteX128" fmla="*/ 790575 w 1550194"/>
                  <a:gd name="connsiteY128" fmla="*/ 185737 h 1509712"/>
                  <a:gd name="connsiteX129" fmla="*/ 797719 w 1550194"/>
                  <a:gd name="connsiteY129" fmla="*/ 180975 h 1509712"/>
                  <a:gd name="connsiteX130" fmla="*/ 807244 w 1550194"/>
                  <a:gd name="connsiteY130" fmla="*/ 173831 h 1509712"/>
                  <a:gd name="connsiteX131" fmla="*/ 838200 w 1550194"/>
                  <a:gd name="connsiteY131" fmla="*/ 169069 h 1509712"/>
                  <a:gd name="connsiteX132" fmla="*/ 854869 w 1550194"/>
                  <a:gd name="connsiteY132" fmla="*/ 152400 h 1509712"/>
                  <a:gd name="connsiteX133" fmla="*/ 869156 w 1550194"/>
                  <a:gd name="connsiteY133" fmla="*/ 140494 h 1509712"/>
                  <a:gd name="connsiteX134" fmla="*/ 873919 w 1550194"/>
                  <a:gd name="connsiteY134" fmla="*/ 133350 h 1509712"/>
                  <a:gd name="connsiteX135" fmla="*/ 881063 w 1550194"/>
                  <a:gd name="connsiteY135" fmla="*/ 128587 h 1509712"/>
                  <a:gd name="connsiteX136" fmla="*/ 883444 w 1550194"/>
                  <a:gd name="connsiteY136" fmla="*/ 121444 h 1509712"/>
                  <a:gd name="connsiteX137" fmla="*/ 888206 w 1550194"/>
                  <a:gd name="connsiteY137" fmla="*/ 114300 h 1509712"/>
                  <a:gd name="connsiteX138" fmla="*/ 897731 w 1550194"/>
                  <a:gd name="connsiteY138" fmla="*/ 92869 h 1509712"/>
                  <a:gd name="connsiteX139" fmla="*/ 900113 w 1550194"/>
                  <a:gd name="connsiteY139" fmla="*/ 80962 h 1509712"/>
                  <a:gd name="connsiteX140" fmla="*/ 907256 w 1550194"/>
                  <a:gd name="connsiteY140" fmla="*/ 66675 h 1509712"/>
                  <a:gd name="connsiteX141" fmla="*/ 909638 w 1550194"/>
                  <a:gd name="connsiteY141" fmla="*/ 54769 h 1509712"/>
                  <a:gd name="connsiteX142" fmla="*/ 914400 w 1550194"/>
                  <a:gd name="connsiteY142" fmla="*/ 40481 h 1509712"/>
                  <a:gd name="connsiteX143" fmla="*/ 916781 w 1550194"/>
                  <a:gd name="connsiteY143" fmla="*/ 33337 h 1509712"/>
                  <a:gd name="connsiteX144" fmla="*/ 919163 w 1550194"/>
                  <a:gd name="connsiteY144" fmla="*/ 26194 h 1509712"/>
                  <a:gd name="connsiteX145" fmla="*/ 921544 w 1550194"/>
                  <a:gd name="connsiteY145" fmla="*/ 19050 h 1509712"/>
                  <a:gd name="connsiteX146" fmla="*/ 938213 w 1550194"/>
                  <a:gd name="connsiteY146" fmla="*/ 7144 h 1509712"/>
                  <a:gd name="connsiteX147" fmla="*/ 954881 w 1550194"/>
                  <a:gd name="connsiteY147" fmla="*/ 0 h 1509712"/>
                  <a:gd name="connsiteX148" fmla="*/ 995363 w 1550194"/>
                  <a:gd name="connsiteY148" fmla="*/ 2381 h 1509712"/>
                  <a:gd name="connsiteX149" fmla="*/ 1009650 w 1550194"/>
                  <a:gd name="connsiteY149" fmla="*/ 16669 h 1509712"/>
                  <a:gd name="connsiteX150" fmla="*/ 1023938 w 1550194"/>
                  <a:gd name="connsiteY150" fmla="*/ 21431 h 1509712"/>
                  <a:gd name="connsiteX151" fmla="*/ 1045369 w 1550194"/>
                  <a:gd name="connsiteY151" fmla="*/ 38100 h 1509712"/>
                  <a:gd name="connsiteX152" fmla="*/ 1052513 w 1550194"/>
                  <a:gd name="connsiteY152" fmla="*/ 78581 h 1509712"/>
                  <a:gd name="connsiteX153" fmla="*/ 1045369 w 1550194"/>
                  <a:gd name="connsiteY153" fmla="*/ 80962 h 1509712"/>
                  <a:gd name="connsiteX154" fmla="*/ 1023938 w 1550194"/>
                  <a:gd name="connsiteY154" fmla="*/ 85725 h 1509712"/>
                  <a:gd name="connsiteX155" fmla="*/ 1012031 w 1550194"/>
                  <a:gd name="connsiteY155" fmla="*/ 100012 h 1509712"/>
                  <a:gd name="connsiteX156" fmla="*/ 1009650 w 1550194"/>
                  <a:gd name="connsiteY156" fmla="*/ 107156 h 1509712"/>
                  <a:gd name="connsiteX157" fmla="*/ 1000125 w 1550194"/>
                  <a:gd name="connsiteY157" fmla="*/ 123825 h 1509712"/>
                  <a:gd name="connsiteX158" fmla="*/ 992981 w 1550194"/>
                  <a:gd name="connsiteY158" fmla="*/ 130969 h 1509712"/>
                  <a:gd name="connsiteX159" fmla="*/ 990600 w 1550194"/>
                  <a:gd name="connsiteY159" fmla="*/ 138112 h 1509712"/>
                  <a:gd name="connsiteX160" fmla="*/ 978694 w 1550194"/>
                  <a:gd name="connsiteY160" fmla="*/ 154781 h 1509712"/>
                  <a:gd name="connsiteX161" fmla="*/ 973931 w 1550194"/>
                  <a:gd name="connsiteY161" fmla="*/ 169069 h 1509712"/>
                  <a:gd name="connsiteX162" fmla="*/ 964406 w 1550194"/>
                  <a:gd name="connsiteY162" fmla="*/ 202406 h 1509712"/>
                  <a:gd name="connsiteX163" fmla="*/ 962025 w 1550194"/>
                  <a:gd name="connsiteY163" fmla="*/ 219075 h 1509712"/>
                  <a:gd name="connsiteX164" fmla="*/ 964406 w 1550194"/>
                  <a:gd name="connsiteY164" fmla="*/ 304800 h 1509712"/>
                  <a:gd name="connsiteX165" fmla="*/ 959644 w 1550194"/>
                  <a:gd name="connsiteY165" fmla="*/ 330994 h 1509712"/>
                  <a:gd name="connsiteX166" fmla="*/ 952500 w 1550194"/>
                  <a:gd name="connsiteY166" fmla="*/ 338137 h 1509712"/>
                  <a:gd name="connsiteX167" fmla="*/ 942975 w 1550194"/>
                  <a:gd name="connsiteY167" fmla="*/ 352425 h 1509712"/>
                  <a:gd name="connsiteX168" fmla="*/ 931069 w 1550194"/>
                  <a:gd name="connsiteY168" fmla="*/ 371475 h 1509712"/>
                  <a:gd name="connsiteX169" fmla="*/ 926306 w 1550194"/>
                  <a:gd name="connsiteY169" fmla="*/ 385762 h 1509712"/>
                  <a:gd name="connsiteX170" fmla="*/ 921544 w 1550194"/>
                  <a:gd name="connsiteY170" fmla="*/ 400050 h 1509712"/>
                  <a:gd name="connsiteX171" fmla="*/ 919163 w 1550194"/>
                  <a:gd name="connsiteY171" fmla="*/ 407194 h 1509712"/>
                  <a:gd name="connsiteX172" fmla="*/ 916781 w 1550194"/>
                  <a:gd name="connsiteY172" fmla="*/ 416719 h 1509712"/>
                  <a:gd name="connsiteX173" fmla="*/ 914400 w 1550194"/>
                  <a:gd name="connsiteY173" fmla="*/ 423862 h 1509712"/>
                  <a:gd name="connsiteX174" fmla="*/ 909638 w 1550194"/>
                  <a:gd name="connsiteY174" fmla="*/ 440531 h 1509712"/>
                  <a:gd name="connsiteX175" fmla="*/ 900113 w 1550194"/>
                  <a:gd name="connsiteY175" fmla="*/ 457200 h 1509712"/>
                  <a:gd name="connsiteX176" fmla="*/ 895350 w 1550194"/>
                  <a:gd name="connsiteY176" fmla="*/ 466725 h 1509712"/>
                  <a:gd name="connsiteX177" fmla="*/ 890588 w 1550194"/>
                  <a:gd name="connsiteY177" fmla="*/ 473869 h 1509712"/>
                  <a:gd name="connsiteX178" fmla="*/ 885825 w 1550194"/>
                  <a:gd name="connsiteY178" fmla="*/ 490537 h 1509712"/>
                  <a:gd name="connsiteX179" fmla="*/ 883444 w 1550194"/>
                  <a:gd name="connsiteY179" fmla="*/ 497681 h 1509712"/>
                  <a:gd name="connsiteX180" fmla="*/ 885825 w 1550194"/>
                  <a:gd name="connsiteY180" fmla="*/ 547687 h 1509712"/>
                  <a:gd name="connsiteX181" fmla="*/ 888206 w 1550194"/>
                  <a:gd name="connsiteY181" fmla="*/ 557212 h 1509712"/>
                  <a:gd name="connsiteX182" fmla="*/ 890588 w 1550194"/>
                  <a:gd name="connsiteY182" fmla="*/ 571500 h 1509712"/>
                  <a:gd name="connsiteX183" fmla="*/ 892969 w 1550194"/>
                  <a:gd name="connsiteY183" fmla="*/ 581025 h 1509712"/>
                  <a:gd name="connsiteX184" fmla="*/ 895350 w 1550194"/>
                  <a:gd name="connsiteY184" fmla="*/ 600075 h 1509712"/>
                  <a:gd name="connsiteX185" fmla="*/ 892969 w 1550194"/>
                  <a:gd name="connsiteY185" fmla="*/ 669131 h 1509712"/>
                  <a:gd name="connsiteX186" fmla="*/ 888206 w 1550194"/>
                  <a:gd name="connsiteY186" fmla="*/ 676275 h 1509712"/>
                  <a:gd name="connsiteX187" fmla="*/ 881063 w 1550194"/>
                  <a:gd name="connsiteY187" fmla="*/ 681037 h 1509712"/>
                  <a:gd name="connsiteX188" fmla="*/ 876300 w 1550194"/>
                  <a:gd name="connsiteY188" fmla="*/ 688181 h 1509712"/>
                  <a:gd name="connsiteX189" fmla="*/ 873919 w 1550194"/>
                  <a:gd name="connsiteY189" fmla="*/ 695325 h 1509712"/>
                  <a:gd name="connsiteX190" fmla="*/ 866775 w 1550194"/>
                  <a:gd name="connsiteY190" fmla="*/ 700087 h 1509712"/>
                  <a:gd name="connsiteX191" fmla="*/ 847725 w 1550194"/>
                  <a:gd name="connsiteY191" fmla="*/ 721519 h 1509712"/>
                  <a:gd name="connsiteX192" fmla="*/ 833438 w 1550194"/>
                  <a:gd name="connsiteY192" fmla="*/ 733425 h 1509712"/>
                  <a:gd name="connsiteX193" fmla="*/ 821531 w 1550194"/>
                  <a:gd name="connsiteY193" fmla="*/ 747712 h 1509712"/>
                  <a:gd name="connsiteX194" fmla="*/ 816769 w 1550194"/>
                  <a:gd name="connsiteY194" fmla="*/ 754856 h 1509712"/>
                  <a:gd name="connsiteX195" fmla="*/ 802481 w 1550194"/>
                  <a:gd name="connsiteY195" fmla="*/ 769144 h 1509712"/>
                  <a:gd name="connsiteX196" fmla="*/ 790575 w 1550194"/>
                  <a:gd name="connsiteY196" fmla="*/ 785812 h 1509712"/>
                  <a:gd name="connsiteX197" fmla="*/ 785813 w 1550194"/>
                  <a:gd name="connsiteY197" fmla="*/ 792956 h 1509712"/>
                  <a:gd name="connsiteX198" fmla="*/ 778669 w 1550194"/>
                  <a:gd name="connsiteY198" fmla="*/ 797719 h 1509712"/>
                  <a:gd name="connsiteX199" fmla="*/ 771525 w 1550194"/>
                  <a:gd name="connsiteY199" fmla="*/ 804862 h 1509712"/>
                  <a:gd name="connsiteX200" fmla="*/ 764381 w 1550194"/>
                  <a:gd name="connsiteY200" fmla="*/ 807244 h 1509712"/>
                  <a:gd name="connsiteX201" fmla="*/ 754856 w 1550194"/>
                  <a:gd name="connsiteY201" fmla="*/ 812006 h 1509712"/>
                  <a:gd name="connsiteX202" fmla="*/ 742950 w 1550194"/>
                  <a:gd name="connsiteY202" fmla="*/ 800100 h 1509712"/>
                  <a:gd name="connsiteX203" fmla="*/ 735806 w 1550194"/>
                  <a:gd name="connsiteY203" fmla="*/ 792956 h 1509712"/>
                  <a:gd name="connsiteX204" fmla="*/ 731044 w 1550194"/>
                  <a:gd name="connsiteY204" fmla="*/ 785812 h 1509712"/>
                  <a:gd name="connsiteX205" fmla="*/ 723900 w 1550194"/>
                  <a:gd name="connsiteY205" fmla="*/ 783431 h 1509712"/>
                  <a:gd name="connsiteX206" fmla="*/ 714375 w 1550194"/>
                  <a:gd name="connsiteY206" fmla="*/ 776287 h 1509712"/>
                  <a:gd name="connsiteX207" fmla="*/ 697706 w 1550194"/>
                  <a:gd name="connsiteY207" fmla="*/ 771525 h 1509712"/>
                  <a:gd name="connsiteX208" fmla="*/ 690563 w 1550194"/>
                  <a:gd name="connsiteY208" fmla="*/ 778669 h 1509712"/>
                  <a:gd name="connsiteX209" fmla="*/ 688181 w 1550194"/>
                  <a:gd name="connsiteY209" fmla="*/ 785812 h 1509712"/>
                  <a:gd name="connsiteX210" fmla="*/ 692944 w 1550194"/>
                  <a:gd name="connsiteY210" fmla="*/ 819150 h 1509712"/>
                  <a:gd name="connsiteX211" fmla="*/ 697706 w 1550194"/>
                  <a:gd name="connsiteY211" fmla="*/ 826294 h 1509712"/>
                  <a:gd name="connsiteX212" fmla="*/ 704850 w 1550194"/>
                  <a:gd name="connsiteY212" fmla="*/ 831056 h 1509712"/>
                  <a:gd name="connsiteX213" fmla="*/ 709613 w 1550194"/>
                  <a:gd name="connsiteY213" fmla="*/ 838200 h 1509712"/>
                  <a:gd name="connsiteX214" fmla="*/ 733425 w 1550194"/>
                  <a:gd name="connsiteY214" fmla="*/ 845344 h 1509712"/>
                  <a:gd name="connsiteX215" fmla="*/ 740569 w 1550194"/>
                  <a:gd name="connsiteY215" fmla="*/ 850106 h 1509712"/>
                  <a:gd name="connsiteX216" fmla="*/ 747713 w 1550194"/>
                  <a:gd name="connsiteY216" fmla="*/ 852487 h 1509712"/>
                  <a:gd name="connsiteX217" fmla="*/ 759619 w 1550194"/>
                  <a:gd name="connsiteY217" fmla="*/ 862012 h 1509712"/>
                  <a:gd name="connsiteX218" fmla="*/ 781050 w 1550194"/>
                  <a:gd name="connsiteY218" fmla="*/ 878681 h 1509712"/>
                  <a:gd name="connsiteX219" fmla="*/ 788194 w 1550194"/>
                  <a:gd name="connsiteY219" fmla="*/ 883444 h 1509712"/>
                  <a:gd name="connsiteX220" fmla="*/ 809625 w 1550194"/>
                  <a:gd name="connsiteY220" fmla="*/ 888206 h 1509712"/>
                  <a:gd name="connsiteX221" fmla="*/ 816769 w 1550194"/>
                  <a:gd name="connsiteY221" fmla="*/ 890587 h 1509712"/>
                  <a:gd name="connsiteX222" fmla="*/ 831056 w 1550194"/>
                  <a:gd name="connsiteY222" fmla="*/ 888206 h 1509712"/>
                  <a:gd name="connsiteX223" fmla="*/ 845344 w 1550194"/>
                  <a:gd name="connsiteY223" fmla="*/ 878681 h 1509712"/>
                  <a:gd name="connsiteX224" fmla="*/ 852488 w 1550194"/>
                  <a:gd name="connsiteY224" fmla="*/ 873919 h 1509712"/>
                  <a:gd name="connsiteX225" fmla="*/ 859631 w 1550194"/>
                  <a:gd name="connsiteY225" fmla="*/ 869156 h 1509712"/>
                  <a:gd name="connsiteX226" fmla="*/ 866775 w 1550194"/>
                  <a:gd name="connsiteY226" fmla="*/ 866775 h 1509712"/>
                  <a:gd name="connsiteX227" fmla="*/ 873919 w 1550194"/>
                  <a:gd name="connsiteY227" fmla="*/ 862012 h 1509712"/>
                  <a:gd name="connsiteX228" fmla="*/ 897731 w 1550194"/>
                  <a:gd name="connsiteY228" fmla="*/ 857250 h 1509712"/>
                  <a:gd name="connsiteX229" fmla="*/ 907256 w 1550194"/>
                  <a:gd name="connsiteY229" fmla="*/ 854869 h 1509712"/>
                  <a:gd name="connsiteX230" fmla="*/ 928688 w 1550194"/>
                  <a:gd name="connsiteY230" fmla="*/ 842962 h 1509712"/>
                  <a:gd name="connsiteX231" fmla="*/ 935831 w 1550194"/>
                  <a:gd name="connsiteY231" fmla="*/ 835819 h 1509712"/>
                  <a:gd name="connsiteX232" fmla="*/ 942975 w 1550194"/>
                  <a:gd name="connsiteY232" fmla="*/ 831056 h 1509712"/>
                  <a:gd name="connsiteX233" fmla="*/ 947738 w 1550194"/>
                  <a:gd name="connsiteY233" fmla="*/ 823912 h 1509712"/>
                  <a:gd name="connsiteX234" fmla="*/ 954881 w 1550194"/>
                  <a:gd name="connsiteY234" fmla="*/ 816769 h 1509712"/>
                  <a:gd name="connsiteX235" fmla="*/ 964406 w 1550194"/>
                  <a:gd name="connsiteY235" fmla="*/ 802481 h 1509712"/>
                  <a:gd name="connsiteX236" fmla="*/ 969169 w 1550194"/>
                  <a:gd name="connsiteY236" fmla="*/ 781050 h 1509712"/>
                  <a:gd name="connsiteX237" fmla="*/ 976313 w 1550194"/>
                  <a:gd name="connsiteY237" fmla="*/ 773906 h 1509712"/>
                  <a:gd name="connsiteX238" fmla="*/ 988219 w 1550194"/>
                  <a:gd name="connsiteY238" fmla="*/ 757237 h 1509712"/>
                  <a:gd name="connsiteX239" fmla="*/ 992981 w 1550194"/>
                  <a:gd name="connsiteY239" fmla="*/ 738187 h 1509712"/>
                  <a:gd name="connsiteX240" fmla="*/ 997744 w 1550194"/>
                  <a:gd name="connsiteY240" fmla="*/ 692944 h 1509712"/>
                  <a:gd name="connsiteX241" fmla="*/ 1000125 w 1550194"/>
                  <a:gd name="connsiteY241" fmla="*/ 685800 h 1509712"/>
                  <a:gd name="connsiteX242" fmla="*/ 1004888 w 1550194"/>
                  <a:gd name="connsiteY242" fmla="*/ 678656 h 1509712"/>
                  <a:gd name="connsiteX243" fmla="*/ 1007269 w 1550194"/>
                  <a:gd name="connsiteY243" fmla="*/ 671512 h 1509712"/>
                  <a:gd name="connsiteX244" fmla="*/ 1012031 w 1550194"/>
                  <a:gd name="connsiteY244" fmla="*/ 642937 h 1509712"/>
                  <a:gd name="connsiteX245" fmla="*/ 1016794 w 1550194"/>
                  <a:gd name="connsiteY245" fmla="*/ 635794 h 1509712"/>
                  <a:gd name="connsiteX246" fmla="*/ 1023938 w 1550194"/>
                  <a:gd name="connsiteY246" fmla="*/ 616744 h 1509712"/>
                  <a:gd name="connsiteX247" fmla="*/ 1031081 w 1550194"/>
                  <a:gd name="connsiteY247" fmla="*/ 614362 h 1509712"/>
                  <a:gd name="connsiteX248" fmla="*/ 1038225 w 1550194"/>
                  <a:gd name="connsiteY248" fmla="*/ 609600 h 1509712"/>
                  <a:gd name="connsiteX249" fmla="*/ 1083469 w 1550194"/>
                  <a:gd name="connsiteY249" fmla="*/ 604837 h 1509712"/>
                  <a:gd name="connsiteX250" fmla="*/ 1114425 w 1550194"/>
                  <a:gd name="connsiteY250" fmla="*/ 607219 h 1509712"/>
                  <a:gd name="connsiteX251" fmla="*/ 1119188 w 1550194"/>
                  <a:gd name="connsiteY251" fmla="*/ 621506 h 1509712"/>
                  <a:gd name="connsiteX252" fmla="*/ 1121569 w 1550194"/>
                  <a:gd name="connsiteY252" fmla="*/ 628650 h 1509712"/>
                  <a:gd name="connsiteX253" fmla="*/ 1123950 w 1550194"/>
                  <a:gd name="connsiteY253" fmla="*/ 635794 h 1509712"/>
                  <a:gd name="connsiteX254" fmla="*/ 1131094 w 1550194"/>
                  <a:gd name="connsiteY254" fmla="*/ 642937 h 1509712"/>
                  <a:gd name="connsiteX255" fmla="*/ 1138238 w 1550194"/>
                  <a:gd name="connsiteY255" fmla="*/ 647700 h 1509712"/>
                  <a:gd name="connsiteX256" fmla="*/ 1140619 w 1550194"/>
                  <a:gd name="connsiteY256" fmla="*/ 695325 h 1509712"/>
                  <a:gd name="connsiteX257" fmla="*/ 1135856 w 1550194"/>
                  <a:gd name="connsiteY257" fmla="*/ 709612 h 1509712"/>
                  <a:gd name="connsiteX258" fmla="*/ 1128713 w 1550194"/>
                  <a:gd name="connsiteY258" fmla="*/ 716756 h 1509712"/>
                  <a:gd name="connsiteX259" fmla="*/ 1128713 w 1550194"/>
                  <a:gd name="connsiteY259" fmla="*/ 742950 h 1509712"/>
                  <a:gd name="connsiteX260" fmla="*/ 1135856 w 1550194"/>
                  <a:gd name="connsiteY260" fmla="*/ 747712 h 1509712"/>
                  <a:gd name="connsiteX261" fmla="*/ 1140619 w 1550194"/>
                  <a:gd name="connsiteY261" fmla="*/ 754856 h 1509712"/>
                  <a:gd name="connsiteX262" fmla="*/ 1147763 w 1550194"/>
                  <a:gd name="connsiteY262" fmla="*/ 757237 h 1509712"/>
                  <a:gd name="connsiteX263" fmla="*/ 1150144 w 1550194"/>
                  <a:gd name="connsiteY263" fmla="*/ 766762 h 1509712"/>
                  <a:gd name="connsiteX264" fmla="*/ 1154906 w 1550194"/>
                  <a:gd name="connsiteY264" fmla="*/ 759619 h 1509712"/>
                  <a:gd name="connsiteX265" fmla="*/ 1147763 w 1550194"/>
                  <a:gd name="connsiteY265" fmla="*/ 733425 h 1509712"/>
                  <a:gd name="connsiteX266" fmla="*/ 1147763 w 1550194"/>
                  <a:gd name="connsiteY266" fmla="*/ 716756 h 1509712"/>
                  <a:gd name="connsiteX267" fmla="*/ 1154906 w 1550194"/>
                  <a:gd name="connsiteY267" fmla="*/ 711994 h 1509712"/>
                  <a:gd name="connsiteX268" fmla="*/ 1164431 w 1550194"/>
                  <a:gd name="connsiteY268" fmla="*/ 697706 h 1509712"/>
                  <a:gd name="connsiteX269" fmla="*/ 1178719 w 1550194"/>
                  <a:gd name="connsiteY269" fmla="*/ 688181 h 1509712"/>
                  <a:gd name="connsiteX270" fmla="*/ 1181100 w 1550194"/>
                  <a:gd name="connsiteY270" fmla="*/ 628650 h 1509712"/>
                  <a:gd name="connsiteX271" fmla="*/ 1173956 w 1550194"/>
                  <a:gd name="connsiteY271" fmla="*/ 619125 h 1509712"/>
                  <a:gd name="connsiteX272" fmla="*/ 1169194 w 1550194"/>
                  <a:gd name="connsiteY272" fmla="*/ 602456 h 1509712"/>
                  <a:gd name="connsiteX273" fmla="*/ 1166813 w 1550194"/>
                  <a:gd name="connsiteY273" fmla="*/ 588169 h 1509712"/>
                  <a:gd name="connsiteX274" fmla="*/ 1164431 w 1550194"/>
                  <a:gd name="connsiteY274" fmla="*/ 578644 h 1509712"/>
                  <a:gd name="connsiteX275" fmla="*/ 1162050 w 1550194"/>
                  <a:gd name="connsiteY275" fmla="*/ 571500 h 1509712"/>
                  <a:gd name="connsiteX276" fmla="*/ 1154906 w 1550194"/>
                  <a:gd name="connsiteY276" fmla="*/ 538162 h 1509712"/>
                  <a:gd name="connsiteX277" fmla="*/ 1152525 w 1550194"/>
                  <a:gd name="connsiteY277" fmla="*/ 531019 h 1509712"/>
                  <a:gd name="connsiteX278" fmla="*/ 1145381 w 1550194"/>
                  <a:gd name="connsiteY278" fmla="*/ 526256 h 1509712"/>
                  <a:gd name="connsiteX279" fmla="*/ 1123950 w 1550194"/>
                  <a:gd name="connsiteY279" fmla="*/ 521494 h 1509712"/>
                  <a:gd name="connsiteX280" fmla="*/ 1116806 w 1550194"/>
                  <a:gd name="connsiteY280" fmla="*/ 507206 h 1509712"/>
                  <a:gd name="connsiteX281" fmla="*/ 1109663 w 1550194"/>
                  <a:gd name="connsiteY281" fmla="*/ 504825 h 1509712"/>
                  <a:gd name="connsiteX282" fmla="*/ 1102519 w 1550194"/>
                  <a:gd name="connsiteY282" fmla="*/ 509587 h 1509712"/>
                  <a:gd name="connsiteX283" fmla="*/ 1050131 w 1550194"/>
                  <a:gd name="connsiteY283" fmla="*/ 516731 h 1509712"/>
                  <a:gd name="connsiteX284" fmla="*/ 1035844 w 1550194"/>
                  <a:gd name="connsiteY284" fmla="*/ 523875 h 1509712"/>
                  <a:gd name="connsiteX285" fmla="*/ 1026319 w 1550194"/>
                  <a:gd name="connsiteY285" fmla="*/ 538162 h 1509712"/>
                  <a:gd name="connsiteX286" fmla="*/ 1019175 w 1550194"/>
                  <a:gd name="connsiteY286" fmla="*/ 531019 h 1509712"/>
                  <a:gd name="connsiteX287" fmla="*/ 1016794 w 1550194"/>
                  <a:gd name="connsiteY287" fmla="*/ 521494 h 1509712"/>
                  <a:gd name="connsiteX288" fmla="*/ 1023938 w 1550194"/>
                  <a:gd name="connsiteY288" fmla="*/ 481012 h 1509712"/>
                  <a:gd name="connsiteX289" fmla="*/ 1035844 w 1550194"/>
                  <a:gd name="connsiteY289" fmla="*/ 464344 h 1509712"/>
                  <a:gd name="connsiteX290" fmla="*/ 1042988 w 1550194"/>
                  <a:gd name="connsiteY290" fmla="*/ 440531 h 1509712"/>
                  <a:gd name="connsiteX291" fmla="*/ 1040606 w 1550194"/>
                  <a:gd name="connsiteY291" fmla="*/ 423862 h 1509712"/>
                  <a:gd name="connsiteX292" fmla="*/ 1038225 w 1550194"/>
                  <a:gd name="connsiteY292" fmla="*/ 416719 h 1509712"/>
                  <a:gd name="connsiteX293" fmla="*/ 1040606 w 1550194"/>
                  <a:gd name="connsiteY293" fmla="*/ 390525 h 1509712"/>
                  <a:gd name="connsiteX294" fmla="*/ 1042988 w 1550194"/>
                  <a:gd name="connsiteY294" fmla="*/ 383381 h 1509712"/>
                  <a:gd name="connsiteX295" fmla="*/ 1050131 w 1550194"/>
                  <a:gd name="connsiteY295" fmla="*/ 378619 h 1509712"/>
                  <a:gd name="connsiteX296" fmla="*/ 1062038 w 1550194"/>
                  <a:gd name="connsiteY296" fmla="*/ 364331 h 1509712"/>
                  <a:gd name="connsiteX297" fmla="*/ 1064419 w 1550194"/>
                  <a:gd name="connsiteY297" fmla="*/ 357187 h 1509712"/>
                  <a:gd name="connsiteX298" fmla="*/ 1071563 w 1550194"/>
                  <a:gd name="connsiteY298" fmla="*/ 342900 h 1509712"/>
                  <a:gd name="connsiteX299" fmla="*/ 1066800 w 1550194"/>
                  <a:gd name="connsiteY299" fmla="*/ 309562 h 1509712"/>
                  <a:gd name="connsiteX300" fmla="*/ 1057275 w 1550194"/>
                  <a:gd name="connsiteY300" fmla="*/ 295275 h 1509712"/>
                  <a:gd name="connsiteX301" fmla="*/ 1054894 w 1550194"/>
                  <a:gd name="connsiteY301" fmla="*/ 283369 h 1509712"/>
                  <a:gd name="connsiteX302" fmla="*/ 1052513 w 1550194"/>
                  <a:gd name="connsiteY302" fmla="*/ 261937 h 1509712"/>
                  <a:gd name="connsiteX303" fmla="*/ 1050131 w 1550194"/>
                  <a:gd name="connsiteY303" fmla="*/ 242887 h 1509712"/>
                  <a:gd name="connsiteX304" fmla="*/ 1052513 w 1550194"/>
                  <a:gd name="connsiteY304" fmla="*/ 209550 h 1509712"/>
                  <a:gd name="connsiteX305" fmla="*/ 1059656 w 1550194"/>
                  <a:gd name="connsiteY305" fmla="*/ 204787 h 1509712"/>
                  <a:gd name="connsiteX306" fmla="*/ 1073944 w 1550194"/>
                  <a:gd name="connsiteY306" fmla="*/ 200025 h 1509712"/>
                  <a:gd name="connsiteX307" fmla="*/ 1081088 w 1550194"/>
                  <a:gd name="connsiteY307" fmla="*/ 197644 h 1509712"/>
                  <a:gd name="connsiteX308" fmla="*/ 1088231 w 1550194"/>
                  <a:gd name="connsiteY308" fmla="*/ 192881 h 1509712"/>
                  <a:gd name="connsiteX309" fmla="*/ 1095375 w 1550194"/>
                  <a:gd name="connsiteY309" fmla="*/ 190500 h 1509712"/>
                  <a:gd name="connsiteX310" fmla="*/ 1119188 w 1550194"/>
                  <a:gd name="connsiteY310" fmla="*/ 173831 h 1509712"/>
                  <a:gd name="connsiteX311" fmla="*/ 1123950 w 1550194"/>
                  <a:gd name="connsiteY311" fmla="*/ 164306 h 1509712"/>
                  <a:gd name="connsiteX312" fmla="*/ 1128713 w 1550194"/>
                  <a:gd name="connsiteY312" fmla="*/ 157162 h 1509712"/>
                  <a:gd name="connsiteX313" fmla="*/ 1135856 w 1550194"/>
                  <a:gd name="connsiteY313" fmla="*/ 133350 h 1509712"/>
                  <a:gd name="connsiteX314" fmla="*/ 1138238 w 1550194"/>
                  <a:gd name="connsiteY314" fmla="*/ 100012 h 1509712"/>
                  <a:gd name="connsiteX315" fmla="*/ 1143000 w 1550194"/>
                  <a:gd name="connsiteY315" fmla="*/ 85725 h 1509712"/>
                  <a:gd name="connsiteX316" fmla="*/ 1145381 w 1550194"/>
                  <a:gd name="connsiteY316" fmla="*/ 78581 h 1509712"/>
                  <a:gd name="connsiteX317" fmla="*/ 1152525 w 1550194"/>
                  <a:gd name="connsiteY317" fmla="*/ 76200 h 1509712"/>
                  <a:gd name="connsiteX318" fmla="*/ 1164431 w 1550194"/>
                  <a:gd name="connsiteY318" fmla="*/ 78581 h 1509712"/>
                  <a:gd name="connsiteX319" fmla="*/ 1169194 w 1550194"/>
                  <a:gd name="connsiteY319" fmla="*/ 88106 h 1509712"/>
                  <a:gd name="connsiteX320" fmla="*/ 1162050 w 1550194"/>
                  <a:gd name="connsiteY320" fmla="*/ 154781 h 1509712"/>
                  <a:gd name="connsiteX321" fmla="*/ 1157288 w 1550194"/>
                  <a:gd name="connsiteY321" fmla="*/ 164306 h 1509712"/>
                  <a:gd name="connsiteX322" fmla="*/ 1152525 w 1550194"/>
                  <a:gd name="connsiteY322" fmla="*/ 178594 h 1509712"/>
                  <a:gd name="connsiteX323" fmla="*/ 1150144 w 1550194"/>
                  <a:gd name="connsiteY323" fmla="*/ 214312 h 1509712"/>
                  <a:gd name="connsiteX324" fmla="*/ 1128713 w 1550194"/>
                  <a:gd name="connsiteY324" fmla="*/ 233362 h 1509712"/>
                  <a:gd name="connsiteX325" fmla="*/ 1112044 w 1550194"/>
                  <a:gd name="connsiteY325" fmla="*/ 247650 h 1509712"/>
                  <a:gd name="connsiteX326" fmla="*/ 1107281 w 1550194"/>
                  <a:gd name="connsiteY326" fmla="*/ 254794 h 1509712"/>
                  <a:gd name="connsiteX327" fmla="*/ 1104900 w 1550194"/>
                  <a:gd name="connsiteY327" fmla="*/ 261937 h 1509712"/>
                  <a:gd name="connsiteX328" fmla="*/ 1112044 w 1550194"/>
                  <a:gd name="connsiteY328" fmla="*/ 264319 h 1509712"/>
                  <a:gd name="connsiteX329" fmla="*/ 1143000 w 1550194"/>
                  <a:gd name="connsiteY329" fmla="*/ 271462 h 1509712"/>
                  <a:gd name="connsiteX330" fmla="*/ 1162050 w 1550194"/>
                  <a:gd name="connsiteY330" fmla="*/ 276225 h 1509712"/>
                  <a:gd name="connsiteX331" fmla="*/ 1178719 w 1550194"/>
                  <a:gd name="connsiteY331" fmla="*/ 290512 h 1509712"/>
                  <a:gd name="connsiteX332" fmla="*/ 1188244 w 1550194"/>
                  <a:gd name="connsiteY332" fmla="*/ 297656 h 1509712"/>
                  <a:gd name="connsiteX333" fmla="*/ 1200150 w 1550194"/>
                  <a:gd name="connsiteY333" fmla="*/ 311944 h 1509712"/>
                  <a:gd name="connsiteX334" fmla="*/ 1214438 w 1550194"/>
                  <a:gd name="connsiteY334" fmla="*/ 321469 h 1509712"/>
                  <a:gd name="connsiteX335" fmla="*/ 1226344 w 1550194"/>
                  <a:gd name="connsiteY335" fmla="*/ 333375 h 1509712"/>
                  <a:gd name="connsiteX336" fmla="*/ 1240631 w 1550194"/>
                  <a:gd name="connsiteY336" fmla="*/ 342900 h 1509712"/>
                  <a:gd name="connsiteX337" fmla="*/ 1262063 w 1550194"/>
                  <a:gd name="connsiteY337" fmla="*/ 359569 h 1509712"/>
                  <a:gd name="connsiteX338" fmla="*/ 1269206 w 1550194"/>
                  <a:gd name="connsiteY338" fmla="*/ 364331 h 1509712"/>
                  <a:gd name="connsiteX339" fmla="*/ 1271588 w 1550194"/>
                  <a:gd name="connsiteY339" fmla="*/ 338137 h 1509712"/>
                  <a:gd name="connsiteX340" fmla="*/ 1262063 w 1550194"/>
                  <a:gd name="connsiteY340" fmla="*/ 321469 h 1509712"/>
                  <a:gd name="connsiteX341" fmla="*/ 1259681 w 1550194"/>
                  <a:gd name="connsiteY341" fmla="*/ 314325 h 1509712"/>
                  <a:gd name="connsiteX342" fmla="*/ 1264444 w 1550194"/>
                  <a:gd name="connsiteY342" fmla="*/ 292894 h 1509712"/>
                  <a:gd name="connsiteX343" fmla="*/ 1271588 w 1550194"/>
                  <a:gd name="connsiteY343" fmla="*/ 285750 h 1509712"/>
                  <a:gd name="connsiteX344" fmla="*/ 1276350 w 1550194"/>
                  <a:gd name="connsiteY344" fmla="*/ 271462 h 1509712"/>
                  <a:gd name="connsiteX345" fmla="*/ 1273969 w 1550194"/>
                  <a:gd name="connsiteY345" fmla="*/ 259556 h 1509712"/>
                  <a:gd name="connsiteX346" fmla="*/ 1271588 w 1550194"/>
                  <a:gd name="connsiteY346" fmla="*/ 252412 h 1509712"/>
                  <a:gd name="connsiteX347" fmla="*/ 1264444 w 1550194"/>
                  <a:gd name="connsiteY347" fmla="*/ 250031 h 1509712"/>
                  <a:gd name="connsiteX348" fmla="*/ 1207294 w 1550194"/>
                  <a:gd name="connsiteY348" fmla="*/ 247650 h 1509712"/>
                  <a:gd name="connsiteX349" fmla="*/ 1197769 w 1550194"/>
                  <a:gd name="connsiteY349" fmla="*/ 245269 h 1509712"/>
                  <a:gd name="connsiteX350" fmla="*/ 1190625 w 1550194"/>
                  <a:gd name="connsiteY350" fmla="*/ 238125 h 1509712"/>
                  <a:gd name="connsiteX351" fmla="*/ 1183481 w 1550194"/>
                  <a:gd name="connsiteY351" fmla="*/ 223837 h 1509712"/>
                  <a:gd name="connsiteX352" fmla="*/ 1185863 w 1550194"/>
                  <a:gd name="connsiteY352" fmla="*/ 192881 h 1509712"/>
                  <a:gd name="connsiteX353" fmla="*/ 1202531 w 1550194"/>
                  <a:gd name="connsiteY353" fmla="*/ 195262 h 1509712"/>
                  <a:gd name="connsiteX354" fmla="*/ 1216819 w 1550194"/>
                  <a:gd name="connsiteY354" fmla="*/ 202406 h 1509712"/>
                  <a:gd name="connsiteX355" fmla="*/ 1223963 w 1550194"/>
                  <a:gd name="connsiteY355" fmla="*/ 209550 h 1509712"/>
                  <a:gd name="connsiteX356" fmla="*/ 1226344 w 1550194"/>
                  <a:gd name="connsiteY356" fmla="*/ 216694 h 1509712"/>
                  <a:gd name="connsiteX357" fmla="*/ 1228725 w 1550194"/>
                  <a:gd name="connsiteY357" fmla="*/ 228600 h 1509712"/>
                  <a:gd name="connsiteX358" fmla="*/ 1235869 w 1550194"/>
                  <a:gd name="connsiteY358" fmla="*/ 230981 h 1509712"/>
                  <a:gd name="connsiteX359" fmla="*/ 1271588 w 1550194"/>
                  <a:gd name="connsiteY359" fmla="*/ 228600 h 1509712"/>
                  <a:gd name="connsiteX360" fmla="*/ 1283494 w 1550194"/>
                  <a:gd name="connsiteY360" fmla="*/ 178594 h 1509712"/>
                  <a:gd name="connsiteX361" fmla="*/ 1295400 w 1550194"/>
                  <a:gd name="connsiteY361" fmla="*/ 180975 h 1509712"/>
                  <a:gd name="connsiteX362" fmla="*/ 1297781 w 1550194"/>
                  <a:gd name="connsiteY362" fmla="*/ 188119 h 1509712"/>
                  <a:gd name="connsiteX363" fmla="*/ 1300163 w 1550194"/>
                  <a:gd name="connsiteY363" fmla="*/ 200025 h 1509712"/>
                  <a:gd name="connsiteX364" fmla="*/ 1307306 w 1550194"/>
                  <a:gd name="connsiteY364" fmla="*/ 202406 h 1509712"/>
                  <a:gd name="connsiteX365" fmla="*/ 1323975 w 1550194"/>
                  <a:gd name="connsiteY365" fmla="*/ 204787 h 1509712"/>
                  <a:gd name="connsiteX366" fmla="*/ 1333500 w 1550194"/>
                  <a:gd name="connsiteY366" fmla="*/ 214312 h 1509712"/>
                  <a:gd name="connsiteX367" fmla="*/ 1340644 w 1550194"/>
                  <a:gd name="connsiteY367" fmla="*/ 219075 h 1509712"/>
                  <a:gd name="connsiteX368" fmla="*/ 1343025 w 1550194"/>
                  <a:gd name="connsiteY368" fmla="*/ 280987 h 1509712"/>
                  <a:gd name="connsiteX369" fmla="*/ 1338263 w 1550194"/>
                  <a:gd name="connsiteY369" fmla="*/ 288131 h 1509712"/>
                  <a:gd name="connsiteX370" fmla="*/ 1326356 w 1550194"/>
                  <a:gd name="connsiteY370" fmla="*/ 302419 h 1509712"/>
                  <a:gd name="connsiteX371" fmla="*/ 1319213 w 1550194"/>
                  <a:gd name="connsiteY371" fmla="*/ 473869 h 1509712"/>
                  <a:gd name="connsiteX372" fmla="*/ 1312069 w 1550194"/>
                  <a:gd name="connsiteY372" fmla="*/ 478631 h 1509712"/>
                  <a:gd name="connsiteX373" fmla="*/ 1300163 w 1550194"/>
                  <a:gd name="connsiteY373" fmla="*/ 481012 h 1509712"/>
                  <a:gd name="connsiteX374" fmla="*/ 1293019 w 1550194"/>
                  <a:gd name="connsiteY374" fmla="*/ 483394 h 1509712"/>
                  <a:gd name="connsiteX375" fmla="*/ 1285875 w 1550194"/>
                  <a:gd name="connsiteY375" fmla="*/ 490537 h 1509712"/>
                  <a:gd name="connsiteX376" fmla="*/ 1281113 w 1550194"/>
                  <a:gd name="connsiteY376" fmla="*/ 497681 h 1509712"/>
                  <a:gd name="connsiteX377" fmla="*/ 1273969 w 1550194"/>
                  <a:gd name="connsiteY377" fmla="*/ 502444 h 1509712"/>
                  <a:gd name="connsiteX378" fmla="*/ 1266825 w 1550194"/>
                  <a:gd name="connsiteY378" fmla="*/ 516731 h 1509712"/>
                  <a:gd name="connsiteX379" fmla="*/ 1264444 w 1550194"/>
                  <a:gd name="connsiteY379" fmla="*/ 523875 h 1509712"/>
                  <a:gd name="connsiteX380" fmla="*/ 1266825 w 1550194"/>
                  <a:gd name="connsiteY380" fmla="*/ 538162 h 1509712"/>
                  <a:gd name="connsiteX381" fmla="*/ 1273969 w 1550194"/>
                  <a:gd name="connsiteY381" fmla="*/ 545306 h 1509712"/>
                  <a:gd name="connsiteX382" fmla="*/ 1283494 w 1550194"/>
                  <a:gd name="connsiteY382" fmla="*/ 559594 h 1509712"/>
                  <a:gd name="connsiteX383" fmla="*/ 1293019 w 1550194"/>
                  <a:gd name="connsiteY383" fmla="*/ 573881 h 1509712"/>
                  <a:gd name="connsiteX384" fmla="*/ 1295400 w 1550194"/>
                  <a:gd name="connsiteY384" fmla="*/ 581025 h 1509712"/>
                  <a:gd name="connsiteX385" fmla="*/ 1307306 w 1550194"/>
                  <a:gd name="connsiteY385" fmla="*/ 595312 h 1509712"/>
                  <a:gd name="connsiteX386" fmla="*/ 1309688 w 1550194"/>
                  <a:gd name="connsiteY386" fmla="*/ 602456 h 1509712"/>
                  <a:gd name="connsiteX387" fmla="*/ 1316831 w 1550194"/>
                  <a:gd name="connsiteY387" fmla="*/ 604837 h 1509712"/>
                  <a:gd name="connsiteX388" fmla="*/ 1323975 w 1550194"/>
                  <a:gd name="connsiteY388" fmla="*/ 609600 h 1509712"/>
                  <a:gd name="connsiteX389" fmla="*/ 1333500 w 1550194"/>
                  <a:gd name="connsiteY389" fmla="*/ 616744 h 1509712"/>
                  <a:gd name="connsiteX390" fmla="*/ 1340644 w 1550194"/>
                  <a:gd name="connsiteY390" fmla="*/ 619125 h 1509712"/>
                  <a:gd name="connsiteX391" fmla="*/ 1381125 w 1550194"/>
                  <a:gd name="connsiteY391" fmla="*/ 621506 h 1509712"/>
                  <a:gd name="connsiteX392" fmla="*/ 1390650 w 1550194"/>
                  <a:gd name="connsiteY392" fmla="*/ 638175 h 1509712"/>
                  <a:gd name="connsiteX393" fmla="*/ 1395413 w 1550194"/>
                  <a:gd name="connsiteY393" fmla="*/ 652462 h 1509712"/>
                  <a:gd name="connsiteX394" fmla="*/ 1400175 w 1550194"/>
                  <a:gd name="connsiteY394" fmla="*/ 669131 h 1509712"/>
                  <a:gd name="connsiteX395" fmla="*/ 1397794 w 1550194"/>
                  <a:gd name="connsiteY395" fmla="*/ 742950 h 1509712"/>
                  <a:gd name="connsiteX396" fmla="*/ 1390650 w 1550194"/>
                  <a:gd name="connsiteY396" fmla="*/ 747712 h 1509712"/>
                  <a:gd name="connsiteX397" fmla="*/ 1388269 w 1550194"/>
                  <a:gd name="connsiteY397" fmla="*/ 759619 h 1509712"/>
                  <a:gd name="connsiteX398" fmla="*/ 1390650 w 1550194"/>
                  <a:gd name="connsiteY398" fmla="*/ 885825 h 1509712"/>
                  <a:gd name="connsiteX399" fmla="*/ 1395413 w 1550194"/>
                  <a:gd name="connsiteY399" fmla="*/ 907256 h 1509712"/>
                  <a:gd name="connsiteX400" fmla="*/ 1400175 w 1550194"/>
                  <a:gd name="connsiteY400" fmla="*/ 926306 h 1509712"/>
                  <a:gd name="connsiteX401" fmla="*/ 1404938 w 1550194"/>
                  <a:gd name="connsiteY401" fmla="*/ 933450 h 1509712"/>
                  <a:gd name="connsiteX402" fmla="*/ 1407319 w 1550194"/>
                  <a:gd name="connsiteY402" fmla="*/ 947737 h 1509712"/>
                  <a:gd name="connsiteX403" fmla="*/ 1412081 w 1550194"/>
                  <a:gd name="connsiteY403" fmla="*/ 962025 h 1509712"/>
                  <a:gd name="connsiteX404" fmla="*/ 1414463 w 1550194"/>
                  <a:gd name="connsiteY404" fmla="*/ 971550 h 1509712"/>
                  <a:gd name="connsiteX405" fmla="*/ 1416844 w 1550194"/>
                  <a:gd name="connsiteY405" fmla="*/ 978694 h 1509712"/>
                  <a:gd name="connsiteX406" fmla="*/ 1423988 w 1550194"/>
                  <a:gd name="connsiteY406" fmla="*/ 1004887 h 1509712"/>
                  <a:gd name="connsiteX407" fmla="*/ 1426369 w 1550194"/>
                  <a:gd name="connsiteY407" fmla="*/ 1021556 h 1509712"/>
                  <a:gd name="connsiteX408" fmla="*/ 1428750 w 1550194"/>
                  <a:gd name="connsiteY408" fmla="*/ 1031081 h 1509712"/>
                  <a:gd name="connsiteX409" fmla="*/ 1431131 w 1550194"/>
                  <a:gd name="connsiteY409" fmla="*/ 1042987 h 1509712"/>
                  <a:gd name="connsiteX410" fmla="*/ 1435894 w 1550194"/>
                  <a:gd name="connsiteY410" fmla="*/ 1073944 h 1509712"/>
                  <a:gd name="connsiteX411" fmla="*/ 1440656 w 1550194"/>
                  <a:gd name="connsiteY411" fmla="*/ 1092994 h 1509712"/>
                  <a:gd name="connsiteX412" fmla="*/ 1445419 w 1550194"/>
                  <a:gd name="connsiteY412" fmla="*/ 1102519 h 1509712"/>
                  <a:gd name="connsiteX413" fmla="*/ 1452563 w 1550194"/>
                  <a:gd name="connsiteY413" fmla="*/ 1121569 h 1509712"/>
                  <a:gd name="connsiteX414" fmla="*/ 1459706 w 1550194"/>
                  <a:gd name="connsiteY414" fmla="*/ 1145381 h 1509712"/>
                  <a:gd name="connsiteX415" fmla="*/ 1469231 w 1550194"/>
                  <a:gd name="connsiteY415" fmla="*/ 1154906 h 1509712"/>
                  <a:gd name="connsiteX416" fmla="*/ 1476375 w 1550194"/>
                  <a:gd name="connsiteY416" fmla="*/ 1164431 h 1509712"/>
                  <a:gd name="connsiteX417" fmla="*/ 1481138 w 1550194"/>
                  <a:gd name="connsiteY417" fmla="*/ 1171575 h 1509712"/>
                  <a:gd name="connsiteX418" fmla="*/ 1488281 w 1550194"/>
                  <a:gd name="connsiteY418" fmla="*/ 1176337 h 1509712"/>
                  <a:gd name="connsiteX419" fmla="*/ 1493044 w 1550194"/>
                  <a:gd name="connsiteY419" fmla="*/ 1183481 h 1509712"/>
                  <a:gd name="connsiteX420" fmla="*/ 1500188 w 1550194"/>
                  <a:gd name="connsiteY420" fmla="*/ 1188244 h 1509712"/>
                  <a:gd name="connsiteX421" fmla="*/ 1516856 w 1550194"/>
                  <a:gd name="connsiteY421" fmla="*/ 1195387 h 1509712"/>
                  <a:gd name="connsiteX422" fmla="*/ 1538288 w 1550194"/>
                  <a:gd name="connsiteY422" fmla="*/ 1197769 h 1509712"/>
                  <a:gd name="connsiteX423" fmla="*/ 1545431 w 1550194"/>
                  <a:gd name="connsiteY423" fmla="*/ 1200150 h 1509712"/>
                  <a:gd name="connsiteX424" fmla="*/ 1547813 w 1550194"/>
                  <a:gd name="connsiteY424" fmla="*/ 1214437 h 1509712"/>
                  <a:gd name="connsiteX425" fmla="*/ 1550194 w 1550194"/>
                  <a:gd name="connsiteY425" fmla="*/ 1221581 h 1509712"/>
                  <a:gd name="connsiteX426" fmla="*/ 1547813 w 1550194"/>
                  <a:gd name="connsiteY426" fmla="*/ 1266825 h 1509712"/>
                  <a:gd name="connsiteX427" fmla="*/ 1545431 w 1550194"/>
                  <a:gd name="connsiteY427" fmla="*/ 1273969 h 1509712"/>
                  <a:gd name="connsiteX428" fmla="*/ 1538288 w 1550194"/>
                  <a:gd name="connsiteY428" fmla="*/ 1278731 h 1509712"/>
                  <a:gd name="connsiteX429" fmla="*/ 1531144 w 1550194"/>
                  <a:gd name="connsiteY429" fmla="*/ 1293019 h 1509712"/>
                  <a:gd name="connsiteX430" fmla="*/ 1524000 w 1550194"/>
                  <a:gd name="connsiteY430" fmla="*/ 1300162 h 1509712"/>
                  <a:gd name="connsiteX431" fmla="*/ 1514475 w 1550194"/>
                  <a:gd name="connsiteY431" fmla="*/ 1314450 h 1509712"/>
                  <a:gd name="connsiteX432" fmla="*/ 1502569 w 1550194"/>
                  <a:gd name="connsiteY432" fmla="*/ 1331119 h 1509712"/>
                  <a:gd name="connsiteX433" fmla="*/ 1502569 w 1550194"/>
                  <a:gd name="connsiteY433" fmla="*/ 1431131 h 1509712"/>
                  <a:gd name="connsiteX434" fmla="*/ 1490663 w 1550194"/>
                  <a:gd name="connsiteY434" fmla="*/ 1443037 h 1509712"/>
                  <a:gd name="connsiteX435" fmla="*/ 1478756 w 1550194"/>
                  <a:gd name="connsiteY435" fmla="*/ 1457325 h 1509712"/>
                  <a:gd name="connsiteX436" fmla="*/ 1473994 w 1550194"/>
                  <a:gd name="connsiteY436" fmla="*/ 1473994 h 1509712"/>
                  <a:gd name="connsiteX437" fmla="*/ 1471613 w 1550194"/>
                  <a:gd name="connsiteY437" fmla="*/ 1500187 h 1509712"/>
                  <a:gd name="connsiteX438" fmla="*/ 1464469 w 1550194"/>
                  <a:gd name="connsiteY438" fmla="*/ 1507331 h 1509712"/>
                  <a:gd name="connsiteX439" fmla="*/ 1462088 w 1550194"/>
                  <a:gd name="connsiteY439" fmla="*/ 1509712 h 1509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Lst>
                <a:rect l="l" t="t" r="r" b="b"/>
                <a:pathLst>
                  <a:path w="1550194" h="1509712">
                    <a:moveTo>
                      <a:pt x="111919" y="1500187"/>
                    </a:moveTo>
                    <a:cubicBezTo>
                      <a:pt x="111125" y="1489868"/>
                      <a:pt x="111445" y="1479403"/>
                      <a:pt x="109538" y="1469231"/>
                    </a:cubicBezTo>
                    <a:cubicBezTo>
                      <a:pt x="109011" y="1466418"/>
                      <a:pt x="106055" y="1464647"/>
                      <a:pt x="104775" y="1462087"/>
                    </a:cubicBezTo>
                    <a:cubicBezTo>
                      <a:pt x="94915" y="1442369"/>
                      <a:pt x="111282" y="1468276"/>
                      <a:pt x="97631" y="1447800"/>
                    </a:cubicBezTo>
                    <a:cubicBezTo>
                      <a:pt x="98425" y="1439862"/>
                      <a:pt x="98800" y="1431871"/>
                      <a:pt x="100013" y="1423987"/>
                    </a:cubicBezTo>
                    <a:cubicBezTo>
                      <a:pt x="100395" y="1421506"/>
                      <a:pt x="102131" y="1419340"/>
                      <a:pt x="102394" y="1416844"/>
                    </a:cubicBezTo>
                    <a:cubicBezTo>
                      <a:pt x="102801" y="1412981"/>
                      <a:pt x="101172" y="1383568"/>
                      <a:pt x="107156" y="1371600"/>
                    </a:cubicBezTo>
                    <a:cubicBezTo>
                      <a:pt x="108436" y="1369040"/>
                      <a:pt x="110331" y="1366837"/>
                      <a:pt x="111919" y="1364456"/>
                    </a:cubicBezTo>
                    <a:cubicBezTo>
                      <a:pt x="117101" y="1343726"/>
                      <a:pt x="115612" y="1353765"/>
                      <a:pt x="111919" y="1316831"/>
                    </a:cubicBezTo>
                    <a:cubicBezTo>
                      <a:pt x="111728" y="1314920"/>
                      <a:pt x="108427" y="1302703"/>
                      <a:pt x="107156" y="1300162"/>
                    </a:cubicBezTo>
                    <a:cubicBezTo>
                      <a:pt x="105876" y="1297603"/>
                      <a:pt x="103981" y="1295400"/>
                      <a:pt x="102394" y="1293019"/>
                    </a:cubicBezTo>
                    <a:cubicBezTo>
                      <a:pt x="97759" y="1279113"/>
                      <a:pt x="103639" y="1291881"/>
                      <a:pt x="92869" y="1281112"/>
                    </a:cubicBezTo>
                    <a:cubicBezTo>
                      <a:pt x="76990" y="1265235"/>
                      <a:pt x="100015" y="1281910"/>
                      <a:pt x="80963" y="1269206"/>
                    </a:cubicBezTo>
                    <a:cubicBezTo>
                      <a:pt x="69357" y="1251798"/>
                      <a:pt x="84805" y="1272408"/>
                      <a:pt x="66675" y="1257300"/>
                    </a:cubicBezTo>
                    <a:cubicBezTo>
                      <a:pt x="52314" y="1245332"/>
                      <a:pt x="71826" y="1253460"/>
                      <a:pt x="54769" y="1247775"/>
                    </a:cubicBezTo>
                    <a:cubicBezTo>
                      <a:pt x="50088" y="1240753"/>
                      <a:pt x="49736" y="1239214"/>
                      <a:pt x="42863" y="1233487"/>
                    </a:cubicBezTo>
                    <a:cubicBezTo>
                      <a:pt x="40664" y="1231655"/>
                      <a:pt x="37858" y="1230626"/>
                      <a:pt x="35719" y="1228725"/>
                    </a:cubicBezTo>
                    <a:cubicBezTo>
                      <a:pt x="30685" y="1224250"/>
                      <a:pt x="26194" y="1219200"/>
                      <a:pt x="21431" y="1214437"/>
                    </a:cubicBezTo>
                    <a:cubicBezTo>
                      <a:pt x="19050" y="1212056"/>
                      <a:pt x="17090" y="1209162"/>
                      <a:pt x="14288" y="1207294"/>
                    </a:cubicBezTo>
                    <a:lnTo>
                      <a:pt x="7144" y="1202531"/>
                    </a:lnTo>
                    <a:cubicBezTo>
                      <a:pt x="4736" y="1198919"/>
                      <a:pt x="0" y="1193173"/>
                      <a:pt x="0" y="1188244"/>
                    </a:cubicBezTo>
                    <a:cubicBezTo>
                      <a:pt x="0" y="1183416"/>
                      <a:pt x="1434" y="1178691"/>
                      <a:pt x="2381" y="1173956"/>
                    </a:cubicBezTo>
                    <a:cubicBezTo>
                      <a:pt x="3023" y="1170747"/>
                      <a:pt x="2948" y="1167154"/>
                      <a:pt x="4763" y="1164431"/>
                    </a:cubicBezTo>
                    <a:cubicBezTo>
                      <a:pt x="6350" y="1162050"/>
                      <a:pt x="9525" y="1161256"/>
                      <a:pt x="11906" y="1159669"/>
                    </a:cubicBezTo>
                    <a:cubicBezTo>
                      <a:pt x="13494" y="1156494"/>
                      <a:pt x="14606" y="1153033"/>
                      <a:pt x="16669" y="1150144"/>
                    </a:cubicBezTo>
                    <a:cubicBezTo>
                      <a:pt x="27817" y="1134538"/>
                      <a:pt x="21087" y="1151179"/>
                      <a:pt x="26194" y="1135856"/>
                    </a:cubicBezTo>
                    <a:cubicBezTo>
                      <a:pt x="26988" y="1106487"/>
                      <a:pt x="27210" y="1077098"/>
                      <a:pt x="28575" y="1047750"/>
                    </a:cubicBezTo>
                    <a:cubicBezTo>
                      <a:pt x="29095" y="1036566"/>
                      <a:pt x="32222" y="1029667"/>
                      <a:pt x="35719" y="1019175"/>
                    </a:cubicBezTo>
                    <a:cubicBezTo>
                      <a:pt x="36513" y="1016794"/>
                      <a:pt x="37491" y="1014466"/>
                      <a:pt x="38100" y="1012031"/>
                    </a:cubicBezTo>
                    <a:cubicBezTo>
                      <a:pt x="38894" y="1008856"/>
                      <a:pt x="39541" y="1005641"/>
                      <a:pt x="40481" y="1002506"/>
                    </a:cubicBezTo>
                    <a:cubicBezTo>
                      <a:pt x="42645" y="995293"/>
                      <a:pt x="45244" y="988219"/>
                      <a:pt x="47625" y="981075"/>
                    </a:cubicBezTo>
                    <a:lnTo>
                      <a:pt x="52388" y="966787"/>
                    </a:lnTo>
                    <a:cubicBezTo>
                      <a:pt x="61555" y="957620"/>
                      <a:pt x="56729" y="961512"/>
                      <a:pt x="66675" y="954881"/>
                    </a:cubicBezTo>
                    <a:cubicBezTo>
                      <a:pt x="67469" y="952500"/>
                      <a:pt x="67488" y="949697"/>
                      <a:pt x="69056" y="947737"/>
                    </a:cubicBezTo>
                    <a:cubicBezTo>
                      <a:pt x="70844" y="945502"/>
                      <a:pt x="74001" y="944807"/>
                      <a:pt x="76200" y="942975"/>
                    </a:cubicBezTo>
                    <a:cubicBezTo>
                      <a:pt x="78787" y="940819"/>
                      <a:pt x="81276" y="938489"/>
                      <a:pt x="83344" y="935831"/>
                    </a:cubicBezTo>
                    <a:cubicBezTo>
                      <a:pt x="86858" y="931313"/>
                      <a:pt x="92869" y="921544"/>
                      <a:pt x="92869" y="921544"/>
                    </a:cubicBezTo>
                    <a:cubicBezTo>
                      <a:pt x="100533" y="898548"/>
                      <a:pt x="88243" y="934301"/>
                      <a:pt x="100013" y="904875"/>
                    </a:cubicBezTo>
                    <a:cubicBezTo>
                      <a:pt x="101877" y="900214"/>
                      <a:pt x="103188" y="895350"/>
                      <a:pt x="104775" y="890587"/>
                    </a:cubicBezTo>
                    <a:cubicBezTo>
                      <a:pt x="105569" y="888206"/>
                      <a:pt x="105068" y="884836"/>
                      <a:pt x="107156" y="883444"/>
                    </a:cubicBezTo>
                    <a:lnTo>
                      <a:pt x="121444" y="873919"/>
                    </a:lnTo>
                    <a:cubicBezTo>
                      <a:pt x="125242" y="868222"/>
                      <a:pt x="127515" y="863798"/>
                      <a:pt x="133350" y="859631"/>
                    </a:cubicBezTo>
                    <a:cubicBezTo>
                      <a:pt x="136239" y="857568"/>
                      <a:pt x="139793" y="856630"/>
                      <a:pt x="142875" y="854869"/>
                    </a:cubicBezTo>
                    <a:cubicBezTo>
                      <a:pt x="145360" y="853449"/>
                      <a:pt x="147690" y="851770"/>
                      <a:pt x="150019" y="850106"/>
                    </a:cubicBezTo>
                    <a:cubicBezTo>
                      <a:pt x="153248" y="847799"/>
                      <a:pt x="155994" y="844737"/>
                      <a:pt x="159544" y="842962"/>
                    </a:cubicBezTo>
                    <a:cubicBezTo>
                      <a:pt x="162471" y="841498"/>
                      <a:pt x="165803" y="840785"/>
                      <a:pt x="169069" y="840581"/>
                    </a:cubicBezTo>
                    <a:cubicBezTo>
                      <a:pt x="191265" y="839194"/>
                      <a:pt x="213519" y="838994"/>
                      <a:pt x="235744" y="838200"/>
                    </a:cubicBezTo>
                    <a:cubicBezTo>
                      <a:pt x="253701" y="832215"/>
                      <a:pt x="231567" y="840289"/>
                      <a:pt x="250031" y="831056"/>
                    </a:cubicBezTo>
                    <a:cubicBezTo>
                      <a:pt x="252276" y="829933"/>
                      <a:pt x="254794" y="829469"/>
                      <a:pt x="257175" y="828675"/>
                    </a:cubicBezTo>
                    <a:cubicBezTo>
                      <a:pt x="261938" y="825500"/>
                      <a:pt x="265910" y="820538"/>
                      <a:pt x="271463" y="819150"/>
                    </a:cubicBezTo>
                    <a:lnTo>
                      <a:pt x="290513" y="814387"/>
                    </a:lnTo>
                    <a:cubicBezTo>
                      <a:pt x="313293" y="791607"/>
                      <a:pt x="284128" y="818643"/>
                      <a:pt x="304800" y="804862"/>
                    </a:cubicBezTo>
                    <a:cubicBezTo>
                      <a:pt x="307602" y="802994"/>
                      <a:pt x="309357" y="799875"/>
                      <a:pt x="311944" y="797719"/>
                    </a:cubicBezTo>
                    <a:cubicBezTo>
                      <a:pt x="314143" y="795887"/>
                      <a:pt x="316707" y="794544"/>
                      <a:pt x="319088" y="792956"/>
                    </a:cubicBezTo>
                    <a:cubicBezTo>
                      <a:pt x="327818" y="779859"/>
                      <a:pt x="319088" y="790971"/>
                      <a:pt x="330994" y="781050"/>
                    </a:cubicBezTo>
                    <a:cubicBezTo>
                      <a:pt x="342887" y="771140"/>
                      <a:pt x="332727" y="775710"/>
                      <a:pt x="345281" y="771525"/>
                    </a:cubicBezTo>
                    <a:cubicBezTo>
                      <a:pt x="350549" y="766257"/>
                      <a:pt x="352936" y="762935"/>
                      <a:pt x="359569" y="759619"/>
                    </a:cubicBezTo>
                    <a:cubicBezTo>
                      <a:pt x="361814" y="758496"/>
                      <a:pt x="364332" y="758031"/>
                      <a:pt x="366713" y="757237"/>
                    </a:cubicBezTo>
                    <a:cubicBezTo>
                      <a:pt x="368300" y="754856"/>
                      <a:pt x="369277" y="751926"/>
                      <a:pt x="371475" y="750094"/>
                    </a:cubicBezTo>
                    <a:cubicBezTo>
                      <a:pt x="375400" y="746823"/>
                      <a:pt x="383179" y="744605"/>
                      <a:pt x="388144" y="742950"/>
                    </a:cubicBezTo>
                    <a:cubicBezTo>
                      <a:pt x="393411" y="737683"/>
                      <a:pt x="395800" y="734359"/>
                      <a:pt x="402431" y="731044"/>
                    </a:cubicBezTo>
                    <a:cubicBezTo>
                      <a:pt x="422137" y="721191"/>
                      <a:pt x="394328" y="738762"/>
                      <a:pt x="419100" y="723900"/>
                    </a:cubicBezTo>
                    <a:cubicBezTo>
                      <a:pt x="439572" y="711618"/>
                      <a:pt x="426162" y="716784"/>
                      <a:pt x="440531" y="711994"/>
                    </a:cubicBezTo>
                    <a:cubicBezTo>
                      <a:pt x="453318" y="703470"/>
                      <a:pt x="450963" y="703230"/>
                      <a:pt x="461963" y="700087"/>
                    </a:cubicBezTo>
                    <a:cubicBezTo>
                      <a:pt x="465110" y="699188"/>
                      <a:pt x="468313" y="698500"/>
                      <a:pt x="471488" y="697706"/>
                    </a:cubicBezTo>
                    <a:cubicBezTo>
                      <a:pt x="473869" y="696119"/>
                      <a:pt x="476072" y="694224"/>
                      <a:pt x="478631" y="692944"/>
                    </a:cubicBezTo>
                    <a:cubicBezTo>
                      <a:pt x="482051" y="691234"/>
                      <a:pt x="492242" y="688945"/>
                      <a:pt x="495300" y="688181"/>
                    </a:cubicBezTo>
                    <a:cubicBezTo>
                      <a:pt x="520810" y="671177"/>
                      <a:pt x="482106" y="697651"/>
                      <a:pt x="509588" y="676275"/>
                    </a:cubicBezTo>
                    <a:cubicBezTo>
                      <a:pt x="521870" y="666722"/>
                      <a:pt x="520240" y="667961"/>
                      <a:pt x="531019" y="664369"/>
                    </a:cubicBezTo>
                    <a:cubicBezTo>
                      <a:pt x="532606" y="661988"/>
                      <a:pt x="533627" y="659110"/>
                      <a:pt x="535781" y="657225"/>
                    </a:cubicBezTo>
                    <a:cubicBezTo>
                      <a:pt x="540089" y="653456"/>
                      <a:pt x="550069" y="647700"/>
                      <a:pt x="550069" y="647700"/>
                    </a:cubicBezTo>
                    <a:cubicBezTo>
                      <a:pt x="550863" y="645319"/>
                      <a:pt x="551058" y="642645"/>
                      <a:pt x="552450" y="640556"/>
                    </a:cubicBezTo>
                    <a:cubicBezTo>
                      <a:pt x="556117" y="635055"/>
                      <a:pt x="561466" y="632164"/>
                      <a:pt x="566738" y="628650"/>
                    </a:cubicBezTo>
                    <a:cubicBezTo>
                      <a:pt x="569913" y="623887"/>
                      <a:pt x="574453" y="619792"/>
                      <a:pt x="576263" y="614362"/>
                    </a:cubicBezTo>
                    <a:lnTo>
                      <a:pt x="581025" y="600075"/>
                    </a:lnTo>
                    <a:cubicBezTo>
                      <a:pt x="580231" y="579437"/>
                      <a:pt x="580065" y="558766"/>
                      <a:pt x="578644" y="538162"/>
                    </a:cubicBezTo>
                    <a:cubicBezTo>
                      <a:pt x="578471" y="535658"/>
                      <a:pt x="575331" y="533349"/>
                      <a:pt x="576263" y="531019"/>
                    </a:cubicBezTo>
                    <a:cubicBezTo>
                      <a:pt x="577684" y="527467"/>
                      <a:pt x="587542" y="524878"/>
                      <a:pt x="590550" y="523875"/>
                    </a:cubicBezTo>
                    <a:cubicBezTo>
                      <a:pt x="592138" y="521494"/>
                      <a:pt x="593078" y="518519"/>
                      <a:pt x="595313" y="516731"/>
                    </a:cubicBezTo>
                    <a:cubicBezTo>
                      <a:pt x="597273" y="515163"/>
                      <a:pt x="600681" y="516125"/>
                      <a:pt x="602456" y="514350"/>
                    </a:cubicBezTo>
                    <a:cubicBezTo>
                      <a:pt x="606503" y="510302"/>
                      <a:pt x="611981" y="500062"/>
                      <a:pt x="611981" y="500062"/>
                    </a:cubicBezTo>
                    <a:cubicBezTo>
                      <a:pt x="611187" y="494506"/>
                      <a:pt x="611213" y="488770"/>
                      <a:pt x="609600" y="483394"/>
                    </a:cubicBezTo>
                    <a:cubicBezTo>
                      <a:pt x="608778" y="480653"/>
                      <a:pt x="606118" y="478810"/>
                      <a:pt x="604838" y="476250"/>
                    </a:cubicBezTo>
                    <a:cubicBezTo>
                      <a:pt x="603715" y="474005"/>
                      <a:pt x="603116" y="471528"/>
                      <a:pt x="602456" y="469106"/>
                    </a:cubicBezTo>
                    <a:cubicBezTo>
                      <a:pt x="598150" y="453318"/>
                      <a:pt x="598089" y="452030"/>
                      <a:pt x="595313" y="438150"/>
                    </a:cubicBezTo>
                    <a:cubicBezTo>
                      <a:pt x="596629" y="426301"/>
                      <a:pt x="595058" y="410538"/>
                      <a:pt x="607219" y="402431"/>
                    </a:cubicBezTo>
                    <a:lnTo>
                      <a:pt x="621506" y="392906"/>
                    </a:lnTo>
                    <a:cubicBezTo>
                      <a:pt x="621926" y="397101"/>
                      <a:pt x="622892" y="418364"/>
                      <a:pt x="626269" y="426244"/>
                    </a:cubicBezTo>
                    <a:cubicBezTo>
                      <a:pt x="627396" y="428874"/>
                      <a:pt x="629444" y="431006"/>
                      <a:pt x="631031" y="433387"/>
                    </a:cubicBezTo>
                    <a:cubicBezTo>
                      <a:pt x="634802" y="448465"/>
                      <a:pt x="631597" y="440188"/>
                      <a:pt x="642938" y="457200"/>
                    </a:cubicBezTo>
                    <a:cubicBezTo>
                      <a:pt x="644525" y="459581"/>
                      <a:pt x="645319" y="462757"/>
                      <a:pt x="647700" y="464344"/>
                    </a:cubicBezTo>
                    <a:lnTo>
                      <a:pt x="654844" y="469106"/>
                    </a:lnTo>
                    <a:cubicBezTo>
                      <a:pt x="656431" y="471487"/>
                      <a:pt x="659290" y="473406"/>
                      <a:pt x="659606" y="476250"/>
                    </a:cubicBezTo>
                    <a:cubicBezTo>
                      <a:pt x="660684" y="485953"/>
                      <a:pt x="656412" y="492164"/>
                      <a:pt x="652463" y="500062"/>
                    </a:cubicBezTo>
                    <a:cubicBezTo>
                      <a:pt x="652484" y="500144"/>
                      <a:pt x="656087" y="515593"/>
                      <a:pt x="657225" y="516731"/>
                    </a:cubicBezTo>
                    <a:cubicBezTo>
                      <a:pt x="663706" y="523212"/>
                      <a:pt x="670422" y="526391"/>
                      <a:pt x="678656" y="528637"/>
                    </a:cubicBezTo>
                    <a:cubicBezTo>
                      <a:pt x="684971" y="530359"/>
                      <a:pt x="697706" y="533400"/>
                      <a:pt x="697706" y="533400"/>
                    </a:cubicBezTo>
                    <a:cubicBezTo>
                      <a:pt x="702978" y="536914"/>
                      <a:pt x="708327" y="539805"/>
                      <a:pt x="711994" y="545306"/>
                    </a:cubicBezTo>
                    <a:cubicBezTo>
                      <a:pt x="713386" y="547395"/>
                      <a:pt x="713252" y="550205"/>
                      <a:pt x="714375" y="552450"/>
                    </a:cubicBezTo>
                    <a:cubicBezTo>
                      <a:pt x="715655" y="555010"/>
                      <a:pt x="717550" y="557213"/>
                      <a:pt x="719138" y="559594"/>
                    </a:cubicBezTo>
                    <a:cubicBezTo>
                      <a:pt x="719932" y="561975"/>
                      <a:pt x="719951" y="564777"/>
                      <a:pt x="721519" y="566737"/>
                    </a:cubicBezTo>
                    <a:cubicBezTo>
                      <a:pt x="724877" y="570934"/>
                      <a:pt x="731099" y="572312"/>
                      <a:pt x="735806" y="573881"/>
                    </a:cubicBezTo>
                    <a:cubicBezTo>
                      <a:pt x="743095" y="572059"/>
                      <a:pt x="746992" y="572220"/>
                      <a:pt x="752475" y="566737"/>
                    </a:cubicBezTo>
                    <a:cubicBezTo>
                      <a:pt x="754499" y="564713"/>
                      <a:pt x="755650" y="561975"/>
                      <a:pt x="757238" y="559594"/>
                    </a:cubicBezTo>
                    <a:cubicBezTo>
                      <a:pt x="761773" y="545986"/>
                      <a:pt x="755877" y="557327"/>
                      <a:pt x="766763" y="550069"/>
                    </a:cubicBezTo>
                    <a:cubicBezTo>
                      <a:pt x="772261" y="546403"/>
                      <a:pt x="775156" y="541050"/>
                      <a:pt x="778669" y="535781"/>
                    </a:cubicBezTo>
                    <a:cubicBezTo>
                      <a:pt x="777875" y="519112"/>
                      <a:pt x="778131" y="502360"/>
                      <a:pt x="776288" y="485775"/>
                    </a:cubicBezTo>
                    <a:cubicBezTo>
                      <a:pt x="775734" y="480785"/>
                      <a:pt x="773113" y="476250"/>
                      <a:pt x="771525" y="471487"/>
                    </a:cubicBezTo>
                    <a:lnTo>
                      <a:pt x="769144" y="464344"/>
                    </a:lnTo>
                    <a:cubicBezTo>
                      <a:pt x="768350" y="459581"/>
                      <a:pt x="767107" y="454872"/>
                      <a:pt x="766763" y="450056"/>
                    </a:cubicBezTo>
                    <a:cubicBezTo>
                      <a:pt x="765517" y="432620"/>
                      <a:pt x="772982" y="412887"/>
                      <a:pt x="764381" y="397669"/>
                    </a:cubicBezTo>
                    <a:cubicBezTo>
                      <a:pt x="759678" y="389348"/>
                      <a:pt x="745331" y="396081"/>
                      <a:pt x="735806" y="395287"/>
                    </a:cubicBezTo>
                    <a:cubicBezTo>
                      <a:pt x="732754" y="394524"/>
                      <a:pt x="722554" y="392233"/>
                      <a:pt x="719138" y="390525"/>
                    </a:cubicBezTo>
                    <a:cubicBezTo>
                      <a:pt x="712509" y="387210"/>
                      <a:pt x="710116" y="383884"/>
                      <a:pt x="704850" y="378619"/>
                    </a:cubicBezTo>
                    <a:cubicBezTo>
                      <a:pt x="699596" y="362855"/>
                      <a:pt x="697513" y="363455"/>
                      <a:pt x="702469" y="345281"/>
                    </a:cubicBezTo>
                    <a:cubicBezTo>
                      <a:pt x="703222" y="342520"/>
                      <a:pt x="705207" y="340161"/>
                      <a:pt x="707231" y="338137"/>
                    </a:cubicBezTo>
                    <a:cubicBezTo>
                      <a:pt x="709255" y="336113"/>
                      <a:pt x="712236" y="335276"/>
                      <a:pt x="714375" y="333375"/>
                    </a:cubicBezTo>
                    <a:cubicBezTo>
                      <a:pt x="719409" y="328900"/>
                      <a:pt x="723059" y="322823"/>
                      <a:pt x="728663" y="319087"/>
                    </a:cubicBezTo>
                    <a:cubicBezTo>
                      <a:pt x="733425" y="315912"/>
                      <a:pt x="738903" y="313609"/>
                      <a:pt x="742950" y="309562"/>
                    </a:cubicBezTo>
                    <a:lnTo>
                      <a:pt x="757238" y="295275"/>
                    </a:lnTo>
                    <a:cubicBezTo>
                      <a:pt x="758825" y="290512"/>
                      <a:pt x="760782" y="285857"/>
                      <a:pt x="762000" y="280987"/>
                    </a:cubicBezTo>
                    <a:cubicBezTo>
                      <a:pt x="763588" y="274637"/>
                      <a:pt x="763132" y="267383"/>
                      <a:pt x="766763" y="261937"/>
                    </a:cubicBezTo>
                    <a:lnTo>
                      <a:pt x="776288" y="247650"/>
                    </a:lnTo>
                    <a:lnTo>
                      <a:pt x="781050" y="240506"/>
                    </a:lnTo>
                    <a:cubicBezTo>
                      <a:pt x="780256" y="236537"/>
                      <a:pt x="780090" y="232390"/>
                      <a:pt x="778669" y="228600"/>
                    </a:cubicBezTo>
                    <a:cubicBezTo>
                      <a:pt x="776680" y="223297"/>
                      <a:pt x="770467" y="218017"/>
                      <a:pt x="766763" y="214312"/>
                    </a:cubicBezTo>
                    <a:cubicBezTo>
                      <a:pt x="767557" y="208756"/>
                      <a:pt x="766634" y="202664"/>
                      <a:pt x="769144" y="197644"/>
                    </a:cubicBezTo>
                    <a:cubicBezTo>
                      <a:pt x="770267" y="195399"/>
                      <a:pt x="774094" y="196481"/>
                      <a:pt x="776288" y="195262"/>
                    </a:cubicBezTo>
                    <a:cubicBezTo>
                      <a:pt x="781291" y="192482"/>
                      <a:pt x="785813" y="188912"/>
                      <a:pt x="790575" y="185737"/>
                    </a:cubicBezTo>
                    <a:cubicBezTo>
                      <a:pt x="792956" y="184150"/>
                      <a:pt x="795430" y="182692"/>
                      <a:pt x="797719" y="180975"/>
                    </a:cubicBezTo>
                    <a:cubicBezTo>
                      <a:pt x="800894" y="178594"/>
                      <a:pt x="803617" y="175443"/>
                      <a:pt x="807244" y="173831"/>
                    </a:cubicBezTo>
                    <a:cubicBezTo>
                      <a:pt x="811512" y="171934"/>
                      <a:pt x="837133" y="169202"/>
                      <a:pt x="838200" y="169069"/>
                    </a:cubicBezTo>
                    <a:cubicBezTo>
                      <a:pt x="854365" y="163679"/>
                      <a:pt x="835763" y="171506"/>
                      <a:pt x="854869" y="152400"/>
                    </a:cubicBezTo>
                    <a:cubicBezTo>
                      <a:pt x="864036" y="143233"/>
                      <a:pt x="859211" y="147124"/>
                      <a:pt x="869156" y="140494"/>
                    </a:cubicBezTo>
                    <a:cubicBezTo>
                      <a:pt x="870744" y="138113"/>
                      <a:pt x="871895" y="135374"/>
                      <a:pt x="873919" y="133350"/>
                    </a:cubicBezTo>
                    <a:cubicBezTo>
                      <a:pt x="875943" y="131326"/>
                      <a:pt x="879275" y="130822"/>
                      <a:pt x="881063" y="128587"/>
                    </a:cubicBezTo>
                    <a:cubicBezTo>
                      <a:pt x="882631" y="126627"/>
                      <a:pt x="882322" y="123689"/>
                      <a:pt x="883444" y="121444"/>
                    </a:cubicBezTo>
                    <a:cubicBezTo>
                      <a:pt x="884724" y="118884"/>
                      <a:pt x="887044" y="116915"/>
                      <a:pt x="888206" y="114300"/>
                    </a:cubicBezTo>
                    <a:cubicBezTo>
                      <a:pt x="899539" y="88799"/>
                      <a:pt x="886955" y="109033"/>
                      <a:pt x="897731" y="92869"/>
                    </a:cubicBezTo>
                    <a:cubicBezTo>
                      <a:pt x="898525" y="88900"/>
                      <a:pt x="898692" y="84752"/>
                      <a:pt x="900113" y="80962"/>
                    </a:cubicBezTo>
                    <a:cubicBezTo>
                      <a:pt x="908846" y="57676"/>
                      <a:pt x="901709" y="88862"/>
                      <a:pt x="907256" y="66675"/>
                    </a:cubicBezTo>
                    <a:cubicBezTo>
                      <a:pt x="908238" y="62749"/>
                      <a:pt x="908573" y="58674"/>
                      <a:pt x="909638" y="54769"/>
                    </a:cubicBezTo>
                    <a:cubicBezTo>
                      <a:pt x="910959" y="49926"/>
                      <a:pt x="912813" y="45244"/>
                      <a:pt x="914400" y="40481"/>
                    </a:cubicBezTo>
                    <a:lnTo>
                      <a:pt x="916781" y="33337"/>
                    </a:lnTo>
                    <a:lnTo>
                      <a:pt x="919163" y="26194"/>
                    </a:lnTo>
                    <a:cubicBezTo>
                      <a:pt x="919957" y="23813"/>
                      <a:pt x="919299" y="20173"/>
                      <a:pt x="921544" y="19050"/>
                    </a:cubicBezTo>
                    <a:cubicBezTo>
                      <a:pt x="947650" y="5996"/>
                      <a:pt x="915687" y="23234"/>
                      <a:pt x="938213" y="7144"/>
                    </a:cubicBezTo>
                    <a:cubicBezTo>
                      <a:pt x="943364" y="3465"/>
                      <a:pt x="949050" y="1944"/>
                      <a:pt x="954881" y="0"/>
                    </a:cubicBezTo>
                    <a:lnTo>
                      <a:pt x="995363" y="2381"/>
                    </a:lnTo>
                    <a:cubicBezTo>
                      <a:pt x="1001806" y="4342"/>
                      <a:pt x="1003260" y="14539"/>
                      <a:pt x="1009650" y="16669"/>
                    </a:cubicBezTo>
                    <a:lnTo>
                      <a:pt x="1023938" y="21431"/>
                    </a:lnTo>
                    <a:cubicBezTo>
                      <a:pt x="1040000" y="37494"/>
                      <a:pt x="1031835" y="33589"/>
                      <a:pt x="1045369" y="38100"/>
                    </a:cubicBezTo>
                    <a:cubicBezTo>
                      <a:pt x="1056392" y="54634"/>
                      <a:pt x="1060567" y="54419"/>
                      <a:pt x="1052513" y="78581"/>
                    </a:cubicBezTo>
                    <a:cubicBezTo>
                      <a:pt x="1051719" y="80962"/>
                      <a:pt x="1047819" y="80417"/>
                      <a:pt x="1045369" y="80962"/>
                    </a:cubicBezTo>
                    <a:cubicBezTo>
                      <a:pt x="1020227" y="86549"/>
                      <a:pt x="1040017" y="80365"/>
                      <a:pt x="1023938" y="85725"/>
                    </a:cubicBezTo>
                    <a:cubicBezTo>
                      <a:pt x="1018674" y="90989"/>
                      <a:pt x="1015345" y="93384"/>
                      <a:pt x="1012031" y="100012"/>
                    </a:cubicBezTo>
                    <a:cubicBezTo>
                      <a:pt x="1010908" y="102257"/>
                      <a:pt x="1010639" y="104849"/>
                      <a:pt x="1009650" y="107156"/>
                    </a:cubicBezTo>
                    <a:cubicBezTo>
                      <a:pt x="1007594" y="111954"/>
                      <a:pt x="1003643" y="119603"/>
                      <a:pt x="1000125" y="123825"/>
                    </a:cubicBezTo>
                    <a:cubicBezTo>
                      <a:pt x="997969" y="126412"/>
                      <a:pt x="995362" y="128588"/>
                      <a:pt x="992981" y="130969"/>
                    </a:cubicBezTo>
                    <a:cubicBezTo>
                      <a:pt x="992187" y="133350"/>
                      <a:pt x="991992" y="136024"/>
                      <a:pt x="990600" y="138112"/>
                    </a:cubicBezTo>
                    <a:cubicBezTo>
                      <a:pt x="979092" y="155373"/>
                      <a:pt x="986916" y="134225"/>
                      <a:pt x="978694" y="154781"/>
                    </a:cubicBezTo>
                    <a:cubicBezTo>
                      <a:pt x="976830" y="159442"/>
                      <a:pt x="975519" y="164306"/>
                      <a:pt x="973931" y="169069"/>
                    </a:cubicBezTo>
                    <a:cubicBezTo>
                      <a:pt x="970324" y="179891"/>
                      <a:pt x="966021" y="191101"/>
                      <a:pt x="964406" y="202406"/>
                    </a:cubicBezTo>
                    <a:lnTo>
                      <a:pt x="962025" y="219075"/>
                    </a:lnTo>
                    <a:cubicBezTo>
                      <a:pt x="962819" y="247650"/>
                      <a:pt x="964406" y="276214"/>
                      <a:pt x="964406" y="304800"/>
                    </a:cubicBezTo>
                    <a:cubicBezTo>
                      <a:pt x="964406" y="305289"/>
                      <a:pt x="961728" y="327347"/>
                      <a:pt x="959644" y="330994"/>
                    </a:cubicBezTo>
                    <a:cubicBezTo>
                      <a:pt x="957973" y="333918"/>
                      <a:pt x="954567" y="335479"/>
                      <a:pt x="952500" y="338137"/>
                    </a:cubicBezTo>
                    <a:cubicBezTo>
                      <a:pt x="948986" y="342655"/>
                      <a:pt x="946150" y="347662"/>
                      <a:pt x="942975" y="352425"/>
                    </a:cubicBezTo>
                    <a:cubicBezTo>
                      <a:pt x="939707" y="357327"/>
                      <a:pt x="933117" y="366969"/>
                      <a:pt x="931069" y="371475"/>
                    </a:cubicBezTo>
                    <a:cubicBezTo>
                      <a:pt x="928992" y="376045"/>
                      <a:pt x="927894" y="381000"/>
                      <a:pt x="926306" y="385762"/>
                    </a:cubicBezTo>
                    <a:lnTo>
                      <a:pt x="921544" y="400050"/>
                    </a:lnTo>
                    <a:cubicBezTo>
                      <a:pt x="920750" y="402431"/>
                      <a:pt x="919772" y="404759"/>
                      <a:pt x="919163" y="407194"/>
                    </a:cubicBezTo>
                    <a:cubicBezTo>
                      <a:pt x="918369" y="410369"/>
                      <a:pt x="917680" y="413572"/>
                      <a:pt x="916781" y="416719"/>
                    </a:cubicBezTo>
                    <a:cubicBezTo>
                      <a:pt x="916091" y="419132"/>
                      <a:pt x="915089" y="421449"/>
                      <a:pt x="914400" y="423862"/>
                    </a:cubicBezTo>
                    <a:cubicBezTo>
                      <a:pt x="912675" y="429901"/>
                      <a:pt x="912084" y="434824"/>
                      <a:pt x="909638" y="440531"/>
                    </a:cubicBezTo>
                    <a:cubicBezTo>
                      <a:pt x="903474" y="454913"/>
                      <a:pt x="906941" y="445251"/>
                      <a:pt x="900113" y="457200"/>
                    </a:cubicBezTo>
                    <a:cubicBezTo>
                      <a:pt x="898352" y="460282"/>
                      <a:pt x="897111" y="463643"/>
                      <a:pt x="895350" y="466725"/>
                    </a:cubicBezTo>
                    <a:cubicBezTo>
                      <a:pt x="893930" y="469210"/>
                      <a:pt x="891868" y="471309"/>
                      <a:pt x="890588" y="473869"/>
                    </a:cubicBezTo>
                    <a:cubicBezTo>
                      <a:pt x="888681" y="477682"/>
                      <a:pt x="886845" y="486968"/>
                      <a:pt x="885825" y="490537"/>
                    </a:cubicBezTo>
                    <a:cubicBezTo>
                      <a:pt x="885135" y="492951"/>
                      <a:pt x="884238" y="495300"/>
                      <a:pt x="883444" y="497681"/>
                    </a:cubicBezTo>
                    <a:cubicBezTo>
                      <a:pt x="884238" y="514350"/>
                      <a:pt x="884494" y="531053"/>
                      <a:pt x="885825" y="547687"/>
                    </a:cubicBezTo>
                    <a:cubicBezTo>
                      <a:pt x="886086" y="550949"/>
                      <a:pt x="887564" y="554003"/>
                      <a:pt x="888206" y="557212"/>
                    </a:cubicBezTo>
                    <a:cubicBezTo>
                      <a:pt x="889153" y="561947"/>
                      <a:pt x="889641" y="566765"/>
                      <a:pt x="890588" y="571500"/>
                    </a:cubicBezTo>
                    <a:cubicBezTo>
                      <a:pt x="891230" y="574709"/>
                      <a:pt x="892431" y="577797"/>
                      <a:pt x="892969" y="581025"/>
                    </a:cubicBezTo>
                    <a:cubicBezTo>
                      <a:pt x="894021" y="587337"/>
                      <a:pt x="894556" y="593725"/>
                      <a:pt x="895350" y="600075"/>
                    </a:cubicBezTo>
                    <a:cubicBezTo>
                      <a:pt x="894556" y="623094"/>
                      <a:pt x="895119" y="646199"/>
                      <a:pt x="892969" y="669131"/>
                    </a:cubicBezTo>
                    <a:cubicBezTo>
                      <a:pt x="892702" y="671981"/>
                      <a:pt x="890230" y="674251"/>
                      <a:pt x="888206" y="676275"/>
                    </a:cubicBezTo>
                    <a:cubicBezTo>
                      <a:pt x="886183" y="678298"/>
                      <a:pt x="883444" y="679450"/>
                      <a:pt x="881063" y="681037"/>
                    </a:cubicBezTo>
                    <a:cubicBezTo>
                      <a:pt x="879475" y="683418"/>
                      <a:pt x="877580" y="685621"/>
                      <a:pt x="876300" y="688181"/>
                    </a:cubicBezTo>
                    <a:cubicBezTo>
                      <a:pt x="875177" y="690426"/>
                      <a:pt x="875487" y="693365"/>
                      <a:pt x="873919" y="695325"/>
                    </a:cubicBezTo>
                    <a:cubicBezTo>
                      <a:pt x="872131" y="697560"/>
                      <a:pt x="869156" y="698500"/>
                      <a:pt x="866775" y="700087"/>
                    </a:cubicBezTo>
                    <a:cubicBezTo>
                      <a:pt x="858278" y="712834"/>
                      <a:pt x="864035" y="705210"/>
                      <a:pt x="847725" y="721519"/>
                    </a:cubicBezTo>
                    <a:cubicBezTo>
                      <a:pt x="838560" y="730684"/>
                      <a:pt x="843381" y="726795"/>
                      <a:pt x="833438" y="733425"/>
                    </a:cubicBezTo>
                    <a:cubicBezTo>
                      <a:pt x="821608" y="751169"/>
                      <a:pt x="836816" y="729370"/>
                      <a:pt x="821531" y="747712"/>
                    </a:cubicBezTo>
                    <a:cubicBezTo>
                      <a:pt x="819699" y="749911"/>
                      <a:pt x="818670" y="752717"/>
                      <a:pt x="816769" y="754856"/>
                    </a:cubicBezTo>
                    <a:cubicBezTo>
                      <a:pt x="812294" y="759890"/>
                      <a:pt x="806217" y="763540"/>
                      <a:pt x="802481" y="769144"/>
                    </a:cubicBezTo>
                    <a:cubicBezTo>
                      <a:pt x="791250" y="785991"/>
                      <a:pt x="805355" y="765119"/>
                      <a:pt x="790575" y="785812"/>
                    </a:cubicBezTo>
                    <a:cubicBezTo>
                      <a:pt x="788912" y="788141"/>
                      <a:pt x="787837" y="790932"/>
                      <a:pt x="785813" y="792956"/>
                    </a:cubicBezTo>
                    <a:cubicBezTo>
                      <a:pt x="783789" y="794980"/>
                      <a:pt x="780868" y="795887"/>
                      <a:pt x="778669" y="797719"/>
                    </a:cubicBezTo>
                    <a:cubicBezTo>
                      <a:pt x="776082" y="799875"/>
                      <a:pt x="774327" y="802994"/>
                      <a:pt x="771525" y="804862"/>
                    </a:cubicBezTo>
                    <a:cubicBezTo>
                      <a:pt x="769436" y="806254"/>
                      <a:pt x="766688" y="806255"/>
                      <a:pt x="764381" y="807244"/>
                    </a:cubicBezTo>
                    <a:cubicBezTo>
                      <a:pt x="761118" y="808642"/>
                      <a:pt x="758031" y="810419"/>
                      <a:pt x="754856" y="812006"/>
                    </a:cubicBezTo>
                    <a:cubicBezTo>
                      <a:pt x="741761" y="803276"/>
                      <a:pt x="752872" y="812006"/>
                      <a:pt x="742950" y="800100"/>
                    </a:cubicBezTo>
                    <a:cubicBezTo>
                      <a:pt x="740794" y="797513"/>
                      <a:pt x="737962" y="795543"/>
                      <a:pt x="735806" y="792956"/>
                    </a:cubicBezTo>
                    <a:cubicBezTo>
                      <a:pt x="733974" y="790757"/>
                      <a:pt x="733279" y="787600"/>
                      <a:pt x="731044" y="785812"/>
                    </a:cubicBezTo>
                    <a:cubicBezTo>
                      <a:pt x="729084" y="784244"/>
                      <a:pt x="726281" y="784225"/>
                      <a:pt x="723900" y="783431"/>
                    </a:cubicBezTo>
                    <a:cubicBezTo>
                      <a:pt x="720725" y="781050"/>
                      <a:pt x="717821" y="778256"/>
                      <a:pt x="714375" y="776287"/>
                    </a:cubicBezTo>
                    <a:cubicBezTo>
                      <a:pt x="711719" y="774769"/>
                      <a:pt x="699767" y="772040"/>
                      <a:pt x="697706" y="771525"/>
                    </a:cubicBezTo>
                    <a:cubicBezTo>
                      <a:pt x="695325" y="773906"/>
                      <a:pt x="692431" y="775867"/>
                      <a:pt x="690563" y="778669"/>
                    </a:cubicBezTo>
                    <a:cubicBezTo>
                      <a:pt x="689171" y="780757"/>
                      <a:pt x="688181" y="783302"/>
                      <a:pt x="688181" y="785812"/>
                    </a:cubicBezTo>
                    <a:cubicBezTo>
                      <a:pt x="688181" y="791285"/>
                      <a:pt x="688538" y="810337"/>
                      <a:pt x="692944" y="819150"/>
                    </a:cubicBezTo>
                    <a:cubicBezTo>
                      <a:pt x="694224" y="821710"/>
                      <a:pt x="695682" y="824270"/>
                      <a:pt x="697706" y="826294"/>
                    </a:cubicBezTo>
                    <a:cubicBezTo>
                      <a:pt x="699730" y="828318"/>
                      <a:pt x="702469" y="829469"/>
                      <a:pt x="704850" y="831056"/>
                    </a:cubicBezTo>
                    <a:cubicBezTo>
                      <a:pt x="706438" y="833437"/>
                      <a:pt x="707414" y="836368"/>
                      <a:pt x="709613" y="838200"/>
                    </a:cubicBezTo>
                    <a:cubicBezTo>
                      <a:pt x="716534" y="843967"/>
                      <a:pt x="725053" y="843948"/>
                      <a:pt x="733425" y="845344"/>
                    </a:cubicBezTo>
                    <a:cubicBezTo>
                      <a:pt x="735806" y="846931"/>
                      <a:pt x="738009" y="848826"/>
                      <a:pt x="740569" y="850106"/>
                    </a:cubicBezTo>
                    <a:cubicBezTo>
                      <a:pt x="742814" y="851228"/>
                      <a:pt x="745753" y="850919"/>
                      <a:pt x="747713" y="852487"/>
                    </a:cubicBezTo>
                    <a:cubicBezTo>
                      <a:pt x="763100" y="864797"/>
                      <a:pt x="741662" y="856027"/>
                      <a:pt x="759619" y="862012"/>
                    </a:cubicBezTo>
                    <a:cubicBezTo>
                      <a:pt x="770810" y="873203"/>
                      <a:pt x="763961" y="867287"/>
                      <a:pt x="781050" y="878681"/>
                    </a:cubicBezTo>
                    <a:cubicBezTo>
                      <a:pt x="783431" y="880269"/>
                      <a:pt x="785479" y="882539"/>
                      <a:pt x="788194" y="883444"/>
                    </a:cubicBezTo>
                    <a:cubicBezTo>
                      <a:pt x="804276" y="888804"/>
                      <a:pt x="784480" y="882619"/>
                      <a:pt x="809625" y="888206"/>
                    </a:cubicBezTo>
                    <a:cubicBezTo>
                      <a:pt x="812075" y="888750"/>
                      <a:pt x="814388" y="889793"/>
                      <a:pt x="816769" y="890587"/>
                    </a:cubicBezTo>
                    <a:cubicBezTo>
                      <a:pt x="821531" y="889793"/>
                      <a:pt x="826599" y="890063"/>
                      <a:pt x="831056" y="888206"/>
                    </a:cubicBezTo>
                    <a:cubicBezTo>
                      <a:pt x="836340" y="886005"/>
                      <a:pt x="840581" y="881856"/>
                      <a:pt x="845344" y="878681"/>
                    </a:cubicBezTo>
                    <a:lnTo>
                      <a:pt x="852488" y="873919"/>
                    </a:lnTo>
                    <a:cubicBezTo>
                      <a:pt x="854869" y="872332"/>
                      <a:pt x="856916" y="870061"/>
                      <a:pt x="859631" y="869156"/>
                    </a:cubicBezTo>
                    <a:lnTo>
                      <a:pt x="866775" y="866775"/>
                    </a:lnTo>
                    <a:cubicBezTo>
                      <a:pt x="869156" y="865187"/>
                      <a:pt x="871359" y="863292"/>
                      <a:pt x="873919" y="862012"/>
                    </a:cubicBezTo>
                    <a:cubicBezTo>
                      <a:pt x="880904" y="858520"/>
                      <a:pt x="890840" y="858503"/>
                      <a:pt x="897731" y="857250"/>
                    </a:cubicBezTo>
                    <a:cubicBezTo>
                      <a:pt x="900951" y="856665"/>
                      <a:pt x="904081" y="855663"/>
                      <a:pt x="907256" y="854869"/>
                    </a:cubicBezTo>
                    <a:cubicBezTo>
                      <a:pt x="923633" y="843952"/>
                      <a:pt x="916114" y="847155"/>
                      <a:pt x="928688" y="842962"/>
                    </a:cubicBezTo>
                    <a:cubicBezTo>
                      <a:pt x="931069" y="840581"/>
                      <a:pt x="933244" y="837975"/>
                      <a:pt x="935831" y="835819"/>
                    </a:cubicBezTo>
                    <a:cubicBezTo>
                      <a:pt x="938030" y="833987"/>
                      <a:pt x="940951" y="833080"/>
                      <a:pt x="942975" y="831056"/>
                    </a:cubicBezTo>
                    <a:cubicBezTo>
                      <a:pt x="944999" y="829032"/>
                      <a:pt x="945906" y="826111"/>
                      <a:pt x="947738" y="823912"/>
                    </a:cubicBezTo>
                    <a:cubicBezTo>
                      <a:pt x="949894" y="821325"/>
                      <a:pt x="952814" y="819427"/>
                      <a:pt x="954881" y="816769"/>
                    </a:cubicBezTo>
                    <a:cubicBezTo>
                      <a:pt x="958395" y="812251"/>
                      <a:pt x="964406" y="802481"/>
                      <a:pt x="964406" y="802481"/>
                    </a:cubicBezTo>
                    <a:cubicBezTo>
                      <a:pt x="964694" y="800756"/>
                      <a:pt x="966565" y="784956"/>
                      <a:pt x="969169" y="781050"/>
                    </a:cubicBezTo>
                    <a:cubicBezTo>
                      <a:pt x="971037" y="778248"/>
                      <a:pt x="974121" y="776463"/>
                      <a:pt x="976313" y="773906"/>
                    </a:cubicBezTo>
                    <a:cubicBezTo>
                      <a:pt x="980739" y="768742"/>
                      <a:pt x="984453" y="762886"/>
                      <a:pt x="988219" y="757237"/>
                    </a:cubicBezTo>
                    <a:cubicBezTo>
                      <a:pt x="990811" y="749460"/>
                      <a:pt x="991831" y="747385"/>
                      <a:pt x="992981" y="738187"/>
                    </a:cubicBezTo>
                    <a:cubicBezTo>
                      <a:pt x="994862" y="723140"/>
                      <a:pt x="992949" y="707330"/>
                      <a:pt x="997744" y="692944"/>
                    </a:cubicBezTo>
                    <a:cubicBezTo>
                      <a:pt x="998538" y="690563"/>
                      <a:pt x="999002" y="688045"/>
                      <a:pt x="1000125" y="685800"/>
                    </a:cubicBezTo>
                    <a:cubicBezTo>
                      <a:pt x="1001405" y="683240"/>
                      <a:pt x="1003300" y="681037"/>
                      <a:pt x="1004888" y="678656"/>
                    </a:cubicBezTo>
                    <a:cubicBezTo>
                      <a:pt x="1005682" y="676275"/>
                      <a:pt x="1006820" y="673982"/>
                      <a:pt x="1007269" y="671512"/>
                    </a:cubicBezTo>
                    <a:cubicBezTo>
                      <a:pt x="1008208" y="666349"/>
                      <a:pt x="1009043" y="649908"/>
                      <a:pt x="1012031" y="642937"/>
                    </a:cubicBezTo>
                    <a:cubicBezTo>
                      <a:pt x="1013158" y="640307"/>
                      <a:pt x="1015206" y="638175"/>
                      <a:pt x="1016794" y="635794"/>
                    </a:cubicBezTo>
                    <a:cubicBezTo>
                      <a:pt x="1018085" y="629337"/>
                      <a:pt x="1018097" y="621417"/>
                      <a:pt x="1023938" y="616744"/>
                    </a:cubicBezTo>
                    <a:cubicBezTo>
                      <a:pt x="1025898" y="615176"/>
                      <a:pt x="1028836" y="615485"/>
                      <a:pt x="1031081" y="614362"/>
                    </a:cubicBezTo>
                    <a:cubicBezTo>
                      <a:pt x="1033641" y="613082"/>
                      <a:pt x="1035665" y="610880"/>
                      <a:pt x="1038225" y="609600"/>
                    </a:cubicBezTo>
                    <a:cubicBezTo>
                      <a:pt x="1050120" y="603653"/>
                      <a:pt x="1079976" y="605055"/>
                      <a:pt x="1083469" y="604837"/>
                    </a:cubicBezTo>
                    <a:cubicBezTo>
                      <a:pt x="1093788" y="605631"/>
                      <a:pt x="1105047" y="602842"/>
                      <a:pt x="1114425" y="607219"/>
                    </a:cubicBezTo>
                    <a:cubicBezTo>
                      <a:pt x="1118974" y="609342"/>
                      <a:pt x="1117600" y="616744"/>
                      <a:pt x="1119188" y="621506"/>
                    </a:cubicBezTo>
                    <a:lnTo>
                      <a:pt x="1121569" y="628650"/>
                    </a:lnTo>
                    <a:cubicBezTo>
                      <a:pt x="1122363" y="631031"/>
                      <a:pt x="1122175" y="634019"/>
                      <a:pt x="1123950" y="635794"/>
                    </a:cubicBezTo>
                    <a:cubicBezTo>
                      <a:pt x="1126331" y="638175"/>
                      <a:pt x="1128507" y="640781"/>
                      <a:pt x="1131094" y="642937"/>
                    </a:cubicBezTo>
                    <a:cubicBezTo>
                      <a:pt x="1133293" y="644769"/>
                      <a:pt x="1135857" y="646112"/>
                      <a:pt x="1138238" y="647700"/>
                    </a:cubicBezTo>
                    <a:cubicBezTo>
                      <a:pt x="1149948" y="665267"/>
                      <a:pt x="1145764" y="655882"/>
                      <a:pt x="1140619" y="695325"/>
                    </a:cubicBezTo>
                    <a:cubicBezTo>
                      <a:pt x="1139970" y="700303"/>
                      <a:pt x="1139405" y="706062"/>
                      <a:pt x="1135856" y="709612"/>
                    </a:cubicBezTo>
                    <a:lnTo>
                      <a:pt x="1128713" y="716756"/>
                    </a:lnTo>
                    <a:cubicBezTo>
                      <a:pt x="1125363" y="726803"/>
                      <a:pt x="1123327" y="729485"/>
                      <a:pt x="1128713" y="742950"/>
                    </a:cubicBezTo>
                    <a:cubicBezTo>
                      <a:pt x="1129776" y="745607"/>
                      <a:pt x="1133475" y="746125"/>
                      <a:pt x="1135856" y="747712"/>
                    </a:cubicBezTo>
                    <a:cubicBezTo>
                      <a:pt x="1137444" y="750093"/>
                      <a:pt x="1138384" y="753068"/>
                      <a:pt x="1140619" y="754856"/>
                    </a:cubicBezTo>
                    <a:cubicBezTo>
                      <a:pt x="1142579" y="756424"/>
                      <a:pt x="1146195" y="755277"/>
                      <a:pt x="1147763" y="757237"/>
                    </a:cubicBezTo>
                    <a:cubicBezTo>
                      <a:pt x="1149807" y="759793"/>
                      <a:pt x="1149350" y="763587"/>
                      <a:pt x="1150144" y="766762"/>
                    </a:cubicBezTo>
                    <a:cubicBezTo>
                      <a:pt x="1151731" y="764381"/>
                      <a:pt x="1154647" y="762469"/>
                      <a:pt x="1154906" y="759619"/>
                    </a:cubicBezTo>
                    <a:cubicBezTo>
                      <a:pt x="1156329" y="743968"/>
                      <a:pt x="1154215" y="743104"/>
                      <a:pt x="1147763" y="733425"/>
                    </a:cubicBezTo>
                    <a:cubicBezTo>
                      <a:pt x="1146257" y="727402"/>
                      <a:pt x="1143207" y="722451"/>
                      <a:pt x="1147763" y="716756"/>
                    </a:cubicBezTo>
                    <a:cubicBezTo>
                      <a:pt x="1149551" y="714521"/>
                      <a:pt x="1152525" y="713581"/>
                      <a:pt x="1154906" y="711994"/>
                    </a:cubicBezTo>
                    <a:cubicBezTo>
                      <a:pt x="1157688" y="703651"/>
                      <a:pt x="1156406" y="703948"/>
                      <a:pt x="1164431" y="697706"/>
                    </a:cubicBezTo>
                    <a:cubicBezTo>
                      <a:pt x="1168949" y="694192"/>
                      <a:pt x="1178719" y="688181"/>
                      <a:pt x="1178719" y="688181"/>
                    </a:cubicBezTo>
                    <a:cubicBezTo>
                      <a:pt x="1192380" y="667687"/>
                      <a:pt x="1188476" y="676597"/>
                      <a:pt x="1181100" y="628650"/>
                    </a:cubicBezTo>
                    <a:cubicBezTo>
                      <a:pt x="1180497" y="624727"/>
                      <a:pt x="1176337" y="622300"/>
                      <a:pt x="1173956" y="619125"/>
                    </a:cubicBezTo>
                    <a:cubicBezTo>
                      <a:pt x="1171687" y="612316"/>
                      <a:pt x="1170689" y="609931"/>
                      <a:pt x="1169194" y="602456"/>
                    </a:cubicBezTo>
                    <a:cubicBezTo>
                      <a:pt x="1168247" y="597722"/>
                      <a:pt x="1167760" y="592903"/>
                      <a:pt x="1166813" y="588169"/>
                    </a:cubicBezTo>
                    <a:cubicBezTo>
                      <a:pt x="1166171" y="584960"/>
                      <a:pt x="1165330" y="581791"/>
                      <a:pt x="1164431" y="578644"/>
                    </a:cubicBezTo>
                    <a:cubicBezTo>
                      <a:pt x="1163741" y="576230"/>
                      <a:pt x="1162614" y="573946"/>
                      <a:pt x="1162050" y="571500"/>
                    </a:cubicBezTo>
                    <a:cubicBezTo>
                      <a:pt x="1158760" y="557241"/>
                      <a:pt x="1158397" y="550380"/>
                      <a:pt x="1154906" y="538162"/>
                    </a:cubicBezTo>
                    <a:cubicBezTo>
                      <a:pt x="1154216" y="535749"/>
                      <a:pt x="1154093" y="532979"/>
                      <a:pt x="1152525" y="531019"/>
                    </a:cubicBezTo>
                    <a:cubicBezTo>
                      <a:pt x="1150737" y="528784"/>
                      <a:pt x="1147941" y="527536"/>
                      <a:pt x="1145381" y="526256"/>
                    </a:cubicBezTo>
                    <a:cubicBezTo>
                      <a:pt x="1139519" y="523325"/>
                      <a:pt x="1129436" y="522408"/>
                      <a:pt x="1123950" y="521494"/>
                    </a:cubicBezTo>
                    <a:cubicBezTo>
                      <a:pt x="1122381" y="516787"/>
                      <a:pt x="1121004" y="510564"/>
                      <a:pt x="1116806" y="507206"/>
                    </a:cubicBezTo>
                    <a:cubicBezTo>
                      <a:pt x="1114846" y="505638"/>
                      <a:pt x="1112044" y="505619"/>
                      <a:pt x="1109663" y="504825"/>
                    </a:cubicBezTo>
                    <a:cubicBezTo>
                      <a:pt x="1107282" y="506412"/>
                      <a:pt x="1105134" y="508425"/>
                      <a:pt x="1102519" y="509587"/>
                    </a:cubicBezTo>
                    <a:cubicBezTo>
                      <a:pt x="1083825" y="517895"/>
                      <a:pt x="1073811" y="515251"/>
                      <a:pt x="1050131" y="516731"/>
                    </a:cubicBezTo>
                    <a:cubicBezTo>
                      <a:pt x="1045035" y="518430"/>
                      <a:pt x="1039646" y="519530"/>
                      <a:pt x="1035844" y="523875"/>
                    </a:cubicBezTo>
                    <a:cubicBezTo>
                      <a:pt x="1032075" y="528182"/>
                      <a:pt x="1026319" y="538162"/>
                      <a:pt x="1026319" y="538162"/>
                    </a:cubicBezTo>
                    <a:cubicBezTo>
                      <a:pt x="1023938" y="535781"/>
                      <a:pt x="1020846" y="533943"/>
                      <a:pt x="1019175" y="531019"/>
                    </a:cubicBezTo>
                    <a:cubicBezTo>
                      <a:pt x="1017551" y="528178"/>
                      <a:pt x="1016794" y="524767"/>
                      <a:pt x="1016794" y="521494"/>
                    </a:cubicBezTo>
                    <a:cubicBezTo>
                      <a:pt x="1016794" y="516010"/>
                      <a:pt x="1018026" y="488896"/>
                      <a:pt x="1023938" y="481012"/>
                    </a:cubicBezTo>
                    <a:cubicBezTo>
                      <a:pt x="1032798" y="469197"/>
                      <a:pt x="1028879" y="474789"/>
                      <a:pt x="1035844" y="464344"/>
                    </a:cubicBezTo>
                    <a:cubicBezTo>
                      <a:pt x="1041641" y="446951"/>
                      <a:pt x="1039388" y="454926"/>
                      <a:pt x="1042988" y="440531"/>
                    </a:cubicBezTo>
                    <a:cubicBezTo>
                      <a:pt x="1042194" y="434975"/>
                      <a:pt x="1041707" y="429366"/>
                      <a:pt x="1040606" y="423862"/>
                    </a:cubicBezTo>
                    <a:cubicBezTo>
                      <a:pt x="1040114" y="421401"/>
                      <a:pt x="1038225" y="419229"/>
                      <a:pt x="1038225" y="416719"/>
                    </a:cubicBezTo>
                    <a:cubicBezTo>
                      <a:pt x="1038225" y="407952"/>
                      <a:pt x="1039366" y="399204"/>
                      <a:pt x="1040606" y="390525"/>
                    </a:cubicBezTo>
                    <a:cubicBezTo>
                      <a:pt x="1040961" y="388040"/>
                      <a:pt x="1041420" y="385341"/>
                      <a:pt x="1042988" y="383381"/>
                    </a:cubicBezTo>
                    <a:cubicBezTo>
                      <a:pt x="1044776" y="381146"/>
                      <a:pt x="1047933" y="380451"/>
                      <a:pt x="1050131" y="378619"/>
                    </a:cubicBezTo>
                    <a:cubicBezTo>
                      <a:pt x="1057007" y="372889"/>
                      <a:pt x="1057355" y="371355"/>
                      <a:pt x="1062038" y="364331"/>
                    </a:cubicBezTo>
                    <a:cubicBezTo>
                      <a:pt x="1062832" y="361950"/>
                      <a:pt x="1063297" y="359432"/>
                      <a:pt x="1064419" y="357187"/>
                    </a:cubicBezTo>
                    <a:cubicBezTo>
                      <a:pt x="1073655" y="338715"/>
                      <a:pt x="1065573" y="360865"/>
                      <a:pt x="1071563" y="342900"/>
                    </a:cubicBezTo>
                    <a:cubicBezTo>
                      <a:pt x="1071487" y="342136"/>
                      <a:pt x="1070036" y="316034"/>
                      <a:pt x="1066800" y="309562"/>
                    </a:cubicBezTo>
                    <a:cubicBezTo>
                      <a:pt x="1064240" y="304443"/>
                      <a:pt x="1057275" y="295275"/>
                      <a:pt x="1057275" y="295275"/>
                    </a:cubicBezTo>
                    <a:cubicBezTo>
                      <a:pt x="1056481" y="291306"/>
                      <a:pt x="1055466" y="287376"/>
                      <a:pt x="1054894" y="283369"/>
                    </a:cubicBezTo>
                    <a:cubicBezTo>
                      <a:pt x="1053878" y="276253"/>
                      <a:pt x="1053353" y="269076"/>
                      <a:pt x="1052513" y="261937"/>
                    </a:cubicBezTo>
                    <a:cubicBezTo>
                      <a:pt x="1051765" y="255581"/>
                      <a:pt x="1050925" y="249237"/>
                      <a:pt x="1050131" y="242887"/>
                    </a:cubicBezTo>
                    <a:cubicBezTo>
                      <a:pt x="1050925" y="231775"/>
                      <a:pt x="1049811" y="220358"/>
                      <a:pt x="1052513" y="209550"/>
                    </a:cubicBezTo>
                    <a:cubicBezTo>
                      <a:pt x="1053207" y="206774"/>
                      <a:pt x="1057041" y="205949"/>
                      <a:pt x="1059656" y="204787"/>
                    </a:cubicBezTo>
                    <a:cubicBezTo>
                      <a:pt x="1064244" y="202748"/>
                      <a:pt x="1069181" y="201612"/>
                      <a:pt x="1073944" y="200025"/>
                    </a:cubicBezTo>
                    <a:lnTo>
                      <a:pt x="1081088" y="197644"/>
                    </a:lnTo>
                    <a:cubicBezTo>
                      <a:pt x="1083469" y="196056"/>
                      <a:pt x="1085671" y="194161"/>
                      <a:pt x="1088231" y="192881"/>
                    </a:cubicBezTo>
                    <a:cubicBezTo>
                      <a:pt x="1090476" y="191758"/>
                      <a:pt x="1093181" y="191719"/>
                      <a:pt x="1095375" y="190500"/>
                    </a:cubicBezTo>
                    <a:cubicBezTo>
                      <a:pt x="1102916" y="186311"/>
                      <a:pt x="1112052" y="179183"/>
                      <a:pt x="1119188" y="173831"/>
                    </a:cubicBezTo>
                    <a:cubicBezTo>
                      <a:pt x="1120775" y="170656"/>
                      <a:pt x="1122189" y="167388"/>
                      <a:pt x="1123950" y="164306"/>
                    </a:cubicBezTo>
                    <a:cubicBezTo>
                      <a:pt x="1125370" y="161821"/>
                      <a:pt x="1127551" y="159777"/>
                      <a:pt x="1128713" y="157162"/>
                    </a:cubicBezTo>
                    <a:cubicBezTo>
                      <a:pt x="1132025" y="149709"/>
                      <a:pt x="1133877" y="141265"/>
                      <a:pt x="1135856" y="133350"/>
                    </a:cubicBezTo>
                    <a:cubicBezTo>
                      <a:pt x="1136650" y="122237"/>
                      <a:pt x="1136585" y="111030"/>
                      <a:pt x="1138238" y="100012"/>
                    </a:cubicBezTo>
                    <a:cubicBezTo>
                      <a:pt x="1138983" y="95048"/>
                      <a:pt x="1141413" y="90487"/>
                      <a:pt x="1143000" y="85725"/>
                    </a:cubicBezTo>
                    <a:cubicBezTo>
                      <a:pt x="1143794" y="83344"/>
                      <a:pt x="1143000" y="79375"/>
                      <a:pt x="1145381" y="78581"/>
                    </a:cubicBezTo>
                    <a:lnTo>
                      <a:pt x="1152525" y="76200"/>
                    </a:lnTo>
                    <a:cubicBezTo>
                      <a:pt x="1156494" y="76994"/>
                      <a:pt x="1161138" y="76229"/>
                      <a:pt x="1164431" y="78581"/>
                    </a:cubicBezTo>
                    <a:cubicBezTo>
                      <a:pt x="1167320" y="80644"/>
                      <a:pt x="1169058" y="84559"/>
                      <a:pt x="1169194" y="88106"/>
                    </a:cubicBezTo>
                    <a:cubicBezTo>
                      <a:pt x="1169779" y="103306"/>
                      <a:pt x="1171424" y="136030"/>
                      <a:pt x="1162050" y="154781"/>
                    </a:cubicBezTo>
                    <a:cubicBezTo>
                      <a:pt x="1160463" y="157956"/>
                      <a:pt x="1158606" y="161010"/>
                      <a:pt x="1157288" y="164306"/>
                    </a:cubicBezTo>
                    <a:cubicBezTo>
                      <a:pt x="1155424" y="168967"/>
                      <a:pt x="1152525" y="178594"/>
                      <a:pt x="1152525" y="178594"/>
                    </a:cubicBezTo>
                    <a:cubicBezTo>
                      <a:pt x="1151731" y="190500"/>
                      <a:pt x="1153917" y="202992"/>
                      <a:pt x="1150144" y="214312"/>
                    </a:cubicBezTo>
                    <a:cubicBezTo>
                      <a:pt x="1147480" y="222304"/>
                      <a:pt x="1135662" y="228398"/>
                      <a:pt x="1128713" y="233362"/>
                    </a:cubicBezTo>
                    <a:cubicBezTo>
                      <a:pt x="1122221" y="237999"/>
                      <a:pt x="1117135" y="241541"/>
                      <a:pt x="1112044" y="247650"/>
                    </a:cubicBezTo>
                    <a:cubicBezTo>
                      <a:pt x="1110212" y="249849"/>
                      <a:pt x="1108869" y="252413"/>
                      <a:pt x="1107281" y="254794"/>
                    </a:cubicBezTo>
                    <a:cubicBezTo>
                      <a:pt x="1106487" y="257175"/>
                      <a:pt x="1103777" y="259692"/>
                      <a:pt x="1104900" y="261937"/>
                    </a:cubicBezTo>
                    <a:cubicBezTo>
                      <a:pt x="1106023" y="264182"/>
                      <a:pt x="1109622" y="263659"/>
                      <a:pt x="1112044" y="264319"/>
                    </a:cubicBezTo>
                    <a:cubicBezTo>
                      <a:pt x="1144308" y="273119"/>
                      <a:pt x="1118933" y="265908"/>
                      <a:pt x="1143000" y="271462"/>
                    </a:cubicBezTo>
                    <a:cubicBezTo>
                      <a:pt x="1149378" y="272934"/>
                      <a:pt x="1162050" y="276225"/>
                      <a:pt x="1162050" y="276225"/>
                    </a:cubicBezTo>
                    <a:cubicBezTo>
                      <a:pt x="1189905" y="297117"/>
                      <a:pt x="1155501" y="270612"/>
                      <a:pt x="1178719" y="290512"/>
                    </a:cubicBezTo>
                    <a:cubicBezTo>
                      <a:pt x="1181732" y="293095"/>
                      <a:pt x="1185069" y="295275"/>
                      <a:pt x="1188244" y="297656"/>
                    </a:cubicBezTo>
                    <a:cubicBezTo>
                      <a:pt x="1192477" y="304007"/>
                      <a:pt x="1193802" y="307007"/>
                      <a:pt x="1200150" y="311944"/>
                    </a:cubicBezTo>
                    <a:cubicBezTo>
                      <a:pt x="1204668" y="315458"/>
                      <a:pt x="1214438" y="321469"/>
                      <a:pt x="1214438" y="321469"/>
                    </a:cubicBezTo>
                    <a:cubicBezTo>
                      <a:pt x="1223168" y="334564"/>
                      <a:pt x="1214438" y="323453"/>
                      <a:pt x="1226344" y="333375"/>
                    </a:cubicBezTo>
                    <a:cubicBezTo>
                      <a:pt x="1238235" y="343284"/>
                      <a:pt x="1228078" y="338716"/>
                      <a:pt x="1240631" y="342900"/>
                    </a:cubicBezTo>
                    <a:cubicBezTo>
                      <a:pt x="1251823" y="354092"/>
                      <a:pt x="1244972" y="348176"/>
                      <a:pt x="1262063" y="359569"/>
                    </a:cubicBezTo>
                    <a:lnTo>
                      <a:pt x="1269206" y="364331"/>
                    </a:lnTo>
                    <a:cubicBezTo>
                      <a:pt x="1278968" y="378974"/>
                      <a:pt x="1278769" y="381224"/>
                      <a:pt x="1271588" y="338137"/>
                    </a:cubicBezTo>
                    <a:cubicBezTo>
                      <a:pt x="1270545" y="331877"/>
                      <a:pt x="1264764" y="326870"/>
                      <a:pt x="1262063" y="321469"/>
                    </a:cubicBezTo>
                    <a:cubicBezTo>
                      <a:pt x="1260940" y="319224"/>
                      <a:pt x="1260475" y="316706"/>
                      <a:pt x="1259681" y="314325"/>
                    </a:cubicBezTo>
                    <a:cubicBezTo>
                      <a:pt x="1259969" y="312599"/>
                      <a:pt x="1261839" y="296801"/>
                      <a:pt x="1264444" y="292894"/>
                    </a:cubicBezTo>
                    <a:cubicBezTo>
                      <a:pt x="1266312" y="290092"/>
                      <a:pt x="1269207" y="288131"/>
                      <a:pt x="1271588" y="285750"/>
                    </a:cubicBezTo>
                    <a:cubicBezTo>
                      <a:pt x="1273175" y="280987"/>
                      <a:pt x="1277334" y="276385"/>
                      <a:pt x="1276350" y="271462"/>
                    </a:cubicBezTo>
                    <a:cubicBezTo>
                      <a:pt x="1275556" y="267493"/>
                      <a:pt x="1274951" y="263482"/>
                      <a:pt x="1273969" y="259556"/>
                    </a:cubicBezTo>
                    <a:cubicBezTo>
                      <a:pt x="1273360" y="257121"/>
                      <a:pt x="1273363" y="254187"/>
                      <a:pt x="1271588" y="252412"/>
                    </a:cubicBezTo>
                    <a:cubicBezTo>
                      <a:pt x="1269813" y="250637"/>
                      <a:pt x="1266947" y="250216"/>
                      <a:pt x="1264444" y="250031"/>
                    </a:cubicBezTo>
                    <a:cubicBezTo>
                      <a:pt x="1245430" y="248623"/>
                      <a:pt x="1226344" y="248444"/>
                      <a:pt x="1207294" y="247650"/>
                    </a:cubicBezTo>
                    <a:cubicBezTo>
                      <a:pt x="1204119" y="246856"/>
                      <a:pt x="1200611" y="246893"/>
                      <a:pt x="1197769" y="245269"/>
                    </a:cubicBezTo>
                    <a:cubicBezTo>
                      <a:pt x="1194845" y="243598"/>
                      <a:pt x="1192781" y="240712"/>
                      <a:pt x="1190625" y="238125"/>
                    </a:cubicBezTo>
                    <a:cubicBezTo>
                      <a:pt x="1185497" y="231972"/>
                      <a:pt x="1185868" y="230995"/>
                      <a:pt x="1183481" y="223837"/>
                    </a:cubicBezTo>
                    <a:cubicBezTo>
                      <a:pt x="1184275" y="213518"/>
                      <a:pt x="1180122" y="201492"/>
                      <a:pt x="1185863" y="192881"/>
                    </a:cubicBezTo>
                    <a:cubicBezTo>
                      <a:pt x="1188976" y="188211"/>
                      <a:pt x="1197028" y="194161"/>
                      <a:pt x="1202531" y="195262"/>
                    </a:cubicBezTo>
                    <a:cubicBezTo>
                      <a:pt x="1208181" y="196392"/>
                      <a:pt x="1212385" y="198711"/>
                      <a:pt x="1216819" y="202406"/>
                    </a:cubicBezTo>
                    <a:cubicBezTo>
                      <a:pt x="1219406" y="204562"/>
                      <a:pt x="1221582" y="207169"/>
                      <a:pt x="1223963" y="209550"/>
                    </a:cubicBezTo>
                    <a:cubicBezTo>
                      <a:pt x="1224757" y="211931"/>
                      <a:pt x="1225735" y="214259"/>
                      <a:pt x="1226344" y="216694"/>
                    </a:cubicBezTo>
                    <a:cubicBezTo>
                      <a:pt x="1227326" y="220620"/>
                      <a:pt x="1226480" y="225233"/>
                      <a:pt x="1228725" y="228600"/>
                    </a:cubicBezTo>
                    <a:cubicBezTo>
                      <a:pt x="1230117" y="230689"/>
                      <a:pt x="1233488" y="230187"/>
                      <a:pt x="1235869" y="230981"/>
                    </a:cubicBezTo>
                    <a:cubicBezTo>
                      <a:pt x="1247775" y="230187"/>
                      <a:pt x="1264774" y="238396"/>
                      <a:pt x="1271588" y="228600"/>
                    </a:cubicBezTo>
                    <a:cubicBezTo>
                      <a:pt x="1307832" y="176499"/>
                      <a:pt x="1250698" y="171305"/>
                      <a:pt x="1283494" y="178594"/>
                    </a:cubicBezTo>
                    <a:cubicBezTo>
                      <a:pt x="1287445" y="179472"/>
                      <a:pt x="1291431" y="180181"/>
                      <a:pt x="1295400" y="180975"/>
                    </a:cubicBezTo>
                    <a:cubicBezTo>
                      <a:pt x="1296194" y="183356"/>
                      <a:pt x="1297172" y="185684"/>
                      <a:pt x="1297781" y="188119"/>
                    </a:cubicBezTo>
                    <a:cubicBezTo>
                      <a:pt x="1298763" y="192045"/>
                      <a:pt x="1297918" y="196657"/>
                      <a:pt x="1300163" y="200025"/>
                    </a:cubicBezTo>
                    <a:cubicBezTo>
                      <a:pt x="1301555" y="202113"/>
                      <a:pt x="1304845" y="201914"/>
                      <a:pt x="1307306" y="202406"/>
                    </a:cubicBezTo>
                    <a:cubicBezTo>
                      <a:pt x="1312810" y="203507"/>
                      <a:pt x="1318419" y="203993"/>
                      <a:pt x="1323975" y="204787"/>
                    </a:cubicBezTo>
                    <a:cubicBezTo>
                      <a:pt x="1339563" y="209984"/>
                      <a:pt x="1324263" y="202766"/>
                      <a:pt x="1333500" y="214312"/>
                    </a:cubicBezTo>
                    <a:cubicBezTo>
                      <a:pt x="1335288" y="216547"/>
                      <a:pt x="1338263" y="217487"/>
                      <a:pt x="1340644" y="219075"/>
                    </a:cubicBezTo>
                    <a:cubicBezTo>
                      <a:pt x="1349471" y="245558"/>
                      <a:pt x="1348700" y="237478"/>
                      <a:pt x="1343025" y="280987"/>
                    </a:cubicBezTo>
                    <a:cubicBezTo>
                      <a:pt x="1342655" y="283825"/>
                      <a:pt x="1340095" y="285932"/>
                      <a:pt x="1338263" y="288131"/>
                    </a:cubicBezTo>
                    <a:cubicBezTo>
                      <a:pt x="1322978" y="306474"/>
                      <a:pt x="1338186" y="284675"/>
                      <a:pt x="1326356" y="302419"/>
                    </a:cubicBezTo>
                    <a:cubicBezTo>
                      <a:pt x="1307360" y="359407"/>
                      <a:pt x="1323995" y="393777"/>
                      <a:pt x="1319213" y="473869"/>
                    </a:cubicBezTo>
                    <a:cubicBezTo>
                      <a:pt x="1319042" y="476726"/>
                      <a:pt x="1314749" y="477626"/>
                      <a:pt x="1312069" y="478631"/>
                    </a:cubicBezTo>
                    <a:cubicBezTo>
                      <a:pt x="1308279" y="480052"/>
                      <a:pt x="1304089" y="480030"/>
                      <a:pt x="1300163" y="481012"/>
                    </a:cubicBezTo>
                    <a:cubicBezTo>
                      <a:pt x="1297728" y="481621"/>
                      <a:pt x="1295400" y="482600"/>
                      <a:pt x="1293019" y="483394"/>
                    </a:cubicBezTo>
                    <a:cubicBezTo>
                      <a:pt x="1290638" y="485775"/>
                      <a:pt x="1288031" y="487950"/>
                      <a:pt x="1285875" y="490537"/>
                    </a:cubicBezTo>
                    <a:cubicBezTo>
                      <a:pt x="1284043" y="492736"/>
                      <a:pt x="1283137" y="495657"/>
                      <a:pt x="1281113" y="497681"/>
                    </a:cubicBezTo>
                    <a:cubicBezTo>
                      <a:pt x="1279089" y="499705"/>
                      <a:pt x="1276350" y="500856"/>
                      <a:pt x="1273969" y="502444"/>
                    </a:cubicBezTo>
                    <a:cubicBezTo>
                      <a:pt x="1267984" y="520400"/>
                      <a:pt x="1276059" y="498264"/>
                      <a:pt x="1266825" y="516731"/>
                    </a:cubicBezTo>
                    <a:cubicBezTo>
                      <a:pt x="1265702" y="518976"/>
                      <a:pt x="1265238" y="521494"/>
                      <a:pt x="1264444" y="523875"/>
                    </a:cubicBezTo>
                    <a:cubicBezTo>
                      <a:pt x="1265238" y="528637"/>
                      <a:pt x="1264864" y="533750"/>
                      <a:pt x="1266825" y="538162"/>
                    </a:cubicBezTo>
                    <a:cubicBezTo>
                      <a:pt x="1268193" y="541239"/>
                      <a:pt x="1272101" y="542504"/>
                      <a:pt x="1273969" y="545306"/>
                    </a:cubicBezTo>
                    <a:cubicBezTo>
                      <a:pt x="1287754" y="565984"/>
                      <a:pt x="1260704" y="536804"/>
                      <a:pt x="1283494" y="559594"/>
                    </a:cubicBezTo>
                    <a:cubicBezTo>
                      <a:pt x="1289156" y="576579"/>
                      <a:pt x="1281127" y="556042"/>
                      <a:pt x="1293019" y="573881"/>
                    </a:cubicBezTo>
                    <a:cubicBezTo>
                      <a:pt x="1294411" y="575970"/>
                      <a:pt x="1294277" y="578780"/>
                      <a:pt x="1295400" y="581025"/>
                    </a:cubicBezTo>
                    <a:cubicBezTo>
                      <a:pt x="1298715" y="587655"/>
                      <a:pt x="1302041" y="590047"/>
                      <a:pt x="1307306" y="595312"/>
                    </a:cubicBezTo>
                    <a:cubicBezTo>
                      <a:pt x="1308100" y="597693"/>
                      <a:pt x="1307913" y="600681"/>
                      <a:pt x="1309688" y="602456"/>
                    </a:cubicBezTo>
                    <a:cubicBezTo>
                      <a:pt x="1311463" y="604231"/>
                      <a:pt x="1314586" y="603715"/>
                      <a:pt x="1316831" y="604837"/>
                    </a:cubicBezTo>
                    <a:cubicBezTo>
                      <a:pt x="1319391" y="606117"/>
                      <a:pt x="1321646" y="607936"/>
                      <a:pt x="1323975" y="609600"/>
                    </a:cubicBezTo>
                    <a:cubicBezTo>
                      <a:pt x="1327204" y="611907"/>
                      <a:pt x="1330054" y="614775"/>
                      <a:pt x="1333500" y="616744"/>
                    </a:cubicBezTo>
                    <a:cubicBezTo>
                      <a:pt x="1335679" y="617989"/>
                      <a:pt x="1338146" y="618875"/>
                      <a:pt x="1340644" y="619125"/>
                    </a:cubicBezTo>
                    <a:cubicBezTo>
                      <a:pt x="1354094" y="620470"/>
                      <a:pt x="1367631" y="620712"/>
                      <a:pt x="1381125" y="621506"/>
                    </a:cubicBezTo>
                    <a:cubicBezTo>
                      <a:pt x="1385423" y="627952"/>
                      <a:pt x="1387627" y="630618"/>
                      <a:pt x="1390650" y="638175"/>
                    </a:cubicBezTo>
                    <a:cubicBezTo>
                      <a:pt x="1392514" y="642836"/>
                      <a:pt x="1393825" y="647700"/>
                      <a:pt x="1395413" y="652462"/>
                    </a:cubicBezTo>
                    <a:cubicBezTo>
                      <a:pt x="1398827" y="662703"/>
                      <a:pt x="1397188" y="657181"/>
                      <a:pt x="1400175" y="669131"/>
                    </a:cubicBezTo>
                    <a:cubicBezTo>
                      <a:pt x="1399381" y="693737"/>
                      <a:pt x="1400756" y="718510"/>
                      <a:pt x="1397794" y="742950"/>
                    </a:cubicBezTo>
                    <a:cubicBezTo>
                      <a:pt x="1397450" y="745791"/>
                      <a:pt x="1392070" y="745227"/>
                      <a:pt x="1390650" y="747712"/>
                    </a:cubicBezTo>
                    <a:cubicBezTo>
                      <a:pt x="1388642" y="751226"/>
                      <a:pt x="1389063" y="755650"/>
                      <a:pt x="1388269" y="759619"/>
                    </a:cubicBezTo>
                    <a:cubicBezTo>
                      <a:pt x="1389063" y="801688"/>
                      <a:pt x="1389200" y="843774"/>
                      <a:pt x="1390650" y="885825"/>
                    </a:cubicBezTo>
                    <a:cubicBezTo>
                      <a:pt x="1390797" y="890083"/>
                      <a:pt x="1394375" y="902584"/>
                      <a:pt x="1395413" y="907256"/>
                    </a:cubicBezTo>
                    <a:cubicBezTo>
                      <a:pt x="1396500" y="912145"/>
                      <a:pt x="1397622" y="921201"/>
                      <a:pt x="1400175" y="926306"/>
                    </a:cubicBezTo>
                    <a:cubicBezTo>
                      <a:pt x="1401455" y="928866"/>
                      <a:pt x="1403350" y="931069"/>
                      <a:pt x="1404938" y="933450"/>
                    </a:cubicBezTo>
                    <a:cubicBezTo>
                      <a:pt x="1405732" y="938212"/>
                      <a:pt x="1406148" y="943053"/>
                      <a:pt x="1407319" y="947737"/>
                    </a:cubicBezTo>
                    <a:cubicBezTo>
                      <a:pt x="1408536" y="952607"/>
                      <a:pt x="1410863" y="957155"/>
                      <a:pt x="1412081" y="962025"/>
                    </a:cubicBezTo>
                    <a:cubicBezTo>
                      <a:pt x="1412875" y="965200"/>
                      <a:pt x="1413564" y="968403"/>
                      <a:pt x="1414463" y="971550"/>
                    </a:cubicBezTo>
                    <a:cubicBezTo>
                      <a:pt x="1415153" y="973964"/>
                      <a:pt x="1416184" y="976272"/>
                      <a:pt x="1416844" y="978694"/>
                    </a:cubicBezTo>
                    <a:cubicBezTo>
                      <a:pt x="1424893" y="1008211"/>
                      <a:pt x="1418508" y="988455"/>
                      <a:pt x="1423988" y="1004887"/>
                    </a:cubicBezTo>
                    <a:cubicBezTo>
                      <a:pt x="1424782" y="1010443"/>
                      <a:pt x="1425365" y="1016034"/>
                      <a:pt x="1426369" y="1021556"/>
                    </a:cubicBezTo>
                    <a:cubicBezTo>
                      <a:pt x="1426954" y="1024776"/>
                      <a:pt x="1428040" y="1027886"/>
                      <a:pt x="1428750" y="1031081"/>
                    </a:cubicBezTo>
                    <a:cubicBezTo>
                      <a:pt x="1429628" y="1035032"/>
                      <a:pt x="1430466" y="1038995"/>
                      <a:pt x="1431131" y="1042987"/>
                    </a:cubicBezTo>
                    <a:cubicBezTo>
                      <a:pt x="1432649" y="1052094"/>
                      <a:pt x="1433921" y="1064737"/>
                      <a:pt x="1435894" y="1073944"/>
                    </a:cubicBezTo>
                    <a:cubicBezTo>
                      <a:pt x="1437265" y="1080344"/>
                      <a:pt x="1437729" y="1087140"/>
                      <a:pt x="1440656" y="1092994"/>
                    </a:cubicBezTo>
                    <a:lnTo>
                      <a:pt x="1445419" y="1102519"/>
                    </a:lnTo>
                    <a:cubicBezTo>
                      <a:pt x="1451458" y="1132716"/>
                      <a:pt x="1443365" y="1100108"/>
                      <a:pt x="1452563" y="1121569"/>
                    </a:cubicBezTo>
                    <a:cubicBezTo>
                      <a:pt x="1454991" y="1127235"/>
                      <a:pt x="1455704" y="1141379"/>
                      <a:pt x="1459706" y="1145381"/>
                    </a:cubicBezTo>
                    <a:cubicBezTo>
                      <a:pt x="1462881" y="1148556"/>
                      <a:pt x="1466274" y="1151527"/>
                      <a:pt x="1469231" y="1154906"/>
                    </a:cubicBezTo>
                    <a:cubicBezTo>
                      <a:pt x="1471844" y="1157893"/>
                      <a:pt x="1474068" y="1161202"/>
                      <a:pt x="1476375" y="1164431"/>
                    </a:cubicBezTo>
                    <a:cubicBezTo>
                      <a:pt x="1478039" y="1166760"/>
                      <a:pt x="1479114" y="1169551"/>
                      <a:pt x="1481138" y="1171575"/>
                    </a:cubicBezTo>
                    <a:cubicBezTo>
                      <a:pt x="1483161" y="1173598"/>
                      <a:pt x="1485900" y="1174750"/>
                      <a:pt x="1488281" y="1176337"/>
                    </a:cubicBezTo>
                    <a:cubicBezTo>
                      <a:pt x="1489869" y="1178718"/>
                      <a:pt x="1491020" y="1181457"/>
                      <a:pt x="1493044" y="1183481"/>
                    </a:cubicBezTo>
                    <a:cubicBezTo>
                      <a:pt x="1495068" y="1185505"/>
                      <a:pt x="1497703" y="1186824"/>
                      <a:pt x="1500188" y="1188244"/>
                    </a:cubicBezTo>
                    <a:cubicBezTo>
                      <a:pt x="1503759" y="1190284"/>
                      <a:pt x="1512143" y="1194601"/>
                      <a:pt x="1516856" y="1195387"/>
                    </a:cubicBezTo>
                    <a:cubicBezTo>
                      <a:pt x="1523946" y="1196569"/>
                      <a:pt x="1531144" y="1196975"/>
                      <a:pt x="1538288" y="1197769"/>
                    </a:cubicBezTo>
                    <a:cubicBezTo>
                      <a:pt x="1540669" y="1198563"/>
                      <a:pt x="1544186" y="1197971"/>
                      <a:pt x="1545431" y="1200150"/>
                    </a:cubicBezTo>
                    <a:cubicBezTo>
                      <a:pt x="1547826" y="1204342"/>
                      <a:pt x="1546766" y="1209724"/>
                      <a:pt x="1547813" y="1214437"/>
                    </a:cubicBezTo>
                    <a:cubicBezTo>
                      <a:pt x="1548358" y="1216887"/>
                      <a:pt x="1549400" y="1219200"/>
                      <a:pt x="1550194" y="1221581"/>
                    </a:cubicBezTo>
                    <a:cubicBezTo>
                      <a:pt x="1549400" y="1236662"/>
                      <a:pt x="1549180" y="1251785"/>
                      <a:pt x="1547813" y="1266825"/>
                    </a:cubicBezTo>
                    <a:cubicBezTo>
                      <a:pt x="1547586" y="1269325"/>
                      <a:pt x="1546999" y="1272009"/>
                      <a:pt x="1545431" y="1273969"/>
                    </a:cubicBezTo>
                    <a:cubicBezTo>
                      <a:pt x="1543643" y="1276204"/>
                      <a:pt x="1540669" y="1277144"/>
                      <a:pt x="1538288" y="1278731"/>
                    </a:cubicBezTo>
                    <a:cubicBezTo>
                      <a:pt x="1535902" y="1285888"/>
                      <a:pt x="1536271" y="1286866"/>
                      <a:pt x="1531144" y="1293019"/>
                    </a:cubicBezTo>
                    <a:cubicBezTo>
                      <a:pt x="1528988" y="1295606"/>
                      <a:pt x="1526067" y="1297504"/>
                      <a:pt x="1524000" y="1300162"/>
                    </a:cubicBezTo>
                    <a:cubicBezTo>
                      <a:pt x="1520486" y="1304680"/>
                      <a:pt x="1517650" y="1309687"/>
                      <a:pt x="1514475" y="1314450"/>
                    </a:cubicBezTo>
                    <a:cubicBezTo>
                      <a:pt x="1507507" y="1324902"/>
                      <a:pt x="1511436" y="1319296"/>
                      <a:pt x="1502569" y="1331119"/>
                    </a:cubicBezTo>
                    <a:cubicBezTo>
                      <a:pt x="1504320" y="1367901"/>
                      <a:pt x="1507167" y="1394349"/>
                      <a:pt x="1502569" y="1431131"/>
                    </a:cubicBezTo>
                    <a:cubicBezTo>
                      <a:pt x="1501757" y="1437628"/>
                      <a:pt x="1494650" y="1439714"/>
                      <a:pt x="1490663" y="1443037"/>
                    </a:cubicBezTo>
                    <a:cubicBezTo>
                      <a:pt x="1483787" y="1448767"/>
                      <a:pt x="1483439" y="1450301"/>
                      <a:pt x="1478756" y="1457325"/>
                    </a:cubicBezTo>
                    <a:cubicBezTo>
                      <a:pt x="1477124" y="1462222"/>
                      <a:pt x="1474658" y="1469011"/>
                      <a:pt x="1473994" y="1473994"/>
                    </a:cubicBezTo>
                    <a:cubicBezTo>
                      <a:pt x="1472835" y="1482684"/>
                      <a:pt x="1474022" y="1491757"/>
                      <a:pt x="1471613" y="1500187"/>
                    </a:cubicBezTo>
                    <a:cubicBezTo>
                      <a:pt x="1470688" y="1503425"/>
                      <a:pt x="1466850" y="1504950"/>
                      <a:pt x="1464469" y="1507331"/>
                    </a:cubicBezTo>
                    <a:lnTo>
                      <a:pt x="1462088" y="1509712"/>
                    </a:lnTo>
                  </a:path>
                </a:pathLst>
              </a:custGeom>
              <a:grpFill/>
              <a:ln w="3175">
                <a:solidFill>
                  <a:srgbClr val="FF8300"/>
                </a:solidFill>
                <a:round/>
                <a:headEnd/>
                <a:tailEnd/>
              </a:ln>
            </p:spPr>
            <p:txBody>
              <a:bodyPr/>
              <a:lstStyle/>
              <a:p>
                <a:pPr>
                  <a:defRPr/>
                </a:pPr>
                <a:endParaRPr lang="en-GB" sz="1400">
                  <a:solidFill>
                    <a:schemeClr val="tx2"/>
                  </a:solidFill>
                </a:endParaRPr>
              </a:p>
            </p:txBody>
          </p:sp>
          <p:sp>
            <p:nvSpPr>
              <p:cNvPr id="370" name="Freeform 344"/>
              <p:cNvSpPr>
                <a:spLocks/>
              </p:cNvSpPr>
              <p:nvPr>
                <p:custDataLst>
                  <p:tags r:id="rId21"/>
                </p:custDataLst>
              </p:nvPr>
            </p:nvSpPr>
            <p:spPr bwMode="gray">
              <a:xfrm>
                <a:off x="2389072" y="3871756"/>
                <a:ext cx="1187268" cy="702328"/>
              </a:xfrm>
              <a:custGeom>
                <a:avLst/>
                <a:gdLst>
                  <a:gd name="T0" fmla="*/ 2147483647 w 870"/>
                  <a:gd name="T1" fmla="*/ 2147483647 h 534"/>
                  <a:gd name="T2" fmla="*/ 2147483647 w 870"/>
                  <a:gd name="T3" fmla="*/ 2147483647 h 534"/>
                  <a:gd name="T4" fmla="*/ 2147483647 w 870"/>
                  <a:gd name="T5" fmla="*/ 2147483647 h 534"/>
                  <a:gd name="T6" fmla="*/ 2147483647 w 870"/>
                  <a:gd name="T7" fmla="*/ 2147483647 h 534"/>
                  <a:gd name="T8" fmla="*/ 2147483647 w 870"/>
                  <a:gd name="T9" fmla="*/ 2147483647 h 534"/>
                  <a:gd name="T10" fmla="*/ 2147483647 w 870"/>
                  <a:gd name="T11" fmla="*/ 2147483647 h 534"/>
                  <a:gd name="T12" fmla="*/ 2147483647 w 870"/>
                  <a:gd name="T13" fmla="*/ 2147483647 h 534"/>
                  <a:gd name="T14" fmla="*/ 2147483647 w 870"/>
                  <a:gd name="T15" fmla="*/ 2147483647 h 534"/>
                  <a:gd name="T16" fmla="*/ 2147483647 w 870"/>
                  <a:gd name="T17" fmla="*/ 2147483647 h 534"/>
                  <a:gd name="T18" fmla="*/ 2147483647 w 870"/>
                  <a:gd name="T19" fmla="*/ 2147483647 h 534"/>
                  <a:gd name="T20" fmla="*/ 2147483647 w 870"/>
                  <a:gd name="T21" fmla="*/ 2147483647 h 534"/>
                  <a:gd name="T22" fmla="*/ 2147483647 w 870"/>
                  <a:gd name="T23" fmla="*/ 2147483647 h 534"/>
                  <a:gd name="T24" fmla="*/ 2147483647 w 870"/>
                  <a:gd name="T25" fmla="*/ 2147483647 h 534"/>
                  <a:gd name="T26" fmla="*/ 2147483647 w 870"/>
                  <a:gd name="T27" fmla="*/ 2147483647 h 534"/>
                  <a:gd name="T28" fmla="*/ 2147483647 w 870"/>
                  <a:gd name="T29" fmla="*/ 2147483647 h 534"/>
                  <a:gd name="T30" fmla="*/ 2147483647 w 870"/>
                  <a:gd name="T31" fmla="*/ 2147483647 h 534"/>
                  <a:gd name="T32" fmla="*/ 2147483647 w 870"/>
                  <a:gd name="T33" fmla="*/ 2147483647 h 534"/>
                  <a:gd name="T34" fmla="*/ 2147483647 w 870"/>
                  <a:gd name="T35" fmla="*/ 2147483647 h 534"/>
                  <a:gd name="T36" fmla="*/ 2147483647 w 870"/>
                  <a:gd name="T37" fmla="*/ 2147483647 h 534"/>
                  <a:gd name="T38" fmla="*/ 2147483647 w 870"/>
                  <a:gd name="T39" fmla="*/ 2147483647 h 534"/>
                  <a:gd name="T40" fmla="*/ 2147483647 w 870"/>
                  <a:gd name="T41" fmla="*/ 2147483647 h 534"/>
                  <a:gd name="T42" fmla="*/ 2147483647 w 870"/>
                  <a:gd name="T43" fmla="*/ 2147483647 h 534"/>
                  <a:gd name="T44" fmla="*/ 2147483647 w 870"/>
                  <a:gd name="T45" fmla="*/ 2147483647 h 534"/>
                  <a:gd name="T46" fmla="*/ 2147483647 w 870"/>
                  <a:gd name="T47" fmla="*/ 2147483647 h 534"/>
                  <a:gd name="T48" fmla="*/ 2147483647 w 870"/>
                  <a:gd name="T49" fmla="*/ 2147483647 h 534"/>
                  <a:gd name="T50" fmla="*/ 2147483647 w 870"/>
                  <a:gd name="T51" fmla="*/ 2147483647 h 534"/>
                  <a:gd name="T52" fmla="*/ 2147483647 w 870"/>
                  <a:gd name="T53" fmla="*/ 2147483647 h 534"/>
                  <a:gd name="T54" fmla="*/ 2147483647 w 870"/>
                  <a:gd name="T55" fmla="*/ 2147483647 h 534"/>
                  <a:gd name="T56" fmla="*/ 2147483647 w 870"/>
                  <a:gd name="T57" fmla="*/ 2147483647 h 534"/>
                  <a:gd name="T58" fmla="*/ 2147483647 w 870"/>
                  <a:gd name="T59" fmla="*/ 2147483647 h 534"/>
                  <a:gd name="T60" fmla="*/ 2147483647 w 870"/>
                  <a:gd name="T61" fmla="*/ 2147483647 h 534"/>
                  <a:gd name="T62" fmla="*/ 2147483647 w 870"/>
                  <a:gd name="T63" fmla="*/ 2147483647 h 534"/>
                  <a:gd name="T64" fmla="*/ 2147483647 w 870"/>
                  <a:gd name="T65" fmla="*/ 2147483647 h 534"/>
                  <a:gd name="T66" fmla="*/ 2147483647 w 870"/>
                  <a:gd name="T67" fmla="*/ 2147483647 h 534"/>
                  <a:gd name="T68" fmla="*/ 2147483647 w 870"/>
                  <a:gd name="T69" fmla="*/ 2147483647 h 534"/>
                  <a:gd name="T70" fmla="*/ 2147483647 w 870"/>
                  <a:gd name="T71" fmla="*/ 2147483647 h 534"/>
                  <a:gd name="T72" fmla="*/ 2147483647 w 870"/>
                  <a:gd name="T73" fmla="*/ 2147483647 h 534"/>
                  <a:gd name="T74" fmla="*/ 2147483647 w 870"/>
                  <a:gd name="T75" fmla="*/ 2147483647 h 534"/>
                  <a:gd name="T76" fmla="*/ 2147483647 w 870"/>
                  <a:gd name="T77" fmla="*/ 2147483647 h 534"/>
                  <a:gd name="T78" fmla="*/ 2147483647 w 870"/>
                  <a:gd name="T79" fmla="*/ 2147483647 h 534"/>
                  <a:gd name="T80" fmla="*/ 2147483647 w 870"/>
                  <a:gd name="T81" fmla="*/ 2147483647 h 534"/>
                  <a:gd name="T82" fmla="*/ 2147483647 w 870"/>
                  <a:gd name="T83" fmla="*/ 2147483647 h 534"/>
                  <a:gd name="T84" fmla="*/ 2147483647 w 870"/>
                  <a:gd name="T85" fmla="*/ 2147483647 h 534"/>
                  <a:gd name="T86" fmla="*/ 2147483647 w 870"/>
                  <a:gd name="T87" fmla="*/ 2147483647 h 534"/>
                  <a:gd name="T88" fmla="*/ 2147483647 w 870"/>
                  <a:gd name="T89" fmla="*/ 2147483647 h 534"/>
                  <a:gd name="T90" fmla="*/ 2147483647 w 870"/>
                  <a:gd name="T91" fmla="*/ 2147483647 h 534"/>
                  <a:gd name="T92" fmla="*/ 2147483647 w 870"/>
                  <a:gd name="T93" fmla="*/ 2147483647 h 534"/>
                  <a:gd name="T94" fmla="*/ 2147483647 w 870"/>
                  <a:gd name="T95" fmla="*/ 2147483647 h 534"/>
                  <a:gd name="T96" fmla="*/ 2147483647 w 870"/>
                  <a:gd name="T97" fmla="*/ 2147483647 h 534"/>
                  <a:gd name="T98" fmla="*/ 2147483647 w 870"/>
                  <a:gd name="T99" fmla="*/ 2147483647 h 534"/>
                  <a:gd name="T100" fmla="*/ 2147483647 w 870"/>
                  <a:gd name="T101" fmla="*/ 2147483647 h 534"/>
                  <a:gd name="T102" fmla="*/ 2147483647 w 870"/>
                  <a:gd name="T103" fmla="*/ 2147483647 h 534"/>
                  <a:gd name="T104" fmla="*/ 2147483647 w 870"/>
                  <a:gd name="T105" fmla="*/ 2147483647 h 534"/>
                  <a:gd name="T106" fmla="*/ 2147483647 w 870"/>
                  <a:gd name="T107" fmla="*/ 2147483647 h 534"/>
                  <a:gd name="T108" fmla="*/ 2147483647 w 870"/>
                  <a:gd name="T109" fmla="*/ 2147483647 h 534"/>
                  <a:gd name="T110" fmla="*/ 2147483647 w 870"/>
                  <a:gd name="T111" fmla="*/ 2147483647 h 534"/>
                  <a:gd name="T112" fmla="*/ 2147483647 w 870"/>
                  <a:gd name="T113" fmla="*/ 2147483647 h 534"/>
                  <a:gd name="T114" fmla="*/ 2147483647 w 870"/>
                  <a:gd name="T115" fmla="*/ 2147483647 h 534"/>
                  <a:gd name="T116" fmla="*/ 2147483647 w 870"/>
                  <a:gd name="T117" fmla="*/ 2147483647 h 534"/>
                  <a:gd name="T118" fmla="*/ 2147483647 w 870"/>
                  <a:gd name="T119" fmla="*/ 2147483647 h 534"/>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870"/>
                  <a:gd name="T181" fmla="*/ 0 h 534"/>
                  <a:gd name="T182" fmla="*/ 870 w 870"/>
                  <a:gd name="T183" fmla="*/ 534 h 534"/>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870" h="534">
                    <a:moveTo>
                      <a:pt x="401" y="534"/>
                    </a:moveTo>
                    <a:lnTo>
                      <a:pt x="398" y="530"/>
                    </a:lnTo>
                    <a:lnTo>
                      <a:pt x="396" y="528"/>
                    </a:lnTo>
                    <a:lnTo>
                      <a:pt x="394" y="526"/>
                    </a:lnTo>
                    <a:lnTo>
                      <a:pt x="392" y="524"/>
                    </a:lnTo>
                    <a:lnTo>
                      <a:pt x="390" y="520"/>
                    </a:lnTo>
                    <a:lnTo>
                      <a:pt x="386" y="518"/>
                    </a:lnTo>
                    <a:lnTo>
                      <a:pt x="369" y="516"/>
                    </a:lnTo>
                    <a:lnTo>
                      <a:pt x="353" y="515"/>
                    </a:lnTo>
                    <a:lnTo>
                      <a:pt x="352" y="511"/>
                    </a:lnTo>
                    <a:lnTo>
                      <a:pt x="348" y="509"/>
                    </a:lnTo>
                    <a:lnTo>
                      <a:pt x="344" y="509"/>
                    </a:lnTo>
                    <a:lnTo>
                      <a:pt x="338" y="509"/>
                    </a:lnTo>
                    <a:lnTo>
                      <a:pt x="336" y="511"/>
                    </a:lnTo>
                    <a:lnTo>
                      <a:pt x="334" y="515"/>
                    </a:lnTo>
                    <a:lnTo>
                      <a:pt x="315" y="515"/>
                    </a:lnTo>
                    <a:lnTo>
                      <a:pt x="294" y="515"/>
                    </a:lnTo>
                    <a:lnTo>
                      <a:pt x="275" y="515"/>
                    </a:lnTo>
                    <a:lnTo>
                      <a:pt x="256" y="515"/>
                    </a:lnTo>
                    <a:lnTo>
                      <a:pt x="254" y="511"/>
                    </a:lnTo>
                    <a:lnTo>
                      <a:pt x="252" y="509"/>
                    </a:lnTo>
                    <a:lnTo>
                      <a:pt x="248" y="507"/>
                    </a:lnTo>
                    <a:lnTo>
                      <a:pt x="246" y="505"/>
                    </a:lnTo>
                    <a:lnTo>
                      <a:pt x="244" y="501"/>
                    </a:lnTo>
                    <a:lnTo>
                      <a:pt x="242" y="499"/>
                    </a:lnTo>
                    <a:lnTo>
                      <a:pt x="233" y="497"/>
                    </a:lnTo>
                    <a:lnTo>
                      <a:pt x="223" y="495"/>
                    </a:lnTo>
                    <a:lnTo>
                      <a:pt x="223" y="484"/>
                    </a:lnTo>
                    <a:lnTo>
                      <a:pt x="221" y="478"/>
                    </a:lnTo>
                    <a:lnTo>
                      <a:pt x="221" y="476"/>
                    </a:lnTo>
                    <a:lnTo>
                      <a:pt x="217" y="476"/>
                    </a:lnTo>
                    <a:lnTo>
                      <a:pt x="215" y="472"/>
                    </a:lnTo>
                    <a:lnTo>
                      <a:pt x="213" y="470"/>
                    </a:lnTo>
                    <a:lnTo>
                      <a:pt x="210" y="469"/>
                    </a:lnTo>
                    <a:lnTo>
                      <a:pt x="208" y="465"/>
                    </a:lnTo>
                    <a:lnTo>
                      <a:pt x="206" y="463"/>
                    </a:lnTo>
                    <a:lnTo>
                      <a:pt x="204" y="461"/>
                    </a:lnTo>
                    <a:lnTo>
                      <a:pt x="196" y="459"/>
                    </a:lnTo>
                    <a:lnTo>
                      <a:pt x="179" y="457"/>
                    </a:lnTo>
                    <a:lnTo>
                      <a:pt x="162" y="459"/>
                    </a:lnTo>
                    <a:lnTo>
                      <a:pt x="154" y="461"/>
                    </a:lnTo>
                    <a:lnTo>
                      <a:pt x="152" y="463"/>
                    </a:lnTo>
                    <a:lnTo>
                      <a:pt x="150" y="465"/>
                    </a:lnTo>
                    <a:lnTo>
                      <a:pt x="148" y="478"/>
                    </a:lnTo>
                    <a:lnTo>
                      <a:pt x="146" y="490"/>
                    </a:lnTo>
                    <a:lnTo>
                      <a:pt x="142" y="492"/>
                    </a:lnTo>
                    <a:lnTo>
                      <a:pt x="141" y="495"/>
                    </a:lnTo>
                    <a:lnTo>
                      <a:pt x="137" y="497"/>
                    </a:lnTo>
                    <a:lnTo>
                      <a:pt x="135" y="499"/>
                    </a:lnTo>
                    <a:lnTo>
                      <a:pt x="133" y="501"/>
                    </a:lnTo>
                    <a:lnTo>
                      <a:pt x="131" y="505"/>
                    </a:lnTo>
                    <a:lnTo>
                      <a:pt x="123" y="507"/>
                    </a:lnTo>
                    <a:lnTo>
                      <a:pt x="116" y="509"/>
                    </a:lnTo>
                    <a:lnTo>
                      <a:pt x="114" y="511"/>
                    </a:lnTo>
                    <a:lnTo>
                      <a:pt x="112" y="515"/>
                    </a:lnTo>
                    <a:lnTo>
                      <a:pt x="106" y="509"/>
                    </a:lnTo>
                    <a:lnTo>
                      <a:pt x="102" y="505"/>
                    </a:lnTo>
                    <a:lnTo>
                      <a:pt x="98" y="501"/>
                    </a:lnTo>
                    <a:lnTo>
                      <a:pt x="96" y="499"/>
                    </a:lnTo>
                    <a:lnTo>
                      <a:pt x="73" y="499"/>
                    </a:lnTo>
                    <a:lnTo>
                      <a:pt x="48" y="499"/>
                    </a:lnTo>
                    <a:lnTo>
                      <a:pt x="46" y="501"/>
                    </a:lnTo>
                    <a:lnTo>
                      <a:pt x="43" y="505"/>
                    </a:lnTo>
                    <a:lnTo>
                      <a:pt x="41" y="507"/>
                    </a:lnTo>
                    <a:lnTo>
                      <a:pt x="39" y="509"/>
                    </a:lnTo>
                    <a:lnTo>
                      <a:pt x="37" y="511"/>
                    </a:lnTo>
                    <a:lnTo>
                      <a:pt x="33" y="515"/>
                    </a:lnTo>
                    <a:lnTo>
                      <a:pt x="25" y="516"/>
                    </a:lnTo>
                    <a:lnTo>
                      <a:pt x="20" y="518"/>
                    </a:lnTo>
                    <a:lnTo>
                      <a:pt x="16" y="520"/>
                    </a:lnTo>
                    <a:lnTo>
                      <a:pt x="14" y="524"/>
                    </a:lnTo>
                    <a:lnTo>
                      <a:pt x="12" y="520"/>
                    </a:lnTo>
                    <a:lnTo>
                      <a:pt x="10" y="518"/>
                    </a:lnTo>
                    <a:lnTo>
                      <a:pt x="6" y="511"/>
                    </a:lnTo>
                    <a:lnTo>
                      <a:pt x="4" y="505"/>
                    </a:lnTo>
                    <a:lnTo>
                      <a:pt x="2" y="501"/>
                    </a:lnTo>
                    <a:lnTo>
                      <a:pt x="0" y="499"/>
                    </a:lnTo>
                    <a:lnTo>
                      <a:pt x="0" y="493"/>
                    </a:lnTo>
                    <a:lnTo>
                      <a:pt x="0" y="490"/>
                    </a:lnTo>
                    <a:lnTo>
                      <a:pt x="2" y="488"/>
                    </a:lnTo>
                    <a:lnTo>
                      <a:pt x="4" y="486"/>
                    </a:lnTo>
                    <a:lnTo>
                      <a:pt x="4" y="474"/>
                    </a:lnTo>
                    <a:lnTo>
                      <a:pt x="4" y="465"/>
                    </a:lnTo>
                    <a:lnTo>
                      <a:pt x="2" y="463"/>
                    </a:lnTo>
                    <a:lnTo>
                      <a:pt x="0" y="461"/>
                    </a:lnTo>
                    <a:lnTo>
                      <a:pt x="0" y="455"/>
                    </a:lnTo>
                    <a:lnTo>
                      <a:pt x="0" y="451"/>
                    </a:lnTo>
                    <a:lnTo>
                      <a:pt x="2" y="449"/>
                    </a:lnTo>
                    <a:lnTo>
                      <a:pt x="4" y="447"/>
                    </a:lnTo>
                    <a:lnTo>
                      <a:pt x="6" y="440"/>
                    </a:lnTo>
                    <a:lnTo>
                      <a:pt x="10" y="432"/>
                    </a:lnTo>
                    <a:lnTo>
                      <a:pt x="12" y="428"/>
                    </a:lnTo>
                    <a:lnTo>
                      <a:pt x="14" y="426"/>
                    </a:lnTo>
                    <a:lnTo>
                      <a:pt x="16" y="415"/>
                    </a:lnTo>
                    <a:lnTo>
                      <a:pt x="20" y="403"/>
                    </a:lnTo>
                    <a:lnTo>
                      <a:pt x="22" y="399"/>
                    </a:lnTo>
                    <a:lnTo>
                      <a:pt x="23" y="398"/>
                    </a:lnTo>
                    <a:lnTo>
                      <a:pt x="27" y="390"/>
                    </a:lnTo>
                    <a:lnTo>
                      <a:pt x="29" y="382"/>
                    </a:lnTo>
                    <a:lnTo>
                      <a:pt x="31" y="380"/>
                    </a:lnTo>
                    <a:lnTo>
                      <a:pt x="33" y="378"/>
                    </a:lnTo>
                    <a:lnTo>
                      <a:pt x="50" y="376"/>
                    </a:lnTo>
                    <a:lnTo>
                      <a:pt x="68" y="374"/>
                    </a:lnTo>
                    <a:lnTo>
                      <a:pt x="70" y="371"/>
                    </a:lnTo>
                    <a:lnTo>
                      <a:pt x="73" y="369"/>
                    </a:lnTo>
                    <a:lnTo>
                      <a:pt x="79" y="367"/>
                    </a:lnTo>
                    <a:lnTo>
                      <a:pt x="87" y="365"/>
                    </a:lnTo>
                    <a:lnTo>
                      <a:pt x="89" y="361"/>
                    </a:lnTo>
                    <a:lnTo>
                      <a:pt x="93" y="359"/>
                    </a:lnTo>
                    <a:lnTo>
                      <a:pt x="98" y="359"/>
                    </a:lnTo>
                    <a:lnTo>
                      <a:pt x="106" y="359"/>
                    </a:lnTo>
                    <a:lnTo>
                      <a:pt x="106" y="342"/>
                    </a:lnTo>
                    <a:lnTo>
                      <a:pt x="106" y="325"/>
                    </a:lnTo>
                    <a:lnTo>
                      <a:pt x="108" y="323"/>
                    </a:lnTo>
                    <a:lnTo>
                      <a:pt x="112" y="321"/>
                    </a:lnTo>
                    <a:lnTo>
                      <a:pt x="114" y="317"/>
                    </a:lnTo>
                    <a:lnTo>
                      <a:pt x="116" y="315"/>
                    </a:lnTo>
                    <a:lnTo>
                      <a:pt x="119" y="313"/>
                    </a:lnTo>
                    <a:lnTo>
                      <a:pt x="121" y="311"/>
                    </a:lnTo>
                    <a:lnTo>
                      <a:pt x="123" y="309"/>
                    </a:lnTo>
                    <a:lnTo>
                      <a:pt x="125" y="305"/>
                    </a:lnTo>
                    <a:lnTo>
                      <a:pt x="127" y="303"/>
                    </a:lnTo>
                    <a:lnTo>
                      <a:pt x="131" y="302"/>
                    </a:lnTo>
                    <a:lnTo>
                      <a:pt x="133" y="300"/>
                    </a:lnTo>
                    <a:lnTo>
                      <a:pt x="135" y="296"/>
                    </a:lnTo>
                    <a:lnTo>
                      <a:pt x="137" y="294"/>
                    </a:lnTo>
                    <a:lnTo>
                      <a:pt x="141" y="292"/>
                    </a:lnTo>
                    <a:lnTo>
                      <a:pt x="142" y="288"/>
                    </a:lnTo>
                    <a:lnTo>
                      <a:pt x="146" y="286"/>
                    </a:lnTo>
                    <a:lnTo>
                      <a:pt x="148" y="284"/>
                    </a:lnTo>
                    <a:lnTo>
                      <a:pt x="150" y="282"/>
                    </a:lnTo>
                    <a:lnTo>
                      <a:pt x="150" y="273"/>
                    </a:lnTo>
                    <a:lnTo>
                      <a:pt x="150" y="263"/>
                    </a:lnTo>
                    <a:lnTo>
                      <a:pt x="148" y="259"/>
                    </a:lnTo>
                    <a:lnTo>
                      <a:pt x="146" y="257"/>
                    </a:lnTo>
                    <a:lnTo>
                      <a:pt x="142" y="256"/>
                    </a:lnTo>
                    <a:lnTo>
                      <a:pt x="141" y="254"/>
                    </a:lnTo>
                    <a:lnTo>
                      <a:pt x="137" y="250"/>
                    </a:lnTo>
                    <a:lnTo>
                      <a:pt x="135" y="248"/>
                    </a:lnTo>
                    <a:lnTo>
                      <a:pt x="131" y="248"/>
                    </a:lnTo>
                    <a:lnTo>
                      <a:pt x="125" y="248"/>
                    </a:lnTo>
                    <a:lnTo>
                      <a:pt x="123" y="250"/>
                    </a:lnTo>
                    <a:lnTo>
                      <a:pt x="121" y="254"/>
                    </a:lnTo>
                    <a:lnTo>
                      <a:pt x="119" y="256"/>
                    </a:lnTo>
                    <a:lnTo>
                      <a:pt x="116" y="257"/>
                    </a:lnTo>
                    <a:lnTo>
                      <a:pt x="114" y="259"/>
                    </a:lnTo>
                    <a:lnTo>
                      <a:pt x="112" y="263"/>
                    </a:lnTo>
                    <a:lnTo>
                      <a:pt x="106" y="263"/>
                    </a:lnTo>
                    <a:lnTo>
                      <a:pt x="102" y="263"/>
                    </a:lnTo>
                    <a:lnTo>
                      <a:pt x="98" y="259"/>
                    </a:lnTo>
                    <a:lnTo>
                      <a:pt x="96" y="257"/>
                    </a:lnTo>
                    <a:lnTo>
                      <a:pt x="85" y="256"/>
                    </a:lnTo>
                    <a:lnTo>
                      <a:pt x="73" y="254"/>
                    </a:lnTo>
                    <a:lnTo>
                      <a:pt x="70" y="250"/>
                    </a:lnTo>
                    <a:lnTo>
                      <a:pt x="68" y="248"/>
                    </a:lnTo>
                    <a:lnTo>
                      <a:pt x="70" y="246"/>
                    </a:lnTo>
                    <a:lnTo>
                      <a:pt x="73" y="244"/>
                    </a:lnTo>
                    <a:lnTo>
                      <a:pt x="75" y="236"/>
                    </a:lnTo>
                    <a:lnTo>
                      <a:pt x="77" y="229"/>
                    </a:lnTo>
                    <a:lnTo>
                      <a:pt x="79" y="227"/>
                    </a:lnTo>
                    <a:lnTo>
                      <a:pt x="81" y="223"/>
                    </a:lnTo>
                    <a:lnTo>
                      <a:pt x="94" y="215"/>
                    </a:lnTo>
                    <a:lnTo>
                      <a:pt x="106" y="209"/>
                    </a:lnTo>
                    <a:lnTo>
                      <a:pt x="108" y="208"/>
                    </a:lnTo>
                    <a:lnTo>
                      <a:pt x="112" y="204"/>
                    </a:lnTo>
                    <a:lnTo>
                      <a:pt x="114" y="202"/>
                    </a:lnTo>
                    <a:lnTo>
                      <a:pt x="116" y="200"/>
                    </a:lnTo>
                    <a:lnTo>
                      <a:pt x="119" y="196"/>
                    </a:lnTo>
                    <a:lnTo>
                      <a:pt x="121" y="194"/>
                    </a:lnTo>
                    <a:lnTo>
                      <a:pt x="121" y="190"/>
                    </a:lnTo>
                    <a:lnTo>
                      <a:pt x="121" y="185"/>
                    </a:lnTo>
                    <a:lnTo>
                      <a:pt x="119" y="183"/>
                    </a:lnTo>
                    <a:lnTo>
                      <a:pt x="116" y="181"/>
                    </a:lnTo>
                    <a:lnTo>
                      <a:pt x="116" y="175"/>
                    </a:lnTo>
                    <a:lnTo>
                      <a:pt x="116" y="171"/>
                    </a:lnTo>
                    <a:lnTo>
                      <a:pt x="119" y="167"/>
                    </a:lnTo>
                    <a:lnTo>
                      <a:pt x="121" y="165"/>
                    </a:lnTo>
                    <a:lnTo>
                      <a:pt x="121" y="152"/>
                    </a:lnTo>
                    <a:lnTo>
                      <a:pt x="121" y="137"/>
                    </a:lnTo>
                    <a:lnTo>
                      <a:pt x="121" y="121"/>
                    </a:lnTo>
                    <a:lnTo>
                      <a:pt x="121" y="108"/>
                    </a:lnTo>
                    <a:lnTo>
                      <a:pt x="119" y="106"/>
                    </a:lnTo>
                    <a:lnTo>
                      <a:pt x="116" y="104"/>
                    </a:lnTo>
                    <a:lnTo>
                      <a:pt x="119" y="96"/>
                    </a:lnTo>
                    <a:lnTo>
                      <a:pt x="123" y="91"/>
                    </a:lnTo>
                    <a:lnTo>
                      <a:pt x="131" y="94"/>
                    </a:lnTo>
                    <a:lnTo>
                      <a:pt x="141" y="98"/>
                    </a:lnTo>
                    <a:lnTo>
                      <a:pt x="142" y="100"/>
                    </a:lnTo>
                    <a:lnTo>
                      <a:pt x="146" y="104"/>
                    </a:lnTo>
                    <a:lnTo>
                      <a:pt x="158" y="106"/>
                    </a:lnTo>
                    <a:lnTo>
                      <a:pt x="169" y="108"/>
                    </a:lnTo>
                    <a:lnTo>
                      <a:pt x="171" y="110"/>
                    </a:lnTo>
                    <a:lnTo>
                      <a:pt x="175" y="112"/>
                    </a:lnTo>
                    <a:lnTo>
                      <a:pt x="177" y="115"/>
                    </a:lnTo>
                    <a:lnTo>
                      <a:pt x="179" y="117"/>
                    </a:lnTo>
                    <a:lnTo>
                      <a:pt x="181" y="119"/>
                    </a:lnTo>
                    <a:lnTo>
                      <a:pt x="185" y="123"/>
                    </a:lnTo>
                    <a:lnTo>
                      <a:pt x="187" y="125"/>
                    </a:lnTo>
                    <a:lnTo>
                      <a:pt x="188" y="127"/>
                    </a:lnTo>
                    <a:lnTo>
                      <a:pt x="190" y="129"/>
                    </a:lnTo>
                    <a:lnTo>
                      <a:pt x="192" y="133"/>
                    </a:lnTo>
                    <a:lnTo>
                      <a:pt x="206" y="135"/>
                    </a:lnTo>
                    <a:lnTo>
                      <a:pt x="217" y="137"/>
                    </a:lnTo>
                    <a:lnTo>
                      <a:pt x="219" y="138"/>
                    </a:lnTo>
                    <a:lnTo>
                      <a:pt x="223" y="142"/>
                    </a:lnTo>
                    <a:lnTo>
                      <a:pt x="233" y="142"/>
                    </a:lnTo>
                    <a:lnTo>
                      <a:pt x="242" y="142"/>
                    </a:lnTo>
                    <a:lnTo>
                      <a:pt x="244" y="138"/>
                    </a:lnTo>
                    <a:lnTo>
                      <a:pt x="246" y="137"/>
                    </a:lnTo>
                    <a:lnTo>
                      <a:pt x="248" y="138"/>
                    </a:lnTo>
                    <a:lnTo>
                      <a:pt x="252" y="142"/>
                    </a:lnTo>
                    <a:lnTo>
                      <a:pt x="254" y="144"/>
                    </a:lnTo>
                    <a:lnTo>
                      <a:pt x="256" y="146"/>
                    </a:lnTo>
                    <a:lnTo>
                      <a:pt x="259" y="148"/>
                    </a:lnTo>
                    <a:lnTo>
                      <a:pt x="261" y="152"/>
                    </a:lnTo>
                    <a:lnTo>
                      <a:pt x="263" y="154"/>
                    </a:lnTo>
                    <a:lnTo>
                      <a:pt x="271" y="156"/>
                    </a:lnTo>
                    <a:lnTo>
                      <a:pt x="277" y="154"/>
                    </a:lnTo>
                    <a:lnTo>
                      <a:pt x="281" y="152"/>
                    </a:lnTo>
                    <a:lnTo>
                      <a:pt x="282" y="148"/>
                    </a:lnTo>
                    <a:lnTo>
                      <a:pt x="284" y="146"/>
                    </a:lnTo>
                    <a:lnTo>
                      <a:pt x="284" y="131"/>
                    </a:lnTo>
                    <a:lnTo>
                      <a:pt x="284" y="117"/>
                    </a:lnTo>
                    <a:lnTo>
                      <a:pt x="282" y="115"/>
                    </a:lnTo>
                    <a:lnTo>
                      <a:pt x="281" y="112"/>
                    </a:lnTo>
                    <a:lnTo>
                      <a:pt x="279" y="96"/>
                    </a:lnTo>
                    <a:lnTo>
                      <a:pt x="275" y="79"/>
                    </a:lnTo>
                    <a:lnTo>
                      <a:pt x="273" y="62"/>
                    </a:lnTo>
                    <a:lnTo>
                      <a:pt x="271" y="44"/>
                    </a:lnTo>
                    <a:lnTo>
                      <a:pt x="273" y="43"/>
                    </a:lnTo>
                    <a:lnTo>
                      <a:pt x="275" y="41"/>
                    </a:lnTo>
                    <a:lnTo>
                      <a:pt x="279" y="37"/>
                    </a:lnTo>
                    <a:lnTo>
                      <a:pt x="281" y="35"/>
                    </a:lnTo>
                    <a:lnTo>
                      <a:pt x="282" y="33"/>
                    </a:lnTo>
                    <a:lnTo>
                      <a:pt x="284" y="31"/>
                    </a:lnTo>
                    <a:lnTo>
                      <a:pt x="288" y="27"/>
                    </a:lnTo>
                    <a:lnTo>
                      <a:pt x="290" y="25"/>
                    </a:lnTo>
                    <a:lnTo>
                      <a:pt x="292" y="23"/>
                    </a:lnTo>
                    <a:lnTo>
                      <a:pt x="296" y="21"/>
                    </a:lnTo>
                    <a:lnTo>
                      <a:pt x="325" y="18"/>
                    </a:lnTo>
                    <a:lnTo>
                      <a:pt x="355" y="14"/>
                    </a:lnTo>
                    <a:lnTo>
                      <a:pt x="386" y="10"/>
                    </a:lnTo>
                    <a:lnTo>
                      <a:pt x="417" y="6"/>
                    </a:lnTo>
                    <a:lnTo>
                      <a:pt x="419" y="4"/>
                    </a:lnTo>
                    <a:lnTo>
                      <a:pt x="421" y="0"/>
                    </a:lnTo>
                    <a:lnTo>
                      <a:pt x="424" y="0"/>
                    </a:lnTo>
                    <a:lnTo>
                      <a:pt x="430" y="0"/>
                    </a:lnTo>
                    <a:lnTo>
                      <a:pt x="432" y="4"/>
                    </a:lnTo>
                    <a:lnTo>
                      <a:pt x="436" y="6"/>
                    </a:lnTo>
                    <a:lnTo>
                      <a:pt x="442" y="8"/>
                    </a:lnTo>
                    <a:lnTo>
                      <a:pt x="449" y="12"/>
                    </a:lnTo>
                    <a:lnTo>
                      <a:pt x="451" y="14"/>
                    </a:lnTo>
                    <a:lnTo>
                      <a:pt x="455" y="16"/>
                    </a:lnTo>
                    <a:lnTo>
                      <a:pt x="457" y="18"/>
                    </a:lnTo>
                    <a:lnTo>
                      <a:pt x="459" y="21"/>
                    </a:lnTo>
                    <a:lnTo>
                      <a:pt x="461" y="23"/>
                    </a:lnTo>
                    <a:lnTo>
                      <a:pt x="465" y="25"/>
                    </a:lnTo>
                    <a:lnTo>
                      <a:pt x="467" y="27"/>
                    </a:lnTo>
                    <a:lnTo>
                      <a:pt x="469" y="31"/>
                    </a:lnTo>
                    <a:lnTo>
                      <a:pt x="471" y="33"/>
                    </a:lnTo>
                    <a:lnTo>
                      <a:pt x="474" y="35"/>
                    </a:lnTo>
                    <a:lnTo>
                      <a:pt x="476" y="37"/>
                    </a:lnTo>
                    <a:lnTo>
                      <a:pt x="478" y="41"/>
                    </a:lnTo>
                    <a:lnTo>
                      <a:pt x="480" y="43"/>
                    </a:lnTo>
                    <a:lnTo>
                      <a:pt x="484" y="44"/>
                    </a:lnTo>
                    <a:lnTo>
                      <a:pt x="490" y="46"/>
                    </a:lnTo>
                    <a:lnTo>
                      <a:pt x="497" y="50"/>
                    </a:lnTo>
                    <a:lnTo>
                      <a:pt x="501" y="52"/>
                    </a:lnTo>
                    <a:lnTo>
                      <a:pt x="503" y="54"/>
                    </a:lnTo>
                    <a:lnTo>
                      <a:pt x="505" y="56"/>
                    </a:lnTo>
                    <a:lnTo>
                      <a:pt x="507" y="60"/>
                    </a:lnTo>
                    <a:lnTo>
                      <a:pt x="511" y="62"/>
                    </a:lnTo>
                    <a:lnTo>
                      <a:pt x="513" y="64"/>
                    </a:lnTo>
                    <a:lnTo>
                      <a:pt x="524" y="67"/>
                    </a:lnTo>
                    <a:lnTo>
                      <a:pt x="538" y="69"/>
                    </a:lnTo>
                    <a:lnTo>
                      <a:pt x="540" y="71"/>
                    </a:lnTo>
                    <a:lnTo>
                      <a:pt x="542" y="73"/>
                    </a:lnTo>
                    <a:lnTo>
                      <a:pt x="543" y="77"/>
                    </a:lnTo>
                    <a:lnTo>
                      <a:pt x="545" y="79"/>
                    </a:lnTo>
                    <a:lnTo>
                      <a:pt x="549" y="81"/>
                    </a:lnTo>
                    <a:lnTo>
                      <a:pt x="551" y="83"/>
                    </a:lnTo>
                    <a:lnTo>
                      <a:pt x="559" y="85"/>
                    </a:lnTo>
                    <a:lnTo>
                      <a:pt x="566" y="89"/>
                    </a:lnTo>
                    <a:lnTo>
                      <a:pt x="568" y="91"/>
                    </a:lnTo>
                    <a:lnTo>
                      <a:pt x="570" y="92"/>
                    </a:lnTo>
                    <a:lnTo>
                      <a:pt x="582" y="96"/>
                    </a:lnTo>
                    <a:lnTo>
                      <a:pt x="595" y="98"/>
                    </a:lnTo>
                    <a:lnTo>
                      <a:pt x="597" y="100"/>
                    </a:lnTo>
                    <a:lnTo>
                      <a:pt x="599" y="104"/>
                    </a:lnTo>
                    <a:lnTo>
                      <a:pt x="601" y="106"/>
                    </a:lnTo>
                    <a:lnTo>
                      <a:pt x="605" y="108"/>
                    </a:lnTo>
                    <a:lnTo>
                      <a:pt x="607" y="110"/>
                    </a:lnTo>
                    <a:lnTo>
                      <a:pt x="609" y="112"/>
                    </a:lnTo>
                    <a:lnTo>
                      <a:pt x="616" y="115"/>
                    </a:lnTo>
                    <a:lnTo>
                      <a:pt x="624" y="117"/>
                    </a:lnTo>
                    <a:lnTo>
                      <a:pt x="626" y="119"/>
                    </a:lnTo>
                    <a:lnTo>
                      <a:pt x="628" y="123"/>
                    </a:lnTo>
                    <a:lnTo>
                      <a:pt x="636" y="125"/>
                    </a:lnTo>
                    <a:lnTo>
                      <a:pt x="643" y="127"/>
                    </a:lnTo>
                    <a:lnTo>
                      <a:pt x="645" y="129"/>
                    </a:lnTo>
                    <a:lnTo>
                      <a:pt x="649" y="133"/>
                    </a:lnTo>
                    <a:lnTo>
                      <a:pt x="655" y="135"/>
                    </a:lnTo>
                    <a:lnTo>
                      <a:pt x="662" y="137"/>
                    </a:lnTo>
                    <a:lnTo>
                      <a:pt x="664" y="138"/>
                    </a:lnTo>
                    <a:lnTo>
                      <a:pt x="666" y="142"/>
                    </a:lnTo>
                    <a:lnTo>
                      <a:pt x="674" y="144"/>
                    </a:lnTo>
                    <a:lnTo>
                      <a:pt x="682" y="146"/>
                    </a:lnTo>
                    <a:lnTo>
                      <a:pt x="683" y="148"/>
                    </a:lnTo>
                    <a:lnTo>
                      <a:pt x="687" y="152"/>
                    </a:lnTo>
                    <a:lnTo>
                      <a:pt x="699" y="154"/>
                    </a:lnTo>
                    <a:lnTo>
                      <a:pt x="710" y="156"/>
                    </a:lnTo>
                    <a:lnTo>
                      <a:pt x="712" y="158"/>
                    </a:lnTo>
                    <a:lnTo>
                      <a:pt x="716" y="162"/>
                    </a:lnTo>
                    <a:lnTo>
                      <a:pt x="718" y="163"/>
                    </a:lnTo>
                    <a:lnTo>
                      <a:pt x="726" y="165"/>
                    </a:lnTo>
                    <a:lnTo>
                      <a:pt x="731" y="163"/>
                    </a:lnTo>
                    <a:lnTo>
                      <a:pt x="735" y="162"/>
                    </a:lnTo>
                    <a:lnTo>
                      <a:pt x="737" y="158"/>
                    </a:lnTo>
                    <a:lnTo>
                      <a:pt x="739" y="156"/>
                    </a:lnTo>
                    <a:lnTo>
                      <a:pt x="753" y="154"/>
                    </a:lnTo>
                    <a:lnTo>
                      <a:pt x="764" y="152"/>
                    </a:lnTo>
                    <a:lnTo>
                      <a:pt x="766" y="148"/>
                    </a:lnTo>
                    <a:lnTo>
                      <a:pt x="770" y="146"/>
                    </a:lnTo>
                    <a:lnTo>
                      <a:pt x="776" y="144"/>
                    </a:lnTo>
                    <a:lnTo>
                      <a:pt x="783" y="142"/>
                    </a:lnTo>
                    <a:lnTo>
                      <a:pt x="785" y="138"/>
                    </a:lnTo>
                    <a:lnTo>
                      <a:pt x="789" y="137"/>
                    </a:lnTo>
                    <a:lnTo>
                      <a:pt x="791" y="135"/>
                    </a:lnTo>
                    <a:lnTo>
                      <a:pt x="793" y="133"/>
                    </a:lnTo>
                    <a:lnTo>
                      <a:pt x="795" y="129"/>
                    </a:lnTo>
                    <a:lnTo>
                      <a:pt x="799" y="127"/>
                    </a:lnTo>
                    <a:lnTo>
                      <a:pt x="801" y="125"/>
                    </a:lnTo>
                    <a:lnTo>
                      <a:pt x="802" y="123"/>
                    </a:lnTo>
                    <a:lnTo>
                      <a:pt x="804" y="119"/>
                    </a:lnTo>
                    <a:lnTo>
                      <a:pt x="808" y="117"/>
                    </a:lnTo>
                    <a:lnTo>
                      <a:pt x="810" y="115"/>
                    </a:lnTo>
                    <a:lnTo>
                      <a:pt x="812" y="112"/>
                    </a:lnTo>
                    <a:lnTo>
                      <a:pt x="814" y="110"/>
                    </a:lnTo>
                    <a:lnTo>
                      <a:pt x="818" y="108"/>
                    </a:lnTo>
                    <a:lnTo>
                      <a:pt x="820" y="106"/>
                    </a:lnTo>
                    <a:lnTo>
                      <a:pt x="822" y="104"/>
                    </a:lnTo>
                    <a:lnTo>
                      <a:pt x="824" y="100"/>
                    </a:lnTo>
                    <a:lnTo>
                      <a:pt x="827" y="98"/>
                    </a:lnTo>
                    <a:lnTo>
                      <a:pt x="833" y="96"/>
                    </a:lnTo>
                    <a:lnTo>
                      <a:pt x="841" y="92"/>
                    </a:lnTo>
                    <a:lnTo>
                      <a:pt x="845" y="91"/>
                    </a:lnTo>
                    <a:lnTo>
                      <a:pt x="847" y="89"/>
                    </a:lnTo>
                    <a:lnTo>
                      <a:pt x="850" y="89"/>
                    </a:lnTo>
                    <a:lnTo>
                      <a:pt x="856" y="89"/>
                    </a:lnTo>
                    <a:lnTo>
                      <a:pt x="858" y="91"/>
                    </a:lnTo>
                    <a:lnTo>
                      <a:pt x="860" y="92"/>
                    </a:lnTo>
                    <a:lnTo>
                      <a:pt x="858" y="96"/>
                    </a:lnTo>
                    <a:lnTo>
                      <a:pt x="856" y="98"/>
                    </a:lnTo>
                    <a:lnTo>
                      <a:pt x="854" y="100"/>
                    </a:lnTo>
                    <a:lnTo>
                      <a:pt x="850" y="104"/>
                    </a:lnTo>
                    <a:lnTo>
                      <a:pt x="848" y="106"/>
                    </a:lnTo>
                    <a:lnTo>
                      <a:pt x="847" y="108"/>
                    </a:lnTo>
                    <a:lnTo>
                      <a:pt x="847" y="112"/>
                    </a:lnTo>
                    <a:lnTo>
                      <a:pt x="847" y="117"/>
                    </a:lnTo>
                    <a:lnTo>
                      <a:pt x="848" y="119"/>
                    </a:lnTo>
                    <a:lnTo>
                      <a:pt x="850" y="123"/>
                    </a:lnTo>
                    <a:lnTo>
                      <a:pt x="854" y="125"/>
                    </a:lnTo>
                    <a:lnTo>
                      <a:pt x="856" y="127"/>
                    </a:lnTo>
                    <a:lnTo>
                      <a:pt x="858" y="129"/>
                    </a:lnTo>
                    <a:lnTo>
                      <a:pt x="860" y="133"/>
                    </a:lnTo>
                    <a:lnTo>
                      <a:pt x="862" y="135"/>
                    </a:lnTo>
                    <a:lnTo>
                      <a:pt x="866" y="137"/>
                    </a:lnTo>
                    <a:lnTo>
                      <a:pt x="868" y="138"/>
                    </a:lnTo>
                    <a:lnTo>
                      <a:pt x="870" y="142"/>
                    </a:lnTo>
                    <a:lnTo>
                      <a:pt x="868" y="144"/>
                    </a:lnTo>
                    <a:lnTo>
                      <a:pt x="866" y="146"/>
                    </a:lnTo>
                    <a:lnTo>
                      <a:pt x="862" y="148"/>
                    </a:lnTo>
                    <a:lnTo>
                      <a:pt x="860" y="152"/>
                    </a:lnTo>
                    <a:lnTo>
                      <a:pt x="858" y="154"/>
                    </a:lnTo>
                    <a:lnTo>
                      <a:pt x="856" y="156"/>
                    </a:lnTo>
                    <a:lnTo>
                      <a:pt x="854" y="163"/>
                    </a:lnTo>
                    <a:lnTo>
                      <a:pt x="850" y="171"/>
                    </a:lnTo>
                    <a:lnTo>
                      <a:pt x="848" y="173"/>
                    </a:lnTo>
                    <a:lnTo>
                      <a:pt x="847" y="175"/>
                    </a:lnTo>
                    <a:lnTo>
                      <a:pt x="845" y="177"/>
                    </a:lnTo>
                    <a:lnTo>
                      <a:pt x="841" y="181"/>
                    </a:lnTo>
                    <a:lnTo>
                      <a:pt x="839" y="183"/>
                    </a:lnTo>
                    <a:lnTo>
                      <a:pt x="837" y="185"/>
                    </a:lnTo>
                    <a:lnTo>
                      <a:pt x="824" y="188"/>
                    </a:lnTo>
                    <a:lnTo>
                      <a:pt x="812" y="190"/>
                    </a:lnTo>
                    <a:lnTo>
                      <a:pt x="810" y="192"/>
                    </a:lnTo>
                    <a:lnTo>
                      <a:pt x="808" y="194"/>
                    </a:lnTo>
                    <a:lnTo>
                      <a:pt x="804" y="196"/>
                    </a:lnTo>
                    <a:lnTo>
                      <a:pt x="802" y="200"/>
                    </a:lnTo>
                    <a:lnTo>
                      <a:pt x="801" y="202"/>
                    </a:lnTo>
                    <a:lnTo>
                      <a:pt x="799" y="204"/>
                    </a:lnTo>
                    <a:lnTo>
                      <a:pt x="785" y="208"/>
                    </a:lnTo>
                    <a:lnTo>
                      <a:pt x="774" y="209"/>
                    </a:lnTo>
                    <a:lnTo>
                      <a:pt x="772" y="211"/>
                    </a:lnTo>
                    <a:lnTo>
                      <a:pt x="770" y="215"/>
                    </a:lnTo>
                    <a:lnTo>
                      <a:pt x="762" y="217"/>
                    </a:lnTo>
                    <a:lnTo>
                      <a:pt x="754" y="219"/>
                    </a:lnTo>
                    <a:lnTo>
                      <a:pt x="753" y="221"/>
                    </a:lnTo>
                    <a:lnTo>
                      <a:pt x="749" y="223"/>
                    </a:lnTo>
                    <a:lnTo>
                      <a:pt x="743" y="227"/>
                    </a:lnTo>
                    <a:lnTo>
                      <a:pt x="735" y="229"/>
                    </a:lnTo>
                    <a:lnTo>
                      <a:pt x="733" y="231"/>
                    </a:lnTo>
                    <a:lnTo>
                      <a:pt x="730" y="232"/>
                    </a:lnTo>
                    <a:lnTo>
                      <a:pt x="728" y="236"/>
                    </a:lnTo>
                    <a:lnTo>
                      <a:pt x="726" y="238"/>
                    </a:lnTo>
                    <a:lnTo>
                      <a:pt x="722" y="240"/>
                    </a:lnTo>
                    <a:lnTo>
                      <a:pt x="720" y="244"/>
                    </a:lnTo>
                    <a:lnTo>
                      <a:pt x="712" y="246"/>
                    </a:lnTo>
                    <a:lnTo>
                      <a:pt x="707" y="248"/>
                    </a:lnTo>
                    <a:lnTo>
                      <a:pt x="703" y="250"/>
                    </a:lnTo>
                    <a:lnTo>
                      <a:pt x="701" y="254"/>
                    </a:lnTo>
                    <a:lnTo>
                      <a:pt x="683" y="259"/>
                    </a:lnTo>
                    <a:lnTo>
                      <a:pt x="666" y="267"/>
                    </a:lnTo>
                    <a:lnTo>
                      <a:pt x="664" y="269"/>
                    </a:lnTo>
                    <a:lnTo>
                      <a:pt x="662" y="273"/>
                    </a:lnTo>
                    <a:lnTo>
                      <a:pt x="660" y="275"/>
                    </a:lnTo>
                    <a:lnTo>
                      <a:pt x="657" y="277"/>
                    </a:lnTo>
                    <a:lnTo>
                      <a:pt x="655" y="279"/>
                    </a:lnTo>
                    <a:lnTo>
                      <a:pt x="653" y="282"/>
                    </a:lnTo>
                    <a:lnTo>
                      <a:pt x="651" y="284"/>
                    </a:lnTo>
                    <a:lnTo>
                      <a:pt x="649" y="286"/>
                    </a:lnTo>
                    <a:lnTo>
                      <a:pt x="645" y="288"/>
                    </a:lnTo>
                    <a:lnTo>
                      <a:pt x="643" y="292"/>
                    </a:lnTo>
                    <a:lnTo>
                      <a:pt x="636" y="294"/>
                    </a:lnTo>
                    <a:lnTo>
                      <a:pt x="628" y="296"/>
                    </a:lnTo>
                    <a:lnTo>
                      <a:pt x="626" y="300"/>
                    </a:lnTo>
                    <a:lnTo>
                      <a:pt x="624" y="302"/>
                    </a:lnTo>
                    <a:lnTo>
                      <a:pt x="618" y="302"/>
                    </a:lnTo>
                    <a:lnTo>
                      <a:pt x="614" y="302"/>
                    </a:lnTo>
                    <a:lnTo>
                      <a:pt x="612" y="300"/>
                    </a:lnTo>
                    <a:lnTo>
                      <a:pt x="609" y="296"/>
                    </a:lnTo>
                    <a:lnTo>
                      <a:pt x="595" y="296"/>
                    </a:lnTo>
                    <a:lnTo>
                      <a:pt x="580" y="296"/>
                    </a:lnTo>
                    <a:lnTo>
                      <a:pt x="578" y="300"/>
                    </a:lnTo>
                    <a:lnTo>
                      <a:pt x="576" y="302"/>
                    </a:lnTo>
                    <a:lnTo>
                      <a:pt x="572" y="303"/>
                    </a:lnTo>
                    <a:lnTo>
                      <a:pt x="570" y="305"/>
                    </a:lnTo>
                    <a:lnTo>
                      <a:pt x="568" y="309"/>
                    </a:lnTo>
                    <a:lnTo>
                      <a:pt x="566" y="311"/>
                    </a:lnTo>
                    <a:lnTo>
                      <a:pt x="563" y="313"/>
                    </a:lnTo>
                    <a:lnTo>
                      <a:pt x="561" y="315"/>
                    </a:lnTo>
                    <a:lnTo>
                      <a:pt x="559" y="317"/>
                    </a:lnTo>
                    <a:lnTo>
                      <a:pt x="557" y="321"/>
                    </a:lnTo>
                    <a:lnTo>
                      <a:pt x="553" y="338"/>
                    </a:lnTo>
                    <a:lnTo>
                      <a:pt x="551" y="353"/>
                    </a:lnTo>
                    <a:lnTo>
                      <a:pt x="549" y="357"/>
                    </a:lnTo>
                    <a:lnTo>
                      <a:pt x="545" y="359"/>
                    </a:lnTo>
                    <a:lnTo>
                      <a:pt x="543" y="361"/>
                    </a:lnTo>
                    <a:lnTo>
                      <a:pt x="542" y="365"/>
                    </a:lnTo>
                    <a:lnTo>
                      <a:pt x="540" y="367"/>
                    </a:lnTo>
                    <a:lnTo>
                      <a:pt x="538" y="369"/>
                    </a:lnTo>
                    <a:lnTo>
                      <a:pt x="534" y="371"/>
                    </a:lnTo>
                    <a:lnTo>
                      <a:pt x="532" y="374"/>
                    </a:lnTo>
                    <a:lnTo>
                      <a:pt x="530" y="376"/>
                    </a:lnTo>
                    <a:lnTo>
                      <a:pt x="528" y="378"/>
                    </a:lnTo>
                    <a:lnTo>
                      <a:pt x="524" y="380"/>
                    </a:lnTo>
                    <a:lnTo>
                      <a:pt x="522" y="382"/>
                    </a:lnTo>
                    <a:lnTo>
                      <a:pt x="520" y="386"/>
                    </a:lnTo>
                    <a:lnTo>
                      <a:pt x="517" y="388"/>
                    </a:lnTo>
                    <a:lnTo>
                      <a:pt x="515" y="396"/>
                    </a:lnTo>
                    <a:lnTo>
                      <a:pt x="513" y="403"/>
                    </a:lnTo>
                    <a:lnTo>
                      <a:pt x="511" y="405"/>
                    </a:lnTo>
                    <a:lnTo>
                      <a:pt x="507" y="407"/>
                    </a:lnTo>
                    <a:lnTo>
                      <a:pt x="505" y="424"/>
                    </a:lnTo>
                    <a:lnTo>
                      <a:pt x="503" y="442"/>
                    </a:lnTo>
                    <a:lnTo>
                      <a:pt x="501" y="444"/>
                    </a:lnTo>
                    <a:lnTo>
                      <a:pt x="497" y="447"/>
                    </a:lnTo>
                    <a:lnTo>
                      <a:pt x="495" y="453"/>
                    </a:lnTo>
                    <a:lnTo>
                      <a:pt x="494" y="461"/>
                    </a:lnTo>
                    <a:lnTo>
                      <a:pt x="492" y="463"/>
                    </a:lnTo>
                    <a:lnTo>
                      <a:pt x="488" y="465"/>
                    </a:lnTo>
                    <a:lnTo>
                      <a:pt x="486" y="478"/>
                    </a:lnTo>
                    <a:lnTo>
                      <a:pt x="484" y="490"/>
                    </a:lnTo>
                    <a:lnTo>
                      <a:pt x="480" y="492"/>
                    </a:lnTo>
                    <a:lnTo>
                      <a:pt x="478" y="495"/>
                    </a:lnTo>
                    <a:lnTo>
                      <a:pt x="476" y="497"/>
                    </a:lnTo>
                    <a:lnTo>
                      <a:pt x="474" y="499"/>
                    </a:lnTo>
                    <a:lnTo>
                      <a:pt x="471" y="501"/>
                    </a:lnTo>
                    <a:lnTo>
                      <a:pt x="469" y="505"/>
                    </a:lnTo>
                    <a:lnTo>
                      <a:pt x="461" y="516"/>
                    </a:lnTo>
                    <a:lnTo>
                      <a:pt x="455" y="528"/>
                    </a:lnTo>
                    <a:lnTo>
                      <a:pt x="451" y="530"/>
                    </a:lnTo>
                    <a:lnTo>
                      <a:pt x="449" y="534"/>
                    </a:lnTo>
                    <a:lnTo>
                      <a:pt x="424" y="534"/>
                    </a:lnTo>
                    <a:lnTo>
                      <a:pt x="401" y="534"/>
                    </a:lnTo>
                  </a:path>
                </a:pathLst>
              </a:custGeom>
              <a:grpFill/>
              <a:ln w="3175">
                <a:solidFill>
                  <a:srgbClr val="FF8300"/>
                </a:solidFill>
                <a:round/>
                <a:headEnd/>
                <a:tailEnd/>
              </a:ln>
            </p:spPr>
            <p:txBody>
              <a:bodyPr/>
              <a:lstStyle/>
              <a:p>
                <a:pPr>
                  <a:defRPr/>
                </a:pPr>
                <a:endParaRPr lang="en-GB" sz="1400">
                  <a:solidFill>
                    <a:schemeClr val="tx2"/>
                  </a:solidFill>
                </a:endParaRPr>
              </a:p>
            </p:txBody>
          </p:sp>
          <p:sp>
            <p:nvSpPr>
              <p:cNvPr id="371" name="Freeform 350"/>
              <p:cNvSpPr>
                <a:spLocks/>
              </p:cNvSpPr>
              <p:nvPr>
                <p:custDataLst>
                  <p:tags r:id="rId22"/>
                </p:custDataLst>
              </p:nvPr>
            </p:nvSpPr>
            <p:spPr bwMode="gray">
              <a:xfrm>
                <a:off x="603989" y="3648795"/>
                <a:ext cx="105907" cy="80823"/>
              </a:xfrm>
              <a:custGeom>
                <a:avLst/>
                <a:gdLst>
                  <a:gd name="T0" fmla="*/ 2147483647 w 77"/>
                  <a:gd name="T1" fmla="*/ 2147483647 h 63"/>
                  <a:gd name="T2" fmla="*/ 2147483647 w 77"/>
                  <a:gd name="T3" fmla="*/ 2147483647 h 63"/>
                  <a:gd name="T4" fmla="*/ 0 w 77"/>
                  <a:gd name="T5" fmla="*/ 2147483647 h 63"/>
                  <a:gd name="T6" fmla="*/ 2147483647 w 77"/>
                  <a:gd name="T7" fmla="*/ 2147483647 h 63"/>
                  <a:gd name="T8" fmla="*/ 2147483647 w 77"/>
                  <a:gd name="T9" fmla="*/ 0 h 63"/>
                  <a:gd name="T10" fmla="*/ 2147483647 w 77"/>
                  <a:gd name="T11" fmla="*/ 0 h 63"/>
                  <a:gd name="T12" fmla="*/ 2147483647 w 77"/>
                  <a:gd name="T13" fmla="*/ 0 h 63"/>
                  <a:gd name="T14" fmla="*/ 2147483647 w 77"/>
                  <a:gd name="T15" fmla="*/ 0 h 63"/>
                  <a:gd name="T16" fmla="*/ 2147483647 w 77"/>
                  <a:gd name="T17" fmla="*/ 0 h 63"/>
                  <a:gd name="T18" fmla="*/ 2147483647 w 77"/>
                  <a:gd name="T19" fmla="*/ 2147483647 h 63"/>
                  <a:gd name="T20" fmla="*/ 2147483647 w 77"/>
                  <a:gd name="T21" fmla="*/ 2147483647 h 63"/>
                  <a:gd name="T22" fmla="*/ 2147483647 w 77"/>
                  <a:gd name="T23" fmla="*/ 2147483647 h 63"/>
                  <a:gd name="T24" fmla="*/ 2147483647 w 77"/>
                  <a:gd name="T25" fmla="*/ 2147483647 h 63"/>
                  <a:gd name="T26" fmla="*/ 2147483647 w 77"/>
                  <a:gd name="T27" fmla="*/ 2147483647 h 63"/>
                  <a:gd name="T28" fmla="*/ 2147483647 w 77"/>
                  <a:gd name="T29" fmla="*/ 2147483647 h 63"/>
                  <a:gd name="T30" fmla="*/ 2147483647 w 77"/>
                  <a:gd name="T31" fmla="*/ 2147483647 h 63"/>
                  <a:gd name="T32" fmla="*/ 2147483647 w 77"/>
                  <a:gd name="T33" fmla="*/ 2147483647 h 63"/>
                  <a:gd name="T34" fmla="*/ 2147483647 w 77"/>
                  <a:gd name="T35" fmla="*/ 2147483647 h 63"/>
                  <a:gd name="T36" fmla="*/ 2147483647 w 77"/>
                  <a:gd name="T37" fmla="*/ 2147483647 h 63"/>
                  <a:gd name="T38" fmla="*/ 2147483647 w 77"/>
                  <a:gd name="T39" fmla="*/ 2147483647 h 63"/>
                  <a:gd name="T40" fmla="*/ 2147483647 w 77"/>
                  <a:gd name="T41" fmla="*/ 2147483647 h 6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77"/>
                  <a:gd name="T64" fmla="*/ 0 h 63"/>
                  <a:gd name="T65" fmla="*/ 77 w 77"/>
                  <a:gd name="T66" fmla="*/ 63 h 63"/>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77" h="63">
                    <a:moveTo>
                      <a:pt x="19" y="48"/>
                    </a:moveTo>
                    <a:lnTo>
                      <a:pt x="10" y="28"/>
                    </a:lnTo>
                    <a:lnTo>
                      <a:pt x="0" y="9"/>
                    </a:lnTo>
                    <a:lnTo>
                      <a:pt x="4" y="3"/>
                    </a:lnTo>
                    <a:lnTo>
                      <a:pt x="10" y="0"/>
                    </a:lnTo>
                    <a:lnTo>
                      <a:pt x="14" y="0"/>
                    </a:lnTo>
                    <a:lnTo>
                      <a:pt x="19" y="0"/>
                    </a:lnTo>
                    <a:lnTo>
                      <a:pt x="29" y="0"/>
                    </a:lnTo>
                    <a:lnTo>
                      <a:pt x="39" y="0"/>
                    </a:lnTo>
                    <a:lnTo>
                      <a:pt x="39" y="11"/>
                    </a:lnTo>
                    <a:lnTo>
                      <a:pt x="41" y="17"/>
                    </a:lnTo>
                    <a:lnTo>
                      <a:pt x="43" y="19"/>
                    </a:lnTo>
                    <a:lnTo>
                      <a:pt x="48" y="19"/>
                    </a:lnTo>
                    <a:lnTo>
                      <a:pt x="62" y="28"/>
                    </a:lnTo>
                    <a:lnTo>
                      <a:pt x="77" y="38"/>
                    </a:lnTo>
                    <a:lnTo>
                      <a:pt x="77" y="42"/>
                    </a:lnTo>
                    <a:lnTo>
                      <a:pt x="77" y="48"/>
                    </a:lnTo>
                    <a:lnTo>
                      <a:pt x="66" y="55"/>
                    </a:lnTo>
                    <a:lnTo>
                      <a:pt x="52" y="63"/>
                    </a:lnTo>
                    <a:lnTo>
                      <a:pt x="37" y="55"/>
                    </a:lnTo>
                    <a:lnTo>
                      <a:pt x="19" y="48"/>
                    </a:lnTo>
                  </a:path>
                </a:pathLst>
              </a:custGeom>
              <a:grpFill/>
              <a:ln w="3175">
                <a:solidFill>
                  <a:srgbClr val="FF8300"/>
                </a:solidFill>
                <a:round/>
                <a:headEnd/>
                <a:tailEnd/>
              </a:ln>
            </p:spPr>
            <p:txBody>
              <a:bodyPr/>
              <a:lstStyle/>
              <a:p>
                <a:pPr>
                  <a:defRPr/>
                </a:pPr>
                <a:endParaRPr lang="en-GB" sz="1400">
                  <a:solidFill>
                    <a:schemeClr val="tx2"/>
                  </a:solidFill>
                </a:endParaRPr>
              </a:p>
            </p:txBody>
          </p:sp>
          <p:sp>
            <p:nvSpPr>
              <p:cNvPr id="372" name="Freeform 351"/>
              <p:cNvSpPr>
                <a:spLocks/>
              </p:cNvSpPr>
              <p:nvPr>
                <p:custDataLst>
                  <p:tags r:id="rId23"/>
                </p:custDataLst>
              </p:nvPr>
            </p:nvSpPr>
            <p:spPr bwMode="gray">
              <a:xfrm>
                <a:off x="2152176" y="3035652"/>
                <a:ext cx="413871" cy="547649"/>
              </a:xfrm>
              <a:custGeom>
                <a:avLst/>
                <a:gdLst>
                  <a:gd name="T0" fmla="*/ 2147483647 w 303"/>
                  <a:gd name="T1" fmla="*/ 2147483647 h 417"/>
                  <a:gd name="T2" fmla="*/ 2147483647 w 303"/>
                  <a:gd name="T3" fmla="*/ 2147483647 h 417"/>
                  <a:gd name="T4" fmla="*/ 2147483647 w 303"/>
                  <a:gd name="T5" fmla="*/ 2147483647 h 417"/>
                  <a:gd name="T6" fmla="*/ 2147483647 w 303"/>
                  <a:gd name="T7" fmla="*/ 2147483647 h 417"/>
                  <a:gd name="T8" fmla="*/ 2147483647 w 303"/>
                  <a:gd name="T9" fmla="*/ 2147483647 h 417"/>
                  <a:gd name="T10" fmla="*/ 2147483647 w 303"/>
                  <a:gd name="T11" fmla="*/ 2147483647 h 417"/>
                  <a:gd name="T12" fmla="*/ 2147483647 w 303"/>
                  <a:gd name="T13" fmla="*/ 2147483647 h 417"/>
                  <a:gd name="T14" fmla="*/ 2147483647 w 303"/>
                  <a:gd name="T15" fmla="*/ 2147483647 h 417"/>
                  <a:gd name="T16" fmla="*/ 2147483647 w 303"/>
                  <a:gd name="T17" fmla="*/ 2147483647 h 417"/>
                  <a:gd name="T18" fmla="*/ 2147483647 w 303"/>
                  <a:gd name="T19" fmla="*/ 2147483647 h 417"/>
                  <a:gd name="T20" fmla="*/ 2147483647 w 303"/>
                  <a:gd name="T21" fmla="*/ 2147483647 h 417"/>
                  <a:gd name="T22" fmla="*/ 2147483647 w 303"/>
                  <a:gd name="T23" fmla="*/ 2147483647 h 417"/>
                  <a:gd name="T24" fmla="*/ 2147483647 w 303"/>
                  <a:gd name="T25" fmla="*/ 2147483647 h 417"/>
                  <a:gd name="T26" fmla="*/ 2147483647 w 303"/>
                  <a:gd name="T27" fmla="*/ 2147483647 h 417"/>
                  <a:gd name="T28" fmla="*/ 2147483647 w 303"/>
                  <a:gd name="T29" fmla="*/ 2147483647 h 417"/>
                  <a:gd name="T30" fmla="*/ 2147483647 w 303"/>
                  <a:gd name="T31" fmla="*/ 2147483647 h 417"/>
                  <a:gd name="T32" fmla="*/ 0 w 303"/>
                  <a:gd name="T33" fmla="*/ 2147483647 h 417"/>
                  <a:gd name="T34" fmla="*/ 2147483647 w 303"/>
                  <a:gd name="T35" fmla="*/ 2147483647 h 417"/>
                  <a:gd name="T36" fmla="*/ 2147483647 w 303"/>
                  <a:gd name="T37" fmla="*/ 2147483647 h 417"/>
                  <a:gd name="T38" fmla="*/ 2147483647 w 303"/>
                  <a:gd name="T39" fmla="*/ 2147483647 h 417"/>
                  <a:gd name="T40" fmla="*/ 2147483647 w 303"/>
                  <a:gd name="T41" fmla="*/ 2147483647 h 417"/>
                  <a:gd name="T42" fmla="*/ 2147483647 w 303"/>
                  <a:gd name="T43" fmla="*/ 2147483647 h 417"/>
                  <a:gd name="T44" fmla="*/ 2147483647 w 303"/>
                  <a:gd name="T45" fmla="*/ 2147483647 h 417"/>
                  <a:gd name="T46" fmla="*/ 2147483647 w 303"/>
                  <a:gd name="T47" fmla="*/ 2147483647 h 417"/>
                  <a:gd name="T48" fmla="*/ 2147483647 w 303"/>
                  <a:gd name="T49" fmla="*/ 2147483647 h 417"/>
                  <a:gd name="T50" fmla="*/ 2147483647 w 303"/>
                  <a:gd name="T51" fmla="*/ 2147483647 h 417"/>
                  <a:gd name="T52" fmla="*/ 2147483647 w 303"/>
                  <a:gd name="T53" fmla="*/ 0 h 417"/>
                  <a:gd name="T54" fmla="*/ 2147483647 w 303"/>
                  <a:gd name="T55" fmla="*/ 0 h 417"/>
                  <a:gd name="T56" fmla="*/ 2147483647 w 303"/>
                  <a:gd name="T57" fmla="*/ 2147483647 h 417"/>
                  <a:gd name="T58" fmla="*/ 2147483647 w 303"/>
                  <a:gd name="T59" fmla="*/ 2147483647 h 417"/>
                  <a:gd name="T60" fmla="*/ 2147483647 w 303"/>
                  <a:gd name="T61" fmla="*/ 2147483647 h 417"/>
                  <a:gd name="T62" fmla="*/ 2147483647 w 303"/>
                  <a:gd name="T63" fmla="*/ 2147483647 h 417"/>
                  <a:gd name="T64" fmla="*/ 2147483647 w 303"/>
                  <a:gd name="T65" fmla="*/ 2147483647 h 417"/>
                  <a:gd name="T66" fmla="*/ 2147483647 w 303"/>
                  <a:gd name="T67" fmla="*/ 2147483647 h 417"/>
                  <a:gd name="T68" fmla="*/ 2147483647 w 303"/>
                  <a:gd name="T69" fmla="*/ 2147483647 h 417"/>
                  <a:gd name="T70" fmla="*/ 2147483647 w 303"/>
                  <a:gd name="T71" fmla="*/ 2147483647 h 417"/>
                  <a:gd name="T72" fmla="*/ 2147483647 w 303"/>
                  <a:gd name="T73" fmla="*/ 2147483647 h 417"/>
                  <a:gd name="T74" fmla="*/ 2147483647 w 303"/>
                  <a:gd name="T75" fmla="*/ 2147483647 h 417"/>
                  <a:gd name="T76" fmla="*/ 2147483647 w 303"/>
                  <a:gd name="T77" fmla="*/ 2147483647 h 417"/>
                  <a:gd name="T78" fmla="*/ 2147483647 w 303"/>
                  <a:gd name="T79" fmla="*/ 2147483647 h 417"/>
                  <a:gd name="T80" fmla="*/ 2147483647 w 303"/>
                  <a:gd name="T81" fmla="*/ 2147483647 h 417"/>
                  <a:gd name="T82" fmla="*/ 2147483647 w 303"/>
                  <a:gd name="T83" fmla="*/ 2147483647 h 417"/>
                  <a:gd name="T84" fmla="*/ 2147483647 w 303"/>
                  <a:gd name="T85" fmla="*/ 2147483647 h 417"/>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303"/>
                  <a:gd name="T130" fmla="*/ 0 h 417"/>
                  <a:gd name="T131" fmla="*/ 303 w 303"/>
                  <a:gd name="T132" fmla="*/ 417 h 417"/>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303" h="417">
                    <a:moveTo>
                      <a:pt x="165" y="376"/>
                    </a:moveTo>
                    <a:lnTo>
                      <a:pt x="159" y="369"/>
                    </a:lnTo>
                    <a:lnTo>
                      <a:pt x="157" y="365"/>
                    </a:lnTo>
                    <a:lnTo>
                      <a:pt x="155" y="365"/>
                    </a:lnTo>
                    <a:lnTo>
                      <a:pt x="155" y="367"/>
                    </a:lnTo>
                    <a:lnTo>
                      <a:pt x="150" y="367"/>
                    </a:lnTo>
                    <a:lnTo>
                      <a:pt x="146" y="367"/>
                    </a:lnTo>
                    <a:lnTo>
                      <a:pt x="140" y="353"/>
                    </a:lnTo>
                    <a:lnTo>
                      <a:pt x="136" y="338"/>
                    </a:lnTo>
                    <a:lnTo>
                      <a:pt x="130" y="325"/>
                    </a:lnTo>
                    <a:lnTo>
                      <a:pt x="126" y="309"/>
                    </a:lnTo>
                    <a:lnTo>
                      <a:pt x="121" y="284"/>
                    </a:lnTo>
                    <a:lnTo>
                      <a:pt x="117" y="261"/>
                    </a:lnTo>
                    <a:lnTo>
                      <a:pt x="117" y="256"/>
                    </a:lnTo>
                    <a:lnTo>
                      <a:pt x="117" y="252"/>
                    </a:lnTo>
                    <a:lnTo>
                      <a:pt x="117" y="236"/>
                    </a:lnTo>
                    <a:lnTo>
                      <a:pt x="117" y="223"/>
                    </a:lnTo>
                    <a:lnTo>
                      <a:pt x="119" y="221"/>
                    </a:lnTo>
                    <a:lnTo>
                      <a:pt x="119" y="219"/>
                    </a:lnTo>
                    <a:lnTo>
                      <a:pt x="115" y="217"/>
                    </a:lnTo>
                    <a:lnTo>
                      <a:pt x="105" y="213"/>
                    </a:lnTo>
                    <a:lnTo>
                      <a:pt x="109" y="206"/>
                    </a:lnTo>
                    <a:lnTo>
                      <a:pt x="113" y="200"/>
                    </a:lnTo>
                    <a:lnTo>
                      <a:pt x="98" y="200"/>
                    </a:lnTo>
                    <a:lnTo>
                      <a:pt x="90" y="200"/>
                    </a:lnTo>
                    <a:lnTo>
                      <a:pt x="88" y="200"/>
                    </a:lnTo>
                    <a:lnTo>
                      <a:pt x="88" y="204"/>
                    </a:lnTo>
                    <a:lnTo>
                      <a:pt x="77" y="204"/>
                    </a:lnTo>
                    <a:lnTo>
                      <a:pt x="67" y="204"/>
                    </a:lnTo>
                    <a:lnTo>
                      <a:pt x="67" y="215"/>
                    </a:lnTo>
                    <a:lnTo>
                      <a:pt x="67" y="219"/>
                    </a:lnTo>
                    <a:lnTo>
                      <a:pt x="63" y="223"/>
                    </a:lnTo>
                    <a:lnTo>
                      <a:pt x="57" y="223"/>
                    </a:lnTo>
                    <a:lnTo>
                      <a:pt x="55" y="213"/>
                    </a:lnTo>
                    <a:lnTo>
                      <a:pt x="54" y="204"/>
                    </a:lnTo>
                    <a:lnTo>
                      <a:pt x="50" y="200"/>
                    </a:lnTo>
                    <a:lnTo>
                      <a:pt x="48" y="198"/>
                    </a:lnTo>
                    <a:lnTo>
                      <a:pt x="40" y="196"/>
                    </a:lnTo>
                    <a:lnTo>
                      <a:pt x="34" y="194"/>
                    </a:lnTo>
                    <a:lnTo>
                      <a:pt x="31" y="190"/>
                    </a:lnTo>
                    <a:lnTo>
                      <a:pt x="29" y="188"/>
                    </a:lnTo>
                    <a:lnTo>
                      <a:pt x="27" y="186"/>
                    </a:lnTo>
                    <a:lnTo>
                      <a:pt x="25" y="185"/>
                    </a:lnTo>
                    <a:lnTo>
                      <a:pt x="21" y="181"/>
                    </a:lnTo>
                    <a:lnTo>
                      <a:pt x="19" y="179"/>
                    </a:lnTo>
                    <a:lnTo>
                      <a:pt x="13" y="177"/>
                    </a:lnTo>
                    <a:lnTo>
                      <a:pt x="9" y="173"/>
                    </a:lnTo>
                    <a:lnTo>
                      <a:pt x="4" y="169"/>
                    </a:lnTo>
                    <a:lnTo>
                      <a:pt x="0" y="163"/>
                    </a:lnTo>
                    <a:lnTo>
                      <a:pt x="0" y="160"/>
                    </a:lnTo>
                    <a:lnTo>
                      <a:pt x="0" y="156"/>
                    </a:lnTo>
                    <a:lnTo>
                      <a:pt x="4" y="150"/>
                    </a:lnTo>
                    <a:lnTo>
                      <a:pt x="9" y="144"/>
                    </a:lnTo>
                    <a:lnTo>
                      <a:pt x="9" y="135"/>
                    </a:lnTo>
                    <a:lnTo>
                      <a:pt x="9" y="125"/>
                    </a:lnTo>
                    <a:lnTo>
                      <a:pt x="23" y="123"/>
                    </a:lnTo>
                    <a:lnTo>
                      <a:pt x="38" y="121"/>
                    </a:lnTo>
                    <a:lnTo>
                      <a:pt x="54" y="119"/>
                    </a:lnTo>
                    <a:lnTo>
                      <a:pt x="67" y="115"/>
                    </a:lnTo>
                    <a:lnTo>
                      <a:pt x="73" y="115"/>
                    </a:lnTo>
                    <a:lnTo>
                      <a:pt x="77" y="115"/>
                    </a:lnTo>
                    <a:lnTo>
                      <a:pt x="82" y="112"/>
                    </a:lnTo>
                    <a:lnTo>
                      <a:pt x="88" y="106"/>
                    </a:lnTo>
                    <a:lnTo>
                      <a:pt x="88" y="102"/>
                    </a:lnTo>
                    <a:lnTo>
                      <a:pt x="88" y="96"/>
                    </a:lnTo>
                    <a:lnTo>
                      <a:pt x="88" y="87"/>
                    </a:lnTo>
                    <a:lnTo>
                      <a:pt x="88" y="77"/>
                    </a:lnTo>
                    <a:lnTo>
                      <a:pt x="88" y="73"/>
                    </a:lnTo>
                    <a:lnTo>
                      <a:pt x="88" y="67"/>
                    </a:lnTo>
                    <a:lnTo>
                      <a:pt x="92" y="54"/>
                    </a:lnTo>
                    <a:lnTo>
                      <a:pt x="96" y="39"/>
                    </a:lnTo>
                    <a:lnTo>
                      <a:pt x="96" y="29"/>
                    </a:lnTo>
                    <a:lnTo>
                      <a:pt x="96" y="19"/>
                    </a:lnTo>
                    <a:lnTo>
                      <a:pt x="102" y="19"/>
                    </a:lnTo>
                    <a:lnTo>
                      <a:pt x="105" y="19"/>
                    </a:lnTo>
                    <a:lnTo>
                      <a:pt x="105" y="14"/>
                    </a:lnTo>
                    <a:lnTo>
                      <a:pt x="105" y="10"/>
                    </a:lnTo>
                    <a:lnTo>
                      <a:pt x="115" y="10"/>
                    </a:lnTo>
                    <a:lnTo>
                      <a:pt x="126" y="10"/>
                    </a:lnTo>
                    <a:lnTo>
                      <a:pt x="130" y="4"/>
                    </a:lnTo>
                    <a:lnTo>
                      <a:pt x="136" y="0"/>
                    </a:lnTo>
                    <a:lnTo>
                      <a:pt x="146" y="0"/>
                    </a:lnTo>
                    <a:lnTo>
                      <a:pt x="155" y="0"/>
                    </a:lnTo>
                    <a:lnTo>
                      <a:pt x="169" y="0"/>
                    </a:lnTo>
                    <a:lnTo>
                      <a:pt x="184" y="0"/>
                    </a:lnTo>
                    <a:lnTo>
                      <a:pt x="194" y="4"/>
                    </a:lnTo>
                    <a:lnTo>
                      <a:pt x="203" y="10"/>
                    </a:lnTo>
                    <a:lnTo>
                      <a:pt x="207" y="16"/>
                    </a:lnTo>
                    <a:lnTo>
                      <a:pt x="209" y="21"/>
                    </a:lnTo>
                    <a:lnTo>
                      <a:pt x="236" y="25"/>
                    </a:lnTo>
                    <a:lnTo>
                      <a:pt x="261" y="29"/>
                    </a:lnTo>
                    <a:lnTo>
                      <a:pt x="267" y="33"/>
                    </a:lnTo>
                    <a:lnTo>
                      <a:pt x="270" y="39"/>
                    </a:lnTo>
                    <a:lnTo>
                      <a:pt x="270" y="43"/>
                    </a:lnTo>
                    <a:lnTo>
                      <a:pt x="270" y="48"/>
                    </a:lnTo>
                    <a:lnTo>
                      <a:pt x="267" y="48"/>
                    </a:lnTo>
                    <a:lnTo>
                      <a:pt x="261" y="48"/>
                    </a:lnTo>
                    <a:lnTo>
                      <a:pt x="257" y="48"/>
                    </a:lnTo>
                    <a:lnTo>
                      <a:pt x="251" y="48"/>
                    </a:lnTo>
                    <a:lnTo>
                      <a:pt x="240" y="52"/>
                    </a:lnTo>
                    <a:lnTo>
                      <a:pt x="230" y="56"/>
                    </a:lnTo>
                    <a:lnTo>
                      <a:pt x="230" y="81"/>
                    </a:lnTo>
                    <a:lnTo>
                      <a:pt x="232" y="106"/>
                    </a:lnTo>
                    <a:lnTo>
                      <a:pt x="236" y="112"/>
                    </a:lnTo>
                    <a:lnTo>
                      <a:pt x="242" y="115"/>
                    </a:lnTo>
                    <a:lnTo>
                      <a:pt x="245" y="115"/>
                    </a:lnTo>
                    <a:lnTo>
                      <a:pt x="251" y="115"/>
                    </a:lnTo>
                    <a:lnTo>
                      <a:pt x="270" y="125"/>
                    </a:lnTo>
                    <a:lnTo>
                      <a:pt x="290" y="135"/>
                    </a:lnTo>
                    <a:lnTo>
                      <a:pt x="290" y="140"/>
                    </a:lnTo>
                    <a:lnTo>
                      <a:pt x="290" y="144"/>
                    </a:lnTo>
                    <a:lnTo>
                      <a:pt x="282" y="154"/>
                    </a:lnTo>
                    <a:lnTo>
                      <a:pt x="272" y="161"/>
                    </a:lnTo>
                    <a:lnTo>
                      <a:pt x="290" y="232"/>
                    </a:lnTo>
                    <a:lnTo>
                      <a:pt x="301" y="296"/>
                    </a:lnTo>
                    <a:lnTo>
                      <a:pt x="303" y="311"/>
                    </a:lnTo>
                    <a:lnTo>
                      <a:pt x="303" y="326"/>
                    </a:lnTo>
                    <a:lnTo>
                      <a:pt x="301" y="340"/>
                    </a:lnTo>
                    <a:lnTo>
                      <a:pt x="299" y="355"/>
                    </a:lnTo>
                    <a:lnTo>
                      <a:pt x="295" y="371"/>
                    </a:lnTo>
                    <a:lnTo>
                      <a:pt x="290" y="386"/>
                    </a:lnTo>
                    <a:lnTo>
                      <a:pt x="280" y="401"/>
                    </a:lnTo>
                    <a:lnTo>
                      <a:pt x="270" y="417"/>
                    </a:lnTo>
                    <a:lnTo>
                      <a:pt x="253" y="413"/>
                    </a:lnTo>
                    <a:lnTo>
                      <a:pt x="236" y="411"/>
                    </a:lnTo>
                    <a:lnTo>
                      <a:pt x="220" y="409"/>
                    </a:lnTo>
                    <a:lnTo>
                      <a:pt x="203" y="405"/>
                    </a:lnTo>
                    <a:lnTo>
                      <a:pt x="203" y="397"/>
                    </a:lnTo>
                    <a:lnTo>
                      <a:pt x="203" y="388"/>
                    </a:lnTo>
                    <a:lnTo>
                      <a:pt x="184" y="382"/>
                    </a:lnTo>
                    <a:lnTo>
                      <a:pt x="165" y="376"/>
                    </a:lnTo>
                  </a:path>
                </a:pathLst>
              </a:custGeom>
              <a:grpFill/>
              <a:ln w="3175">
                <a:solidFill>
                  <a:srgbClr val="FF8300"/>
                </a:solidFill>
                <a:round/>
                <a:headEnd/>
                <a:tailEnd/>
              </a:ln>
            </p:spPr>
            <p:txBody>
              <a:bodyPr/>
              <a:lstStyle/>
              <a:p>
                <a:pPr>
                  <a:defRPr/>
                </a:pPr>
                <a:endParaRPr lang="en-GB" sz="1400">
                  <a:solidFill>
                    <a:schemeClr val="tx2"/>
                  </a:solidFill>
                </a:endParaRPr>
              </a:p>
            </p:txBody>
          </p:sp>
          <p:sp>
            <p:nvSpPr>
              <p:cNvPr id="373" name="Freeform 298"/>
              <p:cNvSpPr>
                <a:spLocks/>
              </p:cNvSpPr>
              <p:nvPr>
                <p:custDataLst>
                  <p:tags r:id="rId24"/>
                </p:custDataLst>
              </p:nvPr>
            </p:nvSpPr>
            <p:spPr bwMode="gray">
              <a:xfrm>
                <a:off x="2839174" y="5196982"/>
                <a:ext cx="390182" cy="213206"/>
              </a:xfrm>
              <a:custGeom>
                <a:avLst/>
                <a:gdLst>
                  <a:gd name="T0" fmla="*/ 2147483647 w 289"/>
                  <a:gd name="T1" fmla="*/ 2147483647 h 163"/>
                  <a:gd name="T2" fmla="*/ 2147483647 w 289"/>
                  <a:gd name="T3" fmla="*/ 2147483647 h 163"/>
                  <a:gd name="T4" fmla="*/ 2147483647 w 289"/>
                  <a:gd name="T5" fmla="*/ 2147483647 h 163"/>
                  <a:gd name="T6" fmla="*/ 2147483647 w 289"/>
                  <a:gd name="T7" fmla="*/ 2147483647 h 163"/>
                  <a:gd name="T8" fmla="*/ 2147483647 w 289"/>
                  <a:gd name="T9" fmla="*/ 2147483647 h 163"/>
                  <a:gd name="T10" fmla="*/ 2147483647 w 289"/>
                  <a:gd name="T11" fmla="*/ 2147483647 h 163"/>
                  <a:gd name="T12" fmla="*/ 2147483647 w 289"/>
                  <a:gd name="T13" fmla="*/ 2147483647 h 163"/>
                  <a:gd name="T14" fmla="*/ 2147483647 w 289"/>
                  <a:gd name="T15" fmla="*/ 2147483647 h 163"/>
                  <a:gd name="T16" fmla="*/ 2147483647 w 289"/>
                  <a:gd name="T17" fmla="*/ 2147483647 h 163"/>
                  <a:gd name="T18" fmla="*/ 2147483647 w 289"/>
                  <a:gd name="T19" fmla="*/ 2147483647 h 163"/>
                  <a:gd name="T20" fmla="*/ 2147483647 w 289"/>
                  <a:gd name="T21" fmla="*/ 2147483647 h 163"/>
                  <a:gd name="T22" fmla="*/ 2147483647 w 289"/>
                  <a:gd name="T23" fmla="*/ 2147483647 h 163"/>
                  <a:gd name="T24" fmla="*/ 2147483647 w 289"/>
                  <a:gd name="T25" fmla="*/ 2147483647 h 163"/>
                  <a:gd name="T26" fmla="*/ 2147483647 w 289"/>
                  <a:gd name="T27" fmla="*/ 2147483647 h 163"/>
                  <a:gd name="T28" fmla="*/ 2147483647 w 289"/>
                  <a:gd name="T29" fmla="*/ 2147483647 h 163"/>
                  <a:gd name="T30" fmla="*/ 2147483647 w 289"/>
                  <a:gd name="T31" fmla="*/ 2147483647 h 163"/>
                  <a:gd name="T32" fmla="*/ 2147483647 w 289"/>
                  <a:gd name="T33" fmla="*/ 2147483647 h 163"/>
                  <a:gd name="T34" fmla="*/ 2147483647 w 289"/>
                  <a:gd name="T35" fmla="*/ 2147483647 h 163"/>
                  <a:gd name="T36" fmla="*/ 2147483647 w 289"/>
                  <a:gd name="T37" fmla="*/ 2147483647 h 163"/>
                  <a:gd name="T38" fmla="*/ 2147483647 w 289"/>
                  <a:gd name="T39" fmla="*/ 2147483647 h 163"/>
                  <a:gd name="T40" fmla="*/ 2147483647 w 289"/>
                  <a:gd name="T41" fmla="*/ 2147483647 h 163"/>
                  <a:gd name="T42" fmla="*/ 2147483647 w 289"/>
                  <a:gd name="T43" fmla="*/ 2147483647 h 163"/>
                  <a:gd name="T44" fmla="*/ 2147483647 w 289"/>
                  <a:gd name="T45" fmla="*/ 2147483647 h 163"/>
                  <a:gd name="T46" fmla="*/ 2147483647 w 289"/>
                  <a:gd name="T47" fmla="*/ 2147483647 h 163"/>
                  <a:gd name="T48" fmla="*/ 2147483647 w 289"/>
                  <a:gd name="T49" fmla="*/ 2147483647 h 163"/>
                  <a:gd name="T50" fmla="*/ 2147483647 w 289"/>
                  <a:gd name="T51" fmla="*/ 2147483647 h 163"/>
                  <a:gd name="T52" fmla="*/ 2147483647 w 289"/>
                  <a:gd name="T53" fmla="*/ 2147483647 h 163"/>
                  <a:gd name="T54" fmla="*/ 2147483647 w 289"/>
                  <a:gd name="T55" fmla="*/ 2147483647 h 163"/>
                  <a:gd name="T56" fmla="*/ 2147483647 w 289"/>
                  <a:gd name="T57" fmla="*/ 2147483647 h 163"/>
                  <a:gd name="T58" fmla="*/ 2147483647 w 289"/>
                  <a:gd name="T59" fmla="*/ 2147483647 h 163"/>
                  <a:gd name="T60" fmla="*/ 2147483647 w 289"/>
                  <a:gd name="T61" fmla="*/ 2147483647 h 163"/>
                  <a:gd name="T62" fmla="*/ 2147483647 w 289"/>
                  <a:gd name="T63" fmla="*/ 2147483647 h 163"/>
                  <a:gd name="T64" fmla="*/ 2147483647 w 289"/>
                  <a:gd name="T65" fmla="*/ 2147483647 h 163"/>
                  <a:gd name="T66" fmla="*/ 2147483647 w 289"/>
                  <a:gd name="T67" fmla="*/ 2147483647 h 163"/>
                  <a:gd name="T68" fmla="*/ 2147483647 w 289"/>
                  <a:gd name="T69" fmla="*/ 2147483647 h 163"/>
                  <a:gd name="T70" fmla="*/ 2147483647 w 289"/>
                  <a:gd name="T71" fmla="*/ 2147483647 h 163"/>
                  <a:gd name="T72" fmla="*/ 2147483647 w 289"/>
                  <a:gd name="T73" fmla="*/ 2147483647 h 163"/>
                  <a:gd name="T74" fmla="*/ 2147483647 w 289"/>
                  <a:gd name="T75" fmla="*/ 2147483647 h 163"/>
                  <a:gd name="T76" fmla="*/ 2147483647 w 289"/>
                  <a:gd name="T77" fmla="*/ 2147483647 h 163"/>
                  <a:gd name="T78" fmla="*/ 2147483647 w 289"/>
                  <a:gd name="T79" fmla="*/ 2147483647 h 163"/>
                  <a:gd name="T80" fmla="*/ 2147483647 w 289"/>
                  <a:gd name="T81" fmla="*/ 2147483647 h 163"/>
                  <a:gd name="T82" fmla="*/ 2147483647 w 289"/>
                  <a:gd name="T83" fmla="*/ 2147483647 h 163"/>
                  <a:gd name="T84" fmla="*/ 2147483647 w 289"/>
                  <a:gd name="T85" fmla="*/ 2147483647 h 163"/>
                  <a:gd name="T86" fmla="*/ 2147483647 w 289"/>
                  <a:gd name="T87" fmla="*/ 2147483647 h 163"/>
                  <a:gd name="T88" fmla="*/ 2147483647 w 289"/>
                  <a:gd name="T89" fmla="*/ 2147483647 h 163"/>
                  <a:gd name="T90" fmla="*/ 2147483647 w 289"/>
                  <a:gd name="T91" fmla="*/ 2147483647 h 163"/>
                  <a:gd name="T92" fmla="*/ 2147483647 w 289"/>
                  <a:gd name="T93" fmla="*/ 2147483647 h 163"/>
                  <a:gd name="T94" fmla="*/ 2147483647 w 289"/>
                  <a:gd name="T95" fmla="*/ 2147483647 h 163"/>
                  <a:gd name="T96" fmla="*/ 2147483647 w 289"/>
                  <a:gd name="T97" fmla="*/ 2147483647 h 16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289"/>
                  <a:gd name="T148" fmla="*/ 0 h 163"/>
                  <a:gd name="T149" fmla="*/ 289 w 289"/>
                  <a:gd name="T150" fmla="*/ 163 h 163"/>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289" h="163">
                    <a:moveTo>
                      <a:pt x="47" y="163"/>
                    </a:moveTo>
                    <a:lnTo>
                      <a:pt x="47" y="153"/>
                    </a:lnTo>
                    <a:lnTo>
                      <a:pt x="47" y="144"/>
                    </a:lnTo>
                    <a:lnTo>
                      <a:pt x="40" y="144"/>
                    </a:lnTo>
                    <a:lnTo>
                      <a:pt x="34" y="144"/>
                    </a:lnTo>
                    <a:lnTo>
                      <a:pt x="30" y="142"/>
                    </a:lnTo>
                    <a:lnTo>
                      <a:pt x="28" y="140"/>
                    </a:lnTo>
                    <a:lnTo>
                      <a:pt x="17" y="138"/>
                    </a:lnTo>
                    <a:lnTo>
                      <a:pt x="5" y="134"/>
                    </a:lnTo>
                    <a:lnTo>
                      <a:pt x="1" y="132"/>
                    </a:lnTo>
                    <a:lnTo>
                      <a:pt x="0" y="130"/>
                    </a:lnTo>
                    <a:lnTo>
                      <a:pt x="1" y="126"/>
                    </a:lnTo>
                    <a:lnTo>
                      <a:pt x="5" y="124"/>
                    </a:lnTo>
                    <a:lnTo>
                      <a:pt x="7" y="122"/>
                    </a:lnTo>
                    <a:lnTo>
                      <a:pt x="9" y="121"/>
                    </a:lnTo>
                    <a:lnTo>
                      <a:pt x="11" y="117"/>
                    </a:lnTo>
                    <a:lnTo>
                      <a:pt x="15" y="115"/>
                    </a:lnTo>
                    <a:lnTo>
                      <a:pt x="17" y="107"/>
                    </a:lnTo>
                    <a:lnTo>
                      <a:pt x="19" y="101"/>
                    </a:lnTo>
                    <a:lnTo>
                      <a:pt x="23" y="98"/>
                    </a:lnTo>
                    <a:lnTo>
                      <a:pt x="24" y="96"/>
                    </a:lnTo>
                    <a:lnTo>
                      <a:pt x="26" y="94"/>
                    </a:lnTo>
                    <a:lnTo>
                      <a:pt x="28" y="92"/>
                    </a:lnTo>
                    <a:lnTo>
                      <a:pt x="30" y="88"/>
                    </a:lnTo>
                    <a:lnTo>
                      <a:pt x="34" y="86"/>
                    </a:lnTo>
                    <a:lnTo>
                      <a:pt x="36" y="84"/>
                    </a:lnTo>
                    <a:lnTo>
                      <a:pt x="38" y="82"/>
                    </a:lnTo>
                    <a:lnTo>
                      <a:pt x="40" y="78"/>
                    </a:lnTo>
                    <a:lnTo>
                      <a:pt x="44" y="76"/>
                    </a:lnTo>
                    <a:lnTo>
                      <a:pt x="46" y="76"/>
                    </a:lnTo>
                    <a:lnTo>
                      <a:pt x="47" y="73"/>
                    </a:lnTo>
                    <a:lnTo>
                      <a:pt x="47" y="69"/>
                    </a:lnTo>
                    <a:lnTo>
                      <a:pt x="47" y="48"/>
                    </a:lnTo>
                    <a:lnTo>
                      <a:pt x="47" y="9"/>
                    </a:lnTo>
                    <a:lnTo>
                      <a:pt x="63" y="5"/>
                    </a:lnTo>
                    <a:lnTo>
                      <a:pt x="78" y="4"/>
                    </a:lnTo>
                    <a:lnTo>
                      <a:pt x="80" y="2"/>
                    </a:lnTo>
                    <a:lnTo>
                      <a:pt x="82" y="0"/>
                    </a:lnTo>
                    <a:lnTo>
                      <a:pt x="84" y="2"/>
                    </a:lnTo>
                    <a:lnTo>
                      <a:pt x="88" y="4"/>
                    </a:lnTo>
                    <a:lnTo>
                      <a:pt x="99" y="5"/>
                    </a:lnTo>
                    <a:lnTo>
                      <a:pt x="111" y="9"/>
                    </a:lnTo>
                    <a:lnTo>
                      <a:pt x="113" y="11"/>
                    </a:lnTo>
                    <a:lnTo>
                      <a:pt x="117" y="13"/>
                    </a:lnTo>
                    <a:lnTo>
                      <a:pt x="118" y="17"/>
                    </a:lnTo>
                    <a:lnTo>
                      <a:pt x="120" y="19"/>
                    </a:lnTo>
                    <a:lnTo>
                      <a:pt x="122" y="21"/>
                    </a:lnTo>
                    <a:lnTo>
                      <a:pt x="126" y="23"/>
                    </a:lnTo>
                    <a:lnTo>
                      <a:pt x="130" y="27"/>
                    </a:lnTo>
                    <a:lnTo>
                      <a:pt x="140" y="27"/>
                    </a:lnTo>
                    <a:lnTo>
                      <a:pt x="149" y="27"/>
                    </a:lnTo>
                    <a:lnTo>
                      <a:pt x="155" y="23"/>
                    </a:lnTo>
                    <a:lnTo>
                      <a:pt x="157" y="21"/>
                    </a:lnTo>
                    <a:lnTo>
                      <a:pt x="159" y="19"/>
                    </a:lnTo>
                    <a:lnTo>
                      <a:pt x="172" y="19"/>
                    </a:lnTo>
                    <a:lnTo>
                      <a:pt x="184" y="19"/>
                    </a:lnTo>
                    <a:lnTo>
                      <a:pt x="186" y="32"/>
                    </a:lnTo>
                    <a:lnTo>
                      <a:pt x="188" y="48"/>
                    </a:lnTo>
                    <a:lnTo>
                      <a:pt x="191" y="50"/>
                    </a:lnTo>
                    <a:lnTo>
                      <a:pt x="193" y="53"/>
                    </a:lnTo>
                    <a:lnTo>
                      <a:pt x="195" y="59"/>
                    </a:lnTo>
                    <a:lnTo>
                      <a:pt x="199" y="67"/>
                    </a:lnTo>
                    <a:lnTo>
                      <a:pt x="201" y="69"/>
                    </a:lnTo>
                    <a:lnTo>
                      <a:pt x="203" y="71"/>
                    </a:lnTo>
                    <a:lnTo>
                      <a:pt x="205" y="78"/>
                    </a:lnTo>
                    <a:lnTo>
                      <a:pt x="209" y="86"/>
                    </a:lnTo>
                    <a:lnTo>
                      <a:pt x="211" y="88"/>
                    </a:lnTo>
                    <a:lnTo>
                      <a:pt x="213" y="92"/>
                    </a:lnTo>
                    <a:lnTo>
                      <a:pt x="214" y="94"/>
                    </a:lnTo>
                    <a:lnTo>
                      <a:pt x="216" y="96"/>
                    </a:lnTo>
                    <a:lnTo>
                      <a:pt x="220" y="98"/>
                    </a:lnTo>
                    <a:lnTo>
                      <a:pt x="222" y="101"/>
                    </a:lnTo>
                    <a:lnTo>
                      <a:pt x="234" y="103"/>
                    </a:lnTo>
                    <a:lnTo>
                      <a:pt x="247" y="105"/>
                    </a:lnTo>
                    <a:lnTo>
                      <a:pt x="249" y="109"/>
                    </a:lnTo>
                    <a:lnTo>
                      <a:pt x="251" y="111"/>
                    </a:lnTo>
                    <a:lnTo>
                      <a:pt x="255" y="113"/>
                    </a:lnTo>
                    <a:lnTo>
                      <a:pt x="257" y="115"/>
                    </a:lnTo>
                    <a:lnTo>
                      <a:pt x="259" y="117"/>
                    </a:lnTo>
                    <a:lnTo>
                      <a:pt x="260" y="121"/>
                    </a:lnTo>
                    <a:lnTo>
                      <a:pt x="262" y="126"/>
                    </a:lnTo>
                    <a:lnTo>
                      <a:pt x="266" y="134"/>
                    </a:lnTo>
                    <a:lnTo>
                      <a:pt x="268" y="138"/>
                    </a:lnTo>
                    <a:lnTo>
                      <a:pt x="270" y="140"/>
                    </a:lnTo>
                    <a:lnTo>
                      <a:pt x="272" y="142"/>
                    </a:lnTo>
                    <a:lnTo>
                      <a:pt x="276" y="144"/>
                    </a:lnTo>
                    <a:lnTo>
                      <a:pt x="278" y="147"/>
                    </a:lnTo>
                    <a:lnTo>
                      <a:pt x="280" y="149"/>
                    </a:lnTo>
                    <a:lnTo>
                      <a:pt x="283" y="151"/>
                    </a:lnTo>
                    <a:lnTo>
                      <a:pt x="285" y="153"/>
                    </a:lnTo>
                    <a:lnTo>
                      <a:pt x="287" y="157"/>
                    </a:lnTo>
                    <a:lnTo>
                      <a:pt x="289" y="159"/>
                    </a:lnTo>
                    <a:lnTo>
                      <a:pt x="289" y="161"/>
                    </a:lnTo>
                    <a:lnTo>
                      <a:pt x="289" y="163"/>
                    </a:lnTo>
                    <a:lnTo>
                      <a:pt x="230" y="163"/>
                    </a:lnTo>
                    <a:lnTo>
                      <a:pt x="168" y="163"/>
                    </a:lnTo>
                    <a:lnTo>
                      <a:pt x="109" y="163"/>
                    </a:lnTo>
                    <a:lnTo>
                      <a:pt x="47" y="163"/>
                    </a:lnTo>
                  </a:path>
                </a:pathLst>
              </a:custGeom>
              <a:grpFill/>
              <a:ln w="3175">
                <a:solidFill>
                  <a:srgbClr val="FF8300"/>
                </a:solidFill>
                <a:round/>
                <a:headEnd/>
                <a:tailEnd/>
              </a:ln>
            </p:spPr>
            <p:txBody>
              <a:bodyPr/>
              <a:lstStyle/>
              <a:p>
                <a:pPr>
                  <a:defRPr/>
                </a:pPr>
                <a:endParaRPr lang="en-GB" sz="1400">
                  <a:solidFill>
                    <a:schemeClr val="tx2"/>
                  </a:solidFill>
                </a:endParaRPr>
              </a:p>
            </p:txBody>
          </p:sp>
          <p:sp>
            <p:nvSpPr>
              <p:cNvPr id="374" name="Freeform 301"/>
              <p:cNvSpPr>
                <a:spLocks/>
              </p:cNvSpPr>
              <p:nvPr>
                <p:custDataLst>
                  <p:tags r:id="rId25"/>
                </p:custDataLst>
              </p:nvPr>
            </p:nvSpPr>
            <p:spPr bwMode="gray">
              <a:xfrm>
                <a:off x="2641296" y="4574083"/>
                <a:ext cx="564371" cy="647981"/>
              </a:xfrm>
              <a:custGeom>
                <a:avLst/>
                <a:gdLst>
                  <a:gd name="T0" fmla="*/ 2147483647 w 414"/>
                  <a:gd name="T1" fmla="*/ 2147483647 h 493"/>
                  <a:gd name="T2" fmla="*/ 2147483647 w 414"/>
                  <a:gd name="T3" fmla="*/ 2147483647 h 493"/>
                  <a:gd name="T4" fmla="*/ 2147483647 w 414"/>
                  <a:gd name="T5" fmla="*/ 2147483647 h 493"/>
                  <a:gd name="T6" fmla="*/ 2147483647 w 414"/>
                  <a:gd name="T7" fmla="*/ 2147483647 h 493"/>
                  <a:gd name="T8" fmla="*/ 2147483647 w 414"/>
                  <a:gd name="T9" fmla="*/ 2147483647 h 493"/>
                  <a:gd name="T10" fmla="*/ 2147483647 w 414"/>
                  <a:gd name="T11" fmla="*/ 2147483647 h 493"/>
                  <a:gd name="T12" fmla="*/ 2147483647 w 414"/>
                  <a:gd name="T13" fmla="*/ 2147483647 h 493"/>
                  <a:gd name="T14" fmla="*/ 2147483647 w 414"/>
                  <a:gd name="T15" fmla="*/ 2147483647 h 493"/>
                  <a:gd name="T16" fmla="*/ 2147483647 w 414"/>
                  <a:gd name="T17" fmla="*/ 2147483647 h 493"/>
                  <a:gd name="T18" fmla="*/ 2147483647 w 414"/>
                  <a:gd name="T19" fmla="*/ 2147483647 h 493"/>
                  <a:gd name="T20" fmla="*/ 2147483647 w 414"/>
                  <a:gd name="T21" fmla="*/ 2147483647 h 493"/>
                  <a:gd name="T22" fmla="*/ 2147483647 w 414"/>
                  <a:gd name="T23" fmla="*/ 2147483647 h 493"/>
                  <a:gd name="T24" fmla="*/ 2147483647 w 414"/>
                  <a:gd name="T25" fmla="*/ 2147483647 h 493"/>
                  <a:gd name="T26" fmla="*/ 2147483647 w 414"/>
                  <a:gd name="T27" fmla="*/ 2147483647 h 493"/>
                  <a:gd name="T28" fmla="*/ 2147483647 w 414"/>
                  <a:gd name="T29" fmla="*/ 2147483647 h 493"/>
                  <a:gd name="T30" fmla="*/ 2147483647 w 414"/>
                  <a:gd name="T31" fmla="*/ 2147483647 h 493"/>
                  <a:gd name="T32" fmla="*/ 2147483647 w 414"/>
                  <a:gd name="T33" fmla="*/ 2147483647 h 493"/>
                  <a:gd name="T34" fmla="*/ 2147483647 w 414"/>
                  <a:gd name="T35" fmla="*/ 2147483647 h 493"/>
                  <a:gd name="T36" fmla="*/ 2147483647 w 414"/>
                  <a:gd name="T37" fmla="*/ 2147483647 h 493"/>
                  <a:gd name="T38" fmla="*/ 2147483647 w 414"/>
                  <a:gd name="T39" fmla="*/ 2147483647 h 493"/>
                  <a:gd name="T40" fmla="*/ 2147483647 w 414"/>
                  <a:gd name="T41" fmla="*/ 2147483647 h 493"/>
                  <a:gd name="T42" fmla="*/ 2147483647 w 414"/>
                  <a:gd name="T43" fmla="*/ 2147483647 h 493"/>
                  <a:gd name="T44" fmla="*/ 2147483647 w 414"/>
                  <a:gd name="T45" fmla="*/ 2147483647 h 493"/>
                  <a:gd name="T46" fmla="*/ 2147483647 w 414"/>
                  <a:gd name="T47" fmla="*/ 2147483647 h 493"/>
                  <a:gd name="T48" fmla="*/ 2147483647 w 414"/>
                  <a:gd name="T49" fmla="*/ 2147483647 h 493"/>
                  <a:gd name="T50" fmla="*/ 2147483647 w 414"/>
                  <a:gd name="T51" fmla="*/ 2147483647 h 493"/>
                  <a:gd name="T52" fmla="*/ 2147483647 w 414"/>
                  <a:gd name="T53" fmla="*/ 2147483647 h 493"/>
                  <a:gd name="T54" fmla="*/ 2147483647 w 414"/>
                  <a:gd name="T55" fmla="*/ 2147483647 h 493"/>
                  <a:gd name="T56" fmla="*/ 2147483647 w 414"/>
                  <a:gd name="T57" fmla="*/ 2147483647 h 493"/>
                  <a:gd name="T58" fmla="*/ 2147483647 w 414"/>
                  <a:gd name="T59" fmla="*/ 2147483647 h 493"/>
                  <a:gd name="T60" fmla="*/ 2147483647 w 414"/>
                  <a:gd name="T61" fmla="*/ 2147483647 h 493"/>
                  <a:gd name="T62" fmla="*/ 2147483647 w 414"/>
                  <a:gd name="T63" fmla="*/ 2147483647 h 493"/>
                  <a:gd name="T64" fmla="*/ 2147483647 w 414"/>
                  <a:gd name="T65" fmla="*/ 2147483647 h 493"/>
                  <a:gd name="T66" fmla="*/ 2147483647 w 414"/>
                  <a:gd name="T67" fmla="*/ 2147483647 h 493"/>
                  <a:gd name="T68" fmla="*/ 2147483647 w 414"/>
                  <a:gd name="T69" fmla="*/ 2147483647 h 493"/>
                  <a:gd name="T70" fmla="*/ 2147483647 w 414"/>
                  <a:gd name="T71" fmla="*/ 2147483647 h 493"/>
                  <a:gd name="T72" fmla="*/ 2147483647 w 414"/>
                  <a:gd name="T73" fmla="*/ 2147483647 h 493"/>
                  <a:gd name="T74" fmla="*/ 2147483647 w 414"/>
                  <a:gd name="T75" fmla="*/ 2147483647 h 493"/>
                  <a:gd name="T76" fmla="*/ 2147483647 w 414"/>
                  <a:gd name="T77" fmla="*/ 2147483647 h 493"/>
                  <a:gd name="T78" fmla="*/ 2147483647 w 414"/>
                  <a:gd name="T79" fmla="*/ 0 h 493"/>
                  <a:gd name="T80" fmla="*/ 2147483647 w 414"/>
                  <a:gd name="T81" fmla="*/ 2147483647 h 493"/>
                  <a:gd name="T82" fmla="*/ 2147483647 w 414"/>
                  <a:gd name="T83" fmla="*/ 2147483647 h 493"/>
                  <a:gd name="T84" fmla="*/ 2147483647 w 414"/>
                  <a:gd name="T85" fmla="*/ 2147483647 h 493"/>
                  <a:gd name="T86" fmla="*/ 2147483647 w 414"/>
                  <a:gd name="T87" fmla="*/ 2147483647 h 493"/>
                  <a:gd name="T88" fmla="*/ 2147483647 w 414"/>
                  <a:gd name="T89" fmla="*/ 2147483647 h 493"/>
                  <a:gd name="T90" fmla="*/ 2147483647 w 414"/>
                  <a:gd name="T91" fmla="*/ 2147483647 h 493"/>
                  <a:gd name="T92" fmla="*/ 2147483647 w 414"/>
                  <a:gd name="T93" fmla="*/ 2147483647 h 493"/>
                  <a:gd name="T94" fmla="*/ 2147483647 w 414"/>
                  <a:gd name="T95" fmla="*/ 2147483647 h 493"/>
                  <a:gd name="T96" fmla="*/ 2147483647 w 414"/>
                  <a:gd name="T97" fmla="*/ 2147483647 h 493"/>
                  <a:gd name="T98" fmla="*/ 2147483647 w 414"/>
                  <a:gd name="T99" fmla="*/ 2147483647 h 493"/>
                  <a:gd name="T100" fmla="*/ 2147483647 w 414"/>
                  <a:gd name="T101" fmla="*/ 2147483647 h 493"/>
                  <a:gd name="T102" fmla="*/ 2147483647 w 414"/>
                  <a:gd name="T103" fmla="*/ 2147483647 h 493"/>
                  <a:gd name="T104" fmla="*/ 2147483647 w 414"/>
                  <a:gd name="T105" fmla="*/ 2147483647 h 493"/>
                  <a:gd name="T106" fmla="*/ 2147483647 w 414"/>
                  <a:gd name="T107" fmla="*/ 2147483647 h 493"/>
                  <a:gd name="T108" fmla="*/ 2147483647 w 414"/>
                  <a:gd name="T109" fmla="*/ 2147483647 h 493"/>
                  <a:gd name="T110" fmla="*/ 2147483647 w 414"/>
                  <a:gd name="T111" fmla="*/ 2147483647 h 493"/>
                  <a:gd name="T112" fmla="*/ 2147483647 w 414"/>
                  <a:gd name="T113" fmla="*/ 2147483647 h 493"/>
                  <a:gd name="T114" fmla="*/ 2147483647 w 414"/>
                  <a:gd name="T115" fmla="*/ 2147483647 h 493"/>
                  <a:gd name="T116" fmla="*/ 2147483647 w 414"/>
                  <a:gd name="T117" fmla="*/ 2147483647 h 493"/>
                  <a:gd name="T118" fmla="*/ 2147483647 w 414"/>
                  <a:gd name="T119" fmla="*/ 2147483647 h 493"/>
                  <a:gd name="T120" fmla="*/ 2147483647 w 414"/>
                  <a:gd name="T121" fmla="*/ 2147483647 h 493"/>
                  <a:gd name="T122" fmla="*/ 2147483647 w 414"/>
                  <a:gd name="T123" fmla="*/ 2147483647 h 49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414"/>
                  <a:gd name="T187" fmla="*/ 0 h 493"/>
                  <a:gd name="T188" fmla="*/ 414 w 414"/>
                  <a:gd name="T189" fmla="*/ 493 h 493"/>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414" h="493">
                    <a:moveTo>
                      <a:pt x="274" y="493"/>
                    </a:moveTo>
                    <a:lnTo>
                      <a:pt x="272" y="491"/>
                    </a:lnTo>
                    <a:lnTo>
                      <a:pt x="270" y="487"/>
                    </a:lnTo>
                    <a:lnTo>
                      <a:pt x="266" y="485"/>
                    </a:lnTo>
                    <a:lnTo>
                      <a:pt x="264" y="483"/>
                    </a:lnTo>
                    <a:lnTo>
                      <a:pt x="262" y="479"/>
                    </a:lnTo>
                    <a:lnTo>
                      <a:pt x="261" y="478"/>
                    </a:lnTo>
                    <a:lnTo>
                      <a:pt x="247" y="476"/>
                    </a:lnTo>
                    <a:lnTo>
                      <a:pt x="236" y="474"/>
                    </a:lnTo>
                    <a:lnTo>
                      <a:pt x="234" y="470"/>
                    </a:lnTo>
                    <a:lnTo>
                      <a:pt x="232" y="468"/>
                    </a:lnTo>
                    <a:lnTo>
                      <a:pt x="226" y="468"/>
                    </a:lnTo>
                    <a:lnTo>
                      <a:pt x="222" y="468"/>
                    </a:lnTo>
                    <a:lnTo>
                      <a:pt x="218" y="470"/>
                    </a:lnTo>
                    <a:lnTo>
                      <a:pt x="216" y="474"/>
                    </a:lnTo>
                    <a:lnTo>
                      <a:pt x="201" y="474"/>
                    </a:lnTo>
                    <a:lnTo>
                      <a:pt x="188" y="474"/>
                    </a:lnTo>
                    <a:lnTo>
                      <a:pt x="184" y="470"/>
                    </a:lnTo>
                    <a:lnTo>
                      <a:pt x="182" y="468"/>
                    </a:lnTo>
                    <a:lnTo>
                      <a:pt x="180" y="466"/>
                    </a:lnTo>
                    <a:lnTo>
                      <a:pt x="178" y="464"/>
                    </a:lnTo>
                    <a:lnTo>
                      <a:pt x="174" y="460"/>
                    </a:lnTo>
                    <a:lnTo>
                      <a:pt x="172" y="458"/>
                    </a:lnTo>
                    <a:lnTo>
                      <a:pt x="145" y="456"/>
                    </a:lnTo>
                    <a:lnTo>
                      <a:pt x="121" y="454"/>
                    </a:lnTo>
                    <a:lnTo>
                      <a:pt x="117" y="451"/>
                    </a:lnTo>
                    <a:lnTo>
                      <a:pt x="115" y="449"/>
                    </a:lnTo>
                    <a:lnTo>
                      <a:pt x="113" y="447"/>
                    </a:lnTo>
                    <a:lnTo>
                      <a:pt x="111" y="445"/>
                    </a:lnTo>
                    <a:lnTo>
                      <a:pt x="107" y="441"/>
                    </a:lnTo>
                    <a:lnTo>
                      <a:pt x="105" y="439"/>
                    </a:lnTo>
                    <a:lnTo>
                      <a:pt x="103" y="437"/>
                    </a:lnTo>
                    <a:lnTo>
                      <a:pt x="99" y="435"/>
                    </a:lnTo>
                    <a:lnTo>
                      <a:pt x="97" y="431"/>
                    </a:lnTo>
                    <a:lnTo>
                      <a:pt x="96" y="430"/>
                    </a:lnTo>
                    <a:lnTo>
                      <a:pt x="74" y="428"/>
                    </a:lnTo>
                    <a:lnTo>
                      <a:pt x="51" y="426"/>
                    </a:lnTo>
                    <a:lnTo>
                      <a:pt x="50" y="422"/>
                    </a:lnTo>
                    <a:lnTo>
                      <a:pt x="48" y="420"/>
                    </a:lnTo>
                    <a:lnTo>
                      <a:pt x="40" y="418"/>
                    </a:lnTo>
                    <a:lnTo>
                      <a:pt x="32" y="416"/>
                    </a:lnTo>
                    <a:lnTo>
                      <a:pt x="30" y="412"/>
                    </a:lnTo>
                    <a:lnTo>
                      <a:pt x="28" y="410"/>
                    </a:lnTo>
                    <a:lnTo>
                      <a:pt x="25" y="408"/>
                    </a:lnTo>
                    <a:lnTo>
                      <a:pt x="23" y="405"/>
                    </a:lnTo>
                    <a:lnTo>
                      <a:pt x="21" y="403"/>
                    </a:lnTo>
                    <a:lnTo>
                      <a:pt x="19" y="401"/>
                    </a:lnTo>
                    <a:lnTo>
                      <a:pt x="15" y="399"/>
                    </a:lnTo>
                    <a:lnTo>
                      <a:pt x="13" y="395"/>
                    </a:lnTo>
                    <a:lnTo>
                      <a:pt x="11" y="393"/>
                    </a:lnTo>
                    <a:lnTo>
                      <a:pt x="7" y="391"/>
                    </a:lnTo>
                    <a:lnTo>
                      <a:pt x="5" y="389"/>
                    </a:lnTo>
                    <a:lnTo>
                      <a:pt x="3" y="385"/>
                    </a:lnTo>
                    <a:lnTo>
                      <a:pt x="2" y="383"/>
                    </a:lnTo>
                    <a:lnTo>
                      <a:pt x="0" y="382"/>
                    </a:lnTo>
                    <a:lnTo>
                      <a:pt x="2" y="380"/>
                    </a:lnTo>
                    <a:lnTo>
                      <a:pt x="3" y="376"/>
                    </a:lnTo>
                    <a:lnTo>
                      <a:pt x="5" y="368"/>
                    </a:lnTo>
                    <a:lnTo>
                      <a:pt x="7" y="362"/>
                    </a:lnTo>
                    <a:lnTo>
                      <a:pt x="11" y="359"/>
                    </a:lnTo>
                    <a:lnTo>
                      <a:pt x="13" y="357"/>
                    </a:lnTo>
                    <a:lnTo>
                      <a:pt x="15" y="355"/>
                    </a:lnTo>
                    <a:lnTo>
                      <a:pt x="19" y="353"/>
                    </a:lnTo>
                    <a:lnTo>
                      <a:pt x="21" y="351"/>
                    </a:lnTo>
                    <a:lnTo>
                      <a:pt x="23" y="347"/>
                    </a:lnTo>
                    <a:lnTo>
                      <a:pt x="25" y="345"/>
                    </a:lnTo>
                    <a:lnTo>
                      <a:pt x="28" y="343"/>
                    </a:lnTo>
                    <a:lnTo>
                      <a:pt x="30" y="339"/>
                    </a:lnTo>
                    <a:lnTo>
                      <a:pt x="32" y="337"/>
                    </a:lnTo>
                    <a:lnTo>
                      <a:pt x="40" y="336"/>
                    </a:lnTo>
                    <a:lnTo>
                      <a:pt x="48" y="334"/>
                    </a:lnTo>
                    <a:lnTo>
                      <a:pt x="50" y="330"/>
                    </a:lnTo>
                    <a:lnTo>
                      <a:pt x="51" y="328"/>
                    </a:lnTo>
                    <a:lnTo>
                      <a:pt x="59" y="320"/>
                    </a:lnTo>
                    <a:lnTo>
                      <a:pt x="67" y="312"/>
                    </a:lnTo>
                    <a:lnTo>
                      <a:pt x="69" y="311"/>
                    </a:lnTo>
                    <a:lnTo>
                      <a:pt x="71" y="309"/>
                    </a:lnTo>
                    <a:lnTo>
                      <a:pt x="74" y="307"/>
                    </a:lnTo>
                    <a:lnTo>
                      <a:pt x="76" y="305"/>
                    </a:lnTo>
                    <a:lnTo>
                      <a:pt x="78" y="301"/>
                    </a:lnTo>
                    <a:lnTo>
                      <a:pt x="80" y="299"/>
                    </a:lnTo>
                    <a:lnTo>
                      <a:pt x="84" y="301"/>
                    </a:lnTo>
                    <a:lnTo>
                      <a:pt x="86" y="305"/>
                    </a:lnTo>
                    <a:lnTo>
                      <a:pt x="96" y="305"/>
                    </a:lnTo>
                    <a:lnTo>
                      <a:pt x="105" y="305"/>
                    </a:lnTo>
                    <a:lnTo>
                      <a:pt x="107" y="301"/>
                    </a:lnTo>
                    <a:lnTo>
                      <a:pt x="111" y="299"/>
                    </a:lnTo>
                    <a:lnTo>
                      <a:pt x="113" y="291"/>
                    </a:lnTo>
                    <a:lnTo>
                      <a:pt x="115" y="284"/>
                    </a:lnTo>
                    <a:lnTo>
                      <a:pt x="117" y="282"/>
                    </a:lnTo>
                    <a:lnTo>
                      <a:pt x="121" y="280"/>
                    </a:lnTo>
                    <a:lnTo>
                      <a:pt x="132" y="278"/>
                    </a:lnTo>
                    <a:lnTo>
                      <a:pt x="144" y="274"/>
                    </a:lnTo>
                    <a:lnTo>
                      <a:pt x="145" y="272"/>
                    </a:lnTo>
                    <a:lnTo>
                      <a:pt x="149" y="270"/>
                    </a:lnTo>
                    <a:lnTo>
                      <a:pt x="151" y="268"/>
                    </a:lnTo>
                    <a:lnTo>
                      <a:pt x="153" y="265"/>
                    </a:lnTo>
                    <a:lnTo>
                      <a:pt x="155" y="263"/>
                    </a:lnTo>
                    <a:lnTo>
                      <a:pt x="159" y="261"/>
                    </a:lnTo>
                    <a:lnTo>
                      <a:pt x="159" y="245"/>
                    </a:lnTo>
                    <a:lnTo>
                      <a:pt x="159" y="232"/>
                    </a:lnTo>
                    <a:lnTo>
                      <a:pt x="155" y="228"/>
                    </a:lnTo>
                    <a:lnTo>
                      <a:pt x="153" y="226"/>
                    </a:lnTo>
                    <a:lnTo>
                      <a:pt x="155" y="224"/>
                    </a:lnTo>
                    <a:lnTo>
                      <a:pt x="159" y="222"/>
                    </a:lnTo>
                    <a:lnTo>
                      <a:pt x="161" y="215"/>
                    </a:lnTo>
                    <a:lnTo>
                      <a:pt x="163" y="207"/>
                    </a:lnTo>
                    <a:lnTo>
                      <a:pt x="167" y="205"/>
                    </a:lnTo>
                    <a:lnTo>
                      <a:pt x="168" y="203"/>
                    </a:lnTo>
                    <a:lnTo>
                      <a:pt x="168" y="194"/>
                    </a:lnTo>
                    <a:lnTo>
                      <a:pt x="168" y="184"/>
                    </a:lnTo>
                    <a:lnTo>
                      <a:pt x="167" y="180"/>
                    </a:lnTo>
                    <a:lnTo>
                      <a:pt x="163" y="178"/>
                    </a:lnTo>
                    <a:lnTo>
                      <a:pt x="163" y="169"/>
                    </a:lnTo>
                    <a:lnTo>
                      <a:pt x="163" y="159"/>
                    </a:lnTo>
                    <a:lnTo>
                      <a:pt x="167" y="157"/>
                    </a:lnTo>
                    <a:lnTo>
                      <a:pt x="168" y="153"/>
                    </a:lnTo>
                    <a:lnTo>
                      <a:pt x="176" y="151"/>
                    </a:lnTo>
                    <a:lnTo>
                      <a:pt x="182" y="149"/>
                    </a:lnTo>
                    <a:lnTo>
                      <a:pt x="184" y="147"/>
                    </a:lnTo>
                    <a:lnTo>
                      <a:pt x="188" y="146"/>
                    </a:lnTo>
                    <a:lnTo>
                      <a:pt x="190" y="142"/>
                    </a:lnTo>
                    <a:lnTo>
                      <a:pt x="191" y="140"/>
                    </a:lnTo>
                    <a:lnTo>
                      <a:pt x="195" y="136"/>
                    </a:lnTo>
                    <a:lnTo>
                      <a:pt x="197" y="134"/>
                    </a:lnTo>
                    <a:lnTo>
                      <a:pt x="199" y="132"/>
                    </a:lnTo>
                    <a:lnTo>
                      <a:pt x="201" y="130"/>
                    </a:lnTo>
                    <a:lnTo>
                      <a:pt x="205" y="126"/>
                    </a:lnTo>
                    <a:lnTo>
                      <a:pt x="207" y="124"/>
                    </a:lnTo>
                    <a:lnTo>
                      <a:pt x="209" y="123"/>
                    </a:lnTo>
                    <a:lnTo>
                      <a:pt x="211" y="121"/>
                    </a:lnTo>
                    <a:lnTo>
                      <a:pt x="213" y="119"/>
                    </a:lnTo>
                    <a:lnTo>
                      <a:pt x="216" y="115"/>
                    </a:lnTo>
                    <a:lnTo>
                      <a:pt x="218" y="113"/>
                    </a:lnTo>
                    <a:lnTo>
                      <a:pt x="222" y="111"/>
                    </a:lnTo>
                    <a:lnTo>
                      <a:pt x="224" y="107"/>
                    </a:lnTo>
                    <a:lnTo>
                      <a:pt x="226" y="105"/>
                    </a:lnTo>
                    <a:lnTo>
                      <a:pt x="228" y="103"/>
                    </a:lnTo>
                    <a:lnTo>
                      <a:pt x="232" y="101"/>
                    </a:lnTo>
                    <a:lnTo>
                      <a:pt x="234" y="98"/>
                    </a:lnTo>
                    <a:lnTo>
                      <a:pt x="236" y="96"/>
                    </a:lnTo>
                    <a:lnTo>
                      <a:pt x="238" y="88"/>
                    </a:lnTo>
                    <a:lnTo>
                      <a:pt x="239" y="80"/>
                    </a:lnTo>
                    <a:lnTo>
                      <a:pt x="243" y="78"/>
                    </a:lnTo>
                    <a:lnTo>
                      <a:pt x="245" y="76"/>
                    </a:lnTo>
                    <a:lnTo>
                      <a:pt x="247" y="69"/>
                    </a:lnTo>
                    <a:lnTo>
                      <a:pt x="251" y="63"/>
                    </a:lnTo>
                    <a:lnTo>
                      <a:pt x="253" y="59"/>
                    </a:lnTo>
                    <a:lnTo>
                      <a:pt x="255" y="57"/>
                    </a:lnTo>
                    <a:lnTo>
                      <a:pt x="257" y="50"/>
                    </a:lnTo>
                    <a:lnTo>
                      <a:pt x="261" y="42"/>
                    </a:lnTo>
                    <a:lnTo>
                      <a:pt x="262" y="40"/>
                    </a:lnTo>
                    <a:lnTo>
                      <a:pt x="264" y="38"/>
                    </a:lnTo>
                    <a:lnTo>
                      <a:pt x="270" y="25"/>
                    </a:lnTo>
                    <a:lnTo>
                      <a:pt x="272" y="15"/>
                    </a:lnTo>
                    <a:lnTo>
                      <a:pt x="272" y="9"/>
                    </a:lnTo>
                    <a:lnTo>
                      <a:pt x="270" y="4"/>
                    </a:lnTo>
                    <a:lnTo>
                      <a:pt x="272" y="2"/>
                    </a:lnTo>
                    <a:lnTo>
                      <a:pt x="274" y="0"/>
                    </a:lnTo>
                    <a:lnTo>
                      <a:pt x="284" y="0"/>
                    </a:lnTo>
                    <a:lnTo>
                      <a:pt x="293" y="0"/>
                    </a:lnTo>
                    <a:lnTo>
                      <a:pt x="295" y="2"/>
                    </a:lnTo>
                    <a:lnTo>
                      <a:pt x="299" y="4"/>
                    </a:lnTo>
                    <a:lnTo>
                      <a:pt x="301" y="11"/>
                    </a:lnTo>
                    <a:lnTo>
                      <a:pt x="303" y="19"/>
                    </a:lnTo>
                    <a:lnTo>
                      <a:pt x="307" y="21"/>
                    </a:lnTo>
                    <a:lnTo>
                      <a:pt x="309" y="23"/>
                    </a:lnTo>
                    <a:lnTo>
                      <a:pt x="310" y="27"/>
                    </a:lnTo>
                    <a:lnTo>
                      <a:pt x="312" y="29"/>
                    </a:lnTo>
                    <a:lnTo>
                      <a:pt x="316" y="30"/>
                    </a:lnTo>
                    <a:lnTo>
                      <a:pt x="318" y="32"/>
                    </a:lnTo>
                    <a:lnTo>
                      <a:pt x="320" y="36"/>
                    </a:lnTo>
                    <a:lnTo>
                      <a:pt x="322" y="38"/>
                    </a:lnTo>
                    <a:lnTo>
                      <a:pt x="326" y="40"/>
                    </a:lnTo>
                    <a:lnTo>
                      <a:pt x="328" y="42"/>
                    </a:lnTo>
                    <a:lnTo>
                      <a:pt x="330" y="46"/>
                    </a:lnTo>
                    <a:lnTo>
                      <a:pt x="332" y="48"/>
                    </a:lnTo>
                    <a:lnTo>
                      <a:pt x="335" y="50"/>
                    </a:lnTo>
                    <a:lnTo>
                      <a:pt x="337" y="52"/>
                    </a:lnTo>
                    <a:lnTo>
                      <a:pt x="339" y="55"/>
                    </a:lnTo>
                    <a:lnTo>
                      <a:pt x="343" y="57"/>
                    </a:lnTo>
                    <a:lnTo>
                      <a:pt x="345" y="59"/>
                    </a:lnTo>
                    <a:lnTo>
                      <a:pt x="347" y="63"/>
                    </a:lnTo>
                    <a:lnTo>
                      <a:pt x="349" y="65"/>
                    </a:lnTo>
                    <a:lnTo>
                      <a:pt x="353" y="67"/>
                    </a:lnTo>
                    <a:lnTo>
                      <a:pt x="355" y="69"/>
                    </a:lnTo>
                    <a:lnTo>
                      <a:pt x="357" y="73"/>
                    </a:lnTo>
                    <a:lnTo>
                      <a:pt x="358" y="84"/>
                    </a:lnTo>
                    <a:lnTo>
                      <a:pt x="360" y="96"/>
                    </a:lnTo>
                    <a:lnTo>
                      <a:pt x="364" y="98"/>
                    </a:lnTo>
                    <a:lnTo>
                      <a:pt x="366" y="101"/>
                    </a:lnTo>
                    <a:lnTo>
                      <a:pt x="366" y="111"/>
                    </a:lnTo>
                    <a:lnTo>
                      <a:pt x="366" y="121"/>
                    </a:lnTo>
                    <a:lnTo>
                      <a:pt x="364" y="123"/>
                    </a:lnTo>
                    <a:lnTo>
                      <a:pt x="360" y="124"/>
                    </a:lnTo>
                    <a:lnTo>
                      <a:pt x="360" y="149"/>
                    </a:lnTo>
                    <a:lnTo>
                      <a:pt x="360" y="174"/>
                    </a:lnTo>
                    <a:lnTo>
                      <a:pt x="364" y="176"/>
                    </a:lnTo>
                    <a:lnTo>
                      <a:pt x="366" y="178"/>
                    </a:lnTo>
                    <a:lnTo>
                      <a:pt x="366" y="203"/>
                    </a:lnTo>
                    <a:lnTo>
                      <a:pt x="366" y="228"/>
                    </a:lnTo>
                    <a:lnTo>
                      <a:pt x="366" y="255"/>
                    </a:lnTo>
                    <a:lnTo>
                      <a:pt x="366" y="280"/>
                    </a:lnTo>
                    <a:lnTo>
                      <a:pt x="374" y="280"/>
                    </a:lnTo>
                    <a:lnTo>
                      <a:pt x="381" y="280"/>
                    </a:lnTo>
                    <a:lnTo>
                      <a:pt x="383" y="282"/>
                    </a:lnTo>
                    <a:lnTo>
                      <a:pt x="385" y="284"/>
                    </a:lnTo>
                    <a:lnTo>
                      <a:pt x="393" y="291"/>
                    </a:lnTo>
                    <a:lnTo>
                      <a:pt x="401" y="299"/>
                    </a:lnTo>
                    <a:lnTo>
                      <a:pt x="403" y="301"/>
                    </a:lnTo>
                    <a:lnTo>
                      <a:pt x="404" y="305"/>
                    </a:lnTo>
                    <a:lnTo>
                      <a:pt x="406" y="316"/>
                    </a:lnTo>
                    <a:lnTo>
                      <a:pt x="410" y="328"/>
                    </a:lnTo>
                    <a:lnTo>
                      <a:pt x="412" y="330"/>
                    </a:lnTo>
                    <a:lnTo>
                      <a:pt x="414" y="334"/>
                    </a:lnTo>
                    <a:lnTo>
                      <a:pt x="414" y="357"/>
                    </a:lnTo>
                    <a:lnTo>
                      <a:pt x="414" y="382"/>
                    </a:lnTo>
                    <a:lnTo>
                      <a:pt x="412" y="383"/>
                    </a:lnTo>
                    <a:lnTo>
                      <a:pt x="410" y="385"/>
                    </a:lnTo>
                    <a:lnTo>
                      <a:pt x="406" y="399"/>
                    </a:lnTo>
                    <a:lnTo>
                      <a:pt x="404" y="410"/>
                    </a:lnTo>
                    <a:lnTo>
                      <a:pt x="403" y="412"/>
                    </a:lnTo>
                    <a:lnTo>
                      <a:pt x="401" y="416"/>
                    </a:lnTo>
                    <a:lnTo>
                      <a:pt x="378" y="418"/>
                    </a:lnTo>
                    <a:lnTo>
                      <a:pt x="357" y="420"/>
                    </a:lnTo>
                    <a:lnTo>
                      <a:pt x="355" y="422"/>
                    </a:lnTo>
                    <a:lnTo>
                      <a:pt x="353" y="426"/>
                    </a:lnTo>
                    <a:lnTo>
                      <a:pt x="349" y="428"/>
                    </a:lnTo>
                    <a:lnTo>
                      <a:pt x="347" y="430"/>
                    </a:lnTo>
                    <a:lnTo>
                      <a:pt x="345" y="431"/>
                    </a:lnTo>
                    <a:lnTo>
                      <a:pt x="343" y="435"/>
                    </a:lnTo>
                    <a:lnTo>
                      <a:pt x="339" y="437"/>
                    </a:lnTo>
                    <a:lnTo>
                      <a:pt x="337" y="439"/>
                    </a:lnTo>
                    <a:lnTo>
                      <a:pt x="335" y="441"/>
                    </a:lnTo>
                    <a:lnTo>
                      <a:pt x="332" y="445"/>
                    </a:lnTo>
                    <a:lnTo>
                      <a:pt x="332" y="449"/>
                    </a:lnTo>
                    <a:lnTo>
                      <a:pt x="332" y="454"/>
                    </a:lnTo>
                    <a:lnTo>
                      <a:pt x="335" y="456"/>
                    </a:lnTo>
                    <a:lnTo>
                      <a:pt x="337" y="458"/>
                    </a:lnTo>
                    <a:lnTo>
                      <a:pt x="337" y="468"/>
                    </a:lnTo>
                    <a:lnTo>
                      <a:pt x="337" y="478"/>
                    </a:lnTo>
                    <a:lnTo>
                      <a:pt x="335" y="479"/>
                    </a:lnTo>
                    <a:lnTo>
                      <a:pt x="332" y="483"/>
                    </a:lnTo>
                    <a:lnTo>
                      <a:pt x="314" y="485"/>
                    </a:lnTo>
                    <a:lnTo>
                      <a:pt x="299" y="487"/>
                    </a:lnTo>
                    <a:lnTo>
                      <a:pt x="295" y="491"/>
                    </a:lnTo>
                    <a:lnTo>
                      <a:pt x="293" y="493"/>
                    </a:lnTo>
                    <a:lnTo>
                      <a:pt x="284" y="493"/>
                    </a:lnTo>
                    <a:lnTo>
                      <a:pt x="274" y="493"/>
                    </a:lnTo>
                  </a:path>
                </a:pathLst>
              </a:custGeom>
              <a:grpFill/>
              <a:ln w="3175">
                <a:solidFill>
                  <a:srgbClr val="FF8300"/>
                </a:solidFill>
                <a:round/>
                <a:headEnd/>
                <a:tailEnd/>
              </a:ln>
            </p:spPr>
            <p:txBody>
              <a:bodyPr/>
              <a:lstStyle/>
              <a:p>
                <a:pPr>
                  <a:defRPr/>
                </a:pPr>
                <a:endParaRPr lang="en-GB" sz="1400">
                  <a:solidFill>
                    <a:schemeClr val="tx2"/>
                  </a:solidFill>
                </a:endParaRPr>
              </a:p>
            </p:txBody>
          </p:sp>
          <p:sp>
            <p:nvSpPr>
              <p:cNvPr id="375" name="Freeform 302"/>
              <p:cNvSpPr>
                <a:spLocks/>
              </p:cNvSpPr>
              <p:nvPr>
                <p:custDataLst>
                  <p:tags r:id="rId26"/>
                </p:custDataLst>
              </p:nvPr>
            </p:nvSpPr>
            <p:spPr bwMode="gray">
              <a:xfrm>
                <a:off x="2481043" y="4551787"/>
                <a:ext cx="516991" cy="529533"/>
              </a:xfrm>
              <a:custGeom>
                <a:avLst/>
                <a:gdLst>
                  <a:gd name="T0" fmla="*/ 2147483647 w 378"/>
                  <a:gd name="T1" fmla="*/ 2147483647 h 404"/>
                  <a:gd name="T2" fmla="*/ 2147483647 w 378"/>
                  <a:gd name="T3" fmla="*/ 2147483647 h 404"/>
                  <a:gd name="T4" fmla="*/ 2147483647 w 378"/>
                  <a:gd name="T5" fmla="*/ 2147483647 h 404"/>
                  <a:gd name="T6" fmla="*/ 2147483647 w 378"/>
                  <a:gd name="T7" fmla="*/ 2147483647 h 404"/>
                  <a:gd name="T8" fmla="*/ 2147483647 w 378"/>
                  <a:gd name="T9" fmla="*/ 2147483647 h 404"/>
                  <a:gd name="T10" fmla="*/ 2147483647 w 378"/>
                  <a:gd name="T11" fmla="*/ 2147483647 h 404"/>
                  <a:gd name="T12" fmla="*/ 2147483647 w 378"/>
                  <a:gd name="T13" fmla="*/ 2147483647 h 404"/>
                  <a:gd name="T14" fmla="*/ 2147483647 w 378"/>
                  <a:gd name="T15" fmla="*/ 2147483647 h 404"/>
                  <a:gd name="T16" fmla="*/ 2147483647 w 378"/>
                  <a:gd name="T17" fmla="*/ 2147483647 h 404"/>
                  <a:gd name="T18" fmla="*/ 2147483647 w 378"/>
                  <a:gd name="T19" fmla="*/ 2147483647 h 404"/>
                  <a:gd name="T20" fmla="*/ 2147483647 w 378"/>
                  <a:gd name="T21" fmla="*/ 2147483647 h 404"/>
                  <a:gd name="T22" fmla="*/ 2147483647 w 378"/>
                  <a:gd name="T23" fmla="*/ 2147483647 h 404"/>
                  <a:gd name="T24" fmla="*/ 2147483647 w 378"/>
                  <a:gd name="T25" fmla="*/ 2147483647 h 404"/>
                  <a:gd name="T26" fmla="*/ 2147483647 w 378"/>
                  <a:gd name="T27" fmla="*/ 2147483647 h 404"/>
                  <a:gd name="T28" fmla="*/ 2147483647 w 378"/>
                  <a:gd name="T29" fmla="*/ 2147483647 h 404"/>
                  <a:gd name="T30" fmla="*/ 2147483647 w 378"/>
                  <a:gd name="T31" fmla="*/ 2147483647 h 404"/>
                  <a:gd name="T32" fmla="*/ 2147483647 w 378"/>
                  <a:gd name="T33" fmla="*/ 2147483647 h 404"/>
                  <a:gd name="T34" fmla="*/ 2147483647 w 378"/>
                  <a:gd name="T35" fmla="*/ 2147483647 h 404"/>
                  <a:gd name="T36" fmla="*/ 2147483647 w 378"/>
                  <a:gd name="T37" fmla="*/ 2147483647 h 404"/>
                  <a:gd name="T38" fmla="*/ 2147483647 w 378"/>
                  <a:gd name="T39" fmla="*/ 2147483647 h 404"/>
                  <a:gd name="T40" fmla="*/ 2147483647 w 378"/>
                  <a:gd name="T41" fmla="*/ 2147483647 h 404"/>
                  <a:gd name="T42" fmla="*/ 2147483647 w 378"/>
                  <a:gd name="T43" fmla="*/ 2147483647 h 404"/>
                  <a:gd name="T44" fmla="*/ 2147483647 w 378"/>
                  <a:gd name="T45" fmla="*/ 2147483647 h 404"/>
                  <a:gd name="T46" fmla="*/ 2147483647 w 378"/>
                  <a:gd name="T47" fmla="*/ 2147483647 h 404"/>
                  <a:gd name="T48" fmla="*/ 2147483647 w 378"/>
                  <a:gd name="T49" fmla="*/ 2147483647 h 404"/>
                  <a:gd name="T50" fmla="*/ 2147483647 w 378"/>
                  <a:gd name="T51" fmla="*/ 2147483647 h 404"/>
                  <a:gd name="T52" fmla="*/ 2147483647 w 378"/>
                  <a:gd name="T53" fmla="*/ 2147483647 h 404"/>
                  <a:gd name="T54" fmla="*/ 2147483647 w 378"/>
                  <a:gd name="T55" fmla="*/ 2147483647 h 404"/>
                  <a:gd name="T56" fmla="*/ 2147483647 w 378"/>
                  <a:gd name="T57" fmla="*/ 2147483647 h 404"/>
                  <a:gd name="T58" fmla="*/ 2147483647 w 378"/>
                  <a:gd name="T59" fmla="*/ 2147483647 h 404"/>
                  <a:gd name="T60" fmla="*/ 2147483647 w 378"/>
                  <a:gd name="T61" fmla="*/ 2147483647 h 404"/>
                  <a:gd name="T62" fmla="*/ 2147483647 w 378"/>
                  <a:gd name="T63" fmla="*/ 2147483647 h 404"/>
                  <a:gd name="T64" fmla="*/ 2147483647 w 378"/>
                  <a:gd name="T65" fmla="*/ 2147483647 h 404"/>
                  <a:gd name="T66" fmla="*/ 2147483647 w 378"/>
                  <a:gd name="T67" fmla="*/ 2147483647 h 404"/>
                  <a:gd name="T68" fmla="*/ 2147483647 w 378"/>
                  <a:gd name="T69" fmla="*/ 2147483647 h 404"/>
                  <a:gd name="T70" fmla="*/ 2147483647 w 378"/>
                  <a:gd name="T71" fmla="*/ 2147483647 h 404"/>
                  <a:gd name="T72" fmla="*/ 2147483647 w 378"/>
                  <a:gd name="T73" fmla="*/ 2147483647 h 404"/>
                  <a:gd name="T74" fmla="*/ 2147483647 w 378"/>
                  <a:gd name="T75" fmla="*/ 2147483647 h 404"/>
                  <a:gd name="T76" fmla="*/ 2147483647 w 378"/>
                  <a:gd name="T77" fmla="*/ 2147483647 h 404"/>
                  <a:gd name="T78" fmla="*/ 2147483647 w 378"/>
                  <a:gd name="T79" fmla="*/ 2147483647 h 404"/>
                  <a:gd name="T80" fmla="*/ 2147483647 w 378"/>
                  <a:gd name="T81" fmla="*/ 2147483647 h 404"/>
                  <a:gd name="T82" fmla="*/ 2147483647 w 378"/>
                  <a:gd name="T83" fmla="*/ 2147483647 h 404"/>
                  <a:gd name="T84" fmla="*/ 2147483647 w 378"/>
                  <a:gd name="T85" fmla="*/ 2147483647 h 404"/>
                  <a:gd name="T86" fmla="*/ 2147483647 w 378"/>
                  <a:gd name="T87" fmla="*/ 2147483647 h 404"/>
                  <a:gd name="T88" fmla="*/ 2147483647 w 378"/>
                  <a:gd name="T89" fmla="*/ 2147483647 h 404"/>
                  <a:gd name="T90" fmla="*/ 2147483647 w 378"/>
                  <a:gd name="T91" fmla="*/ 2147483647 h 404"/>
                  <a:gd name="T92" fmla="*/ 2147483647 w 378"/>
                  <a:gd name="T93" fmla="*/ 2147483647 h 404"/>
                  <a:gd name="T94" fmla="*/ 2147483647 w 378"/>
                  <a:gd name="T95" fmla="*/ 2147483647 h 404"/>
                  <a:gd name="T96" fmla="*/ 2147483647 w 378"/>
                  <a:gd name="T97" fmla="*/ 2147483647 h 404"/>
                  <a:gd name="T98" fmla="*/ 2147483647 w 378"/>
                  <a:gd name="T99" fmla="*/ 2147483647 h 404"/>
                  <a:gd name="T100" fmla="*/ 2147483647 w 378"/>
                  <a:gd name="T101" fmla="*/ 2147483647 h 404"/>
                  <a:gd name="T102" fmla="*/ 2147483647 w 378"/>
                  <a:gd name="T103" fmla="*/ 2147483647 h 404"/>
                  <a:gd name="T104" fmla="*/ 2147483647 w 378"/>
                  <a:gd name="T105" fmla="*/ 2147483647 h 404"/>
                  <a:gd name="T106" fmla="*/ 2147483647 w 378"/>
                  <a:gd name="T107" fmla="*/ 2147483647 h 404"/>
                  <a:gd name="T108" fmla="*/ 2147483647 w 378"/>
                  <a:gd name="T109" fmla="*/ 2147483647 h 404"/>
                  <a:gd name="T110" fmla="*/ 2147483647 w 378"/>
                  <a:gd name="T111" fmla="*/ 2147483647 h 404"/>
                  <a:gd name="T112" fmla="*/ 2147483647 w 378"/>
                  <a:gd name="T113" fmla="*/ 2147483647 h 404"/>
                  <a:gd name="T114" fmla="*/ 2147483647 w 378"/>
                  <a:gd name="T115" fmla="*/ 2147483647 h 404"/>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78"/>
                  <a:gd name="T175" fmla="*/ 0 h 404"/>
                  <a:gd name="T176" fmla="*/ 378 w 378"/>
                  <a:gd name="T177" fmla="*/ 404 h 404"/>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78" h="404">
                    <a:moveTo>
                      <a:pt x="101" y="404"/>
                    </a:moveTo>
                    <a:lnTo>
                      <a:pt x="99" y="402"/>
                    </a:lnTo>
                    <a:lnTo>
                      <a:pt x="96" y="401"/>
                    </a:lnTo>
                    <a:lnTo>
                      <a:pt x="94" y="393"/>
                    </a:lnTo>
                    <a:lnTo>
                      <a:pt x="92" y="385"/>
                    </a:lnTo>
                    <a:lnTo>
                      <a:pt x="90" y="383"/>
                    </a:lnTo>
                    <a:lnTo>
                      <a:pt x="86" y="381"/>
                    </a:lnTo>
                    <a:lnTo>
                      <a:pt x="86" y="374"/>
                    </a:lnTo>
                    <a:lnTo>
                      <a:pt x="86" y="366"/>
                    </a:lnTo>
                    <a:lnTo>
                      <a:pt x="78" y="366"/>
                    </a:lnTo>
                    <a:lnTo>
                      <a:pt x="73" y="366"/>
                    </a:lnTo>
                    <a:lnTo>
                      <a:pt x="69" y="364"/>
                    </a:lnTo>
                    <a:lnTo>
                      <a:pt x="67" y="362"/>
                    </a:lnTo>
                    <a:lnTo>
                      <a:pt x="61" y="358"/>
                    </a:lnTo>
                    <a:lnTo>
                      <a:pt x="53" y="356"/>
                    </a:lnTo>
                    <a:lnTo>
                      <a:pt x="51" y="355"/>
                    </a:lnTo>
                    <a:lnTo>
                      <a:pt x="48" y="353"/>
                    </a:lnTo>
                    <a:lnTo>
                      <a:pt x="40" y="349"/>
                    </a:lnTo>
                    <a:lnTo>
                      <a:pt x="34" y="347"/>
                    </a:lnTo>
                    <a:lnTo>
                      <a:pt x="30" y="345"/>
                    </a:lnTo>
                    <a:lnTo>
                      <a:pt x="28" y="343"/>
                    </a:lnTo>
                    <a:lnTo>
                      <a:pt x="26" y="335"/>
                    </a:lnTo>
                    <a:lnTo>
                      <a:pt x="25" y="328"/>
                    </a:lnTo>
                    <a:lnTo>
                      <a:pt x="21" y="326"/>
                    </a:lnTo>
                    <a:lnTo>
                      <a:pt x="19" y="324"/>
                    </a:lnTo>
                    <a:lnTo>
                      <a:pt x="11" y="316"/>
                    </a:lnTo>
                    <a:lnTo>
                      <a:pt x="5" y="308"/>
                    </a:lnTo>
                    <a:lnTo>
                      <a:pt x="2" y="307"/>
                    </a:lnTo>
                    <a:lnTo>
                      <a:pt x="0" y="303"/>
                    </a:lnTo>
                    <a:lnTo>
                      <a:pt x="2" y="301"/>
                    </a:lnTo>
                    <a:lnTo>
                      <a:pt x="5" y="299"/>
                    </a:lnTo>
                    <a:lnTo>
                      <a:pt x="7" y="297"/>
                    </a:lnTo>
                    <a:lnTo>
                      <a:pt x="9" y="293"/>
                    </a:lnTo>
                    <a:lnTo>
                      <a:pt x="11" y="291"/>
                    </a:lnTo>
                    <a:lnTo>
                      <a:pt x="13" y="289"/>
                    </a:lnTo>
                    <a:lnTo>
                      <a:pt x="17" y="287"/>
                    </a:lnTo>
                    <a:lnTo>
                      <a:pt x="19" y="284"/>
                    </a:lnTo>
                    <a:lnTo>
                      <a:pt x="21" y="282"/>
                    </a:lnTo>
                    <a:lnTo>
                      <a:pt x="25" y="280"/>
                    </a:lnTo>
                    <a:lnTo>
                      <a:pt x="26" y="278"/>
                    </a:lnTo>
                    <a:lnTo>
                      <a:pt x="28" y="274"/>
                    </a:lnTo>
                    <a:lnTo>
                      <a:pt x="30" y="272"/>
                    </a:lnTo>
                    <a:lnTo>
                      <a:pt x="34" y="270"/>
                    </a:lnTo>
                    <a:lnTo>
                      <a:pt x="36" y="253"/>
                    </a:lnTo>
                    <a:lnTo>
                      <a:pt x="38" y="236"/>
                    </a:lnTo>
                    <a:lnTo>
                      <a:pt x="40" y="234"/>
                    </a:lnTo>
                    <a:lnTo>
                      <a:pt x="44" y="232"/>
                    </a:lnTo>
                    <a:lnTo>
                      <a:pt x="46" y="218"/>
                    </a:lnTo>
                    <a:lnTo>
                      <a:pt x="48" y="207"/>
                    </a:lnTo>
                    <a:lnTo>
                      <a:pt x="51" y="205"/>
                    </a:lnTo>
                    <a:lnTo>
                      <a:pt x="53" y="203"/>
                    </a:lnTo>
                    <a:lnTo>
                      <a:pt x="55" y="180"/>
                    </a:lnTo>
                    <a:lnTo>
                      <a:pt x="57" y="159"/>
                    </a:lnTo>
                    <a:lnTo>
                      <a:pt x="59" y="155"/>
                    </a:lnTo>
                    <a:lnTo>
                      <a:pt x="63" y="153"/>
                    </a:lnTo>
                    <a:lnTo>
                      <a:pt x="65" y="151"/>
                    </a:lnTo>
                    <a:lnTo>
                      <a:pt x="67" y="149"/>
                    </a:lnTo>
                    <a:lnTo>
                      <a:pt x="69" y="145"/>
                    </a:lnTo>
                    <a:lnTo>
                      <a:pt x="73" y="143"/>
                    </a:lnTo>
                    <a:lnTo>
                      <a:pt x="74" y="145"/>
                    </a:lnTo>
                    <a:lnTo>
                      <a:pt x="78" y="149"/>
                    </a:lnTo>
                    <a:lnTo>
                      <a:pt x="80" y="155"/>
                    </a:lnTo>
                    <a:lnTo>
                      <a:pt x="82" y="165"/>
                    </a:lnTo>
                    <a:lnTo>
                      <a:pt x="84" y="166"/>
                    </a:lnTo>
                    <a:lnTo>
                      <a:pt x="86" y="168"/>
                    </a:lnTo>
                    <a:lnTo>
                      <a:pt x="109" y="168"/>
                    </a:lnTo>
                    <a:lnTo>
                      <a:pt x="130" y="168"/>
                    </a:lnTo>
                    <a:lnTo>
                      <a:pt x="151" y="168"/>
                    </a:lnTo>
                    <a:lnTo>
                      <a:pt x="174" y="168"/>
                    </a:lnTo>
                    <a:lnTo>
                      <a:pt x="176" y="166"/>
                    </a:lnTo>
                    <a:lnTo>
                      <a:pt x="178" y="165"/>
                    </a:lnTo>
                    <a:lnTo>
                      <a:pt x="178" y="153"/>
                    </a:lnTo>
                    <a:lnTo>
                      <a:pt x="178" y="143"/>
                    </a:lnTo>
                    <a:lnTo>
                      <a:pt x="176" y="142"/>
                    </a:lnTo>
                    <a:lnTo>
                      <a:pt x="174" y="140"/>
                    </a:lnTo>
                    <a:lnTo>
                      <a:pt x="170" y="138"/>
                    </a:lnTo>
                    <a:lnTo>
                      <a:pt x="168" y="134"/>
                    </a:lnTo>
                    <a:lnTo>
                      <a:pt x="167" y="132"/>
                    </a:lnTo>
                    <a:lnTo>
                      <a:pt x="165" y="130"/>
                    </a:lnTo>
                    <a:lnTo>
                      <a:pt x="165" y="124"/>
                    </a:lnTo>
                    <a:lnTo>
                      <a:pt x="165" y="120"/>
                    </a:lnTo>
                    <a:lnTo>
                      <a:pt x="167" y="117"/>
                    </a:lnTo>
                    <a:lnTo>
                      <a:pt x="168" y="115"/>
                    </a:lnTo>
                    <a:lnTo>
                      <a:pt x="170" y="107"/>
                    </a:lnTo>
                    <a:lnTo>
                      <a:pt x="174" y="99"/>
                    </a:lnTo>
                    <a:lnTo>
                      <a:pt x="176" y="97"/>
                    </a:lnTo>
                    <a:lnTo>
                      <a:pt x="178" y="95"/>
                    </a:lnTo>
                    <a:lnTo>
                      <a:pt x="180" y="78"/>
                    </a:lnTo>
                    <a:lnTo>
                      <a:pt x="184" y="61"/>
                    </a:lnTo>
                    <a:lnTo>
                      <a:pt x="186" y="59"/>
                    </a:lnTo>
                    <a:lnTo>
                      <a:pt x="188" y="57"/>
                    </a:lnTo>
                    <a:lnTo>
                      <a:pt x="191" y="46"/>
                    </a:lnTo>
                    <a:lnTo>
                      <a:pt x="193" y="32"/>
                    </a:lnTo>
                    <a:lnTo>
                      <a:pt x="195" y="30"/>
                    </a:lnTo>
                    <a:lnTo>
                      <a:pt x="197" y="28"/>
                    </a:lnTo>
                    <a:lnTo>
                      <a:pt x="201" y="28"/>
                    </a:lnTo>
                    <a:lnTo>
                      <a:pt x="203" y="26"/>
                    </a:lnTo>
                    <a:lnTo>
                      <a:pt x="203" y="21"/>
                    </a:lnTo>
                    <a:lnTo>
                      <a:pt x="203" y="9"/>
                    </a:lnTo>
                    <a:lnTo>
                      <a:pt x="220" y="7"/>
                    </a:lnTo>
                    <a:lnTo>
                      <a:pt x="238" y="5"/>
                    </a:lnTo>
                    <a:lnTo>
                      <a:pt x="253" y="5"/>
                    </a:lnTo>
                    <a:lnTo>
                      <a:pt x="270" y="3"/>
                    </a:lnTo>
                    <a:lnTo>
                      <a:pt x="272" y="1"/>
                    </a:lnTo>
                    <a:lnTo>
                      <a:pt x="276" y="0"/>
                    </a:lnTo>
                    <a:lnTo>
                      <a:pt x="278" y="1"/>
                    </a:lnTo>
                    <a:lnTo>
                      <a:pt x="280" y="3"/>
                    </a:lnTo>
                    <a:lnTo>
                      <a:pt x="297" y="5"/>
                    </a:lnTo>
                    <a:lnTo>
                      <a:pt x="314" y="9"/>
                    </a:lnTo>
                    <a:lnTo>
                      <a:pt x="316" y="11"/>
                    </a:lnTo>
                    <a:lnTo>
                      <a:pt x="318" y="13"/>
                    </a:lnTo>
                    <a:lnTo>
                      <a:pt x="322" y="15"/>
                    </a:lnTo>
                    <a:lnTo>
                      <a:pt x="324" y="19"/>
                    </a:lnTo>
                    <a:lnTo>
                      <a:pt x="326" y="21"/>
                    </a:lnTo>
                    <a:lnTo>
                      <a:pt x="328" y="23"/>
                    </a:lnTo>
                    <a:lnTo>
                      <a:pt x="328" y="24"/>
                    </a:lnTo>
                    <a:lnTo>
                      <a:pt x="330" y="26"/>
                    </a:lnTo>
                    <a:lnTo>
                      <a:pt x="332" y="26"/>
                    </a:lnTo>
                    <a:lnTo>
                      <a:pt x="335" y="28"/>
                    </a:lnTo>
                    <a:lnTo>
                      <a:pt x="349" y="28"/>
                    </a:lnTo>
                    <a:lnTo>
                      <a:pt x="378" y="28"/>
                    </a:lnTo>
                    <a:lnTo>
                      <a:pt x="378" y="40"/>
                    </a:lnTo>
                    <a:lnTo>
                      <a:pt x="378" y="51"/>
                    </a:lnTo>
                    <a:lnTo>
                      <a:pt x="374" y="55"/>
                    </a:lnTo>
                    <a:lnTo>
                      <a:pt x="372" y="57"/>
                    </a:lnTo>
                    <a:lnTo>
                      <a:pt x="370" y="65"/>
                    </a:lnTo>
                    <a:lnTo>
                      <a:pt x="368" y="71"/>
                    </a:lnTo>
                    <a:lnTo>
                      <a:pt x="364" y="74"/>
                    </a:lnTo>
                    <a:lnTo>
                      <a:pt x="362" y="76"/>
                    </a:lnTo>
                    <a:lnTo>
                      <a:pt x="360" y="84"/>
                    </a:lnTo>
                    <a:lnTo>
                      <a:pt x="356" y="92"/>
                    </a:lnTo>
                    <a:lnTo>
                      <a:pt x="355" y="94"/>
                    </a:lnTo>
                    <a:lnTo>
                      <a:pt x="353" y="95"/>
                    </a:lnTo>
                    <a:lnTo>
                      <a:pt x="351" y="103"/>
                    </a:lnTo>
                    <a:lnTo>
                      <a:pt x="349" y="111"/>
                    </a:lnTo>
                    <a:lnTo>
                      <a:pt x="345" y="113"/>
                    </a:lnTo>
                    <a:lnTo>
                      <a:pt x="343" y="115"/>
                    </a:lnTo>
                    <a:lnTo>
                      <a:pt x="341" y="117"/>
                    </a:lnTo>
                    <a:lnTo>
                      <a:pt x="339" y="120"/>
                    </a:lnTo>
                    <a:lnTo>
                      <a:pt x="335" y="122"/>
                    </a:lnTo>
                    <a:lnTo>
                      <a:pt x="333" y="124"/>
                    </a:lnTo>
                    <a:lnTo>
                      <a:pt x="330" y="126"/>
                    </a:lnTo>
                    <a:lnTo>
                      <a:pt x="328" y="130"/>
                    </a:lnTo>
                    <a:lnTo>
                      <a:pt x="326" y="132"/>
                    </a:lnTo>
                    <a:lnTo>
                      <a:pt x="324" y="134"/>
                    </a:lnTo>
                    <a:lnTo>
                      <a:pt x="322" y="138"/>
                    </a:lnTo>
                    <a:lnTo>
                      <a:pt x="318" y="140"/>
                    </a:lnTo>
                    <a:lnTo>
                      <a:pt x="316" y="142"/>
                    </a:lnTo>
                    <a:lnTo>
                      <a:pt x="314" y="143"/>
                    </a:lnTo>
                    <a:lnTo>
                      <a:pt x="312" y="145"/>
                    </a:lnTo>
                    <a:lnTo>
                      <a:pt x="308" y="149"/>
                    </a:lnTo>
                    <a:lnTo>
                      <a:pt x="307" y="151"/>
                    </a:lnTo>
                    <a:lnTo>
                      <a:pt x="305" y="153"/>
                    </a:lnTo>
                    <a:lnTo>
                      <a:pt x="301" y="155"/>
                    </a:lnTo>
                    <a:lnTo>
                      <a:pt x="299" y="159"/>
                    </a:lnTo>
                    <a:lnTo>
                      <a:pt x="297" y="161"/>
                    </a:lnTo>
                    <a:lnTo>
                      <a:pt x="295" y="165"/>
                    </a:lnTo>
                    <a:lnTo>
                      <a:pt x="287" y="166"/>
                    </a:lnTo>
                    <a:lnTo>
                      <a:pt x="280" y="168"/>
                    </a:lnTo>
                    <a:lnTo>
                      <a:pt x="278" y="170"/>
                    </a:lnTo>
                    <a:lnTo>
                      <a:pt x="276" y="172"/>
                    </a:lnTo>
                    <a:lnTo>
                      <a:pt x="272" y="178"/>
                    </a:lnTo>
                    <a:lnTo>
                      <a:pt x="272" y="188"/>
                    </a:lnTo>
                    <a:lnTo>
                      <a:pt x="272" y="197"/>
                    </a:lnTo>
                    <a:lnTo>
                      <a:pt x="276" y="203"/>
                    </a:lnTo>
                    <a:lnTo>
                      <a:pt x="278" y="205"/>
                    </a:lnTo>
                    <a:lnTo>
                      <a:pt x="280" y="207"/>
                    </a:lnTo>
                    <a:lnTo>
                      <a:pt x="280" y="211"/>
                    </a:lnTo>
                    <a:lnTo>
                      <a:pt x="280" y="216"/>
                    </a:lnTo>
                    <a:lnTo>
                      <a:pt x="278" y="218"/>
                    </a:lnTo>
                    <a:lnTo>
                      <a:pt x="276" y="222"/>
                    </a:lnTo>
                    <a:lnTo>
                      <a:pt x="272" y="228"/>
                    </a:lnTo>
                    <a:lnTo>
                      <a:pt x="270" y="236"/>
                    </a:lnTo>
                    <a:lnTo>
                      <a:pt x="268" y="237"/>
                    </a:lnTo>
                    <a:lnTo>
                      <a:pt x="266" y="241"/>
                    </a:lnTo>
                    <a:lnTo>
                      <a:pt x="266" y="245"/>
                    </a:lnTo>
                    <a:lnTo>
                      <a:pt x="266" y="251"/>
                    </a:lnTo>
                    <a:lnTo>
                      <a:pt x="268" y="253"/>
                    </a:lnTo>
                    <a:lnTo>
                      <a:pt x="270" y="255"/>
                    </a:lnTo>
                    <a:lnTo>
                      <a:pt x="270" y="264"/>
                    </a:lnTo>
                    <a:lnTo>
                      <a:pt x="270" y="274"/>
                    </a:lnTo>
                    <a:lnTo>
                      <a:pt x="268" y="278"/>
                    </a:lnTo>
                    <a:lnTo>
                      <a:pt x="266" y="280"/>
                    </a:lnTo>
                    <a:lnTo>
                      <a:pt x="262" y="282"/>
                    </a:lnTo>
                    <a:lnTo>
                      <a:pt x="261" y="284"/>
                    </a:lnTo>
                    <a:lnTo>
                      <a:pt x="259" y="287"/>
                    </a:lnTo>
                    <a:lnTo>
                      <a:pt x="257" y="289"/>
                    </a:lnTo>
                    <a:lnTo>
                      <a:pt x="243" y="291"/>
                    </a:lnTo>
                    <a:lnTo>
                      <a:pt x="232" y="293"/>
                    </a:lnTo>
                    <a:lnTo>
                      <a:pt x="230" y="297"/>
                    </a:lnTo>
                    <a:lnTo>
                      <a:pt x="228" y="299"/>
                    </a:lnTo>
                    <a:lnTo>
                      <a:pt x="224" y="307"/>
                    </a:lnTo>
                    <a:lnTo>
                      <a:pt x="222" y="314"/>
                    </a:lnTo>
                    <a:lnTo>
                      <a:pt x="220" y="316"/>
                    </a:lnTo>
                    <a:lnTo>
                      <a:pt x="216" y="318"/>
                    </a:lnTo>
                    <a:lnTo>
                      <a:pt x="213" y="318"/>
                    </a:lnTo>
                    <a:lnTo>
                      <a:pt x="207" y="318"/>
                    </a:lnTo>
                    <a:lnTo>
                      <a:pt x="205" y="316"/>
                    </a:lnTo>
                    <a:lnTo>
                      <a:pt x="203" y="314"/>
                    </a:lnTo>
                    <a:lnTo>
                      <a:pt x="197" y="314"/>
                    </a:lnTo>
                    <a:lnTo>
                      <a:pt x="193" y="314"/>
                    </a:lnTo>
                    <a:lnTo>
                      <a:pt x="191" y="316"/>
                    </a:lnTo>
                    <a:lnTo>
                      <a:pt x="188" y="318"/>
                    </a:lnTo>
                    <a:lnTo>
                      <a:pt x="186" y="320"/>
                    </a:lnTo>
                    <a:lnTo>
                      <a:pt x="184" y="324"/>
                    </a:lnTo>
                    <a:lnTo>
                      <a:pt x="180" y="326"/>
                    </a:lnTo>
                    <a:lnTo>
                      <a:pt x="178" y="328"/>
                    </a:lnTo>
                    <a:lnTo>
                      <a:pt x="170" y="328"/>
                    </a:lnTo>
                    <a:lnTo>
                      <a:pt x="165" y="328"/>
                    </a:lnTo>
                    <a:lnTo>
                      <a:pt x="165" y="335"/>
                    </a:lnTo>
                    <a:lnTo>
                      <a:pt x="165" y="343"/>
                    </a:lnTo>
                    <a:lnTo>
                      <a:pt x="161" y="345"/>
                    </a:lnTo>
                    <a:lnTo>
                      <a:pt x="159" y="347"/>
                    </a:lnTo>
                    <a:lnTo>
                      <a:pt x="151" y="349"/>
                    </a:lnTo>
                    <a:lnTo>
                      <a:pt x="145" y="353"/>
                    </a:lnTo>
                    <a:lnTo>
                      <a:pt x="142" y="355"/>
                    </a:lnTo>
                    <a:lnTo>
                      <a:pt x="140" y="356"/>
                    </a:lnTo>
                    <a:lnTo>
                      <a:pt x="138" y="358"/>
                    </a:lnTo>
                    <a:lnTo>
                      <a:pt x="136" y="362"/>
                    </a:lnTo>
                    <a:lnTo>
                      <a:pt x="132" y="364"/>
                    </a:lnTo>
                    <a:lnTo>
                      <a:pt x="130" y="366"/>
                    </a:lnTo>
                    <a:lnTo>
                      <a:pt x="128" y="370"/>
                    </a:lnTo>
                    <a:lnTo>
                      <a:pt x="124" y="372"/>
                    </a:lnTo>
                    <a:lnTo>
                      <a:pt x="122" y="374"/>
                    </a:lnTo>
                    <a:lnTo>
                      <a:pt x="120" y="376"/>
                    </a:lnTo>
                    <a:lnTo>
                      <a:pt x="119" y="383"/>
                    </a:lnTo>
                    <a:lnTo>
                      <a:pt x="117" y="391"/>
                    </a:lnTo>
                    <a:lnTo>
                      <a:pt x="113" y="393"/>
                    </a:lnTo>
                    <a:lnTo>
                      <a:pt x="111" y="395"/>
                    </a:lnTo>
                    <a:lnTo>
                      <a:pt x="109" y="399"/>
                    </a:lnTo>
                    <a:lnTo>
                      <a:pt x="107" y="401"/>
                    </a:lnTo>
                    <a:lnTo>
                      <a:pt x="103" y="402"/>
                    </a:lnTo>
                    <a:lnTo>
                      <a:pt x="101" y="404"/>
                    </a:lnTo>
                  </a:path>
                </a:pathLst>
              </a:custGeom>
              <a:grpFill/>
              <a:ln w="3175">
                <a:solidFill>
                  <a:srgbClr val="FF8300"/>
                </a:solidFill>
                <a:round/>
                <a:headEnd/>
                <a:tailEnd/>
              </a:ln>
            </p:spPr>
            <p:txBody>
              <a:bodyPr/>
              <a:lstStyle/>
              <a:p>
                <a:pPr>
                  <a:defRPr/>
                </a:pPr>
                <a:endParaRPr lang="en-GB" sz="1400">
                  <a:solidFill>
                    <a:schemeClr val="tx2"/>
                  </a:solidFill>
                </a:endParaRPr>
              </a:p>
            </p:txBody>
          </p:sp>
          <p:sp>
            <p:nvSpPr>
              <p:cNvPr id="376" name="Freeform 318"/>
              <p:cNvSpPr>
                <a:spLocks/>
              </p:cNvSpPr>
              <p:nvPr>
                <p:custDataLst>
                  <p:tags r:id="rId27"/>
                </p:custDataLst>
              </p:nvPr>
            </p:nvSpPr>
            <p:spPr bwMode="gray">
              <a:xfrm>
                <a:off x="2311036" y="4713434"/>
                <a:ext cx="235502" cy="280095"/>
              </a:xfrm>
              <a:custGeom>
                <a:avLst/>
                <a:gdLst>
                  <a:gd name="T0" fmla="*/ 2147483647 w 173"/>
                  <a:gd name="T1" fmla="*/ 2147483647 h 213"/>
                  <a:gd name="T2" fmla="*/ 2147483647 w 173"/>
                  <a:gd name="T3" fmla="*/ 2147483647 h 213"/>
                  <a:gd name="T4" fmla="*/ 2147483647 w 173"/>
                  <a:gd name="T5" fmla="*/ 2147483647 h 213"/>
                  <a:gd name="T6" fmla="*/ 2147483647 w 173"/>
                  <a:gd name="T7" fmla="*/ 2147483647 h 213"/>
                  <a:gd name="T8" fmla="*/ 2147483647 w 173"/>
                  <a:gd name="T9" fmla="*/ 2147483647 h 213"/>
                  <a:gd name="T10" fmla="*/ 2147483647 w 173"/>
                  <a:gd name="T11" fmla="*/ 2147483647 h 213"/>
                  <a:gd name="T12" fmla="*/ 2147483647 w 173"/>
                  <a:gd name="T13" fmla="*/ 2147483647 h 213"/>
                  <a:gd name="T14" fmla="*/ 2147483647 w 173"/>
                  <a:gd name="T15" fmla="*/ 2147483647 h 213"/>
                  <a:gd name="T16" fmla="*/ 2147483647 w 173"/>
                  <a:gd name="T17" fmla="*/ 2147483647 h 213"/>
                  <a:gd name="T18" fmla="*/ 2147483647 w 173"/>
                  <a:gd name="T19" fmla="*/ 2147483647 h 213"/>
                  <a:gd name="T20" fmla="*/ 2147483647 w 173"/>
                  <a:gd name="T21" fmla="*/ 2147483647 h 213"/>
                  <a:gd name="T22" fmla="*/ 2147483647 w 173"/>
                  <a:gd name="T23" fmla="*/ 2147483647 h 213"/>
                  <a:gd name="T24" fmla="*/ 2147483647 w 173"/>
                  <a:gd name="T25" fmla="*/ 2147483647 h 213"/>
                  <a:gd name="T26" fmla="*/ 2147483647 w 173"/>
                  <a:gd name="T27" fmla="*/ 2147483647 h 213"/>
                  <a:gd name="T28" fmla="*/ 0 w 173"/>
                  <a:gd name="T29" fmla="*/ 2147483647 h 213"/>
                  <a:gd name="T30" fmla="*/ 2147483647 w 173"/>
                  <a:gd name="T31" fmla="*/ 2147483647 h 213"/>
                  <a:gd name="T32" fmla="*/ 2147483647 w 173"/>
                  <a:gd name="T33" fmla="*/ 2147483647 h 213"/>
                  <a:gd name="T34" fmla="*/ 2147483647 w 173"/>
                  <a:gd name="T35" fmla="*/ 2147483647 h 213"/>
                  <a:gd name="T36" fmla="*/ 2147483647 w 173"/>
                  <a:gd name="T37" fmla="*/ 2147483647 h 213"/>
                  <a:gd name="T38" fmla="*/ 2147483647 w 173"/>
                  <a:gd name="T39" fmla="*/ 2147483647 h 213"/>
                  <a:gd name="T40" fmla="*/ 2147483647 w 173"/>
                  <a:gd name="T41" fmla="*/ 2147483647 h 213"/>
                  <a:gd name="T42" fmla="*/ 2147483647 w 173"/>
                  <a:gd name="T43" fmla="*/ 2147483647 h 213"/>
                  <a:gd name="T44" fmla="*/ 2147483647 w 173"/>
                  <a:gd name="T45" fmla="*/ 2147483647 h 213"/>
                  <a:gd name="T46" fmla="*/ 2147483647 w 173"/>
                  <a:gd name="T47" fmla="*/ 2147483647 h 213"/>
                  <a:gd name="T48" fmla="*/ 2147483647 w 173"/>
                  <a:gd name="T49" fmla="*/ 2147483647 h 213"/>
                  <a:gd name="T50" fmla="*/ 2147483647 w 173"/>
                  <a:gd name="T51" fmla="*/ 2147483647 h 213"/>
                  <a:gd name="T52" fmla="*/ 2147483647 w 173"/>
                  <a:gd name="T53" fmla="*/ 2147483647 h 213"/>
                  <a:gd name="T54" fmla="*/ 2147483647 w 173"/>
                  <a:gd name="T55" fmla="*/ 2147483647 h 213"/>
                  <a:gd name="T56" fmla="*/ 2147483647 w 173"/>
                  <a:gd name="T57" fmla="*/ 2147483647 h 213"/>
                  <a:gd name="T58" fmla="*/ 2147483647 w 173"/>
                  <a:gd name="T59" fmla="*/ 2147483647 h 213"/>
                  <a:gd name="T60" fmla="*/ 2147483647 w 173"/>
                  <a:gd name="T61" fmla="*/ 2147483647 h 213"/>
                  <a:gd name="T62" fmla="*/ 2147483647 w 173"/>
                  <a:gd name="T63" fmla="*/ 2147483647 h 213"/>
                  <a:gd name="T64" fmla="*/ 2147483647 w 173"/>
                  <a:gd name="T65" fmla="*/ 2147483647 h 213"/>
                  <a:gd name="T66" fmla="*/ 2147483647 w 173"/>
                  <a:gd name="T67" fmla="*/ 2147483647 h 213"/>
                  <a:gd name="T68" fmla="*/ 2147483647 w 173"/>
                  <a:gd name="T69" fmla="*/ 2147483647 h 213"/>
                  <a:gd name="T70" fmla="*/ 2147483647 w 173"/>
                  <a:gd name="T71" fmla="*/ 2147483647 h 213"/>
                  <a:gd name="T72" fmla="*/ 2147483647 w 173"/>
                  <a:gd name="T73" fmla="*/ 2147483647 h 213"/>
                  <a:gd name="T74" fmla="*/ 2147483647 w 173"/>
                  <a:gd name="T75" fmla="*/ 2147483647 h 213"/>
                  <a:gd name="T76" fmla="*/ 2147483647 w 173"/>
                  <a:gd name="T77" fmla="*/ 2147483647 h 213"/>
                  <a:gd name="T78" fmla="*/ 2147483647 w 173"/>
                  <a:gd name="T79" fmla="*/ 2147483647 h 213"/>
                  <a:gd name="T80" fmla="*/ 2147483647 w 173"/>
                  <a:gd name="T81" fmla="*/ 2147483647 h 213"/>
                  <a:gd name="T82" fmla="*/ 2147483647 w 173"/>
                  <a:gd name="T83" fmla="*/ 2147483647 h 213"/>
                  <a:gd name="T84" fmla="*/ 2147483647 w 173"/>
                  <a:gd name="T85" fmla="*/ 2147483647 h 213"/>
                  <a:gd name="T86" fmla="*/ 2147483647 w 173"/>
                  <a:gd name="T87" fmla="*/ 2147483647 h 213"/>
                  <a:gd name="T88" fmla="*/ 2147483647 w 173"/>
                  <a:gd name="T89" fmla="*/ 2147483647 h 213"/>
                  <a:gd name="T90" fmla="*/ 2147483647 w 173"/>
                  <a:gd name="T91" fmla="*/ 2147483647 h 213"/>
                  <a:gd name="T92" fmla="*/ 2147483647 w 173"/>
                  <a:gd name="T93" fmla="*/ 2147483647 h 213"/>
                  <a:gd name="T94" fmla="*/ 2147483647 w 173"/>
                  <a:gd name="T95" fmla="*/ 2147483647 h 213"/>
                  <a:gd name="T96" fmla="*/ 2147483647 w 173"/>
                  <a:gd name="T97" fmla="*/ 2147483647 h 213"/>
                  <a:gd name="T98" fmla="*/ 2147483647 w 173"/>
                  <a:gd name="T99" fmla="*/ 2147483647 h 213"/>
                  <a:gd name="T100" fmla="*/ 2147483647 w 173"/>
                  <a:gd name="T101" fmla="*/ 2147483647 h 213"/>
                  <a:gd name="T102" fmla="*/ 2147483647 w 173"/>
                  <a:gd name="T103" fmla="*/ 2147483647 h 213"/>
                  <a:gd name="T104" fmla="*/ 2147483647 w 173"/>
                  <a:gd name="T105" fmla="*/ 2147483647 h 213"/>
                  <a:gd name="T106" fmla="*/ 2147483647 w 173"/>
                  <a:gd name="T107" fmla="*/ 2147483647 h 213"/>
                  <a:gd name="T108" fmla="*/ 2147483647 w 173"/>
                  <a:gd name="T109" fmla="*/ 2147483647 h 213"/>
                  <a:gd name="T110" fmla="*/ 2147483647 w 173"/>
                  <a:gd name="T111" fmla="*/ 2147483647 h 213"/>
                  <a:gd name="T112" fmla="*/ 2147483647 w 173"/>
                  <a:gd name="T113" fmla="*/ 2147483647 h 213"/>
                  <a:gd name="T114" fmla="*/ 2147483647 w 173"/>
                  <a:gd name="T115" fmla="*/ 2147483647 h 213"/>
                  <a:gd name="T116" fmla="*/ 2147483647 w 173"/>
                  <a:gd name="T117" fmla="*/ 2147483647 h 213"/>
                  <a:gd name="T118" fmla="*/ 2147483647 w 173"/>
                  <a:gd name="T119" fmla="*/ 2147483647 h 213"/>
                  <a:gd name="T120" fmla="*/ 2147483647 w 173"/>
                  <a:gd name="T121" fmla="*/ 2147483647 h 213"/>
                  <a:gd name="T122" fmla="*/ 2147483647 w 173"/>
                  <a:gd name="T123" fmla="*/ 2147483647 h 21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73"/>
                  <a:gd name="T187" fmla="*/ 0 h 213"/>
                  <a:gd name="T188" fmla="*/ 173 w 173"/>
                  <a:gd name="T189" fmla="*/ 213 h 213"/>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73" h="213">
                    <a:moveTo>
                      <a:pt x="67" y="207"/>
                    </a:moveTo>
                    <a:lnTo>
                      <a:pt x="69" y="206"/>
                    </a:lnTo>
                    <a:lnTo>
                      <a:pt x="71" y="204"/>
                    </a:lnTo>
                    <a:lnTo>
                      <a:pt x="71" y="198"/>
                    </a:lnTo>
                    <a:lnTo>
                      <a:pt x="71" y="194"/>
                    </a:lnTo>
                    <a:lnTo>
                      <a:pt x="69" y="192"/>
                    </a:lnTo>
                    <a:lnTo>
                      <a:pt x="67" y="190"/>
                    </a:lnTo>
                    <a:lnTo>
                      <a:pt x="61" y="179"/>
                    </a:lnTo>
                    <a:lnTo>
                      <a:pt x="57" y="169"/>
                    </a:lnTo>
                    <a:lnTo>
                      <a:pt x="59" y="167"/>
                    </a:lnTo>
                    <a:lnTo>
                      <a:pt x="61" y="165"/>
                    </a:lnTo>
                    <a:lnTo>
                      <a:pt x="65" y="169"/>
                    </a:lnTo>
                    <a:lnTo>
                      <a:pt x="69" y="173"/>
                    </a:lnTo>
                    <a:lnTo>
                      <a:pt x="73" y="163"/>
                    </a:lnTo>
                    <a:lnTo>
                      <a:pt x="77" y="156"/>
                    </a:lnTo>
                    <a:lnTo>
                      <a:pt x="67" y="158"/>
                    </a:lnTo>
                    <a:lnTo>
                      <a:pt x="57" y="160"/>
                    </a:lnTo>
                    <a:lnTo>
                      <a:pt x="56" y="163"/>
                    </a:lnTo>
                    <a:lnTo>
                      <a:pt x="52" y="165"/>
                    </a:lnTo>
                    <a:lnTo>
                      <a:pt x="50" y="175"/>
                    </a:lnTo>
                    <a:lnTo>
                      <a:pt x="48" y="184"/>
                    </a:lnTo>
                    <a:lnTo>
                      <a:pt x="31" y="184"/>
                    </a:lnTo>
                    <a:lnTo>
                      <a:pt x="13" y="184"/>
                    </a:lnTo>
                    <a:lnTo>
                      <a:pt x="11" y="183"/>
                    </a:lnTo>
                    <a:lnTo>
                      <a:pt x="9" y="179"/>
                    </a:lnTo>
                    <a:lnTo>
                      <a:pt x="6" y="177"/>
                    </a:lnTo>
                    <a:lnTo>
                      <a:pt x="4" y="175"/>
                    </a:lnTo>
                    <a:lnTo>
                      <a:pt x="2" y="173"/>
                    </a:lnTo>
                    <a:lnTo>
                      <a:pt x="0" y="169"/>
                    </a:lnTo>
                    <a:lnTo>
                      <a:pt x="0" y="150"/>
                    </a:lnTo>
                    <a:lnTo>
                      <a:pt x="0" y="131"/>
                    </a:lnTo>
                    <a:lnTo>
                      <a:pt x="2" y="129"/>
                    </a:lnTo>
                    <a:lnTo>
                      <a:pt x="4" y="127"/>
                    </a:lnTo>
                    <a:lnTo>
                      <a:pt x="6" y="123"/>
                    </a:lnTo>
                    <a:lnTo>
                      <a:pt x="9" y="121"/>
                    </a:lnTo>
                    <a:lnTo>
                      <a:pt x="11" y="119"/>
                    </a:lnTo>
                    <a:lnTo>
                      <a:pt x="13" y="117"/>
                    </a:lnTo>
                    <a:lnTo>
                      <a:pt x="15" y="110"/>
                    </a:lnTo>
                    <a:lnTo>
                      <a:pt x="19" y="102"/>
                    </a:lnTo>
                    <a:lnTo>
                      <a:pt x="21" y="100"/>
                    </a:lnTo>
                    <a:lnTo>
                      <a:pt x="23" y="98"/>
                    </a:lnTo>
                    <a:lnTo>
                      <a:pt x="25" y="90"/>
                    </a:lnTo>
                    <a:lnTo>
                      <a:pt x="29" y="83"/>
                    </a:lnTo>
                    <a:lnTo>
                      <a:pt x="31" y="81"/>
                    </a:lnTo>
                    <a:lnTo>
                      <a:pt x="33" y="79"/>
                    </a:lnTo>
                    <a:lnTo>
                      <a:pt x="34" y="71"/>
                    </a:lnTo>
                    <a:lnTo>
                      <a:pt x="38" y="64"/>
                    </a:lnTo>
                    <a:lnTo>
                      <a:pt x="40" y="62"/>
                    </a:lnTo>
                    <a:lnTo>
                      <a:pt x="42" y="58"/>
                    </a:lnTo>
                    <a:lnTo>
                      <a:pt x="46" y="58"/>
                    </a:lnTo>
                    <a:lnTo>
                      <a:pt x="52" y="58"/>
                    </a:lnTo>
                    <a:lnTo>
                      <a:pt x="56" y="62"/>
                    </a:lnTo>
                    <a:lnTo>
                      <a:pt x="57" y="64"/>
                    </a:lnTo>
                    <a:lnTo>
                      <a:pt x="61" y="64"/>
                    </a:lnTo>
                    <a:lnTo>
                      <a:pt x="67" y="64"/>
                    </a:lnTo>
                    <a:lnTo>
                      <a:pt x="69" y="62"/>
                    </a:lnTo>
                    <a:lnTo>
                      <a:pt x="71" y="58"/>
                    </a:lnTo>
                    <a:lnTo>
                      <a:pt x="73" y="56"/>
                    </a:lnTo>
                    <a:lnTo>
                      <a:pt x="77" y="54"/>
                    </a:lnTo>
                    <a:lnTo>
                      <a:pt x="79" y="52"/>
                    </a:lnTo>
                    <a:lnTo>
                      <a:pt x="80" y="48"/>
                    </a:lnTo>
                    <a:lnTo>
                      <a:pt x="84" y="46"/>
                    </a:lnTo>
                    <a:lnTo>
                      <a:pt x="86" y="44"/>
                    </a:lnTo>
                    <a:lnTo>
                      <a:pt x="88" y="42"/>
                    </a:lnTo>
                    <a:lnTo>
                      <a:pt x="90" y="41"/>
                    </a:lnTo>
                    <a:lnTo>
                      <a:pt x="94" y="27"/>
                    </a:lnTo>
                    <a:lnTo>
                      <a:pt x="96" y="16"/>
                    </a:lnTo>
                    <a:lnTo>
                      <a:pt x="98" y="14"/>
                    </a:lnTo>
                    <a:lnTo>
                      <a:pt x="100" y="10"/>
                    </a:lnTo>
                    <a:lnTo>
                      <a:pt x="103" y="8"/>
                    </a:lnTo>
                    <a:lnTo>
                      <a:pt x="105" y="6"/>
                    </a:lnTo>
                    <a:lnTo>
                      <a:pt x="107" y="2"/>
                    </a:lnTo>
                    <a:lnTo>
                      <a:pt x="109" y="0"/>
                    </a:lnTo>
                    <a:lnTo>
                      <a:pt x="113" y="2"/>
                    </a:lnTo>
                    <a:lnTo>
                      <a:pt x="115" y="6"/>
                    </a:lnTo>
                    <a:lnTo>
                      <a:pt x="123" y="8"/>
                    </a:lnTo>
                    <a:lnTo>
                      <a:pt x="130" y="10"/>
                    </a:lnTo>
                    <a:lnTo>
                      <a:pt x="132" y="14"/>
                    </a:lnTo>
                    <a:lnTo>
                      <a:pt x="134" y="16"/>
                    </a:lnTo>
                    <a:lnTo>
                      <a:pt x="136" y="18"/>
                    </a:lnTo>
                    <a:lnTo>
                      <a:pt x="138" y="19"/>
                    </a:lnTo>
                    <a:lnTo>
                      <a:pt x="142" y="21"/>
                    </a:lnTo>
                    <a:lnTo>
                      <a:pt x="144" y="25"/>
                    </a:lnTo>
                    <a:lnTo>
                      <a:pt x="151" y="27"/>
                    </a:lnTo>
                    <a:lnTo>
                      <a:pt x="159" y="29"/>
                    </a:lnTo>
                    <a:lnTo>
                      <a:pt x="161" y="31"/>
                    </a:lnTo>
                    <a:lnTo>
                      <a:pt x="163" y="35"/>
                    </a:lnTo>
                    <a:lnTo>
                      <a:pt x="169" y="54"/>
                    </a:lnTo>
                    <a:lnTo>
                      <a:pt x="173" y="73"/>
                    </a:lnTo>
                    <a:lnTo>
                      <a:pt x="171" y="75"/>
                    </a:lnTo>
                    <a:lnTo>
                      <a:pt x="169" y="79"/>
                    </a:lnTo>
                    <a:lnTo>
                      <a:pt x="165" y="90"/>
                    </a:lnTo>
                    <a:lnTo>
                      <a:pt x="163" y="102"/>
                    </a:lnTo>
                    <a:lnTo>
                      <a:pt x="161" y="104"/>
                    </a:lnTo>
                    <a:lnTo>
                      <a:pt x="159" y="108"/>
                    </a:lnTo>
                    <a:lnTo>
                      <a:pt x="155" y="123"/>
                    </a:lnTo>
                    <a:lnTo>
                      <a:pt x="153" y="140"/>
                    </a:lnTo>
                    <a:lnTo>
                      <a:pt x="151" y="142"/>
                    </a:lnTo>
                    <a:lnTo>
                      <a:pt x="150" y="146"/>
                    </a:lnTo>
                    <a:lnTo>
                      <a:pt x="146" y="148"/>
                    </a:lnTo>
                    <a:lnTo>
                      <a:pt x="144" y="150"/>
                    </a:lnTo>
                    <a:lnTo>
                      <a:pt x="142" y="154"/>
                    </a:lnTo>
                    <a:lnTo>
                      <a:pt x="138" y="156"/>
                    </a:lnTo>
                    <a:lnTo>
                      <a:pt x="136" y="158"/>
                    </a:lnTo>
                    <a:lnTo>
                      <a:pt x="134" y="160"/>
                    </a:lnTo>
                    <a:lnTo>
                      <a:pt x="132" y="163"/>
                    </a:lnTo>
                    <a:lnTo>
                      <a:pt x="130" y="165"/>
                    </a:lnTo>
                    <a:lnTo>
                      <a:pt x="127" y="167"/>
                    </a:lnTo>
                    <a:lnTo>
                      <a:pt x="125" y="169"/>
                    </a:lnTo>
                    <a:lnTo>
                      <a:pt x="123" y="173"/>
                    </a:lnTo>
                    <a:lnTo>
                      <a:pt x="121" y="175"/>
                    </a:lnTo>
                    <a:lnTo>
                      <a:pt x="121" y="179"/>
                    </a:lnTo>
                    <a:lnTo>
                      <a:pt x="121" y="184"/>
                    </a:lnTo>
                    <a:lnTo>
                      <a:pt x="123" y="186"/>
                    </a:lnTo>
                    <a:lnTo>
                      <a:pt x="125" y="190"/>
                    </a:lnTo>
                    <a:lnTo>
                      <a:pt x="125" y="194"/>
                    </a:lnTo>
                    <a:lnTo>
                      <a:pt x="125" y="200"/>
                    </a:lnTo>
                    <a:lnTo>
                      <a:pt x="123" y="202"/>
                    </a:lnTo>
                    <a:lnTo>
                      <a:pt x="121" y="204"/>
                    </a:lnTo>
                    <a:lnTo>
                      <a:pt x="113" y="206"/>
                    </a:lnTo>
                    <a:lnTo>
                      <a:pt x="105" y="207"/>
                    </a:lnTo>
                    <a:lnTo>
                      <a:pt x="103" y="211"/>
                    </a:lnTo>
                    <a:lnTo>
                      <a:pt x="100" y="213"/>
                    </a:lnTo>
                    <a:lnTo>
                      <a:pt x="82" y="211"/>
                    </a:lnTo>
                    <a:lnTo>
                      <a:pt x="67" y="207"/>
                    </a:lnTo>
                  </a:path>
                </a:pathLst>
              </a:custGeom>
              <a:grpFill/>
              <a:ln w="3175">
                <a:solidFill>
                  <a:srgbClr val="FF8300"/>
                </a:solidFill>
                <a:round/>
                <a:headEnd/>
                <a:tailEnd/>
              </a:ln>
            </p:spPr>
            <p:txBody>
              <a:bodyPr/>
              <a:lstStyle/>
              <a:p>
                <a:pPr>
                  <a:defRPr/>
                </a:pPr>
                <a:endParaRPr lang="en-GB" sz="1400">
                  <a:solidFill>
                    <a:schemeClr val="tx2"/>
                  </a:solidFill>
                </a:endParaRPr>
              </a:p>
            </p:txBody>
          </p:sp>
          <p:sp>
            <p:nvSpPr>
              <p:cNvPr id="377" name="Freeform 319"/>
              <p:cNvSpPr>
                <a:spLocks/>
              </p:cNvSpPr>
              <p:nvPr>
                <p:custDataLst>
                  <p:tags r:id="rId28"/>
                </p:custDataLst>
              </p:nvPr>
            </p:nvSpPr>
            <p:spPr bwMode="gray">
              <a:xfrm>
                <a:off x="2588343" y="4482112"/>
                <a:ext cx="158860" cy="287062"/>
              </a:xfrm>
              <a:custGeom>
                <a:avLst/>
                <a:gdLst>
                  <a:gd name="T0" fmla="*/ 2147483647 w 115"/>
                  <a:gd name="T1" fmla="*/ 2147483647 h 215"/>
                  <a:gd name="T2" fmla="*/ 2147483647 w 115"/>
                  <a:gd name="T3" fmla="*/ 2147483647 h 215"/>
                  <a:gd name="T4" fmla="*/ 2147483647 w 115"/>
                  <a:gd name="T5" fmla="*/ 2147483647 h 215"/>
                  <a:gd name="T6" fmla="*/ 0 w 115"/>
                  <a:gd name="T7" fmla="*/ 2147483647 h 215"/>
                  <a:gd name="T8" fmla="*/ 2147483647 w 115"/>
                  <a:gd name="T9" fmla="*/ 2147483647 h 215"/>
                  <a:gd name="T10" fmla="*/ 2147483647 w 115"/>
                  <a:gd name="T11" fmla="*/ 2147483647 h 215"/>
                  <a:gd name="T12" fmla="*/ 2147483647 w 115"/>
                  <a:gd name="T13" fmla="*/ 2147483647 h 215"/>
                  <a:gd name="T14" fmla="*/ 2147483647 w 115"/>
                  <a:gd name="T15" fmla="*/ 2147483647 h 215"/>
                  <a:gd name="T16" fmla="*/ 2147483647 w 115"/>
                  <a:gd name="T17" fmla="*/ 2147483647 h 215"/>
                  <a:gd name="T18" fmla="*/ 2147483647 w 115"/>
                  <a:gd name="T19" fmla="*/ 2147483647 h 215"/>
                  <a:gd name="T20" fmla="*/ 2147483647 w 115"/>
                  <a:gd name="T21" fmla="*/ 2147483647 h 215"/>
                  <a:gd name="T22" fmla="*/ 2147483647 w 115"/>
                  <a:gd name="T23" fmla="*/ 2147483647 h 215"/>
                  <a:gd name="T24" fmla="*/ 2147483647 w 115"/>
                  <a:gd name="T25" fmla="*/ 2147483647 h 215"/>
                  <a:gd name="T26" fmla="*/ 2147483647 w 115"/>
                  <a:gd name="T27" fmla="*/ 2147483647 h 215"/>
                  <a:gd name="T28" fmla="*/ 2147483647 w 115"/>
                  <a:gd name="T29" fmla="*/ 2147483647 h 215"/>
                  <a:gd name="T30" fmla="*/ 2147483647 w 115"/>
                  <a:gd name="T31" fmla="*/ 2147483647 h 215"/>
                  <a:gd name="T32" fmla="*/ 2147483647 w 115"/>
                  <a:gd name="T33" fmla="*/ 2147483647 h 215"/>
                  <a:gd name="T34" fmla="*/ 2147483647 w 115"/>
                  <a:gd name="T35" fmla="*/ 2147483647 h 215"/>
                  <a:gd name="T36" fmla="*/ 2147483647 w 115"/>
                  <a:gd name="T37" fmla="*/ 2147483647 h 215"/>
                  <a:gd name="T38" fmla="*/ 2147483647 w 115"/>
                  <a:gd name="T39" fmla="*/ 2147483647 h 215"/>
                  <a:gd name="T40" fmla="*/ 2147483647 w 115"/>
                  <a:gd name="T41" fmla="*/ 2147483647 h 215"/>
                  <a:gd name="T42" fmla="*/ 2147483647 w 115"/>
                  <a:gd name="T43" fmla="*/ 2147483647 h 215"/>
                  <a:gd name="T44" fmla="*/ 2147483647 w 115"/>
                  <a:gd name="T45" fmla="*/ 2147483647 h 215"/>
                  <a:gd name="T46" fmla="*/ 2147483647 w 115"/>
                  <a:gd name="T47" fmla="*/ 2147483647 h 215"/>
                  <a:gd name="T48" fmla="*/ 2147483647 w 115"/>
                  <a:gd name="T49" fmla="*/ 0 h 215"/>
                  <a:gd name="T50" fmla="*/ 2147483647 w 115"/>
                  <a:gd name="T51" fmla="*/ 2147483647 h 215"/>
                  <a:gd name="T52" fmla="*/ 2147483647 w 115"/>
                  <a:gd name="T53" fmla="*/ 2147483647 h 215"/>
                  <a:gd name="T54" fmla="*/ 2147483647 w 115"/>
                  <a:gd name="T55" fmla="*/ 2147483647 h 215"/>
                  <a:gd name="T56" fmla="*/ 2147483647 w 115"/>
                  <a:gd name="T57" fmla="*/ 2147483647 h 215"/>
                  <a:gd name="T58" fmla="*/ 2147483647 w 115"/>
                  <a:gd name="T59" fmla="*/ 2147483647 h 215"/>
                  <a:gd name="T60" fmla="*/ 2147483647 w 115"/>
                  <a:gd name="T61" fmla="*/ 2147483647 h 215"/>
                  <a:gd name="T62" fmla="*/ 2147483647 w 115"/>
                  <a:gd name="T63" fmla="*/ 2147483647 h 215"/>
                  <a:gd name="T64" fmla="*/ 2147483647 w 115"/>
                  <a:gd name="T65" fmla="*/ 2147483647 h 215"/>
                  <a:gd name="T66" fmla="*/ 2147483647 w 115"/>
                  <a:gd name="T67" fmla="*/ 2147483647 h 215"/>
                  <a:gd name="T68" fmla="*/ 2147483647 w 115"/>
                  <a:gd name="T69" fmla="*/ 2147483647 h 215"/>
                  <a:gd name="T70" fmla="*/ 2147483647 w 115"/>
                  <a:gd name="T71" fmla="*/ 2147483647 h 215"/>
                  <a:gd name="T72" fmla="*/ 2147483647 w 115"/>
                  <a:gd name="T73" fmla="*/ 2147483647 h 215"/>
                  <a:gd name="T74" fmla="*/ 2147483647 w 115"/>
                  <a:gd name="T75" fmla="*/ 2147483647 h 215"/>
                  <a:gd name="T76" fmla="*/ 2147483647 w 115"/>
                  <a:gd name="T77" fmla="*/ 2147483647 h 215"/>
                  <a:gd name="T78" fmla="*/ 2147483647 w 115"/>
                  <a:gd name="T79" fmla="*/ 2147483647 h 215"/>
                  <a:gd name="T80" fmla="*/ 2147483647 w 115"/>
                  <a:gd name="T81" fmla="*/ 2147483647 h 215"/>
                  <a:gd name="T82" fmla="*/ 2147483647 w 115"/>
                  <a:gd name="T83" fmla="*/ 2147483647 h 215"/>
                  <a:gd name="T84" fmla="*/ 2147483647 w 115"/>
                  <a:gd name="T85" fmla="*/ 2147483647 h 215"/>
                  <a:gd name="T86" fmla="*/ 2147483647 w 115"/>
                  <a:gd name="T87" fmla="*/ 2147483647 h 215"/>
                  <a:gd name="T88" fmla="*/ 2147483647 w 115"/>
                  <a:gd name="T89" fmla="*/ 2147483647 h 215"/>
                  <a:gd name="T90" fmla="*/ 2147483647 w 115"/>
                  <a:gd name="T91" fmla="*/ 2147483647 h 215"/>
                  <a:gd name="T92" fmla="*/ 2147483647 w 115"/>
                  <a:gd name="T93" fmla="*/ 2147483647 h 215"/>
                  <a:gd name="T94" fmla="*/ 2147483647 w 115"/>
                  <a:gd name="T95" fmla="*/ 2147483647 h 215"/>
                  <a:gd name="T96" fmla="*/ 2147483647 w 115"/>
                  <a:gd name="T97" fmla="*/ 2147483647 h 215"/>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115"/>
                  <a:gd name="T148" fmla="*/ 0 h 215"/>
                  <a:gd name="T149" fmla="*/ 115 w 115"/>
                  <a:gd name="T150" fmla="*/ 215 h 215"/>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115" h="215">
                    <a:moveTo>
                      <a:pt x="14" y="215"/>
                    </a:moveTo>
                    <a:lnTo>
                      <a:pt x="12" y="211"/>
                    </a:lnTo>
                    <a:lnTo>
                      <a:pt x="8" y="209"/>
                    </a:lnTo>
                    <a:lnTo>
                      <a:pt x="6" y="201"/>
                    </a:lnTo>
                    <a:lnTo>
                      <a:pt x="4" y="193"/>
                    </a:lnTo>
                    <a:lnTo>
                      <a:pt x="2" y="192"/>
                    </a:lnTo>
                    <a:lnTo>
                      <a:pt x="0" y="190"/>
                    </a:lnTo>
                    <a:lnTo>
                      <a:pt x="0" y="165"/>
                    </a:lnTo>
                    <a:lnTo>
                      <a:pt x="0" y="142"/>
                    </a:lnTo>
                    <a:lnTo>
                      <a:pt x="2" y="138"/>
                    </a:lnTo>
                    <a:lnTo>
                      <a:pt x="4" y="136"/>
                    </a:lnTo>
                    <a:lnTo>
                      <a:pt x="6" y="134"/>
                    </a:lnTo>
                    <a:lnTo>
                      <a:pt x="8" y="132"/>
                    </a:lnTo>
                    <a:lnTo>
                      <a:pt x="12" y="128"/>
                    </a:lnTo>
                    <a:lnTo>
                      <a:pt x="14" y="126"/>
                    </a:lnTo>
                    <a:lnTo>
                      <a:pt x="16" y="119"/>
                    </a:lnTo>
                    <a:lnTo>
                      <a:pt x="18" y="111"/>
                    </a:lnTo>
                    <a:lnTo>
                      <a:pt x="21" y="109"/>
                    </a:lnTo>
                    <a:lnTo>
                      <a:pt x="23" y="107"/>
                    </a:lnTo>
                    <a:lnTo>
                      <a:pt x="25" y="105"/>
                    </a:lnTo>
                    <a:lnTo>
                      <a:pt x="29" y="101"/>
                    </a:lnTo>
                    <a:lnTo>
                      <a:pt x="31" y="99"/>
                    </a:lnTo>
                    <a:lnTo>
                      <a:pt x="33" y="98"/>
                    </a:lnTo>
                    <a:lnTo>
                      <a:pt x="35" y="96"/>
                    </a:lnTo>
                    <a:lnTo>
                      <a:pt x="39" y="92"/>
                    </a:lnTo>
                    <a:lnTo>
                      <a:pt x="41" y="90"/>
                    </a:lnTo>
                    <a:lnTo>
                      <a:pt x="42" y="88"/>
                    </a:lnTo>
                    <a:lnTo>
                      <a:pt x="42" y="82"/>
                    </a:lnTo>
                    <a:lnTo>
                      <a:pt x="42" y="78"/>
                    </a:lnTo>
                    <a:lnTo>
                      <a:pt x="41" y="76"/>
                    </a:lnTo>
                    <a:lnTo>
                      <a:pt x="39" y="73"/>
                    </a:lnTo>
                    <a:lnTo>
                      <a:pt x="35" y="71"/>
                    </a:lnTo>
                    <a:lnTo>
                      <a:pt x="33" y="69"/>
                    </a:lnTo>
                    <a:lnTo>
                      <a:pt x="31" y="65"/>
                    </a:lnTo>
                    <a:lnTo>
                      <a:pt x="29" y="63"/>
                    </a:lnTo>
                    <a:lnTo>
                      <a:pt x="21" y="61"/>
                    </a:lnTo>
                    <a:lnTo>
                      <a:pt x="14" y="59"/>
                    </a:lnTo>
                    <a:lnTo>
                      <a:pt x="12" y="55"/>
                    </a:lnTo>
                    <a:lnTo>
                      <a:pt x="8" y="53"/>
                    </a:lnTo>
                    <a:lnTo>
                      <a:pt x="6" y="46"/>
                    </a:lnTo>
                    <a:lnTo>
                      <a:pt x="4" y="40"/>
                    </a:lnTo>
                    <a:lnTo>
                      <a:pt x="2" y="36"/>
                    </a:lnTo>
                    <a:lnTo>
                      <a:pt x="0" y="34"/>
                    </a:lnTo>
                    <a:lnTo>
                      <a:pt x="2" y="32"/>
                    </a:lnTo>
                    <a:lnTo>
                      <a:pt x="4" y="30"/>
                    </a:lnTo>
                    <a:lnTo>
                      <a:pt x="6" y="17"/>
                    </a:lnTo>
                    <a:lnTo>
                      <a:pt x="8" y="5"/>
                    </a:lnTo>
                    <a:lnTo>
                      <a:pt x="12" y="4"/>
                    </a:lnTo>
                    <a:lnTo>
                      <a:pt x="14" y="0"/>
                    </a:lnTo>
                    <a:lnTo>
                      <a:pt x="33" y="0"/>
                    </a:lnTo>
                    <a:lnTo>
                      <a:pt x="52" y="0"/>
                    </a:lnTo>
                    <a:lnTo>
                      <a:pt x="54" y="4"/>
                    </a:lnTo>
                    <a:lnTo>
                      <a:pt x="58" y="5"/>
                    </a:lnTo>
                    <a:lnTo>
                      <a:pt x="60" y="7"/>
                    </a:lnTo>
                    <a:lnTo>
                      <a:pt x="62" y="11"/>
                    </a:lnTo>
                    <a:lnTo>
                      <a:pt x="64" y="13"/>
                    </a:lnTo>
                    <a:lnTo>
                      <a:pt x="67" y="15"/>
                    </a:lnTo>
                    <a:lnTo>
                      <a:pt x="67" y="27"/>
                    </a:lnTo>
                    <a:lnTo>
                      <a:pt x="67" y="40"/>
                    </a:lnTo>
                    <a:lnTo>
                      <a:pt x="79" y="40"/>
                    </a:lnTo>
                    <a:lnTo>
                      <a:pt x="90" y="40"/>
                    </a:lnTo>
                    <a:lnTo>
                      <a:pt x="92" y="42"/>
                    </a:lnTo>
                    <a:lnTo>
                      <a:pt x="96" y="44"/>
                    </a:lnTo>
                    <a:lnTo>
                      <a:pt x="98" y="46"/>
                    </a:lnTo>
                    <a:lnTo>
                      <a:pt x="100" y="50"/>
                    </a:lnTo>
                    <a:lnTo>
                      <a:pt x="102" y="51"/>
                    </a:lnTo>
                    <a:lnTo>
                      <a:pt x="106" y="53"/>
                    </a:lnTo>
                    <a:lnTo>
                      <a:pt x="110" y="63"/>
                    </a:lnTo>
                    <a:lnTo>
                      <a:pt x="115" y="73"/>
                    </a:lnTo>
                    <a:lnTo>
                      <a:pt x="113" y="76"/>
                    </a:lnTo>
                    <a:lnTo>
                      <a:pt x="110" y="78"/>
                    </a:lnTo>
                    <a:lnTo>
                      <a:pt x="108" y="90"/>
                    </a:lnTo>
                    <a:lnTo>
                      <a:pt x="106" y="101"/>
                    </a:lnTo>
                    <a:lnTo>
                      <a:pt x="102" y="105"/>
                    </a:lnTo>
                    <a:lnTo>
                      <a:pt x="100" y="107"/>
                    </a:lnTo>
                    <a:lnTo>
                      <a:pt x="98" y="124"/>
                    </a:lnTo>
                    <a:lnTo>
                      <a:pt x="96" y="142"/>
                    </a:lnTo>
                    <a:lnTo>
                      <a:pt x="92" y="144"/>
                    </a:lnTo>
                    <a:lnTo>
                      <a:pt x="90" y="145"/>
                    </a:lnTo>
                    <a:lnTo>
                      <a:pt x="89" y="153"/>
                    </a:lnTo>
                    <a:lnTo>
                      <a:pt x="87" y="161"/>
                    </a:lnTo>
                    <a:lnTo>
                      <a:pt x="83" y="163"/>
                    </a:lnTo>
                    <a:lnTo>
                      <a:pt x="81" y="165"/>
                    </a:lnTo>
                    <a:lnTo>
                      <a:pt x="81" y="174"/>
                    </a:lnTo>
                    <a:lnTo>
                      <a:pt x="81" y="184"/>
                    </a:lnTo>
                    <a:lnTo>
                      <a:pt x="83" y="188"/>
                    </a:lnTo>
                    <a:lnTo>
                      <a:pt x="87" y="190"/>
                    </a:lnTo>
                    <a:lnTo>
                      <a:pt x="89" y="192"/>
                    </a:lnTo>
                    <a:lnTo>
                      <a:pt x="90" y="193"/>
                    </a:lnTo>
                    <a:lnTo>
                      <a:pt x="92" y="195"/>
                    </a:lnTo>
                    <a:lnTo>
                      <a:pt x="96" y="199"/>
                    </a:lnTo>
                    <a:lnTo>
                      <a:pt x="96" y="203"/>
                    </a:lnTo>
                    <a:lnTo>
                      <a:pt x="96" y="209"/>
                    </a:lnTo>
                    <a:lnTo>
                      <a:pt x="92" y="211"/>
                    </a:lnTo>
                    <a:lnTo>
                      <a:pt x="90" y="215"/>
                    </a:lnTo>
                    <a:lnTo>
                      <a:pt x="71" y="215"/>
                    </a:lnTo>
                    <a:lnTo>
                      <a:pt x="52" y="215"/>
                    </a:lnTo>
                    <a:lnTo>
                      <a:pt x="33" y="215"/>
                    </a:lnTo>
                    <a:lnTo>
                      <a:pt x="14" y="215"/>
                    </a:lnTo>
                  </a:path>
                </a:pathLst>
              </a:custGeom>
              <a:grpFill/>
              <a:ln w="3175">
                <a:solidFill>
                  <a:srgbClr val="FF8300"/>
                </a:solidFill>
                <a:round/>
                <a:headEnd/>
                <a:tailEnd/>
              </a:ln>
            </p:spPr>
            <p:txBody>
              <a:bodyPr/>
              <a:lstStyle/>
              <a:p>
                <a:pPr>
                  <a:defRPr/>
                </a:pPr>
                <a:endParaRPr lang="en-GB" sz="1400">
                  <a:solidFill>
                    <a:schemeClr val="tx2"/>
                  </a:solidFill>
                </a:endParaRPr>
              </a:p>
            </p:txBody>
          </p:sp>
          <p:sp>
            <p:nvSpPr>
              <p:cNvPr id="378" name="Freeform 323"/>
              <p:cNvSpPr>
                <a:spLocks/>
              </p:cNvSpPr>
              <p:nvPr>
                <p:custDataLst>
                  <p:tags r:id="rId29"/>
                </p:custDataLst>
              </p:nvPr>
            </p:nvSpPr>
            <p:spPr bwMode="gray">
              <a:xfrm>
                <a:off x="2111764" y="4305137"/>
                <a:ext cx="529533" cy="586666"/>
              </a:xfrm>
              <a:custGeom>
                <a:avLst/>
                <a:gdLst>
                  <a:gd name="T0" fmla="*/ 2147483647 w 388"/>
                  <a:gd name="T1" fmla="*/ 2147483647 h 448"/>
                  <a:gd name="T2" fmla="*/ 2147483647 w 388"/>
                  <a:gd name="T3" fmla="*/ 2147483647 h 448"/>
                  <a:gd name="T4" fmla="*/ 2147483647 w 388"/>
                  <a:gd name="T5" fmla="*/ 2147483647 h 448"/>
                  <a:gd name="T6" fmla="*/ 2147483647 w 388"/>
                  <a:gd name="T7" fmla="*/ 2147483647 h 448"/>
                  <a:gd name="T8" fmla="*/ 2147483647 w 388"/>
                  <a:gd name="T9" fmla="*/ 2147483647 h 448"/>
                  <a:gd name="T10" fmla="*/ 2147483647 w 388"/>
                  <a:gd name="T11" fmla="*/ 2147483647 h 448"/>
                  <a:gd name="T12" fmla="*/ 2147483647 w 388"/>
                  <a:gd name="T13" fmla="*/ 2147483647 h 448"/>
                  <a:gd name="T14" fmla="*/ 2147483647 w 388"/>
                  <a:gd name="T15" fmla="*/ 2147483647 h 448"/>
                  <a:gd name="T16" fmla="*/ 2147483647 w 388"/>
                  <a:gd name="T17" fmla="*/ 2147483647 h 448"/>
                  <a:gd name="T18" fmla="*/ 2147483647 w 388"/>
                  <a:gd name="T19" fmla="*/ 2147483647 h 448"/>
                  <a:gd name="T20" fmla="*/ 2147483647 w 388"/>
                  <a:gd name="T21" fmla="*/ 2147483647 h 448"/>
                  <a:gd name="T22" fmla="*/ 2147483647 w 388"/>
                  <a:gd name="T23" fmla="*/ 2147483647 h 448"/>
                  <a:gd name="T24" fmla="*/ 2147483647 w 388"/>
                  <a:gd name="T25" fmla="*/ 2147483647 h 448"/>
                  <a:gd name="T26" fmla="*/ 2147483647 w 388"/>
                  <a:gd name="T27" fmla="*/ 2147483647 h 448"/>
                  <a:gd name="T28" fmla="*/ 2147483647 w 388"/>
                  <a:gd name="T29" fmla="*/ 2147483647 h 448"/>
                  <a:gd name="T30" fmla="*/ 2147483647 w 388"/>
                  <a:gd name="T31" fmla="*/ 2147483647 h 448"/>
                  <a:gd name="T32" fmla="*/ 2147483647 w 388"/>
                  <a:gd name="T33" fmla="*/ 2147483647 h 448"/>
                  <a:gd name="T34" fmla="*/ 2147483647 w 388"/>
                  <a:gd name="T35" fmla="*/ 2147483647 h 448"/>
                  <a:gd name="T36" fmla="*/ 2147483647 w 388"/>
                  <a:gd name="T37" fmla="*/ 2147483647 h 448"/>
                  <a:gd name="T38" fmla="*/ 2147483647 w 388"/>
                  <a:gd name="T39" fmla="*/ 2147483647 h 448"/>
                  <a:gd name="T40" fmla="*/ 2147483647 w 388"/>
                  <a:gd name="T41" fmla="*/ 2147483647 h 448"/>
                  <a:gd name="T42" fmla="*/ 2147483647 w 388"/>
                  <a:gd name="T43" fmla="*/ 2147483647 h 448"/>
                  <a:gd name="T44" fmla="*/ 2147483647 w 388"/>
                  <a:gd name="T45" fmla="*/ 2147483647 h 448"/>
                  <a:gd name="T46" fmla="*/ 2147483647 w 388"/>
                  <a:gd name="T47" fmla="*/ 2147483647 h 448"/>
                  <a:gd name="T48" fmla="*/ 2147483647 w 388"/>
                  <a:gd name="T49" fmla="*/ 2147483647 h 448"/>
                  <a:gd name="T50" fmla="*/ 2147483647 w 388"/>
                  <a:gd name="T51" fmla="*/ 2147483647 h 448"/>
                  <a:gd name="T52" fmla="*/ 2147483647 w 388"/>
                  <a:gd name="T53" fmla="*/ 2147483647 h 448"/>
                  <a:gd name="T54" fmla="*/ 2147483647 w 388"/>
                  <a:gd name="T55" fmla="*/ 2147483647 h 448"/>
                  <a:gd name="T56" fmla="*/ 2147483647 w 388"/>
                  <a:gd name="T57" fmla="*/ 2147483647 h 448"/>
                  <a:gd name="T58" fmla="*/ 2147483647 w 388"/>
                  <a:gd name="T59" fmla="*/ 2147483647 h 448"/>
                  <a:gd name="T60" fmla="*/ 2147483647 w 388"/>
                  <a:gd name="T61" fmla="*/ 2147483647 h 448"/>
                  <a:gd name="T62" fmla="*/ 2147483647 w 388"/>
                  <a:gd name="T63" fmla="*/ 2147483647 h 448"/>
                  <a:gd name="T64" fmla="*/ 2147483647 w 388"/>
                  <a:gd name="T65" fmla="*/ 2147483647 h 448"/>
                  <a:gd name="T66" fmla="*/ 2147483647 w 388"/>
                  <a:gd name="T67" fmla="*/ 2147483647 h 448"/>
                  <a:gd name="T68" fmla="*/ 2147483647 w 388"/>
                  <a:gd name="T69" fmla="*/ 2147483647 h 448"/>
                  <a:gd name="T70" fmla="*/ 2147483647 w 388"/>
                  <a:gd name="T71" fmla="*/ 2147483647 h 448"/>
                  <a:gd name="T72" fmla="*/ 2147483647 w 388"/>
                  <a:gd name="T73" fmla="*/ 2147483647 h 448"/>
                  <a:gd name="T74" fmla="*/ 2147483647 w 388"/>
                  <a:gd name="T75" fmla="*/ 2147483647 h 448"/>
                  <a:gd name="T76" fmla="*/ 2147483647 w 388"/>
                  <a:gd name="T77" fmla="*/ 2147483647 h 448"/>
                  <a:gd name="T78" fmla="*/ 2147483647 w 388"/>
                  <a:gd name="T79" fmla="*/ 2147483647 h 448"/>
                  <a:gd name="T80" fmla="*/ 2147483647 w 388"/>
                  <a:gd name="T81" fmla="*/ 2147483647 h 448"/>
                  <a:gd name="T82" fmla="*/ 2147483647 w 388"/>
                  <a:gd name="T83" fmla="*/ 2147483647 h 448"/>
                  <a:gd name="T84" fmla="*/ 2147483647 w 388"/>
                  <a:gd name="T85" fmla="*/ 2147483647 h 448"/>
                  <a:gd name="T86" fmla="*/ 2147483647 w 388"/>
                  <a:gd name="T87" fmla="*/ 2147483647 h 448"/>
                  <a:gd name="T88" fmla="*/ 2147483647 w 388"/>
                  <a:gd name="T89" fmla="*/ 2147483647 h 448"/>
                  <a:gd name="T90" fmla="*/ 2147483647 w 388"/>
                  <a:gd name="T91" fmla="*/ 2147483647 h 448"/>
                  <a:gd name="T92" fmla="*/ 2147483647 w 388"/>
                  <a:gd name="T93" fmla="*/ 2147483647 h 448"/>
                  <a:gd name="T94" fmla="*/ 2147483647 w 388"/>
                  <a:gd name="T95" fmla="*/ 2147483647 h 448"/>
                  <a:gd name="T96" fmla="*/ 2147483647 w 388"/>
                  <a:gd name="T97" fmla="*/ 2147483647 h 448"/>
                  <a:gd name="T98" fmla="*/ 2147483647 w 388"/>
                  <a:gd name="T99" fmla="*/ 2147483647 h 448"/>
                  <a:gd name="T100" fmla="*/ 2147483647 w 388"/>
                  <a:gd name="T101" fmla="*/ 2147483647 h 448"/>
                  <a:gd name="T102" fmla="*/ 2147483647 w 388"/>
                  <a:gd name="T103" fmla="*/ 2147483647 h 448"/>
                  <a:gd name="T104" fmla="*/ 2147483647 w 388"/>
                  <a:gd name="T105" fmla="*/ 2147483647 h 448"/>
                  <a:gd name="T106" fmla="*/ 2147483647 w 388"/>
                  <a:gd name="T107" fmla="*/ 2147483647 h 448"/>
                  <a:gd name="T108" fmla="*/ 2147483647 w 388"/>
                  <a:gd name="T109" fmla="*/ 2147483647 h 448"/>
                  <a:gd name="T110" fmla="*/ 2147483647 w 388"/>
                  <a:gd name="T111" fmla="*/ 2147483647 h 44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388"/>
                  <a:gd name="T169" fmla="*/ 0 h 448"/>
                  <a:gd name="T170" fmla="*/ 388 w 388"/>
                  <a:gd name="T171" fmla="*/ 448 h 448"/>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388" h="448">
                    <a:moveTo>
                      <a:pt x="131" y="448"/>
                    </a:moveTo>
                    <a:lnTo>
                      <a:pt x="129" y="444"/>
                    </a:lnTo>
                    <a:lnTo>
                      <a:pt x="125" y="442"/>
                    </a:lnTo>
                    <a:lnTo>
                      <a:pt x="123" y="434"/>
                    </a:lnTo>
                    <a:lnTo>
                      <a:pt x="121" y="428"/>
                    </a:lnTo>
                    <a:lnTo>
                      <a:pt x="119" y="424"/>
                    </a:lnTo>
                    <a:lnTo>
                      <a:pt x="117" y="423"/>
                    </a:lnTo>
                    <a:lnTo>
                      <a:pt x="113" y="415"/>
                    </a:lnTo>
                    <a:lnTo>
                      <a:pt x="111" y="409"/>
                    </a:lnTo>
                    <a:lnTo>
                      <a:pt x="109" y="405"/>
                    </a:lnTo>
                    <a:lnTo>
                      <a:pt x="106" y="403"/>
                    </a:lnTo>
                    <a:lnTo>
                      <a:pt x="109" y="401"/>
                    </a:lnTo>
                    <a:lnTo>
                      <a:pt x="111" y="400"/>
                    </a:lnTo>
                    <a:lnTo>
                      <a:pt x="113" y="392"/>
                    </a:lnTo>
                    <a:lnTo>
                      <a:pt x="115" y="375"/>
                    </a:lnTo>
                    <a:lnTo>
                      <a:pt x="113" y="357"/>
                    </a:lnTo>
                    <a:lnTo>
                      <a:pt x="111" y="352"/>
                    </a:lnTo>
                    <a:lnTo>
                      <a:pt x="109" y="348"/>
                    </a:lnTo>
                    <a:lnTo>
                      <a:pt x="106" y="346"/>
                    </a:lnTo>
                    <a:lnTo>
                      <a:pt x="104" y="338"/>
                    </a:lnTo>
                    <a:lnTo>
                      <a:pt x="102" y="330"/>
                    </a:lnTo>
                    <a:lnTo>
                      <a:pt x="98" y="329"/>
                    </a:lnTo>
                    <a:lnTo>
                      <a:pt x="96" y="327"/>
                    </a:lnTo>
                    <a:lnTo>
                      <a:pt x="88" y="325"/>
                    </a:lnTo>
                    <a:lnTo>
                      <a:pt x="83" y="321"/>
                    </a:lnTo>
                    <a:lnTo>
                      <a:pt x="79" y="319"/>
                    </a:lnTo>
                    <a:lnTo>
                      <a:pt x="77" y="317"/>
                    </a:lnTo>
                    <a:lnTo>
                      <a:pt x="65" y="313"/>
                    </a:lnTo>
                    <a:lnTo>
                      <a:pt x="54" y="311"/>
                    </a:lnTo>
                    <a:lnTo>
                      <a:pt x="50" y="309"/>
                    </a:lnTo>
                    <a:lnTo>
                      <a:pt x="48" y="307"/>
                    </a:lnTo>
                    <a:lnTo>
                      <a:pt x="40" y="304"/>
                    </a:lnTo>
                    <a:lnTo>
                      <a:pt x="35" y="302"/>
                    </a:lnTo>
                    <a:lnTo>
                      <a:pt x="31" y="300"/>
                    </a:lnTo>
                    <a:lnTo>
                      <a:pt x="29" y="298"/>
                    </a:lnTo>
                    <a:lnTo>
                      <a:pt x="21" y="294"/>
                    </a:lnTo>
                    <a:lnTo>
                      <a:pt x="13" y="292"/>
                    </a:lnTo>
                    <a:lnTo>
                      <a:pt x="12" y="290"/>
                    </a:lnTo>
                    <a:lnTo>
                      <a:pt x="10" y="286"/>
                    </a:lnTo>
                    <a:lnTo>
                      <a:pt x="8" y="284"/>
                    </a:lnTo>
                    <a:lnTo>
                      <a:pt x="4" y="282"/>
                    </a:lnTo>
                    <a:lnTo>
                      <a:pt x="2" y="281"/>
                    </a:lnTo>
                    <a:lnTo>
                      <a:pt x="0" y="279"/>
                    </a:lnTo>
                    <a:lnTo>
                      <a:pt x="2" y="275"/>
                    </a:lnTo>
                    <a:lnTo>
                      <a:pt x="4" y="273"/>
                    </a:lnTo>
                    <a:lnTo>
                      <a:pt x="8" y="271"/>
                    </a:lnTo>
                    <a:lnTo>
                      <a:pt x="10" y="269"/>
                    </a:lnTo>
                    <a:lnTo>
                      <a:pt x="12" y="265"/>
                    </a:lnTo>
                    <a:lnTo>
                      <a:pt x="13" y="263"/>
                    </a:lnTo>
                    <a:lnTo>
                      <a:pt x="21" y="261"/>
                    </a:lnTo>
                    <a:lnTo>
                      <a:pt x="29" y="258"/>
                    </a:lnTo>
                    <a:lnTo>
                      <a:pt x="31" y="256"/>
                    </a:lnTo>
                    <a:lnTo>
                      <a:pt x="35" y="254"/>
                    </a:lnTo>
                    <a:lnTo>
                      <a:pt x="37" y="256"/>
                    </a:lnTo>
                    <a:lnTo>
                      <a:pt x="38" y="258"/>
                    </a:lnTo>
                    <a:lnTo>
                      <a:pt x="48" y="258"/>
                    </a:lnTo>
                    <a:lnTo>
                      <a:pt x="58" y="258"/>
                    </a:lnTo>
                    <a:lnTo>
                      <a:pt x="60" y="256"/>
                    </a:lnTo>
                    <a:lnTo>
                      <a:pt x="63" y="254"/>
                    </a:lnTo>
                    <a:lnTo>
                      <a:pt x="65" y="252"/>
                    </a:lnTo>
                    <a:lnTo>
                      <a:pt x="67" y="248"/>
                    </a:lnTo>
                    <a:lnTo>
                      <a:pt x="69" y="246"/>
                    </a:lnTo>
                    <a:lnTo>
                      <a:pt x="73" y="244"/>
                    </a:lnTo>
                    <a:lnTo>
                      <a:pt x="73" y="235"/>
                    </a:lnTo>
                    <a:lnTo>
                      <a:pt x="73" y="225"/>
                    </a:lnTo>
                    <a:lnTo>
                      <a:pt x="69" y="221"/>
                    </a:lnTo>
                    <a:lnTo>
                      <a:pt x="67" y="219"/>
                    </a:lnTo>
                    <a:lnTo>
                      <a:pt x="65" y="217"/>
                    </a:lnTo>
                    <a:lnTo>
                      <a:pt x="63" y="215"/>
                    </a:lnTo>
                    <a:lnTo>
                      <a:pt x="60" y="213"/>
                    </a:lnTo>
                    <a:lnTo>
                      <a:pt x="58" y="210"/>
                    </a:lnTo>
                    <a:lnTo>
                      <a:pt x="56" y="202"/>
                    </a:lnTo>
                    <a:lnTo>
                      <a:pt x="54" y="196"/>
                    </a:lnTo>
                    <a:lnTo>
                      <a:pt x="50" y="192"/>
                    </a:lnTo>
                    <a:lnTo>
                      <a:pt x="48" y="190"/>
                    </a:lnTo>
                    <a:lnTo>
                      <a:pt x="50" y="188"/>
                    </a:lnTo>
                    <a:lnTo>
                      <a:pt x="54" y="187"/>
                    </a:lnTo>
                    <a:lnTo>
                      <a:pt x="56" y="183"/>
                    </a:lnTo>
                    <a:lnTo>
                      <a:pt x="58" y="181"/>
                    </a:lnTo>
                    <a:lnTo>
                      <a:pt x="60" y="179"/>
                    </a:lnTo>
                    <a:lnTo>
                      <a:pt x="63" y="177"/>
                    </a:lnTo>
                    <a:lnTo>
                      <a:pt x="90" y="173"/>
                    </a:lnTo>
                    <a:lnTo>
                      <a:pt x="117" y="171"/>
                    </a:lnTo>
                    <a:lnTo>
                      <a:pt x="119" y="169"/>
                    </a:lnTo>
                    <a:lnTo>
                      <a:pt x="121" y="167"/>
                    </a:lnTo>
                    <a:lnTo>
                      <a:pt x="123" y="164"/>
                    </a:lnTo>
                    <a:lnTo>
                      <a:pt x="125" y="162"/>
                    </a:lnTo>
                    <a:lnTo>
                      <a:pt x="129" y="160"/>
                    </a:lnTo>
                    <a:lnTo>
                      <a:pt x="131" y="158"/>
                    </a:lnTo>
                    <a:lnTo>
                      <a:pt x="132" y="144"/>
                    </a:lnTo>
                    <a:lnTo>
                      <a:pt x="134" y="133"/>
                    </a:lnTo>
                    <a:lnTo>
                      <a:pt x="138" y="131"/>
                    </a:lnTo>
                    <a:lnTo>
                      <a:pt x="140" y="127"/>
                    </a:lnTo>
                    <a:lnTo>
                      <a:pt x="140" y="100"/>
                    </a:lnTo>
                    <a:lnTo>
                      <a:pt x="138" y="75"/>
                    </a:lnTo>
                    <a:lnTo>
                      <a:pt x="146" y="66"/>
                    </a:lnTo>
                    <a:lnTo>
                      <a:pt x="155" y="54"/>
                    </a:lnTo>
                    <a:lnTo>
                      <a:pt x="157" y="52"/>
                    </a:lnTo>
                    <a:lnTo>
                      <a:pt x="159" y="50"/>
                    </a:lnTo>
                    <a:lnTo>
                      <a:pt x="161" y="48"/>
                    </a:lnTo>
                    <a:lnTo>
                      <a:pt x="165" y="46"/>
                    </a:lnTo>
                    <a:lnTo>
                      <a:pt x="167" y="43"/>
                    </a:lnTo>
                    <a:lnTo>
                      <a:pt x="169" y="41"/>
                    </a:lnTo>
                    <a:lnTo>
                      <a:pt x="171" y="39"/>
                    </a:lnTo>
                    <a:lnTo>
                      <a:pt x="175" y="37"/>
                    </a:lnTo>
                    <a:lnTo>
                      <a:pt x="177" y="33"/>
                    </a:lnTo>
                    <a:lnTo>
                      <a:pt x="179" y="31"/>
                    </a:lnTo>
                    <a:lnTo>
                      <a:pt x="180" y="29"/>
                    </a:lnTo>
                    <a:lnTo>
                      <a:pt x="184" y="25"/>
                    </a:lnTo>
                    <a:lnTo>
                      <a:pt x="186" y="23"/>
                    </a:lnTo>
                    <a:lnTo>
                      <a:pt x="188" y="22"/>
                    </a:lnTo>
                    <a:lnTo>
                      <a:pt x="203" y="10"/>
                    </a:lnTo>
                    <a:lnTo>
                      <a:pt x="217" y="0"/>
                    </a:lnTo>
                    <a:lnTo>
                      <a:pt x="221" y="0"/>
                    </a:lnTo>
                    <a:lnTo>
                      <a:pt x="225" y="2"/>
                    </a:lnTo>
                    <a:lnTo>
                      <a:pt x="226" y="6"/>
                    </a:lnTo>
                    <a:lnTo>
                      <a:pt x="228" y="10"/>
                    </a:lnTo>
                    <a:lnTo>
                      <a:pt x="225" y="18"/>
                    </a:lnTo>
                    <a:lnTo>
                      <a:pt x="223" y="22"/>
                    </a:lnTo>
                    <a:lnTo>
                      <a:pt x="223" y="33"/>
                    </a:lnTo>
                    <a:lnTo>
                      <a:pt x="223" y="39"/>
                    </a:lnTo>
                    <a:lnTo>
                      <a:pt x="225" y="41"/>
                    </a:lnTo>
                    <a:lnTo>
                      <a:pt x="226" y="41"/>
                    </a:lnTo>
                    <a:lnTo>
                      <a:pt x="230" y="43"/>
                    </a:lnTo>
                    <a:lnTo>
                      <a:pt x="232" y="46"/>
                    </a:lnTo>
                    <a:lnTo>
                      <a:pt x="230" y="48"/>
                    </a:lnTo>
                    <a:lnTo>
                      <a:pt x="226" y="50"/>
                    </a:lnTo>
                    <a:lnTo>
                      <a:pt x="225" y="58"/>
                    </a:lnTo>
                    <a:lnTo>
                      <a:pt x="223" y="66"/>
                    </a:lnTo>
                    <a:lnTo>
                      <a:pt x="219" y="68"/>
                    </a:lnTo>
                    <a:lnTo>
                      <a:pt x="217" y="70"/>
                    </a:lnTo>
                    <a:lnTo>
                      <a:pt x="215" y="83"/>
                    </a:lnTo>
                    <a:lnTo>
                      <a:pt x="213" y="94"/>
                    </a:lnTo>
                    <a:lnTo>
                      <a:pt x="209" y="96"/>
                    </a:lnTo>
                    <a:lnTo>
                      <a:pt x="207" y="98"/>
                    </a:lnTo>
                    <a:lnTo>
                      <a:pt x="205" y="106"/>
                    </a:lnTo>
                    <a:lnTo>
                      <a:pt x="203" y="114"/>
                    </a:lnTo>
                    <a:lnTo>
                      <a:pt x="202" y="116"/>
                    </a:lnTo>
                    <a:lnTo>
                      <a:pt x="198" y="119"/>
                    </a:lnTo>
                    <a:lnTo>
                      <a:pt x="198" y="127"/>
                    </a:lnTo>
                    <a:lnTo>
                      <a:pt x="198" y="137"/>
                    </a:lnTo>
                    <a:lnTo>
                      <a:pt x="202" y="141"/>
                    </a:lnTo>
                    <a:lnTo>
                      <a:pt x="203" y="142"/>
                    </a:lnTo>
                    <a:lnTo>
                      <a:pt x="203" y="146"/>
                    </a:lnTo>
                    <a:lnTo>
                      <a:pt x="203" y="152"/>
                    </a:lnTo>
                    <a:lnTo>
                      <a:pt x="202" y="154"/>
                    </a:lnTo>
                    <a:lnTo>
                      <a:pt x="198" y="158"/>
                    </a:lnTo>
                    <a:lnTo>
                      <a:pt x="198" y="167"/>
                    </a:lnTo>
                    <a:lnTo>
                      <a:pt x="198" y="177"/>
                    </a:lnTo>
                    <a:lnTo>
                      <a:pt x="202" y="179"/>
                    </a:lnTo>
                    <a:lnTo>
                      <a:pt x="203" y="181"/>
                    </a:lnTo>
                    <a:lnTo>
                      <a:pt x="205" y="188"/>
                    </a:lnTo>
                    <a:lnTo>
                      <a:pt x="207" y="196"/>
                    </a:lnTo>
                    <a:lnTo>
                      <a:pt x="209" y="198"/>
                    </a:lnTo>
                    <a:lnTo>
                      <a:pt x="213" y="200"/>
                    </a:lnTo>
                    <a:lnTo>
                      <a:pt x="217" y="200"/>
                    </a:lnTo>
                    <a:lnTo>
                      <a:pt x="223" y="200"/>
                    </a:lnTo>
                    <a:lnTo>
                      <a:pt x="225" y="198"/>
                    </a:lnTo>
                    <a:lnTo>
                      <a:pt x="226" y="196"/>
                    </a:lnTo>
                    <a:lnTo>
                      <a:pt x="234" y="192"/>
                    </a:lnTo>
                    <a:lnTo>
                      <a:pt x="242" y="190"/>
                    </a:lnTo>
                    <a:lnTo>
                      <a:pt x="244" y="188"/>
                    </a:lnTo>
                    <a:lnTo>
                      <a:pt x="246" y="187"/>
                    </a:lnTo>
                    <a:lnTo>
                      <a:pt x="249" y="183"/>
                    </a:lnTo>
                    <a:lnTo>
                      <a:pt x="251" y="181"/>
                    </a:lnTo>
                    <a:lnTo>
                      <a:pt x="253" y="179"/>
                    </a:lnTo>
                    <a:lnTo>
                      <a:pt x="255" y="177"/>
                    </a:lnTo>
                    <a:lnTo>
                      <a:pt x="274" y="177"/>
                    </a:lnTo>
                    <a:lnTo>
                      <a:pt x="296" y="177"/>
                    </a:lnTo>
                    <a:lnTo>
                      <a:pt x="297" y="179"/>
                    </a:lnTo>
                    <a:lnTo>
                      <a:pt x="299" y="181"/>
                    </a:lnTo>
                    <a:lnTo>
                      <a:pt x="299" y="188"/>
                    </a:lnTo>
                    <a:lnTo>
                      <a:pt x="299" y="196"/>
                    </a:lnTo>
                    <a:lnTo>
                      <a:pt x="309" y="192"/>
                    </a:lnTo>
                    <a:lnTo>
                      <a:pt x="319" y="190"/>
                    </a:lnTo>
                    <a:lnTo>
                      <a:pt x="322" y="188"/>
                    </a:lnTo>
                    <a:lnTo>
                      <a:pt x="324" y="187"/>
                    </a:lnTo>
                    <a:lnTo>
                      <a:pt x="332" y="183"/>
                    </a:lnTo>
                    <a:lnTo>
                      <a:pt x="338" y="181"/>
                    </a:lnTo>
                    <a:lnTo>
                      <a:pt x="340" y="179"/>
                    </a:lnTo>
                    <a:lnTo>
                      <a:pt x="344" y="177"/>
                    </a:lnTo>
                    <a:lnTo>
                      <a:pt x="345" y="179"/>
                    </a:lnTo>
                    <a:lnTo>
                      <a:pt x="349" y="181"/>
                    </a:lnTo>
                    <a:lnTo>
                      <a:pt x="351" y="188"/>
                    </a:lnTo>
                    <a:lnTo>
                      <a:pt x="353" y="196"/>
                    </a:lnTo>
                    <a:lnTo>
                      <a:pt x="355" y="198"/>
                    </a:lnTo>
                    <a:lnTo>
                      <a:pt x="357" y="200"/>
                    </a:lnTo>
                    <a:lnTo>
                      <a:pt x="365" y="202"/>
                    </a:lnTo>
                    <a:lnTo>
                      <a:pt x="372" y="206"/>
                    </a:lnTo>
                    <a:lnTo>
                      <a:pt x="374" y="208"/>
                    </a:lnTo>
                    <a:lnTo>
                      <a:pt x="378" y="210"/>
                    </a:lnTo>
                    <a:lnTo>
                      <a:pt x="380" y="213"/>
                    </a:lnTo>
                    <a:lnTo>
                      <a:pt x="382" y="215"/>
                    </a:lnTo>
                    <a:lnTo>
                      <a:pt x="384" y="217"/>
                    </a:lnTo>
                    <a:lnTo>
                      <a:pt x="388" y="219"/>
                    </a:lnTo>
                    <a:lnTo>
                      <a:pt x="384" y="221"/>
                    </a:lnTo>
                    <a:lnTo>
                      <a:pt x="382" y="225"/>
                    </a:lnTo>
                    <a:lnTo>
                      <a:pt x="380" y="227"/>
                    </a:lnTo>
                    <a:lnTo>
                      <a:pt x="378" y="229"/>
                    </a:lnTo>
                    <a:lnTo>
                      <a:pt x="374" y="233"/>
                    </a:lnTo>
                    <a:lnTo>
                      <a:pt x="372" y="235"/>
                    </a:lnTo>
                    <a:lnTo>
                      <a:pt x="370" y="236"/>
                    </a:lnTo>
                    <a:lnTo>
                      <a:pt x="367" y="238"/>
                    </a:lnTo>
                    <a:lnTo>
                      <a:pt x="365" y="242"/>
                    </a:lnTo>
                    <a:lnTo>
                      <a:pt x="363" y="244"/>
                    </a:lnTo>
                    <a:lnTo>
                      <a:pt x="361" y="252"/>
                    </a:lnTo>
                    <a:lnTo>
                      <a:pt x="357" y="258"/>
                    </a:lnTo>
                    <a:lnTo>
                      <a:pt x="355" y="261"/>
                    </a:lnTo>
                    <a:lnTo>
                      <a:pt x="353" y="263"/>
                    </a:lnTo>
                    <a:lnTo>
                      <a:pt x="351" y="265"/>
                    </a:lnTo>
                    <a:lnTo>
                      <a:pt x="349" y="269"/>
                    </a:lnTo>
                    <a:lnTo>
                      <a:pt x="345" y="271"/>
                    </a:lnTo>
                    <a:lnTo>
                      <a:pt x="344" y="273"/>
                    </a:lnTo>
                    <a:lnTo>
                      <a:pt x="340" y="300"/>
                    </a:lnTo>
                    <a:lnTo>
                      <a:pt x="338" y="327"/>
                    </a:lnTo>
                    <a:lnTo>
                      <a:pt x="336" y="329"/>
                    </a:lnTo>
                    <a:lnTo>
                      <a:pt x="334" y="330"/>
                    </a:lnTo>
                    <a:lnTo>
                      <a:pt x="330" y="332"/>
                    </a:lnTo>
                    <a:lnTo>
                      <a:pt x="328" y="336"/>
                    </a:lnTo>
                    <a:lnTo>
                      <a:pt x="326" y="338"/>
                    </a:lnTo>
                    <a:lnTo>
                      <a:pt x="324" y="340"/>
                    </a:lnTo>
                    <a:lnTo>
                      <a:pt x="319" y="340"/>
                    </a:lnTo>
                    <a:lnTo>
                      <a:pt x="315" y="340"/>
                    </a:lnTo>
                    <a:lnTo>
                      <a:pt x="311" y="338"/>
                    </a:lnTo>
                    <a:lnTo>
                      <a:pt x="309" y="336"/>
                    </a:lnTo>
                    <a:lnTo>
                      <a:pt x="301" y="332"/>
                    </a:lnTo>
                    <a:lnTo>
                      <a:pt x="296" y="330"/>
                    </a:lnTo>
                    <a:lnTo>
                      <a:pt x="292" y="329"/>
                    </a:lnTo>
                    <a:lnTo>
                      <a:pt x="290" y="327"/>
                    </a:lnTo>
                    <a:lnTo>
                      <a:pt x="288" y="325"/>
                    </a:lnTo>
                    <a:lnTo>
                      <a:pt x="284" y="321"/>
                    </a:lnTo>
                    <a:lnTo>
                      <a:pt x="282" y="319"/>
                    </a:lnTo>
                    <a:lnTo>
                      <a:pt x="280" y="317"/>
                    </a:lnTo>
                    <a:lnTo>
                      <a:pt x="273" y="313"/>
                    </a:lnTo>
                    <a:lnTo>
                      <a:pt x="267" y="311"/>
                    </a:lnTo>
                    <a:lnTo>
                      <a:pt x="263" y="309"/>
                    </a:lnTo>
                    <a:lnTo>
                      <a:pt x="261" y="307"/>
                    </a:lnTo>
                    <a:lnTo>
                      <a:pt x="255" y="307"/>
                    </a:lnTo>
                    <a:lnTo>
                      <a:pt x="251" y="307"/>
                    </a:lnTo>
                    <a:lnTo>
                      <a:pt x="249" y="309"/>
                    </a:lnTo>
                    <a:lnTo>
                      <a:pt x="246" y="311"/>
                    </a:lnTo>
                    <a:lnTo>
                      <a:pt x="244" y="313"/>
                    </a:lnTo>
                    <a:lnTo>
                      <a:pt x="242" y="317"/>
                    </a:lnTo>
                    <a:lnTo>
                      <a:pt x="240" y="319"/>
                    </a:lnTo>
                    <a:lnTo>
                      <a:pt x="236" y="321"/>
                    </a:lnTo>
                    <a:lnTo>
                      <a:pt x="234" y="332"/>
                    </a:lnTo>
                    <a:lnTo>
                      <a:pt x="232" y="346"/>
                    </a:lnTo>
                    <a:lnTo>
                      <a:pt x="230" y="348"/>
                    </a:lnTo>
                    <a:lnTo>
                      <a:pt x="226" y="352"/>
                    </a:lnTo>
                    <a:lnTo>
                      <a:pt x="225" y="353"/>
                    </a:lnTo>
                    <a:lnTo>
                      <a:pt x="223" y="355"/>
                    </a:lnTo>
                    <a:lnTo>
                      <a:pt x="219" y="357"/>
                    </a:lnTo>
                    <a:lnTo>
                      <a:pt x="217" y="359"/>
                    </a:lnTo>
                    <a:lnTo>
                      <a:pt x="215" y="363"/>
                    </a:lnTo>
                    <a:lnTo>
                      <a:pt x="213" y="365"/>
                    </a:lnTo>
                    <a:lnTo>
                      <a:pt x="209" y="367"/>
                    </a:lnTo>
                    <a:lnTo>
                      <a:pt x="207" y="369"/>
                    </a:lnTo>
                    <a:lnTo>
                      <a:pt x="205" y="367"/>
                    </a:lnTo>
                    <a:lnTo>
                      <a:pt x="203" y="365"/>
                    </a:lnTo>
                    <a:lnTo>
                      <a:pt x="200" y="361"/>
                    </a:lnTo>
                    <a:lnTo>
                      <a:pt x="194" y="361"/>
                    </a:lnTo>
                    <a:lnTo>
                      <a:pt x="186" y="361"/>
                    </a:lnTo>
                    <a:lnTo>
                      <a:pt x="184" y="365"/>
                    </a:lnTo>
                    <a:lnTo>
                      <a:pt x="180" y="367"/>
                    </a:lnTo>
                    <a:lnTo>
                      <a:pt x="179" y="369"/>
                    </a:lnTo>
                    <a:lnTo>
                      <a:pt x="177" y="377"/>
                    </a:lnTo>
                    <a:lnTo>
                      <a:pt x="175" y="384"/>
                    </a:lnTo>
                    <a:lnTo>
                      <a:pt x="171" y="386"/>
                    </a:lnTo>
                    <a:lnTo>
                      <a:pt x="169" y="390"/>
                    </a:lnTo>
                    <a:lnTo>
                      <a:pt x="167" y="396"/>
                    </a:lnTo>
                    <a:lnTo>
                      <a:pt x="165" y="403"/>
                    </a:lnTo>
                    <a:lnTo>
                      <a:pt x="161" y="405"/>
                    </a:lnTo>
                    <a:lnTo>
                      <a:pt x="159" y="409"/>
                    </a:lnTo>
                    <a:lnTo>
                      <a:pt x="157" y="415"/>
                    </a:lnTo>
                    <a:lnTo>
                      <a:pt x="155" y="423"/>
                    </a:lnTo>
                    <a:lnTo>
                      <a:pt x="152" y="424"/>
                    </a:lnTo>
                    <a:lnTo>
                      <a:pt x="150" y="428"/>
                    </a:lnTo>
                    <a:lnTo>
                      <a:pt x="148" y="430"/>
                    </a:lnTo>
                    <a:lnTo>
                      <a:pt x="146" y="432"/>
                    </a:lnTo>
                    <a:lnTo>
                      <a:pt x="142" y="434"/>
                    </a:lnTo>
                    <a:lnTo>
                      <a:pt x="140" y="438"/>
                    </a:lnTo>
                    <a:lnTo>
                      <a:pt x="134" y="442"/>
                    </a:lnTo>
                    <a:lnTo>
                      <a:pt x="131" y="448"/>
                    </a:lnTo>
                  </a:path>
                </a:pathLst>
              </a:custGeom>
              <a:grpFill/>
              <a:ln w="3175">
                <a:solidFill>
                  <a:srgbClr val="FF8300"/>
                </a:solidFill>
                <a:round/>
                <a:headEnd/>
                <a:tailEnd/>
              </a:ln>
            </p:spPr>
            <p:txBody>
              <a:bodyPr/>
              <a:lstStyle/>
              <a:p>
                <a:pPr>
                  <a:defRPr/>
                </a:pPr>
                <a:endParaRPr lang="en-GB" sz="1400">
                  <a:solidFill>
                    <a:schemeClr val="tx2"/>
                  </a:solidFill>
                </a:endParaRPr>
              </a:p>
            </p:txBody>
          </p:sp>
          <p:sp>
            <p:nvSpPr>
              <p:cNvPr id="379" name="Freeform 335"/>
              <p:cNvSpPr>
                <a:spLocks/>
              </p:cNvSpPr>
              <p:nvPr>
                <p:custDataLst>
                  <p:tags r:id="rId30"/>
                </p:custDataLst>
              </p:nvPr>
            </p:nvSpPr>
            <p:spPr bwMode="gray">
              <a:xfrm>
                <a:off x="1926428" y="4320465"/>
                <a:ext cx="367886" cy="231322"/>
              </a:xfrm>
              <a:custGeom>
                <a:avLst/>
                <a:gdLst>
                  <a:gd name="T0" fmla="*/ 2147483647 w 270"/>
                  <a:gd name="T1" fmla="*/ 2147483647 h 175"/>
                  <a:gd name="T2" fmla="*/ 2147483647 w 270"/>
                  <a:gd name="T3" fmla="*/ 2147483647 h 175"/>
                  <a:gd name="T4" fmla="*/ 2147483647 w 270"/>
                  <a:gd name="T5" fmla="*/ 2147483647 h 175"/>
                  <a:gd name="T6" fmla="*/ 2147483647 w 270"/>
                  <a:gd name="T7" fmla="*/ 2147483647 h 175"/>
                  <a:gd name="T8" fmla="*/ 2147483647 w 270"/>
                  <a:gd name="T9" fmla="*/ 2147483647 h 175"/>
                  <a:gd name="T10" fmla="*/ 2147483647 w 270"/>
                  <a:gd name="T11" fmla="*/ 2147483647 h 175"/>
                  <a:gd name="T12" fmla="*/ 2147483647 w 270"/>
                  <a:gd name="T13" fmla="*/ 2147483647 h 175"/>
                  <a:gd name="T14" fmla="*/ 2147483647 w 270"/>
                  <a:gd name="T15" fmla="*/ 2147483647 h 175"/>
                  <a:gd name="T16" fmla="*/ 2147483647 w 270"/>
                  <a:gd name="T17" fmla="*/ 2147483647 h 175"/>
                  <a:gd name="T18" fmla="*/ 2147483647 w 270"/>
                  <a:gd name="T19" fmla="*/ 2147483647 h 175"/>
                  <a:gd name="T20" fmla="*/ 2147483647 w 270"/>
                  <a:gd name="T21" fmla="*/ 2147483647 h 175"/>
                  <a:gd name="T22" fmla="*/ 0 w 270"/>
                  <a:gd name="T23" fmla="*/ 2147483647 h 175"/>
                  <a:gd name="T24" fmla="*/ 0 w 270"/>
                  <a:gd name="T25" fmla="*/ 2147483647 h 175"/>
                  <a:gd name="T26" fmla="*/ 2147483647 w 270"/>
                  <a:gd name="T27" fmla="*/ 2147483647 h 175"/>
                  <a:gd name="T28" fmla="*/ 2147483647 w 270"/>
                  <a:gd name="T29" fmla="*/ 2147483647 h 175"/>
                  <a:gd name="T30" fmla="*/ 0 w 270"/>
                  <a:gd name="T31" fmla="*/ 2147483647 h 175"/>
                  <a:gd name="T32" fmla="*/ 0 w 270"/>
                  <a:gd name="T33" fmla="*/ 2147483647 h 175"/>
                  <a:gd name="T34" fmla="*/ 2147483647 w 270"/>
                  <a:gd name="T35" fmla="*/ 2147483647 h 175"/>
                  <a:gd name="T36" fmla="*/ 2147483647 w 270"/>
                  <a:gd name="T37" fmla="*/ 0 h 175"/>
                  <a:gd name="T38" fmla="*/ 2147483647 w 270"/>
                  <a:gd name="T39" fmla="*/ 0 h 175"/>
                  <a:gd name="T40" fmla="*/ 2147483647 w 270"/>
                  <a:gd name="T41" fmla="*/ 2147483647 h 175"/>
                  <a:gd name="T42" fmla="*/ 2147483647 w 270"/>
                  <a:gd name="T43" fmla="*/ 2147483647 h 175"/>
                  <a:gd name="T44" fmla="*/ 2147483647 w 270"/>
                  <a:gd name="T45" fmla="*/ 0 h 175"/>
                  <a:gd name="T46" fmla="*/ 2147483647 w 270"/>
                  <a:gd name="T47" fmla="*/ 2147483647 h 175"/>
                  <a:gd name="T48" fmla="*/ 2147483647 w 270"/>
                  <a:gd name="T49" fmla="*/ 2147483647 h 175"/>
                  <a:gd name="T50" fmla="*/ 2147483647 w 270"/>
                  <a:gd name="T51" fmla="*/ 2147483647 h 175"/>
                  <a:gd name="T52" fmla="*/ 2147483647 w 270"/>
                  <a:gd name="T53" fmla="*/ 2147483647 h 175"/>
                  <a:gd name="T54" fmla="*/ 2147483647 w 270"/>
                  <a:gd name="T55" fmla="*/ 2147483647 h 175"/>
                  <a:gd name="T56" fmla="*/ 2147483647 w 270"/>
                  <a:gd name="T57" fmla="*/ 2147483647 h 175"/>
                  <a:gd name="T58" fmla="*/ 2147483647 w 270"/>
                  <a:gd name="T59" fmla="*/ 2147483647 h 175"/>
                  <a:gd name="T60" fmla="*/ 2147483647 w 270"/>
                  <a:gd name="T61" fmla="*/ 2147483647 h 175"/>
                  <a:gd name="T62" fmla="*/ 2147483647 w 270"/>
                  <a:gd name="T63" fmla="*/ 2147483647 h 175"/>
                  <a:gd name="T64" fmla="*/ 2147483647 w 270"/>
                  <a:gd name="T65" fmla="*/ 2147483647 h 175"/>
                  <a:gd name="T66" fmla="*/ 2147483647 w 270"/>
                  <a:gd name="T67" fmla="*/ 2147483647 h 175"/>
                  <a:gd name="T68" fmla="*/ 2147483647 w 270"/>
                  <a:gd name="T69" fmla="*/ 2147483647 h 175"/>
                  <a:gd name="T70" fmla="*/ 2147483647 w 270"/>
                  <a:gd name="T71" fmla="*/ 2147483647 h 175"/>
                  <a:gd name="T72" fmla="*/ 2147483647 w 270"/>
                  <a:gd name="T73" fmla="*/ 2147483647 h 175"/>
                  <a:gd name="T74" fmla="*/ 2147483647 w 270"/>
                  <a:gd name="T75" fmla="*/ 2147483647 h 175"/>
                  <a:gd name="T76" fmla="*/ 2147483647 w 270"/>
                  <a:gd name="T77" fmla="*/ 2147483647 h 175"/>
                  <a:gd name="T78" fmla="*/ 2147483647 w 270"/>
                  <a:gd name="T79" fmla="*/ 2147483647 h 175"/>
                  <a:gd name="T80" fmla="*/ 2147483647 w 270"/>
                  <a:gd name="T81" fmla="*/ 2147483647 h 175"/>
                  <a:gd name="T82" fmla="*/ 2147483647 w 270"/>
                  <a:gd name="T83" fmla="*/ 2147483647 h 175"/>
                  <a:gd name="T84" fmla="*/ 2147483647 w 270"/>
                  <a:gd name="T85" fmla="*/ 2147483647 h 175"/>
                  <a:gd name="T86" fmla="*/ 2147483647 w 270"/>
                  <a:gd name="T87" fmla="*/ 2147483647 h 175"/>
                  <a:gd name="T88" fmla="*/ 2147483647 w 270"/>
                  <a:gd name="T89" fmla="*/ 2147483647 h 175"/>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270"/>
                  <a:gd name="T136" fmla="*/ 0 h 175"/>
                  <a:gd name="T137" fmla="*/ 270 w 270"/>
                  <a:gd name="T138" fmla="*/ 175 h 175"/>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270" h="175">
                    <a:moveTo>
                      <a:pt x="149" y="175"/>
                    </a:moveTo>
                    <a:lnTo>
                      <a:pt x="148" y="171"/>
                    </a:lnTo>
                    <a:lnTo>
                      <a:pt x="146" y="169"/>
                    </a:lnTo>
                    <a:lnTo>
                      <a:pt x="144" y="167"/>
                    </a:lnTo>
                    <a:lnTo>
                      <a:pt x="140" y="165"/>
                    </a:lnTo>
                    <a:lnTo>
                      <a:pt x="138" y="161"/>
                    </a:lnTo>
                    <a:lnTo>
                      <a:pt x="136" y="159"/>
                    </a:lnTo>
                    <a:lnTo>
                      <a:pt x="134" y="157"/>
                    </a:lnTo>
                    <a:lnTo>
                      <a:pt x="130" y="155"/>
                    </a:lnTo>
                    <a:lnTo>
                      <a:pt x="128" y="152"/>
                    </a:lnTo>
                    <a:lnTo>
                      <a:pt x="126" y="150"/>
                    </a:lnTo>
                    <a:lnTo>
                      <a:pt x="117" y="150"/>
                    </a:lnTo>
                    <a:lnTo>
                      <a:pt x="107" y="150"/>
                    </a:lnTo>
                    <a:lnTo>
                      <a:pt x="105" y="152"/>
                    </a:lnTo>
                    <a:lnTo>
                      <a:pt x="102" y="155"/>
                    </a:lnTo>
                    <a:lnTo>
                      <a:pt x="88" y="152"/>
                    </a:lnTo>
                    <a:lnTo>
                      <a:pt x="73" y="150"/>
                    </a:lnTo>
                    <a:lnTo>
                      <a:pt x="59" y="148"/>
                    </a:lnTo>
                    <a:lnTo>
                      <a:pt x="44" y="146"/>
                    </a:lnTo>
                    <a:lnTo>
                      <a:pt x="42" y="142"/>
                    </a:lnTo>
                    <a:lnTo>
                      <a:pt x="38" y="140"/>
                    </a:lnTo>
                    <a:lnTo>
                      <a:pt x="36" y="130"/>
                    </a:lnTo>
                    <a:lnTo>
                      <a:pt x="34" y="125"/>
                    </a:lnTo>
                    <a:lnTo>
                      <a:pt x="31" y="121"/>
                    </a:lnTo>
                    <a:lnTo>
                      <a:pt x="25" y="115"/>
                    </a:lnTo>
                    <a:lnTo>
                      <a:pt x="23" y="113"/>
                    </a:lnTo>
                    <a:lnTo>
                      <a:pt x="21" y="111"/>
                    </a:lnTo>
                    <a:lnTo>
                      <a:pt x="17" y="109"/>
                    </a:lnTo>
                    <a:lnTo>
                      <a:pt x="15" y="107"/>
                    </a:lnTo>
                    <a:lnTo>
                      <a:pt x="13" y="104"/>
                    </a:lnTo>
                    <a:lnTo>
                      <a:pt x="9" y="102"/>
                    </a:lnTo>
                    <a:lnTo>
                      <a:pt x="8" y="100"/>
                    </a:lnTo>
                    <a:lnTo>
                      <a:pt x="6" y="96"/>
                    </a:lnTo>
                    <a:lnTo>
                      <a:pt x="2" y="94"/>
                    </a:lnTo>
                    <a:lnTo>
                      <a:pt x="0" y="92"/>
                    </a:lnTo>
                    <a:lnTo>
                      <a:pt x="0" y="84"/>
                    </a:lnTo>
                    <a:lnTo>
                      <a:pt x="0" y="77"/>
                    </a:lnTo>
                    <a:lnTo>
                      <a:pt x="0" y="75"/>
                    </a:lnTo>
                    <a:lnTo>
                      <a:pt x="0" y="73"/>
                    </a:lnTo>
                    <a:lnTo>
                      <a:pt x="2" y="69"/>
                    </a:lnTo>
                    <a:lnTo>
                      <a:pt x="6" y="67"/>
                    </a:lnTo>
                    <a:lnTo>
                      <a:pt x="8" y="63"/>
                    </a:lnTo>
                    <a:lnTo>
                      <a:pt x="9" y="54"/>
                    </a:lnTo>
                    <a:lnTo>
                      <a:pt x="8" y="42"/>
                    </a:lnTo>
                    <a:lnTo>
                      <a:pt x="6" y="38"/>
                    </a:lnTo>
                    <a:lnTo>
                      <a:pt x="2" y="36"/>
                    </a:lnTo>
                    <a:lnTo>
                      <a:pt x="0" y="34"/>
                    </a:lnTo>
                    <a:lnTo>
                      <a:pt x="0" y="31"/>
                    </a:lnTo>
                    <a:lnTo>
                      <a:pt x="0" y="29"/>
                    </a:lnTo>
                    <a:lnTo>
                      <a:pt x="0" y="27"/>
                    </a:lnTo>
                    <a:lnTo>
                      <a:pt x="0" y="25"/>
                    </a:lnTo>
                    <a:lnTo>
                      <a:pt x="2" y="21"/>
                    </a:lnTo>
                    <a:lnTo>
                      <a:pt x="6" y="19"/>
                    </a:lnTo>
                    <a:lnTo>
                      <a:pt x="8" y="10"/>
                    </a:lnTo>
                    <a:lnTo>
                      <a:pt x="9" y="0"/>
                    </a:lnTo>
                    <a:lnTo>
                      <a:pt x="25" y="0"/>
                    </a:lnTo>
                    <a:lnTo>
                      <a:pt x="38" y="0"/>
                    </a:lnTo>
                    <a:lnTo>
                      <a:pt x="44" y="0"/>
                    </a:lnTo>
                    <a:lnTo>
                      <a:pt x="50" y="0"/>
                    </a:lnTo>
                    <a:lnTo>
                      <a:pt x="54" y="0"/>
                    </a:lnTo>
                    <a:lnTo>
                      <a:pt x="59" y="0"/>
                    </a:lnTo>
                    <a:lnTo>
                      <a:pt x="59" y="4"/>
                    </a:lnTo>
                    <a:lnTo>
                      <a:pt x="59" y="10"/>
                    </a:lnTo>
                    <a:lnTo>
                      <a:pt x="73" y="10"/>
                    </a:lnTo>
                    <a:lnTo>
                      <a:pt x="88" y="10"/>
                    </a:lnTo>
                    <a:lnTo>
                      <a:pt x="88" y="4"/>
                    </a:lnTo>
                    <a:lnTo>
                      <a:pt x="88" y="0"/>
                    </a:lnTo>
                    <a:lnTo>
                      <a:pt x="92" y="0"/>
                    </a:lnTo>
                    <a:lnTo>
                      <a:pt x="98" y="0"/>
                    </a:lnTo>
                    <a:lnTo>
                      <a:pt x="100" y="4"/>
                    </a:lnTo>
                    <a:lnTo>
                      <a:pt x="102" y="10"/>
                    </a:lnTo>
                    <a:lnTo>
                      <a:pt x="105" y="11"/>
                    </a:lnTo>
                    <a:lnTo>
                      <a:pt x="107" y="13"/>
                    </a:lnTo>
                    <a:lnTo>
                      <a:pt x="109" y="17"/>
                    </a:lnTo>
                    <a:lnTo>
                      <a:pt x="111" y="19"/>
                    </a:lnTo>
                    <a:lnTo>
                      <a:pt x="113" y="21"/>
                    </a:lnTo>
                    <a:lnTo>
                      <a:pt x="117" y="25"/>
                    </a:lnTo>
                    <a:lnTo>
                      <a:pt x="119" y="27"/>
                    </a:lnTo>
                    <a:lnTo>
                      <a:pt x="121" y="29"/>
                    </a:lnTo>
                    <a:lnTo>
                      <a:pt x="123" y="31"/>
                    </a:lnTo>
                    <a:lnTo>
                      <a:pt x="126" y="34"/>
                    </a:lnTo>
                    <a:lnTo>
                      <a:pt x="128" y="36"/>
                    </a:lnTo>
                    <a:lnTo>
                      <a:pt x="130" y="38"/>
                    </a:lnTo>
                    <a:lnTo>
                      <a:pt x="134" y="40"/>
                    </a:lnTo>
                    <a:lnTo>
                      <a:pt x="136" y="42"/>
                    </a:lnTo>
                    <a:lnTo>
                      <a:pt x="138" y="46"/>
                    </a:lnTo>
                    <a:lnTo>
                      <a:pt x="140" y="48"/>
                    </a:lnTo>
                    <a:lnTo>
                      <a:pt x="144" y="50"/>
                    </a:lnTo>
                    <a:lnTo>
                      <a:pt x="146" y="54"/>
                    </a:lnTo>
                    <a:lnTo>
                      <a:pt x="148" y="56"/>
                    </a:lnTo>
                    <a:lnTo>
                      <a:pt x="149" y="58"/>
                    </a:lnTo>
                    <a:lnTo>
                      <a:pt x="153" y="59"/>
                    </a:lnTo>
                    <a:lnTo>
                      <a:pt x="155" y="63"/>
                    </a:lnTo>
                    <a:lnTo>
                      <a:pt x="157" y="65"/>
                    </a:lnTo>
                    <a:lnTo>
                      <a:pt x="161" y="67"/>
                    </a:lnTo>
                    <a:lnTo>
                      <a:pt x="163" y="69"/>
                    </a:lnTo>
                    <a:lnTo>
                      <a:pt x="165" y="73"/>
                    </a:lnTo>
                    <a:lnTo>
                      <a:pt x="173" y="75"/>
                    </a:lnTo>
                    <a:lnTo>
                      <a:pt x="180" y="77"/>
                    </a:lnTo>
                    <a:lnTo>
                      <a:pt x="182" y="81"/>
                    </a:lnTo>
                    <a:lnTo>
                      <a:pt x="184" y="82"/>
                    </a:lnTo>
                    <a:lnTo>
                      <a:pt x="192" y="84"/>
                    </a:lnTo>
                    <a:lnTo>
                      <a:pt x="199" y="86"/>
                    </a:lnTo>
                    <a:lnTo>
                      <a:pt x="201" y="88"/>
                    </a:lnTo>
                    <a:lnTo>
                      <a:pt x="203" y="92"/>
                    </a:lnTo>
                    <a:lnTo>
                      <a:pt x="211" y="94"/>
                    </a:lnTo>
                    <a:lnTo>
                      <a:pt x="228" y="96"/>
                    </a:lnTo>
                    <a:lnTo>
                      <a:pt x="245" y="94"/>
                    </a:lnTo>
                    <a:lnTo>
                      <a:pt x="253" y="92"/>
                    </a:lnTo>
                    <a:lnTo>
                      <a:pt x="255" y="88"/>
                    </a:lnTo>
                    <a:lnTo>
                      <a:pt x="257" y="86"/>
                    </a:lnTo>
                    <a:lnTo>
                      <a:pt x="259" y="79"/>
                    </a:lnTo>
                    <a:lnTo>
                      <a:pt x="261" y="73"/>
                    </a:lnTo>
                    <a:lnTo>
                      <a:pt x="265" y="69"/>
                    </a:lnTo>
                    <a:lnTo>
                      <a:pt x="267" y="67"/>
                    </a:lnTo>
                    <a:lnTo>
                      <a:pt x="268" y="88"/>
                    </a:lnTo>
                    <a:lnTo>
                      <a:pt x="270" y="111"/>
                    </a:lnTo>
                    <a:lnTo>
                      <a:pt x="268" y="113"/>
                    </a:lnTo>
                    <a:lnTo>
                      <a:pt x="267" y="115"/>
                    </a:lnTo>
                    <a:lnTo>
                      <a:pt x="265" y="129"/>
                    </a:lnTo>
                    <a:lnTo>
                      <a:pt x="261" y="140"/>
                    </a:lnTo>
                    <a:lnTo>
                      <a:pt x="259" y="142"/>
                    </a:lnTo>
                    <a:lnTo>
                      <a:pt x="257" y="146"/>
                    </a:lnTo>
                    <a:lnTo>
                      <a:pt x="255" y="148"/>
                    </a:lnTo>
                    <a:lnTo>
                      <a:pt x="253" y="150"/>
                    </a:lnTo>
                    <a:lnTo>
                      <a:pt x="249" y="152"/>
                    </a:lnTo>
                    <a:lnTo>
                      <a:pt x="247" y="155"/>
                    </a:lnTo>
                    <a:lnTo>
                      <a:pt x="220" y="157"/>
                    </a:lnTo>
                    <a:lnTo>
                      <a:pt x="194" y="159"/>
                    </a:lnTo>
                    <a:lnTo>
                      <a:pt x="192" y="161"/>
                    </a:lnTo>
                    <a:lnTo>
                      <a:pt x="190" y="165"/>
                    </a:lnTo>
                    <a:lnTo>
                      <a:pt x="186" y="167"/>
                    </a:lnTo>
                    <a:lnTo>
                      <a:pt x="184" y="169"/>
                    </a:lnTo>
                    <a:lnTo>
                      <a:pt x="182" y="171"/>
                    </a:lnTo>
                    <a:lnTo>
                      <a:pt x="180" y="175"/>
                    </a:lnTo>
                    <a:lnTo>
                      <a:pt x="165" y="175"/>
                    </a:lnTo>
                    <a:lnTo>
                      <a:pt x="149" y="175"/>
                    </a:lnTo>
                  </a:path>
                </a:pathLst>
              </a:custGeom>
              <a:grpFill/>
              <a:ln w="3175">
                <a:solidFill>
                  <a:srgbClr val="FF8300"/>
                </a:solidFill>
                <a:round/>
                <a:headEnd/>
                <a:tailEnd/>
              </a:ln>
            </p:spPr>
            <p:txBody>
              <a:bodyPr/>
              <a:lstStyle/>
              <a:p>
                <a:pPr>
                  <a:defRPr/>
                </a:pPr>
                <a:endParaRPr lang="en-GB" sz="1400">
                  <a:solidFill>
                    <a:schemeClr val="tx2"/>
                  </a:solidFill>
                </a:endParaRPr>
              </a:p>
            </p:txBody>
          </p:sp>
          <p:sp>
            <p:nvSpPr>
              <p:cNvPr id="380" name="Freeform 336"/>
              <p:cNvSpPr>
                <a:spLocks/>
              </p:cNvSpPr>
              <p:nvPr>
                <p:custDataLst>
                  <p:tags r:id="rId31"/>
                </p:custDataLst>
              </p:nvPr>
            </p:nvSpPr>
            <p:spPr bwMode="gray">
              <a:xfrm>
                <a:off x="1716008" y="3912168"/>
                <a:ext cx="673064" cy="521172"/>
              </a:xfrm>
              <a:custGeom>
                <a:avLst/>
                <a:gdLst>
                  <a:gd name="T0" fmla="*/ 2147483647 w 493"/>
                  <a:gd name="T1" fmla="*/ 2147483647 h 395"/>
                  <a:gd name="T2" fmla="*/ 2147483647 w 493"/>
                  <a:gd name="T3" fmla="*/ 2147483647 h 395"/>
                  <a:gd name="T4" fmla="*/ 2147483647 w 493"/>
                  <a:gd name="T5" fmla="*/ 2147483647 h 395"/>
                  <a:gd name="T6" fmla="*/ 2147483647 w 493"/>
                  <a:gd name="T7" fmla="*/ 2147483647 h 395"/>
                  <a:gd name="T8" fmla="*/ 2147483647 w 493"/>
                  <a:gd name="T9" fmla="*/ 2147483647 h 395"/>
                  <a:gd name="T10" fmla="*/ 2147483647 w 493"/>
                  <a:gd name="T11" fmla="*/ 2147483647 h 395"/>
                  <a:gd name="T12" fmla="*/ 2147483647 w 493"/>
                  <a:gd name="T13" fmla="*/ 2147483647 h 395"/>
                  <a:gd name="T14" fmla="*/ 2147483647 w 493"/>
                  <a:gd name="T15" fmla="*/ 2147483647 h 395"/>
                  <a:gd name="T16" fmla="*/ 2147483647 w 493"/>
                  <a:gd name="T17" fmla="*/ 2147483647 h 395"/>
                  <a:gd name="T18" fmla="*/ 2147483647 w 493"/>
                  <a:gd name="T19" fmla="*/ 2147483647 h 395"/>
                  <a:gd name="T20" fmla="*/ 2147483647 w 493"/>
                  <a:gd name="T21" fmla="*/ 2147483647 h 395"/>
                  <a:gd name="T22" fmla="*/ 2147483647 w 493"/>
                  <a:gd name="T23" fmla="*/ 2147483647 h 395"/>
                  <a:gd name="T24" fmla="*/ 2147483647 w 493"/>
                  <a:gd name="T25" fmla="*/ 2147483647 h 395"/>
                  <a:gd name="T26" fmla="*/ 2147483647 w 493"/>
                  <a:gd name="T27" fmla="*/ 2147483647 h 395"/>
                  <a:gd name="T28" fmla="*/ 2147483647 w 493"/>
                  <a:gd name="T29" fmla="*/ 2147483647 h 395"/>
                  <a:gd name="T30" fmla="*/ 2147483647 w 493"/>
                  <a:gd name="T31" fmla="*/ 2147483647 h 395"/>
                  <a:gd name="T32" fmla="*/ 2147483647 w 493"/>
                  <a:gd name="T33" fmla="*/ 2147483647 h 395"/>
                  <a:gd name="T34" fmla="*/ 2147483647 w 493"/>
                  <a:gd name="T35" fmla="*/ 2147483647 h 395"/>
                  <a:gd name="T36" fmla="*/ 2147483647 w 493"/>
                  <a:gd name="T37" fmla="*/ 2147483647 h 395"/>
                  <a:gd name="T38" fmla="*/ 2147483647 w 493"/>
                  <a:gd name="T39" fmla="*/ 2147483647 h 395"/>
                  <a:gd name="T40" fmla="*/ 2147483647 w 493"/>
                  <a:gd name="T41" fmla="*/ 2147483647 h 395"/>
                  <a:gd name="T42" fmla="*/ 2147483647 w 493"/>
                  <a:gd name="T43" fmla="*/ 2147483647 h 395"/>
                  <a:gd name="T44" fmla="*/ 2147483647 w 493"/>
                  <a:gd name="T45" fmla="*/ 2147483647 h 395"/>
                  <a:gd name="T46" fmla="*/ 2147483647 w 493"/>
                  <a:gd name="T47" fmla="*/ 2147483647 h 395"/>
                  <a:gd name="T48" fmla="*/ 2147483647 w 493"/>
                  <a:gd name="T49" fmla="*/ 2147483647 h 395"/>
                  <a:gd name="T50" fmla="*/ 2147483647 w 493"/>
                  <a:gd name="T51" fmla="*/ 2147483647 h 395"/>
                  <a:gd name="T52" fmla="*/ 2147483647 w 493"/>
                  <a:gd name="T53" fmla="*/ 2147483647 h 395"/>
                  <a:gd name="T54" fmla="*/ 2147483647 w 493"/>
                  <a:gd name="T55" fmla="*/ 2147483647 h 395"/>
                  <a:gd name="T56" fmla="*/ 2147483647 w 493"/>
                  <a:gd name="T57" fmla="*/ 2147483647 h 395"/>
                  <a:gd name="T58" fmla="*/ 2147483647 w 493"/>
                  <a:gd name="T59" fmla="*/ 2147483647 h 395"/>
                  <a:gd name="T60" fmla="*/ 2147483647 w 493"/>
                  <a:gd name="T61" fmla="*/ 2147483647 h 395"/>
                  <a:gd name="T62" fmla="*/ 2147483647 w 493"/>
                  <a:gd name="T63" fmla="*/ 2147483647 h 395"/>
                  <a:gd name="T64" fmla="*/ 2147483647 w 493"/>
                  <a:gd name="T65" fmla="*/ 2147483647 h 395"/>
                  <a:gd name="T66" fmla="*/ 2147483647 w 493"/>
                  <a:gd name="T67" fmla="*/ 2147483647 h 395"/>
                  <a:gd name="T68" fmla="*/ 2147483647 w 493"/>
                  <a:gd name="T69" fmla="*/ 2147483647 h 395"/>
                  <a:gd name="T70" fmla="*/ 0 w 493"/>
                  <a:gd name="T71" fmla="*/ 2147483647 h 395"/>
                  <a:gd name="T72" fmla="*/ 2147483647 w 493"/>
                  <a:gd name="T73" fmla="*/ 2147483647 h 395"/>
                  <a:gd name="T74" fmla="*/ 2147483647 w 493"/>
                  <a:gd name="T75" fmla="*/ 2147483647 h 395"/>
                  <a:gd name="T76" fmla="*/ 2147483647 w 493"/>
                  <a:gd name="T77" fmla="*/ 2147483647 h 395"/>
                  <a:gd name="T78" fmla="*/ 2147483647 w 493"/>
                  <a:gd name="T79" fmla="*/ 2147483647 h 395"/>
                  <a:gd name="T80" fmla="*/ 2147483647 w 493"/>
                  <a:gd name="T81" fmla="*/ 2147483647 h 395"/>
                  <a:gd name="T82" fmla="*/ 2147483647 w 493"/>
                  <a:gd name="T83" fmla="*/ 2147483647 h 395"/>
                  <a:gd name="T84" fmla="*/ 2147483647 w 493"/>
                  <a:gd name="T85" fmla="*/ 2147483647 h 395"/>
                  <a:gd name="T86" fmla="*/ 2147483647 w 493"/>
                  <a:gd name="T87" fmla="*/ 2147483647 h 395"/>
                  <a:gd name="T88" fmla="*/ 2147483647 w 493"/>
                  <a:gd name="T89" fmla="*/ 2147483647 h 395"/>
                  <a:gd name="T90" fmla="*/ 2147483647 w 493"/>
                  <a:gd name="T91" fmla="*/ 2147483647 h 395"/>
                  <a:gd name="T92" fmla="*/ 2147483647 w 493"/>
                  <a:gd name="T93" fmla="*/ 2147483647 h 395"/>
                  <a:gd name="T94" fmla="*/ 2147483647 w 493"/>
                  <a:gd name="T95" fmla="*/ 2147483647 h 395"/>
                  <a:gd name="T96" fmla="*/ 2147483647 w 493"/>
                  <a:gd name="T97" fmla="*/ 2147483647 h 395"/>
                  <a:gd name="T98" fmla="*/ 2147483647 w 493"/>
                  <a:gd name="T99" fmla="*/ 2147483647 h 395"/>
                  <a:gd name="T100" fmla="*/ 2147483647 w 493"/>
                  <a:gd name="T101" fmla="*/ 2147483647 h 395"/>
                  <a:gd name="T102" fmla="*/ 2147483647 w 493"/>
                  <a:gd name="T103" fmla="*/ 2147483647 h 395"/>
                  <a:gd name="T104" fmla="*/ 2147483647 w 493"/>
                  <a:gd name="T105" fmla="*/ 2147483647 h 395"/>
                  <a:gd name="T106" fmla="*/ 2147483647 w 493"/>
                  <a:gd name="T107" fmla="*/ 2147483647 h 395"/>
                  <a:gd name="T108" fmla="*/ 2147483647 w 493"/>
                  <a:gd name="T109" fmla="*/ 2147483647 h 395"/>
                  <a:gd name="T110" fmla="*/ 2147483647 w 493"/>
                  <a:gd name="T111" fmla="*/ 2147483647 h 395"/>
                  <a:gd name="T112" fmla="*/ 2147483647 w 493"/>
                  <a:gd name="T113" fmla="*/ 2147483647 h 395"/>
                  <a:gd name="T114" fmla="*/ 2147483647 w 493"/>
                  <a:gd name="T115" fmla="*/ 2147483647 h 395"/>
                  <a:gd name="T116" fmla="*/ 2147483647 w 493"/>
                  <a:gd name="T117" fmla="*/ 2147483647 h 395"/>
                  <a:gd name="T118" fmla="*/ 2147483647 w 493"/>
                  <a:gd name="T119" fmla="*/ 2147483647 h 395"/>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493"/>
                  <a:gd name="T181" fmla="*/ 0 h 395"/>
                  <a:gd name="T182" fmla="*/ 493 w 493"/>
                  <a:gd name="T183" fmla="*/ 395 h 395"/>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493" h="395">
                    <a:moveTo>
                      <a:pt x="355" y="223"/>
                    </a:moveTo>
                    <a:lnTo>
                      <a:pt x="365" y="225"/>
                    </a:lnTo>
                    <a:lnTo>
                      <a:pt x="374" y="228"/>
                    </a:lnTo>
                    <a:lnTo>
                      <a:pt x="386" y="228"/>
                    </a:lnTo>
                    <a:lnTo>
                      <a:pt x="398" y="228"/>
                    </a:lnTo>
                    <a:lnTo>
                      <a:pt x="409" y="228"/>
                    </a:lnTo>
                    <a:lnTo>
                      <a:pt x="424" y="228"/>
                    </a:lnTo>
                    <a:lnTo>
                      <a:pt x="426" y="232"/>
                    </a:lnTo>
                    <a:lnTo>
                      <a:pt x="430" y="238"/>
                    </a:lnTo>
                    <a:lnTo>
                      <a:pt x="434" y="246"/>
                    </a:lnTo>
                    <a:lnTo>
                      <a:pt x="438" y="251"/>
                    </a:lnTo>
                    <a:lnTo>
                      <a:pt x="438" y="257"/>
                    </a:lnTo>
                    <a:lnTo>
                      <a:pt x="438" y="263"/>
                    </a:lnTo>
                    <a:lnTo>
                      <a:pt x="442" y="267"/>
                    </a:lnTo>
                    <a:lnTo>
                      <a:pt x="445" y="271"/>
                    </a:lnTo>
                    <a:lnTo>
                      <a:pt x="449" y="271"/>
                    </a:lnTo>
                    <a:lnTo>
                      <a:pt x="455" y="271"/>
                    </a:lnTo>
                    <a:lnTo>
                      <a:pt x="465" y="269"/>
                    </a:lnTo>
                    <a:lnTo>
                      <a:pt x="490" y="274"/>
                    </a:lnTo>
                    <a:lnTo>
                      <a:pt x="493" y="282"/>
                    </a:lnTo>
                    <a:lnTo>
                      <a:pt x="493" y="286"/>
                    </a:lnTo>
                    <a:lnTo>
                      <a:pt x="492" y="294"/>
                    </a:lnTo>
                    <a:lnTo>
                      <a:pt x="492" y="297"/>
                    </a:lnTo>
                    <a:lnTo>
                      <a:pt x="482" y="303"/>
                    </a:lnTo>
                    <a:lnTo>
                      <a:pt x="474" y="309"/>
                    </a:lnTo>
                    <a:lnTo>
                      <a:pt x="474" y="311"/>
                    </a:lnTo>
                    <a:lnTo>
                      <a:pt x="474" y="313"/>
                    </a:lnTo>
                    <a:lnTo>
                      <a:pt x="470" y="317"/>
                    </a:lnTo>
                    <a:lnTo>
                      <a:pt x="469" y="319"/>
                    </a:lnTo>
                    <a:lnTo>
                      <a:pt x="467" y="320"/>
                    </a:lnTo>
                    <a:lnTo>
                      <a:pt x="465" y="322"/>
                    </a:lnTo>
                    <a:lnTo>
                      <a:pt x="461" y="326"/>
                    </a:lnTo>
                    <a:lnTo>
                      <a:pt x="459" y="328"/>
                    </a:lnTo>
                    <a:lnTo>
                      <a:pt x="457" y="330"/>
                    </a:lnTo>
                    <a:lnTo>
                      <a:pt x="455" y="334"/>
                    </a:lnTo>
                    <a:lnTo>
                      <a:pt x="451" y="336"/>
                    </a:lnTo>
                    <a:lnTo>
                      <a:pt x="449" y="338"/>
                    </a:lnTo>
                    <a:lnTo>
                      <a:pt x="447" y="340"/>
                    </a:lnTo>
                    <a:lnTo>
                      <a:pt x="445" y="343"/>
                    </a:lnTo>
                    <a:lnTo>
                      <a:pt x="442" y="345"/>
                    </a:lnTo>
                    <a:lnTo>
                      <a:pt x="440" y="347"/>
                    </a:lnTo>
                    <a:lnTo>
                      <a:pt x="428" y="359"/>
                    </a:lnTo>
                    <a:lnTo>
                      <a:pt x="415" y="372"/>
                    </a:lnTo>
                    <a:lnTo>
                      <a:pt x="413" y="374"/>
                    </a:lnTo>
                    <a:lnTo>
                      <a:pt x="411" y="376"/>
                    </a:lnTo>
                    <a:lnTo>
                      <a:pt x="409" y="384"/>
                    </a:lnTo>
                    <a:lnTo>
                      <a:pt x="407" y="391"/>
                    </a:lnTo>
                    <a:lnTo>
                      <a:pt x="403" y="393"/>
                    </a:lnTo>
                    <a:lnTo>
                      <a:pt x="401" y="395"/>
                    </a:lnTo>
                    <a:lnTo>
                      <a:pt x="382" y="395"/>
                    </a:lnTo>
                    <a:lnTo>
                      <a:pt x="363" y="395"/>
                    </a:lnTo>
                    <a:lnTo>
                      <a:pt x="359" y="393"/>
                    </a:lnTo>
                    <a:lnTo>
                      <a:pt x="357" y="391"/>
                    </a:lnTo>
                    <a:lnTo>
                      <a:pt x="350" y="390"/>
                    </a:lnTo>
                    <a:lnTo>
                      <a:pt x="344" y="386"/>
                    </a:lnTo>
                    <a:lnTo>
                      <a:pt x="340" y="384"/>
                    </a:lnTo>
                    <a:lnTo>
                      <a:pt x="338" y="382"/>
                    </a:lnTo>
                    <a:lnTo>
                      <a:pt x="330" y="378"/>
                    </a:lnTo>
                    <a:lnTo>
                      <a:pt x="325" y="376"/>
                    </a:lnTo>
                    <a:lnTo>
                      <a:pt x="321" y="374"/>
                    </a:lnTo>
                    <a:lnTo>
                      <a:pt x="319" y="372"/>
                    </a:lnTo>
                    <a:lnTo>
                      <a:pt x="317" y="368"/>
                    </a:lnTo>
                    <a:lnTo>
                      <a:pt x="315" y="367"/>
                    </a:lnTo>
                    <a:lnTo>
                      <a:pt x="311" y="365"/>
                    </a:lnTo>
                    <a:lnTo>
                      <a:pt x="309" y="363"/>
                    </a:lnTo>
                    <a:lnTo>
                      <a:pt x="307" y="359"/>
                    </a:lnTo>
                    <a:lnTo>
                      <a:pt x="303" y="357"/>
                    </a:lnTo>
                    <a:lnTo>
                      <a:pt x="302" y="355"/>
                    </a:lnTo>
                    <a:lnTo>
                      <a:pt x="300" y="351"/>
                    </a:lnTo>
                    <a:lnTo>
                      <a:pt x="298" y="349"/>
                    </a:lnTo>
                    <a:lnTo>
                      <a:pt x="294" y="347"/>
                    </a:lnTo>
                    <a:lnTo>
                      <a:pt x="292" y="345"/>
                    </a:lnTo>
                    <a:lnTo>
                      <a:pt x="290" y="343"/>
                    </a:lnTo>
                    <a:lnTo>
                      <a:pt x="288" y="340"/>
                    </a:lnTo>
                    <a:lnTo>
                      <a:pt x="284" y="338"/>
                    </a:lnTo>
                    <a:lnTo>
                      <a:pt x="282" y="336"/>
                    </a:lnTo>
                    <a:lnTo>
                      <a:pt x="280" y="334"/>
                    </a:lnTo>
                    <a:lnTo>
                      <a:pt x="277" y="330"/>
                    </a:lnTo>
                    <a:lnTo>
                      <a:pt x="275" y="328"/>
                    </a:lnTo>
                    <a:lnTo>
                      <a:pt x="273" y="326"/>
                    </a:lnTo>
                    <a:lnTo>
                      <a:pt x="271" y="322"/>
                    </a:lnTo>
                    <a:lnTo>
                      <a:pt x="267" y="320"/>
                    </a:lnTo>
                    <a:lnTo>
                      <a:pt x="265" y="319"/>
                    </a:lnTo>
                    <a:lnTo>
                      <a:pt x="261" y="309"/>
                    </a:lnTo>
                    <a:lnTo>
                      <a:pt x="257" y="299"/>
                    </a:lnTo>
                    <a:lnTo>
                      <a:pt x="248" y="299"/>
                    </a:lnTo>
                    <a:lnTo>
                      <a:pt x="240" y="301"/>
                    </a:lnTo>
                    <a:lnTo>
                      <a:pt x="234" y="305"/>
                    </a:lnTo>
                    <a:lnTo>
                      <a:pt x="231" y="311"/>
                    </a:lnTo>
                    <a:lnTo>
                      <a:pt x="227" y="309"/>
                    </a:lnTo>
                    <a:lnTo>
                      <a:pt x="221" y="307"/>
                    </a:lnTo>
                    <a:lnTo>
                      <a:pt x="211" y="301"/>
                    </a:lnTo>
                    <a:lnTo>
                      <a:pt x="202" y="299"/>
                    </a:lnTo>
                    <a:lnTo>
                      <a:pt x="196" y="299"/>
                    </a:lnTo>
                    <a:lnTo>
                      <a:pt x="190" y="301"/>
                    </a:lnTo>
                    <a:lnTo>
                      <a:pt x="186" y="299"/>
                    </a:lnTo>
                    <a:lnTo>
                      <a:pt x="183" y="299"/>
                    </a:lnTo>
                    <a:lnTo>
                      <a:pt x="173" y="299"/>
                    </a:lnTo>
                    <a:lnTo>
                      <a:pt x="163" y="299"/>
                    </a:lnTo>
                    <a:lnTo>
                      <a:pt x="165" y="278"/>
                    </a:lnTo>
                    <a:lnTo>
                      <a:pt x="167" y="278"/>
                    </a:lnTo>
                    <a:lnTo>
                      <a:pt x="167" y="280"/>
                    </a:lnTo>
                    <a:lnTo>
                      <a:pt x="165" y="282"/>
                    </a:lnTo>
                    <a:lnTo>
                      <a:pt x="162" y="282"/>
                    </a:lnTo>
                    <a:lnTo>
                      <a:pt x="154" y="276"/>
                    </a:lnTo>
                    <a:lnTo>
                      <a:pt x="148" y="271"/>
                    </a:lnTo>
                    <a:lnTo>
                      <a:pt x="142" y="265"/>
                    </a:lnTo>
                    <a:lnTo>
                      <a:pt x="135" y="257"/>
                    </a:lnTo>
                    <a:lnTo>
                      <a:pt x="129" y="251"/>
                    </a:lnTo>
                    <a:lnTo>
                      <a:pt x="119" y="244"/>
                    </a:lnTo>
                    <a:lnTo>
                      <a:pt x="108" y="236"/>
                    </a:lnTo>
                    <a:lnTo>
                      <a:pt x="102" y="232"/>
                    </a:lnTo>
                    <a:lnTo>
                      <a:pt x="96" y="228"/>
                    </a:lnTo>
                    <a:lnTo>
                      <a:pt x="89" y="225"/>
                    </a:lnTo>
                    <a:lnTo>
                      <a:pt x="83" y="223"/>
                    </a:lnTo>
                    <a:lnTo>
                      <a:pt x="79" y="219"/>
                    </a:lnTo>
                    <a:lnTo>
                      <a:pt x="77" y="217"/>
                    </a:lnTo>
                    <a:lnTo>
                      <a:pt x="75" y="215"/>
                    </a:lnTo>
                    <a:lnTo>
                      <a:pt x="71" y="213"/>
                    </a:lnTo>
                    <a:lnTo>
                      <a:pt x="69" y="209"/>
                    </a:lnTo>
                    <a:lnTo>
                      <a:pt x="68" y="207"/>
                    </a:lnTo>
                    <a:lnTo>
                      <a:pt x="62" y="205"/>
                    </a:lnTo>
                    <a:lnTo>
                      <a:pt x="58" y="201"/>
                    </a:lnTo>
                    <a:lnTo>
                      <a:pt x="58" y="198"/>
                    </a:lnTo>
                    <a:lnTo>
                      <a:pt x="58" y="192"/>
                    </a:lnTo>
                    <a:lnTo>
                      <a:pt x="56" y="182"/>
                    </a:lnTo>
                    <a:lnTo>
                      <a:pt x="54" y="173"/>
                    </a:lnTo>
                    <a:lnTo>
                      <a:pt x="50" y="171"/>
                    </a:lnTo>
                    <a:lnTo>
                      <a:pt x="48" y="169"/>
                    </a:lnTo>
                    <a:lnTo>
                      <a:pt x="43" y="169"/>
                    </a:lnTo>
                    <a:lnTo>
                      <a:pt x="39" y="169"/>
                    </a:lnTo>
                    <a:lnTo>
                      <a:pt x="35" y="171"/>
                    </a:lnTo>
                    <a:lnTo>
                      <a:pt x="33" y="173"/>
                    </a:lnTo>
                    <a:lnTo>
                      <a:pt x="29" y="173"/>
                    </a:lnTo>
                    <a:lnTo>
                      <a:pt x="23" y="173"/>
                    </a:lnTo>
                    <a:lnTo>
                      <a:pt x="21" y="171"/>
                    </a:lnTo>
                    <a:lnTo>
                      <a:pt x="20" y="169"/>
                    </a:lnTo>
                    <a:lnTo>
                      <a:pt x="20" y="146"/>
                    </a:lnTo>
                    <a:lnTo>
                      <a:pt x="20" y="125"/>
                    </a:lnTo>
                    <a:lnTo>
                      <a:pt x="12" y="125"/>
                    </a:lnTo>
                    <a:lnTo>
                      <a:pt x="4" y="125"/>
                    </a:lnTo>
                    <a:lnTo>
                      <a:pt x="2" y="123"/>
                    </a:lnTo>
                    <a:lnTo>
                      <a:pt x="0" y="121"/>
                    </a:lnTo>
                    <a:lnTo>
                      <a:pt x="0" y="115"/>
                    </a:lnTo>
                    <a:lnTo>
                      <a:pt x="0" y="111"/>
                    </a:lnTo>
                    <a:lnTo>
                      <a:pt x="2" y="107"/>
                    </a:lnTo>
                    <a:lnTo>
                      <a:pt x="4" y="106"/>
                    </a:lnTo>
                    <a:lnTo>
                      <a:pt x="21" y="98"/>
                    </a:lnTo>
                    <a:lnTo>
                      <a:pt x="39" y="92"/>
                    </a:lnTo>
                    <a:lnTo>
                      <a:pt x="41" y="88"/>
                    </a:lnTo>
                    <a:lnTo>
                      <a:pt x="43" y="86"/>
                    </a:lnTo>
                    <a:lnTo>
                      <a:pt x="56" y="86"/>
                    </a:lnTo>
                    <a:lnTo>
                      <a:pt x="68" y="86"/>
                    </a:lnTo>
                    <a:lnTo>
                      <a:pt x="68" y="69"/>
                    </a:lnTo>
                    <a:lnTo>
                      <a:pt x="68" y="52"/>
                    </a:lnTo>
                    <a:lnTo>
                      <a:pt x="69" y="50"/>
                    </a:lnTo>
                    <a:lnTo>
                      <a:pt x="71" y="48"/>
                    </a:lnTo>
                    <a:lnTo>
                      <a:pt x="75" y="46"/>
                    </a:lnTo>
                    <a:lnTo>
                      <a:pt x="77" y="42"/>
                    </a:lnTo>
                    <a:lnTo>
                      <a:pt x="79" y="40"/>
                    </a:lnTo>
                    <a:lnTo>
                      <a:pt x="83" y="38"/>
                    </a:lnTo>
                    <a:lnTo>
                      <a:pt x="85" y="36"/>
                    </a:lnTo>
                    <a:lnTo>
                      <a:pt x="87" y="33"/>
                    </a:lnTo>
                    <a:lnTo>
                      <a:pt x="89" y="31"/>
                    </a:lnTo>
                    <a:lnTo>
                      <a:pt x="92" y="29"/>
                    </a:lnTo>
                    <a:lnTo>
                      <a:pt x="94" y="25"/>
                    </a:lnTo>
                    <a:lnTo>
                      <a:pt x="96" y="23"/>
                    </a:lnTo>
                    <a:lnTo>
                      <a:pt x="98" y="21"/>
                    </a:lnTo>
                    <a:lnTo>
                      <a:pt x="102" y="19"/>
                    </a:lnTo>
                    <a:lnTo>
                      <a:pt x="108" y="13"/>
                    </a:lnTo>
                    <a:lnTo>
                      <a:pt x="115" y="10"/>
                    </a:lnTo>
                    <a:lnTo>
                      <a:pt x="121" y="10"/>
                    </a:lnTo>
                    <a:lnTo>
                      <a:pt x="125" y="10"/>
                    </a:lnTo>
                    <a:lnTo>
                      <a:pt x="125" y="13"/>
                    </a:lnTo>
                    <a:lnTo>
                      <a:pt x="125" y="19"/>
                    </a:lnTo>
                    <a:lnTo>
                      <a:pt x="144" y="19"/>
                    </a:lnTo>
                    <a:lnTo>
                      <a:pt x="163" y="19"/>
                    </a:lnTo>
                    <a:lnTo>
                      <a:pt x="163" y="13"/>
                    </a:lnTo>
                    <a:lnTo>
                      <a:pt x="163" y="10"/>
                    </a:lnTo>
                    <a:lnTo>
                      <a:pt x="169" y="4"/>
                    </a:lnTo>
                    <a:lnTo>
                      <a:pt x="175" y="0"/>
                    </a:lnTo>
                    <a:lnTo>
                      <a:pt x="186" y="0"/>
                    </a:lnTo>
                    <a:lnTo>
                      <a:pt x="198" y="0"/>
                    </a:lnTo>
                    <a:lnTo>
                      <a:pt x="200" y="2"/>
                    </a:lnTo>
                    <a:lnTo>
                      <a:pt x="204" y="4"/>
                    </a:lnTo>
                    <a:lnTo>
                      <a:pt x="206" y="6"/>
                    </a:lnTo>
                    <a:lnTo>
                      <a:pt x="208" y="10"/>
                    </a:lnTo>
                    <a:lnTo>
                      <a:pt x="209" y="12"/>
                    </a:lnTo>
                    <a:lnTo>
                      <a:pt x="213" y="13"/>
                    </a:lnTo>
                    <a:lnTo>
                      <a:pt x="217" y="29"/>
                    </a:lnTo>
                    <a:lnTo>
                      <a:pt x="223" y="42"/>
                    </a:lnTo>
                    <a:lnTo>
                      <a:pt x="219" y="46"/>
                    </a:lnTo>
                    <a:lnTo>
                      <a:pt x="217" y="48"/>
                    </a:lnTo>
                    <a:lnTo>
                      <a:pt x="215" y="56"/>
                    </a:lnTo>
                    <a:lnTo>
                      <a:pt x="213" y="61"/>
                    </a:lnTo>
                    <a:lnTo>
                      <a:pt x="209" y="65"/>
                    </a:lnTo>
                    <a:lnTo>
                      <a:pt x="208" y="67"/>
                    </a:lnTo>
                    <a:lnTo>
                      <a:pt x="208" y="86"/>
                    </a:lnTo>
                    <a:lnTo>
                      <a:pt x="208" y="106"/>
                    </a:lnTo>
                    <a:lnTo>
                      <a:pt x="209" y="107"/>
                    </a:lnTo>
                    <a:lnTo>
                      <a:pt x="213" y="111"/>
                    </a:lnTo>
                    <a:lnTo>
                      <a:pt x="215" y="113"/>
                    </a:lnTo>
                    <a:lnTo>
                      <a:pt x="217" y="115"/>
                    </a:lnTo>
                    <a:lnTo>
                      <a:pt x="219" y="117"/>
                    </a:lnTo>
                    <a:lnTo>
                      <a:pt x="223" y="121"/>
                    </a:lnTo>
                    <a:lnTo>
                      <a:pt x="225" y="123"/>
                    </a:lnTo>
                    <a:lnTo>
                      <a:pt x="227" y="125"/>
                    </a:lnTo>
                    <a:lnTo>
                      <a:pt x="229" y="127"/>
                    </a:lnTo>
                    <a:lnTo>
                      <a:pt x="233" y="131"/>
                    </a:lnTo>
                    <a:lnTo>
                      <a:pt x="234" y="132"/>
                    </a:lnTo>
                    <a:lnTo>
                      <a:pt x="236" y="134"/>
                    </a:lnTo>
                    <a:lnTo>
                      <a:pt x="238" y="136"/>
                    </a:lnTo>
                    <a:lnTo>
                      <a:pt x="242" y="140"/>
                    </a:lnTo>
                    <a:lnTo>
                      <a:pt x="242" y="146"/>
                    </a:lnTo>
                    <a:lnTo>
                      <a:pt x="242" y="154"/>
                    </a:lnTo>
                    <a:lnTo>
                      <a:pt x="254" y="159"/>
                    </a:lnTo>
                    <a:lnTo>
                      <a:pt x="265" y="163"/>
                    </a:lnTo>
                    <a:lnTo>
                      <a:pt x="267" y="165"/>
                    </a:lnTo>
                    <a:lnTo>
                      <a:pt x="271" y="169"/>
                    </a:lnTo>
                    <a:lnTo>
                      <a:pt x="273" y="171"/>
                    </a:lnTo>
                    <a:lnTo>
                      <a:pt x="275" y="173"/>
                    </a:lnTo>
                    <a:lnTo>
                      <a:pt x="277" y="177"/>
                    </a:lnTo>
                    <a:lnTo>
                      <a:pt x="280" y="178"/>
                    </a:lnTo>
                    <a:lnTo>
                      <a:pt x="292" y="180"/>
                    </a:lnTo>
                    <a:lnTo>
                      <a:pt x="303" y="184"/>
                    </a:lnTo>
                    <a:lnTo>
                      <a:pt x="307" y="186"/>
                    </a:lnTo>
                    <a:lnTo>
                      <a:pt x="309" y="188"/>
                    </a:lnTo>
                    <a:lnTo>
                      <a:pt x="311" y="190"/>
                    </a:lnTo>
                    <a:lnTo>
                      <a:pt x="315" y="192"/>
                    </a:lnTo>
                    <a:lnTo>
                      <a:pt x="317" y="196"/>
                    </a:lnTo>
                    <a:lnTo>
                      <a:pt x="319" y="198"/>
                    </a:lnTo>
                    <a:lnTo>
                      <a:pt x="327" y="200"/>
                    </a:lnTo>
                    <a:lnTo>
                      <a:pt x="334" y="201"/>
                    </a:lnTo>
                    <a:lnTo>
                      <a:pt x="336" y="205"/>
                    </a:lnTo>
                    <a:lnTo>
                      <a:pt x="338" y="207"/>
                    </a:lnTo>
                    <a:lnTo>
                      <a:pt x="340" y="209"/>
                    </a:lnTo>
                    <a:lnTo>
                      <a:pt x="344" y="213"/>
                    </a:lnTo>
                    <a:lnTo>
                      <a:pt x="346" y="215"/>
                    </a:lnTo>
                    <a:lnTo>
                      <a:pt x="348" y="217"/>
                    </a:lnTo>
                    <a:lnTo>
                      <a:pt x="351" y="221"/>
                    </a:lnTo>
                    <a:lnTo>
                      <a:pt x="355" y="223"/>
                    </a:lnTo>
                  </a:path>
                </a:pathLst>
              </a:custGeom>
              <a:grpFill/>
              <a:ln w="3175">
                <a:solidFill>
                  <a:srgbClr val="FF8300"/>
                </a:solidFill>
                <a:round/>
                <a:headEnd/>
                <a:tailEnd/>
              </a:ln>
            </p:spPr>
            <p:txBody>
              <a:bodyPr/>
              <a:lstStyle/>
              <a:p>
                <a:pPr>
                  <a:defRPr/>
                </a:pPr>
                <a:endParaRPr lang="en-GB" sz="1400">
                  <a:solidFill>
                    <a:schemeClr val="tx2"/>
                  </a:solidFill>
                </a:endParaRPr>
              </a:p>
            </p:txBody>
          </p:sp>
          <p:sp>
            <p:nvSpPr>
              <p:cNvPr id="381" name="Freeform 346"/>
              <p:cNvSpPr>
                <a:spLocks/>
              </p:cNvSpPr>
              <p:nvPr>
                <p:custDataLst>
                  <p:tags r:id="rId32"/>
                </p:custDataLst>
              </p:nvPr>
            </p:nvSpPr>
            <p:spPr bwMode="gray">
              <a:xfrm>
                <a:off x="1375992" y="3871756"/>
                <a:ext cx="346984" cy="256405"/>
              </a:xfrm>
              <a:custGeom>
                <a:avLst/>
                <a:gdLst>
                  <a:gd name="T0" fmla="*/ 2147483647 w 255"/>
                  <a:gd name="T1" fmla="*/ 2147483647 h 194"/>
                  <a:gd name="T2" fmla="*/ 2147483647 w 255"/>
                  <a:gd name="T3" fmla="*/ 2147483647 h 194"/>
                  <a:gd name="T4" fmla="*/ 2147483647 w 255"/>
                  <a:gd name="T5" fmla="*/ 2147483647 h 194"/>
                  <a:gd name="T6" fmla="*/ 2147483647 w 255"/>
                  <a:gd name="T7" fmla="*/ 2147483647 h 194"/>
                  <a:gd name="T8" fmla="*/ 2147483647 w 255"/>
                  <a:gd name="T9" fmla="*/ 2147483647 h 194"/>
                  <a:gd name="T10" fmla="*/ 2147483647 w 255"/>
                  <a:gd name="T11" fmla="*/ 2147483647 h 194"/>
                  <a:gd name="T12" fmla="*/ 2147483647 w 255"/>
                  <a:gd name="T13" fmla="*/ 2147483647 h 194"/>
                  <a:gd name="T14" fmla="*/ 2147483647 w 255"/>
                  <a:gd name="T15" fmla="*/ 2147483647 h 194"/>
                  <a:gd name="T16" fmla="*/ 2147483647 w 255"/>
                  <a:gd name="T17" fmla="*/ 2147483647 h 194"/>
                  <a:gd name="T18" fmla="*/ 2147483647 w 255"/>
                  <a:gd name="T19" fmla="*/ 2147483647 h 194"/>
                  <a:gd name="T20" fmla="*/ 2147483647 w 255"/>
                  <a:gd name="T21" fmla="*/ 2147483647 h 194"/>
                  <a:gd name="T22" fmla="*/ 2147483647 w 255"/>
                  <a:gd name="T23" fmla="*/ 2147483647 h 194"/>
                  <a:gd name="T24" fmla="*/ 2147483647 w 255"/>
                  <a:gd name="T25" fmla="*/ 2147483647 h 194"/>
                  <a:gd name="T26" fmla="*/ 2147483647 w 255"/>
                  <a:gd name="T27" fmla="*/ 2147483647 h 194"/>
                  <a:gd name="T28" fmla="*/ 2147483647 w 255"/>
                  <a:gd name="T29" fmla="*/ 2147483647 h 194"/>
                  <a:gd name="T30" fmla="*/ 2147483647 w 255"/>
                  <a:gd name="T31" fmla="*/ 2147483647 h 194"/>
                  <a:gd name="T32" fmla="*/ 2147483647 w 255"/>
                  <a:gd name="T33" fmla="*/ 2147483647 h 194"/>
                  <a:gd name="T34" fmla="*/ 2147483647 w 255"/>
                  <a:gd name="T35" fmla="*/ 2147483647 h 194"/>
                  <a:gd name="T36" fmla="*/ 2147483647 w 255"/>
                  <a:gd name="T37" fmla="*/ 2147483647 h 194"/>
                  <a:gd name="T38" fmla="*/ 2147483647 w 255"/>
                  <a:gd name="T39" fmla="*/ 2147483647 h 194"/>
                  <a:gd name="T40" fmla="*/ 2147483647 w 255"/>
                  <a:gd name="T41" fmla="*/ 2147483647 h 194"/>
                  <a:gd name="T42" fmla="*/ 2147483647 w 255"/>
                  <a:gd name="T43" fmla="*/ 2147483647 h 194"/>
                  <a:gd name="T44" fmla="*/ 2147483647 w 255"/>
                  <a:gd name="T45" fmla="*/ 2147483647 h 194"/>
                  <a:gd name="T46" fmla="*/ 2147483647 w 255"/>
                  <a:gd name="T47" fmla="*/ 2147483647 h 194"/>
                  <a:gd name="T48" fmla="*/ 2147483647 w 255"/>
                  <a:gd name="T49" fmla="*/ 2147483647 h 194"/>
                  <a:gd name="T50" fmla="*/ 2147483647 w 255"/>
                  <a:gd name="T51" fmla="*/ 2147483647 h 194"/>
                  <a:gd name="T52" fmla="*/ 2147483647 w 255"/>
                  <a:gd name="T53" fmla="*/ 2147483647 h 194"/>
                  <a:gd name="T54" fmla="*/ 2147483647 w 255"/>
                  <a:gd name="T55" fmla="*/ 2147483647 h 194"/>
                  <a:gd name="T56" fmla="*/ 2147483647 w 255"/>
                  <a:gd name="T57" fmla="*/ 2147483647 h 194"/>
                  <a:gd name="T58" fmla="*/ 2147483647 w 255"/>
                  <a:gd name="T59" fmla="*/ 2147483647 h 194"/>
                  <a:gd name="T60" fmla="*/ 2147483647 w 255"/>
                  <a:gd name="T61" fmla="*/ 2147483647 h 194"/>
                  <a:gd name="T62" fmla="*/ 2147483647 w 255"/>
                  <a:gd name="T63" fmla="*/ 2147483647 h 194"/>
                  <a:gd name="T64" fmla="*/ 2147483647 w 255"/>
                  <a:gd name="T65" fmla="*/ 2147483647 h 194"/>
                  <a:gd name="T66" fmla="*/ 2147483647 w 255"/>
                  <a:gd name="T67" fmla="*/ 2147483647 h 194"/>
                  <a:gd name="T68" fmla="*/ 2147483647 w 255"/>
                  <a:gd name="T69" fmla="*/ 2147483647 h 194"/>
                  <a:gd name="T70" fmla="*/ 2147483647 w 255"/>
                  <a:gd name="T71" fmla="*/ 2147483647 h 194"/>
                  <a:gd name="T72" fmla="*/ 2147483647 w 255"/>
                  <a:gd name="T73" fmla="*/ 2147483647 h 194"/>
                  <a:gd name="T74" fmla="*/ 2147483647 w 255"/>
                  <a:gd name="T75" fmla="*/ 2147483647 h 194"/>
                  <a:gd name="T76" fmla="*/ 2147483647 w 255"/>
                  <a:gd name="T77" fmla="*/ 2147483647 h 194"/>
                  <a:gd name="T78" fmla="*/ 2147483647 w 255"/>
                  <a:gd name="T79" fmla="*/ 2147483647 h 194"/>
                  <a:gd name="T80" fmla="*/ 2147483647 w 255"/>
                  <a:gd name="T81" fmla="*/ 2147483647 h 194"/>
                  <a:gd name="T82" fmla="*/ 2147483647 w 255"/>
                  <a:gd name="T83" fmla="*/ 0 h 194"/>
                  <a:gd name="T84" fmla="*/ 2147483647 w 255"/>
                  <a:gd name="T85" fmla="*/ 2147483647 h 194"/>
                  <a:gd name="T86" fmla="*/ 2147483647 w 255"/>
                  <a:gd name="T87" fmla="*/ 2147483647 h 194"/>
                  <a:gd name="T88" fmla="*/ 2147483647 w 255"/>
                  <a:gd name="T89" fmla="*/ 2147483647 h 194"/>
                  <a:gd name="T90" fmla="*/ 2147483647 w 255"/>
                  <a:gd name="T91" fmla="*/ 2147483647 h 194"/>
                  <a:gd name="T92" fmla="*/ 2147483647 w 255"/>
                  <a:gd name="T93" fmla="*/ 2147483647 h 194"/>
                  <a:gd name="T94" fmla="*/ 2147483647 w 255"/>
                  <a:gd name="T95" fmla="*/ 2147483647 h 194"/>
                  <a:gd name="T96" fmla="*/ 2147483647 w 255"/>
                  <a:gd name="T97" fmla="*/ 2147483647 h 194"/>
                  <a:gd name="T98" fmla="*/ 2147483647 w 255"/>
                  <a:gd name="T99" fmla="*/ 2147483647 h 194"/>
                  <a:gd name="T100" fmla="*/ 2147483647 w 255"/>
                  <a:gd name="T101" fmla="*/ 2147483647 h 194"/>
                  <a:gd name="T102" fmla="*/ 2147483647 w 255"/>
                  <a:gd name="T103" fmla="*/ 2147483647 h 194"/>
                  <a:gd name="T104" fmla="*/ 2147483647 w 255"/>
                  <a:gd name="T105" fmla="*/ 2147483647 h 194"/>
                  <a:gd name="T106" fmla="*/ 2147483647 w 255"/>
                  <a:gd name="T107" fmla="*/ 2147483647 h 194"/>
                  <a:gd name="T108" fmla="*/ 2147483647 w 255"/>
                  <a:gd name="T109" fmla="*/ 2147483647 h 194"/>
                  <a:gd name="T110" fmla="*/ 2147483647 w 255"/>
                  <a:gd name="T111" fmla="*/ 2147483647 h 194"/>
                  <a:gd name="T112" fmla="*/ 2147483647 w 255"/>
                  <a:gd name="T113" fmla="*/ 2147483647 h 194"/>
                  <a:gd name="T114" fmla="*/ 2147483647 w 255"/>
                  <a:gd name="T115" fmla="*/ 2147483647 h 194"/>
                  <a:gd name="T116" fmla="*/ 2147483647 w 255"/>
                  <a:gd name="T117" fmla="*/ 2147483647 h 194"/>
                  <a:gd name="T118" fmla="*/ 2147483647 w 255"/>
                  <a:gd name="T119" fmla="*/ 2147483647 h 194"/>
                  <a:gd name="T120" fmla="*/ 2147483647 w 255"/>
                  <a:gd name="T121" fmla="*/ 2147483647 h 194"/>
                  <a:gd name="T122" fmla="*/ 2147483647 w 255"/>
                  <a:gd name="T123" fmla="*/ 2147483647 h 194"/>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255"/>
                  <a:gd name="T187" fmla="*/ 0 h 194"/>
                  <a:gd name="T188" fmla="*/ 255 w 255"/>
                  <a:gd name="T189" fmla="*/ 194 h 194"/>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255" h="194">
                    <a:moveTo>
                      <a:pt x="255" y="194"/>
                    </a:moveTo>
                    <a:lnTo>
                      <a:pt x="253" y="192"/>
                    </a:lnTo>
                    <a:lnTo>
                      <a:pt x="251" y="190"/>
                    </a:lnTo>
                    <a:lnTo>
                      <a:pt x="244" y="188"/>
                    </a:lnTo>
                    <a:lnTo>
                      <a:pt x="236" y="185"/>
                    </a:lnTo>
                    <a:lnTo>
                      <a:pt x="234" y="183"/>
                    </a:lnTo>
                    <a:lnTo>
                      <a:pt x="232" y="181"/>
                    </a:lnTo>
                    <a:lnTo>
                      <a:pt x="226" y="181"/>
                    </a:lnTo>
                    <a:lnTo>
                      <a:pt x="223" y="181"/>
                    </a:lnTo>
                    <a:lnTo>
                      <a:pt x="219" y="183"/>
                    </a:lnTo>
                    <a:lnTo>
                      <a:pt x="217" y="185"/>
                    </a:lnTo>
                    <a:lnTo>
                      <a:pt x="215" y="183"/>
                    </a:lnTo>
                    <a:lnTo>
                      <a:pt x="211" y="181"/>
                    </a:lnTo>
                    <a:lnTo>
                      <a:pt x="200" y="173"/>
                    </a:lnTo>
                    <a:lnTo>
                      <a:pt x="188" y="165"/>
                    </a:lnTo>
                    <a:lnTo>
                      <a:pt x="186" y="163"/>
                    </a:lnTo>
                    <a:lnTo>
                      <a:pt x="182" y="162"/>
                    </a:lnTo>
                    <a:lnTo>
                      <a:pt x="180" y="158"/>
                    </a:lnTo>
                    <a:lnTo>
                      <a:pt x="178" y="156"/>
                    </a:lnTo>
                    <a:lnTo>
                      <a:pt x="175" y="154"/>
                    </a:lnTo>
                    <a:lnTo>
                      <a:pt x="173" y="152"/>
                    </a:lnTo>
                    <a:lnTo>
                      <a:pt x="154" y="152"/>
                    </a:lnTo>
                    <a:lnTo>
                      <a:pt x="134" y="152"/>
                    </a:lnTo>
                    <a:lnTo>
                      <a:pt x="132" y="154"/>
                    </a:lnTo>
                    <a:lnTo>
                      <a:pt x="130" y="156"/>
                    </a:lnTo>
                    <a:lnTo>
                      <a:pt x="123" y="158"/>
                    </a:lnTo>
                    <a:lnTo>
                      <a:pt x="115" y="162"/>
                    </a:lnTo>
                    <a:lnTo>
                      <a:pt x="113" y="163"/>
                    </a:lnTo>
                    <a:lnTo>
                      <a:pt x="111" y="165"/>
                    </a:lnTo>
                    <a:lnTo>
                      <a:pt x="106" y="165"/>
                    </a:lnTo>
                    <a:lnTo>
                      <a:pt x="102" y="165"/>
                    </a:lnTo>
                    <a:lnTo>
                      <a:pt x="98" y="163"/>
                    </a:lnTo>
                    <a:lnTo>
                      <a:pt x="96" y="162"/>
                    </a:lnTo>
                    <a:lnTo>
                      <a:pt x="88" y="158"/>
                    </a:lnTo>
                    <a:lnTo>
                      <a:pt x="81" y="156"/>
                    </a:lnTo>
                    <a:lnTo>
                      <a:pt x="79" y="154"/>
                    </a:lnTo>
                    <a:lnTo>
                      <a:pt x="77" y="152"/>
                    </a:lnTo>
                    <a:lnTo>
                      <a:pt x="59" y="148"/>
                    </a:lnTo>
                    <a:lnTo>
                      <a:pt x="42" y="146"/>
                    </a:lnTo>
                    <a:lnTo>
                      <a:pt x="40" y="144"/>
                    </a:lnTo>
                    <a:lnTo>
                      <a:pt x="38" y="142"/>
                    </a:lnTo>
                    <a:lnTo>
                      <a:pt x="31" y="138"/>
                    </a:lnTo>
                    <a:lnTo>
                      <a:pt x="23" y="137"/>
                    </a:lnTo>
                    <a:lnTo>
                      <a:pt x="21" y="135"/>
                    </a:lnTo>
                    <a:lnTo>
                      <a:pt x="19" y="133"/>
                    </a:lnTo>
                    <a:lnTo>
                      <a:pt x="12" y="129"/>
                    </a:lnTo>
                    <a:lnTo>
                      <a:pt x="4" y="127"/>
                    </a:lnTo>
                    <a:lnTo>
                      <a:pt x="2" y="125"/>
                    </a:lnTo>
                    <a:lnTo>
                      <a:pt x="0" y="123"/>
                    </a:lnTo>
                    <a:lnTo>
                      <a:pt x="2" y="119"/>
                    </a:lnTo>
                    <a:lnTo>
                      <a:pt x="4" y="117"/>
                    </a:lnTo>
                    <a:lnTo>
                      <a:pt x="6" y="110"/>
                    </a:lnTo>
                    <a:lnTo>
                      <a:pt x="10" y="104"/>
                    </a:lnTo>
                    <a:lnTo>
                      <a:pt x="12" y="100"/>
                    </a:lnTo>
                    <a:lnTo>
                      <a:pt x="13" y="98"/>
                    </a:lnTo>
                    <a:lnTo>
                      <a:pt x="15" y="96"/>
                    </a:lnTo>
                    <a:lnTo>
                      <a:pt x="19" y="92"/>
                    </a:lnTo>
                    <a:lnTo>
                      <a:pt x="21" y="91"/>
                    </a:lnTo>
                    <a:lnTo>
                      <a:pt x="23" y="89"/>
                    </a:lnTo>
                    <a:lnTo>
                      <a:pt x="25" y="85"/>
                    </a:lnTo>
                    <a:lnTo>
                      <a:pt x="29" y="83"/>
                    </a:lnTo>
                    <a:lnTo>
                      <a:pt x="31" y="81"/>
                    </a:lnTo>
                    <a:lnTo>
                      <a:pt x="33" y="79"/>
                    </a:lnTo>
                    <a:lnTo>
                      <a:pt x="36" y="77"/>
                    </a:lnTo>
                    <a:lnTo>
                      <a:pt x="38" y="73"/>
                    </a:lnTo>
                    <a:lnTo>
                      <a:pt x="40" y="71"/>
                    </a:lnTo>
                    <a:lnTo>
                      <a:pt x="42" y="69"/>
                    </a:lnTo>
                    <a:lnTo>
                      <a:pt x="46" y="64"/>
                    </a:lnTo>
                    <a:lnTo>
                      <a:pt x="46" y="50"/>
                    </a:lnTo>
                    <a:lnTo>
                      <a:pt x="46" y="37"/>
                    </a:lnTo>
                    <a:lnTo>
                      <a:pt x="42" y="31"/>
                    </a:lnTo>
                    <a:lnTo>
                      <a:pt x="40" y="27"/>
                    </a:lnTo>
                    <a:lnTo>
                      <a:pt x="38" y="25"/>
                    </a:lnTo>
                    <a:lnTo>
                      <a:pt x="40" y="23"/>
                    </a:lnTo>
                    <a:lnTo>
                      <a:pt x="42" y="21"/>
                    </a:lnTo>
                    <a:lnTo>
                      <a:pt x="46" y="18"/>
                    </a:lnTo>
                    <a:lnTo>
                      <a:pt x="48" y="16"/>
                    </a:lnTo>
                    <a:lnTo>
                      <a:pt x="50" y="14"/>
                    </a:lnTo>
                    <a:lnTo>
                      <a:pt x="52" y="12"/>
                    </a:lnTo>
                    <a:lnTo>
                      <a:pt x="65" y="8"/>
                    </a:lnTo>
                    <a:lnTo>
                      <a:pt x="77" y="6"/>
                    </a:lnTo>
                    <a:lnTo>
                      <a:pt x="79" y="4"/>
                    </a:lnTo>
                    <a:lnTo>
                      <a:pt x="81" y="0"/>
                    </a:lnTo>
                    <a:lnTo>
                      <a:pt x="86" y="0"/>
                    </a:lnTo>
                    <a:lnTo>
                      <a:pt x="90" y="0"/>
                    </a:lnTo>
                    <a:lnTo>
                      <a:pt x="94" y="4"/>
                    </a:lnTo>
                    <a:lnTo>
                      <a:pt x="96" y="6"/>
                    </a:lnTo>
                    <a:lnTo>
                      <a:pt x="113" y="8"/>
                    </a:lnTo>
                    <a:lnTo>
                      <a:pt x="130" y="12"/>
                    </a:lnTo>
                    <a:lnTo>
                      <a:pt x="132" y="14"/>
                    </a:lnTo>
                    <a:lnTo>
                      <a:pt x="134" y="16"/>
                    </a:lnTo>
                    <a:lnTo>
                      <a:pt x="157" y="18"/>
                    </a:lnTo>
                    <a:lnTo>
                      <a:pt x="178" y="21"/>
                    </a:lnTo>
                    <a:lnTo>
                      <a:pt x="180" y="23"/>
                    </a:lnTo>
                    <a:lnTo>
                      <a:pt x="182" y="25"/>
                    </a:lnTo>
                    <a:lnTo>
                      <a:pt x="186" y="33"/>
                    </a:lnTo>
                    <a:lnTo>
                      <a:pt x="188" y="41"/>
                    </a:lnTo>
                    <a:lnTo>
                      <a:pt x="190" y="43"/>
                    </a:lnTo>
                    <a:lnTo>
                      <a:pt x="194" y="44"/>
                    </a:lnTo>
                    <a:lnTo>
                      <a:pt x="205" y="46"/>
                    </a:lnTo>
                    <a:lnTo>
                      <a:pt x="217" y="50"/>
                    </a:lnTo>
                    <a:lnTo>
                      <a:pt x="219" y="52"/>
                    </a:lnTo>
                    <a:lnTo>
                      <a:pt x="223" y="54"/>
                    </a:lnTo>
                    <a:lnTo>
                      <a:pt x="224" y="71"/>
                    </a:lnTo>
                    <a:lnTo>
                      <a:pt x="226" y="89"/>
                    </a:lnTo>
                    <a:lnTo>
                      <a:pt x="228" y="91"/>
                    </a:lnTo>
                    <a:lnTo>
                      <a:pt x="232" y="92"/>
                    </a:lnTo>
                    <a:lnTo>
                      <a:pt x="234" y="96"/>
                    </a:lnTo>
                    <a:lnTo>
                      <a:pt x="236" y="98"/>
                    </a:lnTo>
                    <a:lnTo>
                      <a:pt x="238" y="100"/>
                    </a:lnTo>
                    <a:lnTo>
                      <a:pt x="242" y="104"/>
                    </a:lnTo>
                    <a:lnTo>
                      <a:pt x="244" y="106"/>
                    </a:lnTo>
                    <a:lnTo>
                      <a:pt x="246" y="108"/>
                    </a:lnTo>
                    <a:lnTo>
                      <a:pt x="248" y="110"/>
                    </a:lnTo>
                    <a:lnTo>
                      <a:pt x="251" y="112"/>
                    </a:lnTo>
                    <a:lnTo>
                      <a:pt x="251" y="121"/>
                    </a:lnTo>
                    <a:lnTo>
                      <a:pt x="251" y="133"/>
                    </a:lnTo>
                    <a:lnTo>
                      <a:pt x="248" y="135"/>
                    </a:lnTo>
                    <a:lnTo>
                      <a:pt x="246" y="137"/>
                    </a:lnTo>
                    <a:lnTo>
                      <a:pt x="246" y="146"/>
                    </a:lnTo>
                    <a:lnTo>
                      <a:pt x="246" y="156"/>
                    </a:lnTo>
                    <a:lnTo>
                      <a:pt x="248" y="158"/>
                    </a:lnTo>
                    <a:lnTo>
                      <a:pt x="251" y="162"/>
                    </a:lnTo>
                    <a:lnTo>
                      <a:pt x="253" y="177"/>
                    </a:lnTo>
                    <a:lnTo>
                      <a:pt x="255" y="194"/>
                    </a:lnTo>
                  </a:path>
                </a:pathLst>
              </a:custGeom>
              <a:grpFill/>
              <a:ln w="3175">
                <a:solidFill>
                  <a:srgbClr val="FF8300"/>
                </a:solidFill>
                <a:round/>
                <a:headEnd/>
                <a:tailEnd/>
              </a:ln>
            </p:spPr>
            <p:txBody>
              <a:bodyPr/>
              <a:lstStyle/>
              <a:p>
                <a:pPr>
                  <a:defRPr/>
                </a:pPr>
                <a:endParaRPr lang="en-GB" sz="1400">
                  <a:solidFill>
                    <a:schemeClr val="tx2"/>
                  </a:solidFill>
                </a:endParaRPr>
              </a:p>
            </p:txBody>
          </p:sp>
          <p:sp>
            <p:nvSpPr>
              <p:cNvPr id="382" name="Freeform 347"/>
              <p:cNvSpPr>
                <a:spLocks/>
              </p:cNvSpPr>
              <p:nvPr>
                <p:custDataLst>
                  <p:tags r:id="rId33"/>
                </p:custDataLst>
              </p:nvPr>
            </p:nvSpPr>
            <p:spPr bwMode="gray">
              <a:xfrm>
                <a:off x="1201804" y="3736586"/>
                <a:ext cx="252224" cy="391575"/>
              </a:xfrm>
              <a:custGeom>
                <a:avLst/>
                <a:gdLst>
                  <a:gd name="T0" fmla="*/ 2147483647 w 185"/>
                  <a:gd name="T1" fmla="*/ 2147483647 h 299"/>
                  <a:gd name="T2" fmla="*/ 2147483647 w 185"/>
                  <a:gd name="T3" fmla="*/ 2147483647 h 299"/>
                  <a:gd name="T4" fmla="*/ 2147483647 w 185"/>
                  <a:gd name="T5" fmla="*/ 2147483647 h 299"/>
                  <a:gd name="T6" fmla="*/ 2147483647 w 185"/>
                  <a:gd name="T7" fmla="*/ 2147483647 h 299"/>
                  <a:gd name="T8" fmla="*/ 2147483647 w 185"/>
                  <a:gd name="T9" fmla="*/ 2147483647 h 299"/>
                  <a:gd name="T10" fmla="*/ 2147483647 w 185"/>
                  <a:gd name="T11" fmla="*/ 2147483647 h 299"/>
                  <a:gd name="T12" fmla="*/ 2147483647 w 185"/>
                  <a:gd name="T13" fmla="*/ 2147483647 h 299"/>
                  <a:gd name="T14" fmla="*/ 2147483647 w 185"/>
                  <a:gd name="T15" fmla="*/ 2147483647 h 299"/>
                  <a:gd name="T16" fmla="*/ 2147483647 w 185"/>
                  <a:gd name="T17" fmla="*/ 2147483647 h 299"/>
                  <a:gd name="T18" fmla="*/ 2147483647 w 185"/>
                  <a:gd name="T19" fmla="*/ 2147483647 h 299"/>
                  <a:gd name="T20" fmla="*/ 2147483647 w 185"/>
                  <a:gd name="T21" fmla="*/ 2147483647 h 299"/>
                  <a:gd name="T22" fmla="*/ 2147483647 w 185"/>
                  <a:gd name="T23" fmla="*/ 2147483647 h 299"/>
                  <a:gd name="T24" fmla="*/ 2147483647 w 185"/>
                  <a:gd name="T25" fmla="*/ 2147483647 h 299"/>
                  <a:gd name="T26" fmla="*/ 2147483647 w 185"/>
                  <a:gd name="T27" fmla="*/ 2147483647 h 299"/>
                  <a:gd name="T28" fmla="*/ 2147483647 w 185"/>
                  <a:gd name="T29" fmla="*/ 2147483647 h 299"/>
                  <a:gd name="T30" fmla="*/ 2147483647 w 185"/>
                  <a:gd name="T31" fmla="*/ 2147483647 h 299"/>
                  <a:gd name="T32" fmla="*/ 2147483647 w 185"/>
                  <a:gd name="T33" fmla="*/ 2147483647 h 299"/>
                  <a:gd name="T34" fmla="*/ 2147483647 w 185"/>
                  <a:gd name="T35" fmla="*/ 2147483647 h 299"/>
                  <a:gd name="T36" fmla="*/ 2147483647 w 185"/>
                  <a:gd name="T37" fmla="*/ 2147483647 h 299"/>
                  <a:gd name="T38" fmla="*/ 2147483647 w 185"/>
                  <a:gd name="T39" fmla="*/ 2147483647 h 299"/>
                  <a:gd name="T40" fmla="*/ 2147483647 w 185"/>
                  <a:gd name="T41" fmla="*/ 2147483647 h 299"/>
                  <a:gd name="T42" fmla="*/ 2147483647 w 185"/>
                  <a:gd name="T43" fmla="*/ 2147483647 h 299"/>
                  <a:gd name="T44" fmla="*/ 2147483647 w 185"/>
                  <a:gd name="T45" fmla="*/ 2147483647 h 299"/>
                  <a:gd name="T46" fmla="*/ 2147483647 w 185"/>
                  <a:gd name="T47" fmla="*/ 2147483647 h 299"/>
                  <a:gd name="T48" fmla="*/ 2147483647 w 185"/>
                  <a:gd name="T49" fmla="*/ 0 h 299"/>
                  <a:gd name="T50" fmla="*/ 2147483647 w 185"/>
                  <a:gd name="T51" fmla="*/ 2147483647 h 299"/>
                  <a:gd name="T52" fmla="*/ 2147483647 w 185"/>
                  <a:gd name="T53" fmla="*/ 2147483647 h 299"/>
                  <a:gd name="T54" fmla="*/ 2147483647 w 185"/>
                  <a:gd name="T55" fmla="*/ 2147483647 h 299"/>
                  <a:gd name="T56" fmla="*/ 2147483647 w 185"/>
                  <a:gd name="T57" fmla="*/ 2147483647 h 299"/>
                  <a:gd name="T58" fmla="*/ 2147483647 w 185"/>
                  <a:gd name="T59" fmla="*/ 2147483647 h 299"/>
                  <a:gd name="T60" fmla="*/ 2147483647 w 185"/>
                  <a:gd name="T61" fmla="*/ 2147483647 h 299"/>
                  <a:gd name="T62" fmla="*/ 2147483647 w 185"/>
                  <a:gd name="T63" fmla="*/ 2147483647 h 299"/>
                  <a:gd name="T64" fmla="*/ 2147483647 w 185"/>
                  <a:gd name="T65" fmla="*/ 2147483647 h 299"/>
                  <a:gd name="T66" fmla="*/ 2147483647 w 185"/>
                  <a:gd name="T67" fmla="*/ 2147483647 h 299"/>
                  <a:gd name="T68" fmla="*/ 2147483647 w 185"/>
                  <a:gd name="T69" fmla="*/ 2147483647 h 299"/>
                  <a:gd name="T70" fmla="*/ 2147483647 w 185"/>
                  <a:gd name="T71" fmla="*/ 2147483647 h 299"/>
                  <a:gd name="T72" fmla="*/ 2147483647 w 185"/>
                  <a:gd name="T73" fmla="*/ 2147483647 h 299"/>
                  <a:gd name="T74" fmla="*/ 2147483647 w 185"/>
                  <a:gd name="T75" fmla="*/ 2147483647 h 299"/>
                  <a:gd name="T76" fmla="*/ 2147483647 w 185"/>
                  <a:gd name="T77" fmla="*/ 2147483647 h 299"/>
                  <a:gd name="T78" fmla="*/ 2147483647 w 185"/>
                  <a:gd name="T79" fmla="*/ 2147483647 h 299"/>
                  <a:gd name="T80" fmla="*/ 2147483647 w 185"/>
                  <a:gd name="T81" fmla="*/ 2147483647 h 299"/>
                  <a:gd name="T82" fmla="*/ 2147483647 w 185"/>
                  <a:gd name="T83" fmla="*/ 2147483647 h 299"/>
                  <a:gd name="T84" fmla="*/ 2147483647 w 185"/>
                  <a:gd name="T85" fmla="*/ 2147483647 h 299"/>
                  <a:gd name="T86" fmla="*/ 2147483647 w 185"/>
                  <a:gd name="T87" fmla="*/ 2147483647 h 299"/>
                  <a:gd name="T88" fmla="*/ 2147483647 w 185"/>
                  <a:gd name="T89" fmla="*/ 2147483647 h 299"/>
                  <a:gd name="T90" fmla="*/ 2147483647 w 185"/>
                  <a:gd name="T91" fmla="*/ 2147483647 h 299"/>
                  <a:gd name="T92" fmla="*/ 2147483647 w 185"/>
                  <a:gd name="T93" fmla="*/ 2147483647 h 299"/>
                  <a:gd name="T94" fmla="*/ 2147483647 w 185"/>
                  <a:gd name="T95" fmla="*/ 2147483647 h 299"/>
                  <a:gd name="T96" fmla="*/ 2147483647 w 185"/>
                  <a:gd name="T97" fmla="*/ 2147483647 h 299"/>
                  <a:gd name="T98" fmla="*/ 2147483647 w 185"/>
                  <a:gd name="T99" fmla="*/ 2147483647 h 299"/>
                  <a:gd name="T100" fmla="*/ 2147483647 w 185"/>
                  <a:gd name="T101" fmla="*/ 2147483647 h 299"/>
                  <a:gd name="T102" fmla="*/ 2147483647 w 185"/>
                  <a:gd name="T103" fmla="*/ 2147483647 h 299"/>
                  <a:gd name="T104" fmla="*/ 2147483647 w 185"/>
                  <a:gd name="T105" fmla="*/ 2147483647 h 299"/>
                  <a:gd name="T106" fmla="*/ 2147483647 w 185"/>
                  <a:gd name="T107" fmla="*/ 2147483647 h 299"/>
                  <a:gd name="T108" fmla="*/ 2147483647 w 185"/>
                  <a:gd name="T109" fmla="*/ 2147483647 h 299"/>
                  <a:gd name="T110" fmla="*/ 2147483647 w 185"/>
                  <a:gd name="T111" fmla="*/ 2147483647 h 299"/>
                  <a:gd name="T112" fmla="*/ 2147483647 w 185"/>
                  <a:gd name="T113" fmla="*/ 2147483647 h 299"/>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85"/>
                  <a:gd name="T172" fmla="*/ 0 h 299"/>
                  <a:gd name="T173" fmla="*/ 185 w 185"/>
                  <a:gd name="T174" fmla="*/ 299 h 299"/>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85" h="299">
                    <a:moveTo>
                      <a:pt x="29" y="261"/>
                    </a:moveTo>
                    <a:lnTo>
                      <a:pt x="33" y="259"/>
                    </a:lnTo>
                    <a:lnTo>
                      <a:pt x="31" y="257"/>
                    </a:lnTo>
                    <a:lnTo>
                      <a:pt x="27" y="255"/>
                    </a:lnTo>
                    <a:lnTo>
                      <a:pt x="20" y="251"/>
                    </a:lnTo>
                    <a:lnTo>
                      <a:pt x="18" y="251"/>
                    </a:lnTo>
                    <a:lnTo>
                      <a:pt x="16" y="249"/>
                    </a:lnTo>
                    <a:lnTo>
                      <a:pt x="16" y="247"/>
                    </a:lnTo>
                    <a:lnTo>
                      <a:pt x="14" y="242"/>
                    </a:lnTo>
                    <a:lnTo>
                      <a:pt x="8" y="219"/>
                    </a:lnTo>
                    <a:lnTo>
                      <a:pt x="0" y="174"/>
                    </a:lnTo>
                    <a:lnTo>
                      <a:pt x="4" y="169"/>
                    </a:lnTo>
                    <a:lnTo>
                      <a:pt x="10" y="165"/>
                    </a:lnTo>
                    <a:lnTo>
                      <a:pt x="16" y="159"/>
                    </a:lnTo>
                    <a:lnTo>
                      <a:pt x="20" y="155"/>
                    </a:lnTo>
                    <a:lnTo>
                      <a:pt x="20" y="146"/>
                    </a:lnTo>
                    <a:lnTo>
                      <a:pt x="20" y="136"/>
                    </a:lnTo>
                    <a:lnTo>
                      <a:pt x="25" y="136"/>
                    </a:lnTo>
                    <a:lnTo>
                      <a:pt x="29" y="136"/>
                    </a:lnTo>
                    <a:lnTo>
                      <a:pt x="35" y="130"/>
                    </a:lnTo>
                    <a:lnTo>
                      <a:pt x="39" y="126"/>
                    </a:lnTo>
                    <a:lnTo>
                      <a:pt x="45" y="121"/>
                    </a:lnTo>
                    <a:lnTo>
                      <a:pt x="48" y="117"/>
                    </a:lnTo>
                    <a:lnTo>
                      <a:pt x="54" y="111"/>
                    </a:lnTo>
                    <a:lnTo>
                      <a:pt x="58" y="105"/>
                    </a:lnTo>
                    <a:lnTo>
                      <a:pt x="64" y="101"/>
                    </a:lnTo>
                    <a:lnTo>
                      <a:pt x="68" y="96"/>
                    </a:lnTo>
                    <a:lnTo>
                      <a:pt x="68" y="92"/>
                    </a:lnTo>
                    <a:lnTo>
                      <a:pt x="68" y="88"/>
                    </a:lnTo>
                    <a:lnTo>
                      <a:pt x="68" y="82"/>
                    </a:lnTo>
                    <a:lnTo>
                      <a:pt x="68" y="77"/>
                    </a:lnTo>
                    <a:lnTo>
                      <a:pt x="77" y="73"/>
                    </a:lnTo>
                    <a:lnTo>
                      <a:pt x="89" y="67"/>
                    </a:lnTo>
                    <a:lnTo>
                      <a:pt x="92" y="63"/>
                    </a:lnTo>
                    <a:lnTo>
                      <a:pt x="96" y="57"/>
                    </a:lnTo>
                    <a:lnTo>
                      <a:pt x="102" y="54"/>
                    </a:lnTo>
                    <a:lnTo>
                      <a:pt x="108" y="48"/>
                    </a:lnTo>
                    <a:lnTo>
                      <a:pt x="112" y="44"/>
                    </a:lnTo>
                    <a:lnTo>
                      <a:pt x="117" y="38"/>
                    </a:lnTo>
                    <a:lnTo>
                      <a:pt x="117" y="34"/>
                    </a:lnTo>
                    <a:lnTo>
                      <a:pt x="117" y="29"/>
                    </a:lnTo>
                    <a:lnTo>
                      <a:pt x="117" y="25"/>
                    </a:lnTo>
                    <a:lnTo>
                      <a:pt x="117" y="19"/>
                    </a:lnTo>
                    <a:lnTo>
                      <a:pt x="121" y="19"/>
                    </a:lnTo>
                    <a:lnTo>
                      <a:pt x="127" y="19"/>
                    </a:lnTo>
                    <a:lnTo>
                      <a:pt x="131" y="13"/>
                    </a:lnTo>
                    <a:lnTo>
                      <a:pt x="137" y="9"/>
                    </a:lnTo>
                    <a:lnTo>
                      <a:pt x="140" y="6"/>
                    </a:lnTo>
                    <a:lnTo>
                      <a:pt x="146" y="0"/>
                    </a:lnTo>
                    <a:lnTo>
                      <a:pt x="156" y="0"/>
                    </a:lnTo>
                    <a:lnTo>
                      <a:pt x="165" y="0"/>
                    </a:lnTo>
                    <a:lnTo>
                      <a:pt x="169" y="6"/>
                    </a:lnTo>
                    <a:lnTo>
                      <a:pt x="175" y="9"/>
                    </a:lnTo>
                    <a:lnTo>
                      <a:pt x="175" y="13"/>
                    </a:lnTo>
                    <a:lnTo>
                      <a:pt x="175" y="19"/>
                    </a:lnTo>
                    <a:lnTo>
                      <a:pt x="177" y="25"/>
                    </a:lnTo>
                    <a:lnTo>
                      <a:pt x="179" y="29"/>
                    </a:lnTo>
                    <a:lnTo>
                      <a:pt x="183" y="31"/>
                    </a:lnTo>
                    <a:lnTo>
                      <a:pt x="185" y="34"/>
                    </a:lnTo>
                    <a:lnTo>
                      <a:pt x="183" y="54"/>
                    </a:lnTo>
                    <a:lnTo>
                      <a:pt x="179" y="73"/>
                    </a:lnTo>
                    <a:lnTo>
                      <a:pt x="177" y="92"/>
                    </a:lnTo>
                    <a:lnTo>
                      <a:pt x="175" y="111"/>
                    </a:lnTo>
                    <a:lnTo>
                      <a:pt x="173" y="113"/>
                    </a:lnTo>
                    <a:lnTo>
                      <a:pt x="169" y="117"/>
                    </a:lnTo>
                    <a:lnTo>
                      <a:pt x="167" y="119"/>
                    </a:lnTo>
                    <a:lnTo>
                      <a:pt x="165" y="121"/>
                    </a:lnTo>
                    <a:lnTo>
                      <a:pt x="163" y="123"/>
                    </a:lnTo>
                    <a:lnTo>
                      <a:pt x="160" y="126"/>
                    </a:lnTo>
                    <a:lnTo>
                      <a:pt x="160" y="130"/>
                    </a:lnTo>
                    <a:lnTo>
                      <a:pt x="160" y="136"/>
                    </a:lnTo>
                    <a:lnTo>
                      <a:pt x="163" y="138"/>
                    </a:lnTo>
                    <a:lnTo>
                      <a:pt x="165" y="140"/>
                    </a:lnTo>
                    <a:lnTo>
                      <a:pt x="165" y="155"/>
                    </a:lnTo>
                    <a:lnTo>
                      <a:pt x="165" y="169"/>
                    </a:lnTo>
                    <a:lnTo>
                      <a:pt x="163" y="172"/>
                    </a:lnTo>
                    <a:lnTo>
                      <a:pt x="160" y="174"/>
                    </a:lnTo>
                    <a:lnTo>
                      <a:pt x="158" y="176"/>
                    </a:lnTo>
                    <a:lnTo>
                      <a:pt x="156" y="178"/>
                    </a:lnTo>
                    <a:lnTo>
                      <a:pt x="152" y="182"/>
                    </a:lnTo>
                    <a:lnTo>
                      <a:pt x="150" y="184"/>
                    </a:lnTo>
                    <a:lnTo>
                      <a:pt x="148" y="186"/>
                    </a:lnTo>
                    <a:lnTo>
                      <a:pt x="146" y="188"/>
                    </a:lnTo>
                    <a:lnTo>
                      <a:pt x="142" y="190"/>
                    </a:lnTo>
                    <a:lnTo>
                      <a:pt x="140" y="194"/>
                    </a:lnTo>
                    <a:lnTo>
                      <a:pt x="139" y="196"/>
                    </a:lnTo>
                    <a:lnTo>
                      <a:pt x="137" y="197"/>
                    </a:lnTo>
                    <a:lnTo>
                      <a:pt x="133" y="201"/>
                    </a:lnTo>
                    <a:lnTo>
                      <a:pt x="131" y="203"/>
                    </a:lnTo>
                    <a:lnTo>
                      <a:pt x="129" y="211"/>
                    </a:lnTo>
                    <a:lnTo>
                      <a:pt x="127" y="217"/>
                    </a:lnTo>
                    <a:lnTo>
                      <a:pt x="123" y="220"/>
                    </a:lnTo>
                    <a:lnTo>
                      <a:pt x="121" y="222"/>
                    </a:lnTo>
                    <a:lnTo>
                      <a:pt x="119" y="224"/>
                    </a:lnTo>
                    <a:lnTo>
                      <a:pt x="117" y="228"/>
                    </a:lnTo>
                    <a:lnTo>
                      <a:pt x="114" y="230"/>
                    </a:lnTo>
                    <a:lnTo>
                      <a:pt x="112" y="232"/>
                    </a:lnTo>
                    <a:lnTo>
                      <a:pt x="110" y="253"/>
                    </a:lnTo>
                    <a:lnTo>
                      <a:pt x="108" y="276"/>
                    </a:lnTo>
                    <a:lnTo>
                      <a:pt x="104" y="278"/>
                    </a:lnTo>
                    <a:lnTo>
                      <a:pt x="102" y="280"/>
                    </a:lnTo>
                    <a:lnTo>
                      <a:pt x="100" y="282"/>
                    </a:lnTo>
                    <a:lnTo>
                      <a:pt x="96" y="286"/>
                    </a:lnTo>
                    <a:lnTo>
                      <a:pt x="94" y="288"/>
                    </a:lnTo>
                    <a:lnTo>
                      <a:pt x="92" y="290"/>
                    </a:lnTo>
                    <a:lnTo>
                      <a:pt x="85" y="293"/>
                    </a:lnTo>
                    <a:lnTo>
                      <a:pt x="77" y="295"/>
                    </a:lnTo>
                    <a:lnTo>
                      <a:pt x="75" y="297"/>
                    </a:lnTo>
                    <a:lnTo>
                      <a:pt x="73" y="299"/>
                    </a:lnTo>
                    <a:lnTo>
                      <a:pt x="66" y="299"/>
                    </a:lnTo>
                    <a:lnTo>
                      <a:pt x="58" y="299"/>
                    </a:lnTo>
                    <a:lnTo>
                      <a:pt x="50" y="293"/>
                    </a:lnTo>
                    <a:lnTo>
                      <a:pt x="45" y="288"/>
                    </a:lnTo>
                    <a:lnTo>
                      <a:pt x="39" y="278"/>
                    </a:lnTo>
                    <a:lnTo>
                      <a:pt x="29" y="261"/>
                    </a:lnTo>
                  </a:path>
                </a:pathLst>
              </a:custGeom>
              <a:grpFill/>
              <a:ln w="3175">
                <a:solidFill>
                  <a:srgbClr val="FF8300"/>
                </a:solidFill>
                <a:round/>
                <a:headEnd/>
                <a:tailEnd/>
              </a:ln>
            </p:spPr>
            <p:txBody>
              <a:bodyPr/>
              <a:lstStyle/>
              <a:p>
                <a:pPr>
                  <a:defRPr/>
                </a:pPr>
                <a:endParaRPr lang="en-GB" sz="1400">
                  <a:solidFill>
                    <a:schemeClr val="tx2"/>
                  </a:solidFill>
                </a:endParaRPr>
              </a:p>
            </p:txBody>
          </p:sp>
          <p:sp>
            <p:nvSpPr>
              <p:cNvPr id="383" name="Freeform 348"/>
              <p:cNvSpPr>
                <a:spLocks/>
              </p:cNvSpPr>
              <p:nvPr>
                <p:custDataLst>
                  <p:tags r:id="rId34"/>
                </p:custDataLst>
              </p:nvPr>
            </p:nvSpPr>
            <p:spPr bwMode="gray">
              <a:xfrm>
                <a:off x="1692318" y="3264187"/>
                <a:ext cx="537894" cy="671670"/>
              </a:xfrm>
              <a:custGeom>
                <a:avLst/>
                <a:gdLst>
                  <a:gd name="T0" fmla="*/ 2147483647 w 395"/>
                  <a:gd name="T1" fmla="*/ 2147483647 h 512"/>
                  <a:gd name="T2" fmla="*/ 2147483647 w 395"/>
                  <a:gd name="T3" fmla="*/ 2147483647 h 512"/>
                  <a:gd name="T4" fmla="*/ 2147483647 w 395"/>
                  <a:gd name="T5" fmla="*/ 2147483647 h 512"/>
                  <a:gd name="T6" fmla="*/ 2147483647 w 395"/>
                  <a:gd name="T7" fmla="*/ 2147483647 h 512"/>
                  <a:gd name="T8" fmla="*/ 2147483647 w 395"/>
                  <a:gd name="T9" fmla="*/ 2147483647 h 512"/>
                  <a:gd name="T10" fmla="*/ 2147483647 w 395"/>
                  <a:gd name="T11" fmla="*/ 2147483647 h 512"/>
                  <a:gd name="T12" fmla="*/ 2147483647 w 395"/>
                  <a:gd name="T13" fmla="*/ 2147483647 h 512"/>
                  <a:gd name="T14" fmla="*/ 2147483647 w 395"/>
                  <a:gd name="T15" fmla="*/ 0 h 512"/>
                  <a:gd name="T16" fmla="*/ 2147483647 w 395"/>
                  <a:gd name="T17" fmla="*/ 2147483647 h 512"/>
                  <a:gd name="T18" fmla="*/ 2147483647 w 395"/>
                  <a:gd name="T19" fmla="*/ 2147483647 h 512"/>
                  <a:gd name="T20" fmla="*/ 2147483647 w 395"/>
                  <a:gd name="T21" fmla="*/ 2147483647 h 512"/>
                  <a:gd name="T22" fmla="*/ 2147483647 w 395"/>
                  <a:gd name="T23" fmla="*/ 2147483647 h 512"/>
                  <a:gd name="T24" fmla="*/ 2147483647 w 395"/>
                  <a:gd name="T25" fmla="*/ 2147483647 h 512"/>
                  <a:gd name="T26" fmla="*/ 2147483647 w 395"/>
                  <a:gd name="T27" fmla="*/ 2147483647 h 512"/>
                  <a:gd name="T28" fmla="*/ 2147483647 w 395"/>
                  <a:gd name="T29" fmla="*/ 2147483647 h 512"/>
                  <a:gd name="T30" fmla="*/ 2147483647 w 395"/>
                  <a:gd name="T31" fmla="*/ 2147483647 h 512"/>
                  <a:gd name="T32" fmla="*/ 2147483647 w 395"/>
                  <a:gd name="T33" fmla="*/ 2147483647 h 512"/>
                  <a:gd name="T34" fmla="*/ 2147483647 w 395"/>
                  <a:gd name="T35" fmla="*/ 2147483647 h 512"/>
                  <a:gd name="T36" fmla="*/ 2147483647 w 395"/>
                  <a:gd name="T37" fmla="*/ 2147483647 h 512"/>
                  <a:gd name="T38" fmla="*/ 2147483647 w 395"/>
                  <a:gd name="T39" fmla="*/ 2147483647 h 512"/>
                  <a:gd name="T40" fmla="*/ 2147483647 w 395"/>
                  <a:gd name="T41" fmla="*/ 2147483647 h 512"/>
                  <a:gd name="T42" fmla="*/ 2147483647 w 395"/>
                  <a:gd name="T43" fmla="*/ 2147483647 h 512"/>
                  <a:gd name="T44" fmla="*/ 2147483647 w 395"/>
                  <a:gd name="T45" fmla="*/ 2147483647 h 512"/>
                  <a:gd name="T46" fmla="*/ 2147483647 w 395"/>
                  <a:gd name="T47" fmla="*/ 2147483647 h 512"/>
                  <a:gd name="T48" fmla="*/ 2147483647 w 395"/>
                  <a:gd name="T49" fmla="*/ 2147483647 h 512"/>
                  <a:gd name="T50" fmla="*/ 0 w 395"/>
                  <a:gd name="T51" fmla="*/ 2147483647 h 512"/>
                  <a:gd name="T52" fmla="*/ 2147483647 w 395"/>
                  <a:gd name="T53" fmla="*/ 2147483647 h 512"/>
                  <a:gd name="T54" fmla="*/ 2147483647 w 395"/>
                  <a:gd name="T55" fmla="*/ 2147483647 h 512"/>
                  <a:gd name="T56" fmla="*/ 2147483647 w 395"/>
                  <a:gd name="T57" fmla="*/ 2147483647 h 512"/>
                  <a:gd name="T58" fmla="*/ 2147483647 w 395"/>
                  <a:gd name="T59" fmla="*/ 2147483647 h 512"/>
                  <a:gd name="T60" fmla="*/ 2147483647 w 395"/>
                  <a:gd name="T61" fmla="*/ 2147483647 h 512"/>
                  <a:gd name="T62" fmla="*/ 2147483647 w 395"/>
                  <a:gd name="T63" fmla="*/ 2147483647 h 512"/>
                  <a:gd name="T64" fmla="*/ 2147483647 w 395"/>
                  <a:gd name="T65" fmla="*/ 2147483647 h 512"/>
                  <a:gd name="T66" fmla="*/ 2147483647 w 395"/>
                  <a:gd name="T67" fmla="*/ 2147483647 h 512"/>
                  <a:gd name="T68" fmla="*/ 2147483647 w 395"/>
                  <a:gd name="T69" fmla="*/ 2147483647 h 512"/>
                  <a:gd name="T70" fmla="*/ 2147483647 w 395"/>
                  <a:gd name="T71" fmla="*/ 2147483647 h 512"/>
                  <a:gd name="T72" fmla="*/ 2147483647 w 395"/>
                  <a:gd name="T73" fmla="*/ 2147483647 h 512"/>
                  <a:gd name="T74" fmla="*/ 2147483647 w 395"/>
                  <a:gd name="T75" fmla="*/ 2147483647 h 512"/>
                  <a:gd name="T76" fmla="*/ 2147483647 w 395"/>
                  <a:gd name="T77" fmla="*/ 2147483647 h 512"/>
                  <a:gd name="T78" fmla="*/ 2147483647 w 395"/>
                  <a:gd name="T79" fmla="*/ 2147483647 h 512"/>
                  <a:gd name="T80" fmla="*/ 2147483647 w 395"/>
                  <a:gd name="T81" fmla="*/ 2147483647 h 512"/>
                  <a:gd name="T82" fmla="*/ 2147483647 w 395"/>
                  <a:gd name="T83" fmla="*/ 2147483647 h 512"/>
                  <a:gd name="T84" fmla="*/ 2147483647 w 395"/>
                  <a:gd name="T85" fmla="*/ 2147483647 h 512"/>
                  <a:gd name="T86" fmla="*/ 2147483647 w 395"/>
                  <a:gd name="T87" fmla="*/ 2147483647 h 512"/>
                  <a:gd name="T88" fmla="*/ 2147483647 w 395"/>
                  <a:gd name="T89" fmla="*/ 2147483647 h 512"/>
                  <a:gd name="T90" fmla="*/ 2147483647 w 395"/>
                  <a:gd name="T91" fmla="*/ 2147483647 h 512"/>
                  <a:gd name="T92" fmla="*/ 2147483647 w 395"/>
                  <a:gd name="T93" fmla="*/ 2147483647 h 512"/>
                  <a:gd name="T94" fmla="*/ 2147483647 w 395"/>
                  <a:gd name="T95" fmla="*/ 2147483647 h 512"/>
                  <a:gd name="T96" fmla="*/ 2147483647 w 395"/>
                  <a:gd name="T97" fmla="*/ 2147483647 h 512"/>
                  <a:gd name="T98" fmla="*/ 2147483647 w 395"/>
                  <a:gd name="T99" fmla="*/ 2147483647 h 512"/>
                  <a:gd name="T100" fmla="*/ 2147483647 w 395"/>
                  <a:gd name="T101" fmla="*/ 2147483647 h 512"/>
                  <a:gd name="T102" fmla="*/ 2147483647 w 395"/>
                  <a:gd name="T103" fmla="*/ 2147483647 h 51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395"/>
                  <a:gd name="T157" fmla="*/ 0 h 512"/>
                  <a:gd name="T158" fmla="*/ 395 w 395"/>
                  <a:gd name="T159" fmla="*/ 512 h 512"/>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395" h="512">
                    <a:moveTo>
                      <a:pt x="311" y="330"/>
                    </a:moveTo>
                    <a:lnTo>
                      <a:pt x="321" y="330"/>
                    </a:lnTo>
                    <a:lnTo>
                      <a:pt x="328" y="330"/>
                    </a:lnTo>
                    <a:lnTo>
                      <a:pt x="326" y="303"/>
                    </a:lnTo>
                    <a:lnTo>
                      <a:pt x="326" y="276"/>
                    </a:lnTo>
                    <a:lnTo>
                      <a:pt x="324" y="249"/>
                    </a:lnTo>
                    <a:lnTo>
                      <a:pt x="322" y="223"/>
                    </a:lnTo>
                    <a:lnTo>
                      <a:pt x="347" y="186"/>
                    </a:lnTo>
                    <a:lnTo>
                      <a:pt x="370" y="157"/>
                    </a:lnTo>
                    <a:lnTo>
                      <a:pt x="378" y="144"/>
                    </a:lnTo>
                    <a:lnTo>
                      <a:pt x="386" y="127"/>
                    </a:lnTo>
                    <a:lnTo>
                      <a:pt x="392" y="106"/>
                    </a:lnTo>
                    <a:lnTo>
                      <a:pt x="395" y="79"/>
                    </a:lnTo>
                    <a:lnTo>
                      <a:pt x="395" y="77"/>
                    </a:lnTo>
                    <a:lnTo>
                      <a:pt x="395" y="73"/>
                    </a:lnTo>
                    <a:lnTo>
                      <a:pt x="393" y="71"/>
                    </a:lnTo>
                    <a:lnTo>
                      <a:pt x="392" y="69"/>
                    </a:lnTo>
                    <a:lnTo>
                      <a:pt x="388" y="52"/>
                    </a:lnTo>
                    <a:lnTo>
                      <a:pt x="386" y="35"/>
                    </a:lnTo>
                    <a:lnTo>
                      <a:pt x="384" y="33"/>
                    </a:lnTo>
                    <a:lnTo>
                      <a:pt x="382" y="31"/>
                    </a:lnTo>
                    <a:lnTo>
                      <a:pt x="374" y="27"/>
                    </a:lnTo>
                    <a:lnTo>
                      <a:pt x="367" y="25"/>
                    </a:lnTo>
                    <a:lnTo>
                      <a:pt x="365" y="23"/>
                    </a:lnTo>
                    <a:lnTo>
                      <a:pt x="363" y="21"/>
                    </a:lnTo>
                    <a:lnTo>
                      <a:pt x="359" y="17"/>
                    </a:lnTo>
                    <a:lnTo>
                      <a:pt x="357" y="15"/>
                    </a:lnTo>
                    <a:lnTo>
                      <a:pt x="355" y="13"/>
                    </a:lnTo>
                    <a:lnTo>
                      <a:pt x="353" y="12"/>
                    </a:lnTo>
                    <a:lnTo>
                      <a:pt x="349" y="6"/>
                    </a:lnTo>
                    <a:lnTo>
                      <a:pt x="347" y="0"/>
                    </a:lnTo>
                    <a:lnTo>
                      <a:pt x="342" y="0"/>
                    </a:lnTo>
                    <a:lnTo>
                      <a:pt x="338" y="0"/>
                    </a:lnTo>
                    <a:lnTo>
                      <a:pt x="332" y="0"/>
                    </a:lnTo>
                    <a:lnTo>
                      <a:pt x="328" y="0"/>
                    </a:lnTo>
                    <a:lnTo>
                      <a:pt x="322" y="6"/>
                    </a:lnTo>
                    <a:lnTo>
                      <a:pt x="319" y="12"/>
                    </a:lnTo>
                    <a:lnTo>
                      <a:pt x="319" y="21"/>
                    </a:lnTo>
                    <a:lnTo>
                      <a:pt x="319" y="31"/>
                    </a:lnTo>
                    <a:lnTo>
                      <a:pt x="313" y="31"/>
                    </a:lnTo>
                    <a:lnTo>
                      <a:pt x="309" y="31"/>
                    </a:lnTo>
                    <a:lnTo>
                      <a:pt x="303" y="31"/>
                    </a:lnTo>
                    <a:lnTo>
                      <a:pt x="299" y="31"/>
                    </a:lnTo>
                    <a:lnTo>
                      <a:pt x="299" y="35"/>
                    </a:lnTo>
                    <a:lnTo>
                      <a:pt x="299" y="40"/>
                    </a:lnTo>
                    <a:lnTo>
                      <a:pt x="294" y="40"/>
                    </a:lnTo>
                    <a:lnTo>
                      <a:pt x="290" y="40"/>
                    </a:lnTo>
                    <a:lnTo>
                      <a:pt x="284" y="40"/>
                    </a:lnTo>
                    <a:lnTo>
                      <a:pt x="280" y="40"/>
                    </a:lnTo>
                    <a:lnTo>
                      <a:pt x="275" y="44"/>
                    </a:lnTo>
                    <a:lnTo>
                      <a:pt x="271" y="50"/>
                    </a:lnTo>
                    <a:lnTo>
                      <a:pt x="265" y="54"/>
                    </a:lnTo>
                    <a:lnTo>
                      <a:pt x="261" y="59"/>
                    </a:lnTo>
                    <a:lnTo>
                      <a:pt x="255" y="69"/>
                    </a:lnTo>
                    <a:lnTo>
                      <a:pt x="252" y="79"/>
                    </a:lnTo>
                    <a:lnTo>
                      <a:pt x="246" y="79"/>
                    </a:lnTo>
                    <a:lnTo>
                      <a:pt x="242" y="79"/>
                    </a:lnTo>
                    <a:lnTo>
                      <a:pt x="242" y="83"/>
                    </a:lnTo>
                    <a:lnTo>
                      <a:pt x="242" y="88"/>
                    </a:lnTo>
                    <a:lnTo>
                      <a:pt x="236" y="92"/>
                    </a:lnTo>
                    <a:lnTo>
                      <a:pt x="232" y="98"/>
                    </a:lnTo>
                    <a:lnTo>
                      <a:pt x="227" y="107"/>
                    </a:lnTo>
                    <a:lnTo>
                      <a:pt x="223" y="117"/>
                    </a:lnTo>
                    <a:lnTo>
                      <a:pt x="217" y="123"/>
                    </a:lnTo>
                    <a:lnTo>
                      <a:pt x="211" y="127"/>
                    </a:lnTo>
                    <a:lnTo>
                      <a:pt x="211" y="132"/>
                    </a:lnTo>
                    <a:lnTo>
                      <a:pt x="211" y="136"/>
                    </a:lnTo>
                    <a:lnTo>
                      <a:pt x="204" y="152"/>
                    </a:lnTo>
                    <a:lnTo>
                      <a:pt x="194" y="165"/>
                    </a:lnTo>
                    <a:lnTo>
                      <a:pt x="188" y="171"/>
                    </a:lnTo>
                    <a:lnTo>
                      <a:pt x="182" y="175"/>
                    </a:lnTo>
                    <a:lnTo>
                      <a:pt x="179" y="180"/>
                    </a:lnTo>
                    <a:lnTo>
                      <a:pt x="173" y="184"/>
                    </a:lnTo>
                    <a:lnTo>
                      <a:pt x="169" y="184"/>
                    </a:lnTo>
                    <a:lnTo>
                      <a:pt x="163" y="184"/>
                    </a:lnTo>
                    <a:lnTo>
                      <a:pt x="163" y="190"/>
                    </a:lnTo>
                    <a:lnTo>
                      <a:pt x="163" y="194"/>
                    </a:lnTo>
                    <a:lnTo>
                      <a:pt x="163" y="213"/>
                    </a:lnTo>
                    <a:lnTo>
                      <a:pt x="163" y="232"/>
                    </a:lnTo>
                    <a:lnTo>
                      <a:pt x="163" y="238"/>
                    </a:lnTo>
                    <a:lnTo>
                      <a:pt x="163" y="244"/>
                    </a:lnTo>
                    <a:lnTo>
                      <a:pt x="159" y="248"/>
                    </a:lnTo>
                    <a:lnTo>
                      <a:pt x="154" y="253"/>
                    </a:lnTo>
                    <a:lnTo>
                      <a:pt x="150" y="257"/>
                    </a:lnTo>
                    <a:lnTo>
                      <a:pt x="144" y="263"/>
                    </a:lnTo>
                    <a:lnTo>
                      <a:pt x="140" y="263"/>
                    </a:lnTo>
                    <a:lnTo>
                      <a:pt x="134" y="263"/>
                    </a:lnTo>
                    <a:lnTo>
                      <a:pt x="131" y="267"/>
                    </a:lnTo>
                    <a:lnTo>
                      <a:pt x="125" y="272"/>
                    </a:lnTo>
                    <a:lnTo>
                      <a:pt x="111" y="272"/>
                    </a:lnTo>
                    <a:lnTo>
                      <a:pt x="96" y="272"/>
                    </a:lnTo>
                    <a:lnTo>
                      <a:pt x="90" y="276"/>
                    </a:lnTo>
                    <a:lnTo>
                      <a:pt x="87" y="282"/>
                    </a:lnTo>
                    <a:lnTo>
                      <a:pt x="77" y="282"/>
                    </a:lnTo>
                    <a:lnTo>
                      <a:pt x="67" y="282"/>
                    </a:lnTo>
                    <a:lnTo>
                      <a:pt x="62" y="282"/>
                    </a:lnTo>
                    <a:lnTo>
                      <a:pt x="58" y="282"/>
                    </a:lnTo>
                    <a:lnTo>
                      <a:pt x="48" y="282"/>
                    </a:lnTo>
                    <a:lnTo>
                      <a:pt x="39" y="282"/>
                    </a:lnTo>
                    <a:lnTo>
                      <a:pt x="33" y="282"/>
                    </a:lnTo>
                    <a:lnTo>
                      <a:pt x="29" y="282"/>
                    </a:lnTo>
                    <a:lnTo>
                      <a:pt x="14" y="282"/>
                    </a:lnTo>
                    <a:lnTo>
                      <a:pt x="0" y="282"/>
                    </a:lnTo>
                    <a:lnTo>
                      <a:pt x="0" y="286"/>
                    </a:lnTo>
                    <a:lnTo>
                      <a:pt x="0" y="292"/>
                    </a:lnTo>
                    <a:lnTo>
                      <a:pt x="4" y="295"/>
                    </a:lnTo>
                    <a:lnTo>
                      <a:pt x="10" y="301"/>
                    </a:lnTo>
                    <a:lnTo>
                      <a:pt x="10" y="305"/>
                    </a:lnTo>
                    <a:lnTo>
                      <a:pt x="10" y="311"/>
                    </a:lnTo>
                    <a:lnTo>
                      <a:pt x="14" y="311"/>
                    </a:lnTo>
                    <a:lnTo>
                      <a:pt x="19" y="311"/>
                    </a:lnTo>
                    <a:lnTo>
                      <a:pt x="29" y="305"/>
                    </a:lnTo>
                    <a:lnTo>
                      <a:pt x="39" y="301"/>
                    </a:lnTo>
                    <a:lnTo>
                      <a:pt x="52" y="305"/>
                    </a:lnTo>
                    <a:lnTo>
                      <a:pt x="67" y="311"/>
                    </a:lnTo>
                    <a:lnTo>
                      <a:pt x="71" y="311"/>
                    </a:lnTo>
                    <a:lnTo>
                      <a:pt x="77" y="311"/>
                    </a:lnTo>
                    <a:lnTo>
                      <a:pt x="81" y="315"/>
                    </a:lnTo>
                    <a:lnTo>
                      <a:pt x="87" y="320"/>
                    </a:lnTo>
                    <a:lnTo>
                      <a:pt x="81" y="330"/>
                    </a:lnTo>
                    <a:lnTo>
                      <a:pt x="77" y="340"/>
                    </a:lnTo>
                    <a:lnTo>
                      <a:pt x="71" y="340"/>
                    </a:lnTo>
                    <a:lnTo>
                      <a:pt x="67" y="340"/>
                    </a:lnTo>
                    <a:lnTo>
                      <a:pt x="65" y="355"/>
                    </a:lnTo>
                    <a:lnTo>
                      <a:pt x="67" y="366"/>
                    </a:lnTo>
                    <a:lnTo>
                      <a:pt x="67" y="370"/>
                    </a:lnTo>
                    <a:lnTo>
                      <a:pt x="65" y="374"/>
                    </a:lnTo>
                    <a:lnTo>
                      <a:pt x="63" y="380"/>
                    </a:lnTo>
                    <a:lnTo>
                      <a:pt x="65" y="384"/>
                    </a:lnTo>
                    <a:lnTo>
                      <a:pt x="69" y="388"/>
                    </a:lnTo>
                    <a:lnTo>
                      <a:pt x="67" y="391"/>
                    </a:lnTo>
                    <a:lnTo>
                      <a:pt x="65" y="395"/>
                    </a:lnTo>
                    <a:lnTo>
                      <a:pt x="62" y="397"/>
                    </a:lnTo>
                    <a:lnTo>
                      <a:pt x="58" y="401"/>
                    </a:lnTo>
                    <a:lnTo>
                      <a:pt x="56" y="405"/>
                    </a:lnTo>
                    <a:lnTo>
                      <a:pt x="58" y="411"/>
                    </a:lnTo>
                    <a:lnTo>
                      <a:pt x="65" y="416"/>
                    </a:lnTo>
                    <a:lnTo>
                      <a:pt x="58" y="420"/>
                    </a:lnTo>
                    <a:lnTo>
                      <a:pt x="52" y="426"/>
                    </a:lnTo>
                    <a:lnTo>
                      <a:pt x="60" y="432"/>
                    </a:lnTo>
                    <a:lnTo>
                      <a:pt x="73" y="437"/>
                    </a:lnTo>
                    <a:lnTo>
                      <a:pt x="77" y="439"/>
                    </a:lnTo>
                    <a:lnTo>
                      <a:pt x="81" y="443"/>
                    </a:lnTo>
                    <a:lnTo>
                      <a:pt x="88" y="443"/>
                    </a:lnTo>
                    <a:lnTo>
                      <a:pt x="96" y="445"/>
                    </a:lnTo>
                    <a:lnTo>
                      <a:pt x="100" y="443"/>
                    </a:lnTo>
                    <a:lnTo>
                      <a:pt x="106" y="443"/>
                    </a:lnTo>
                    <a:lnTo>
                      <a:pt x="108" y="439"/>
                    </a:lnTo>
                    <a:lnTo>
                      <a:pt x="110" y="436"/>
                    </a:lnTo>
                    <a:lnTo>
                      <a:pt x="115" y="436"/>
                    </a:lnTo>
                    <a:lnTo>
                      <a:pt x="119" y="436"/>
                    </a:lnTo>
                    <a:lnTo>
                      <a:pt x="127" y="443"/>
                    </a:lnTo>
                    <a:lnTo>
                      <a:pt x="134" y="451"/>
                    </a:lnTo>
                    <a:lnTo>
                      <a:pt x="144" y="459"/>
                    </a:lnTo>
                    <a:lnTo>
                      <a:pt x="152" y="466"/>
                    </a:lnTo>
                    <a:lnTo>
                      <a:pt x="156" y="470"/>
                    </a:lnTo>
                    <a:lnTo>
                      <a:pt x="156" y="474"/>
                    </a:lnTo>
                    <a:lnTo>
                      <a:pt x="152" y="482"/>
                    </a:lnTo>
                    <a:lnTo>
                      <a:pt x="148" y="487"/>
                    </a:lnTo>
                    <a:lnTo>
                      <a:pt x="148" y="491"/>
                    </a:lnTo>
                    <a:lnTo>
                      <a:pt x="148" y="493"/>
                    </a:lnTo>
                    <a:lnTo>
                      <a:pt x="146" y="499"/>
                    </a:lnTo>
                    <a:lnTo>
                      <a:pt x="146" y="503"/>
                    </a:lnTo>
                    <a:lnTo>
                      <a:pt x="150" y="508"/>
                    </a:lnTo>
                    <a:lnTo>
                      <a:pt x="157" y="510"/>
                    </a:lnTo>
                    <a:lnTo>
                      <a:pt x="167" y="512"/>
                    </a:lnTo>
                    <a:lnTo>
                      <a:pt x="179" y="510"/>
                    </a:lnTo>
                    <a:lnTo>
                      <a:pt x="181" y="507"/>
                    </a:lnTo>
                    <a:lnTo>
                      <a:pt x="182" y="503"/>
                    </a:lnTo>
                    <a:lnTo>
                      <a:pt x="188" y="499"/>
                    </a:lnTo>
                    <a:lnTo>
                      <a:pt x="194" y="493"/>
                    </a:lnTo>
                    <a:lnTo>
                      <a:pt x="211" y="493"/>
                    </a:lnTo>
                    <a:lnTo>
                      <a:pt x="221" y="495"/>
                    </a:lnTo>
                    <a:lnTo>
                      <a:pt x="227" y="499"/>
                    </a:lnTo>
                    <a:lnTo>
                      <a:pt x="236" y="505"/>
                    </a:lnTo>
                    <a:lnTo>
                      <a:pt x="246" y="505"/>
                    </a:lnTo>
                    <a:lnTo>
                      <a:pt x="255" y="505"/>
                    </a:lnTo>
                    <a:lnTo>
                      <a:pt x="257" y="501"/>
                    </a:lnTo>
                    <a:lnTo>
                      <a:pt x="261" y="499"/>
                    </a:lnTo>
                    <a:lnTo>
                      <a:pt x="263" y="491"/>
                    </a:lnTo>
                    <a:lnTo>
                      <a:pt x="265" y="485"/>
                    </a:lnTo>
                    <a:lnTo>
                      <a:pt x="267" y="482"/>
                    </a:lnTo>
                    <a:lnTo>
                      <a:pt x="271" y="480"/>
                    </a:lnTo>
                    <a:lnTo>
                      <a:pt x="273" y="478"/>
                    </a:lnTo>
                    <a:lnTo>
                      <a:pt x="275" y="476"/>
                    </a:lnTo>
                    <a:lnTo>
                      <a:pt x="278" y="472"/>
                    </a:lnTo>
                    <a:lnTo>
                      <a:pt x="280" y="470"/>
                    </a:lnTo>
                    <a:lnTo>
                      <a:pt x="282" y="462"/>
                    </a:lnTo>
                    <a:lnTo>
                      <a:pt x="284" y="455"/>
                    </a:lnTo>
                    <a:lnTo>
                      <a:pt x="286" y="453"/>
                    </a:lnTo>
                    <a:lnTo>
                      <a:pt x="290" y="451"/>
                    </a:lnTo>
                    <a:lnTo>
                      <a:pt x="292" y="449"/>
                    </a:lnTo>
                    <a:lnTo>
                      <a:pt x="294" y="447"/>
                    </a:lnTo>
                    <a:lnTo>
                      <a:pt x="296" y="443"/>
                    </a:lnTo>
                    <a:lnTo>
                      <a:pt x="299" y="441"/>
                    </a:lnTo>
                    <a:lnTo>
                      <a:pt x="296" y="439"/>
                    </a:lnTo>
                    <a:lnTo>
                      <a:pt x="294" y="436"/>
                    </a:lnTo>
                    <a:lnTo>
                      <a:pt x="292" y="434"/>
                    </a:lnTo>
                    <a:lnTo>
                      <a:pt x="290" y="432"/>
                    </a:lnTo>
                    <a:lnTo>
                      <a:pt x="286" y="428"/>
                    </a:lnTo>
                    <a:lnTo>
                      <a:pt x="284" y="426"/>
                    </a:lnTo>
                    <a:lnTo>
                      <a:pt x="282" y="416"/>
                    </a:lnTo>
                    <a:lnTo>
                      <a:pt x="280" y="407"/>
                    </a:lnTo>
                    <a:lnTo>
                      <a:pt x="280" y="403"/>
                    </a:lnTo>
                    <a:lnTo>
                      <a:pt x="280" y="397"/>
                    </a:lnTo>
                    <a:lnTo>
                      <a:pt x="284" y="386"/>
                    </a:lnTo>
                    <a:lnTo>
                      <a:pt x="296" y="365"/>
                    </a:lnTo>
                    <a:lnTo>
                      <a:pt x="307" y="342"/>
                    </a:lnTo>
                    <a:lnTo>
                      <a:pt x="311" y="330"/>
                    </a:lnTo>
                  </a:path>
                </a:pathLst>
              </a:custGeom>
              <a:grpFill/>
              <a:ln w="3175">
                <a:solidFill>
                  <a:srgbClr val="FF8300"/>
                </a:solidFill>
                <a:round/>
                <a:headEnd/>
                <a:tailEnd/>
              </a:ln>
            </p:spPr>
            <p:txBody>
              <a:bodyPr/>
              <a:lstStyle/>
              <a:p>
                <a:pPr>
                  <a:defRPr/>
                </a:pPr>
                <a:endParaRPr lang="en-GB" sz="1400">
                  <a:solidFill>
                    <a:schemeClr val="tx2"/>
                  </a:solidFill>
                </a:endParaRPr>
              </a:p>
            </p:txBody>
          </p:sp>
          <p:sp>
            <p:nvSpPr>
              <p:cNvPr id="384" name="Freeform 82"/>
              <p:cNvSpPr>
                <a:spLocks/>
              </p:cNvSpPr>
              <p:nvPr/>
            </p:nvSpPr>
            <p:spPr bwMode="gray">
              <a:xfrm>
                <a:off x="1454028" y="3697568"/>
                <a:ext cx="444529" cy="328868"/>
              </a:xfrm>
              <a:custGeom>
                <a:avLst/>
                <a:gdLst/>
                <a:ahLst/>
                <a:cxnLst>
                  <a:cxn ang="0">
                    <a:pos x="193" y="238"/>
                  </a:cxn>
                  <a:cxn ang="0">
                    <a:pos x="186" y="230"/>
                  </a:cxn>
                  <a:cxn ang="0">
                    <a:pos x="178" y="223"/>
                  </a:cxn>
                  <a:cxn ang="0">
                    <a:pos x="170" y="200"/>
                  </a:cxn>
                  <a:cxn ang="0">
                    <a:pos x="165" y="178"/>
                  </a:cxn>
                  <a:cxn ang="0">
                    <a:pos x="138" y="171"/>
                  </a:cxn>
                  <a:cxn ang="0">
                    <a:pos x="130" y="155"/>
                  </a:cxn>
                  <a:cxn ang="0">
                    <a:pos x="103" y="148"/>
                  </a:cxn>
                  <a:cxn ang="0">
                    <a:pos x="76" y="140"/>
                  </a:cxn>
                  <a:cxn ang="0">
                    <a:pos x="40" y="132"/>
                  </a:cxn>
                  <a:cxn ang="0">
                    <a:pos x="28" y="127"/>
                  </a:cxn>
                  <a:cxn ang="0">
                    <a:pos x="17" y="132"/>
                  </a:cxn>
                  <a:cxn ang="0">
                    <a:pos x="11" y="134"/>
                  </a:cxn>
                  <a:cxn ang="0">
                    <a:pos x="7" y="102"/>
                  </a:cxn>
                  <a:cxn ang="0">
                    <a:pos x="0" y="54"/>
                  </a:cxn>
                  <a:cxn ang="0">
                    <a:pos x="0" y="42"/>
                  </a:cxn>
                  <a:cxn ang="0">
                    <a:pos x="0" y="29"/>
                  </a:cxn>
                  <a:cxn ang="0">
                    <a:pos x="13" y="25"/>
                  </a:cxn>
                  <a:cxn ang="0">
                    <a:pos x="28" y="10"/>
                  </a:cxn>
                  <a:cxn ang="0">
                    <a:pos x="32" y="0"/>
                  </a:cxn>
                  <a:cxn ang="0">
                    <a:pos x="57" y="10"/>
                  </a:cxn>
                  <a:cxn ang="0">
                    <a:pos x="76" y="25"/>
                  </a:cxn>
                  <a:cxn ang="0">
                    <a:pos x="76" y="48"/>
                  </a:cxn>
                  <a:cxn ang="0">
                    <a:pos x="109" y="71"/>
                  </a:cxn>
                  <a:cxn ang="0">
                    <a:pos x="143" y="58"/>
                  </a:cxn>
                  <a:cxn ang="0">
                    <a:pos x="140" y="83"/>
                  </a:cxn>
                  <a:cxn ang="0">
                    <a:pos x="143" y="96"/>
                  </a:cxn>
                  <a:cxn ang="0">
                    <a:pos x="163" y="111"/>
                  </a:cxn>
                  <a:cxn ang="0">
                    <a:pos x="178" y="125"/>
                  </a:cxn>
                  <a:cxn ang="0">
                    <a:pos x="203" y="115"/>
                  </a:cxn>
                  <a:cxn ang="0">
                    <a:pos x="222" y="96"/>
                  </a:cxn>
                  <a:cxn ang="0">
                    <a:pos x="228" y="98"/>
                  </a:cxn>
                  <a:cxn ang="0">
                    <a:pos x="247" y="106"/>
                  </a:cxn>
                  <a:cxn ang="0">
                    <a:pos x="255" y="113"/>
                  </a:cxn>
                  <a:cxn ang="0">
                    <a:pos x="280" y="111"/>
                  </a:cxn>
                  <a:cxn ang="0">
                    <a:pos x="289" y="106"/>
                  </a:cxn>
                  <a:cxn ang="0">
                    <a:pos x="299" y="111"/>
                  </a:cxn>
                  <a:cxn ang="0">
                    <a:pos x="307" y="119"/>
                  </a:cxn>
                  <a:cxn ang="0">
                    <a:pos x="314" y="125"/>
                  </a:cxn>
                  <a:cxn ang="0">
                    <a:pos x="324" y="132"/>
                  </a:cxn>
                  <a:cxn ang="0">
                    <a:pos x="328" y="155"/>
                  </a:cxn>
                  <a:cxn ang="0">
                    <a:pos x="314" y="169"/>
                  </a:cxn>
                  <a:cxn ang="0">
                    <a:pos x="289" y="178"/>
                  </a:cxn>
                  <a:cxn ang="0">
                    <a:pos x="282" y="186"/>
                  </a:cxn>
                  <a:cxn ang="0">
                    <a:pos x="276" y="194"/>
                  </a:cxn>
                  <a:cxn ang="0">
                    <a:pos x="268" y="201"/>
                  </a:cxn>
                  <a:cxn ang="0">
                    <a:pos x="261" y="207"/>
                  </a:cxn>
                  <a:cxn ang="0">
                    <a:pos x="253" y="226"/>
                  </a:cxn>
                  <a:cxn ang="0">
                    <a:pos x="232" y="246"/>
                  </a:cxn>
                  <a:cxn ang="0">
                    <a:pos x="213" y="246"/>
                  </a:cxn>
                </a:cxnLst>
                <a:rect l="0" t="0" r="r" b="b"/>
                <a:pathLst>
                  <a:path w="328" h="251">
                    <a:moveTo>
                      <a:pt x="197" y="242"/>
                    </a:moveTo>
                    <a:lnTo>
                      <a:pt x="195" y="240"/>
                    </a:lnTo>
                    <a:lnTo>
                      <a:pt x="193" y="238"/>
                    </a:lnTo>
                    <a:lnTo>
                      <a:pt x="190" y="234"/>
                    </a:lnTo>
                    <a:lnTo>
                      <a:pt x="188" y="232"/>
                    </a:lnTo>
                    <a:lnTo>
                      <a:pt x="186" y="230"/>
                    </a:lnTo>
                    <a:lnTo>
                      <a:pt x="184" y="226"/>
                    </a:lnTo>
                    <a:lnTo>
                      <a:pt x="180" y="225"/>
                    </a:lnTo>
                    <a:lnTo>
                      <a:pt x="178" y="223"/>
                    </a:lnTo>
                    <a:lnTo>
                      <a:pt x="176" y="219"/>
                    </a:lnTo>
                    <a:lnTo>
                      <a:pt x="174" y="217"/>
                    </a:lnTo>
                    <a:lnTo>
                      <a:pt x="170" y="200"/>
                    </a:lnTo>
                    <a:lnTo>
                      <a:pt x="168" y="184"/>
                    </a:lnTo>
                    <a:lnTo>
                      <a:pt x="166" y="180"/>
                    </a:lnTo>
                    <a:lnTo>
                      <a:pt x="165" y="178"/>
                    </a:lnTo>
                    <a:lnTo>
                      <a:pt x="151" y="177"/>
                    </a:lnTo>
                    <a:lnTo>
                      <a:pt x="140" y="175"/>
                    </a:lnTo>
                    <a:lnTo>
                      <a:pt x="138" y="171"/>
                    </a:lnTo>
                    <a:lnTo>
                      <a:pt x="136" y="169"/>
                    </a:lnTo>
                    <a:lnTo>
                      <a:pt x="132" y="161"/>
                    </a:lnTo>
                    <a:lnTo>
                      <a:pt x="130" y="155"/>
                    </a:lnTo>
                    <a:lnTo>
                      <a:pt x="128" y="152"/>
                    </a:lnTo>
                    <a:lnTo>
                      <a:pt x="124" y="150"/>
                    </a:lnTo>
                    <a:lnTo>
                      <a:pt x="103" y="148"/>
                    </a:lnTo>
                    <a:lnTo>
                      <a:pt x="82" y="146"/>
                    </a:lnTo>
                    <a:lnTo>
                      <a:pt x="78" y="142"/>
                    </a:lnTo>
                    <a:lnTo>
                      <a:pt x="76" y="140"/>
                    </a:lnTo>
                    <a:lnTo>
                      <a:pt x="59" y="138"/>
                    </a:lnTo>
                    <a:lnTo>
                      <a:pt x="44" y="134"/>
                    </a:lnTo>
                    <a:lnTo>
                      <a:pt x="40" y="132"/>
                    </a:lnTo>
                    <a:lnTo>
                      <a:pt x="38" y="130"/>
                    </a:lnTo>
                    <a:lnTo>
                      <a:pt x="36" y="129"/>
                    </a:lnTo>
                    <a:lnTo>
                      <a:pt x="28" y="127"/>
                    </a:lnTo>
                    <a:lnTo>
                      <a:pt x="23" y="129"/>
                    </a:lnTo>
                    <a:lnTo>
                      <a:pt x="19" y="130"/>
                    </a:lnTo>
                    <a:lnTo>
                      <a:pt x="17" y="132"/>
                    </a:lnTo>
                    <a:lnTo>
                      <a:pt x="15" y="134"/>
                    </a:lnTo>
                    <a:lnTo>
                      <a:pt x="13" y="134"/>
                    </a:lnTo>
                    <a:lnTo>
                      <a:pt x="11" y="134"/>
                    </a:lnTo>
                    <a:lnTo>
                      <a:pt x="9" y="130"/>
                    </a:lnTo>
                    <a:lnTo>
                      <a:pt x="9" y="125"/>
                    </a:lnTo>
                    <a:lnTo>
                      <a:pt x="7" y="102"/>
                    </a:lnTo>
                    <a:lnTo>
                      <a:pt x="3" y="58"/>
                    </a:lnTo>
                    <a:lnTo>
                      <a:pt x="1" y="56"/>
                    </a:lnTo>
                    <a:lnTo>
                      <a:pt x="0" y="54"/>
                    </a:lnTo>
                    <a:lnTo>
                      <a:pt x="0" y="50"/>
                    </a:lnTo>
                    <a:lnTo>
                      <a:pt x="0" y="48"/>
                    </a:lnTo>
                    <a:lnTo>
                      <a:pt x="0" y="42"/>
                    </a:lnTo>
                    <a:lnTo>
                      <a:pt x="0" y="38"/>
                    </a:lnTo>
                    <a:lnTo>
                      <a:pt x="0" y="35"/>
                    </a:lnTo>
                    <a:lnTo>
                      <a:pt x="0" y="29"/>
                    </a:lnTo>
                    <a:lnTo>
                      <a:pt x="3" y="29"/>
                    </a:lnTo>
                    <a:lnTo>
                      <a:pt x="9" y="29"/>
                    </a:lnTo>
                    <a:lnTo>
                      <a:pt x="13" y="25"/>
                    </a:lnTo>
                    <a:lnTo>
                      <a:pt x="19" y="19"/>
                    </a:lnTo>
                    <a:lnTo>
                      <a:pt x="23" y="13"/>
                    </a:lnTo>
                    <a:lnTo>
                      <a:pt x="28" y="10"/>
                    </a:lnTo>
                    <a:lnTo>
                      <a:pt x="28" y="4"/>
                    </a:lnTo>
                    <a:lnTo>
                      <a:pt x="28" y="0"/>
                    </a:lnTo>
                    <a:lnTo>
                      <a:pt x="32" y="0"/>
                    </a:lnTo>
                    <a:lnTo>
                      <a:pt x="38" y="0"/>
                    </a:lnTo>
                    <a:lnTo>
                      <a:pt x="48" y="4"/>
                    </a:lnTo>
                    <a:lnTo>
                      <a:pt x="57" y="10"/>
                    </a:lnTo>
                    <a:lnTo>
                      <a:pt x="67" y="13"/>
                    </a:lnTo>
                    <a:lnTo>
                      <a:pt x="76" y="19"/>
                    </a:lnTo>
                    <a:lnTo>
                      <a:pt x="76" y="25"/>
                    </a:lnTo>
                    <a:lnTo>
                      <a:pt x="76" y="29"/>
                    </a:lnTo>
                    <a:lnTo>
                      <a:pt x="76" y="38"/>
                    </a:lnTo>
                    <a:lnTo>
                      <a:pt x="76" y="48"/>
                    </a:lnTo>
                    <a:lnTo>
                      <a:pt x="84" y="60"/>
                    </a:lnTo>
                    <a:lnTo>
                      <a:pt x="94" y="71"/>
                    </a:lnTo>
                    <a:lnTo>
                      <a:pt x="109" y="71"/>
                    </a:lnTo>
                    <a:lnTo>
                      <a:pt x="120" y="71"/>
                    </a:lnTo>
                    <a:lnTo>
                      <a:pt x="132" y="67"/>
                    </a:lnTo>
                    <a:lnTo>
                      <a:pt x="143" y="58"/>
                    </a:lnTo>
                    <a:lnTo>
                      <a:pt x="143" y="67"/>
                    </a:lnTo>
                    <a:lnTo>
                      <a:pt x="143" y="77"/>
                    </a:lnTo>
                    <a:lnTo>
                      <a:pt x="140" y="83"/>
                    </a:lnTo>
                    <a:lnTo>
                      <a:pt x="136" y="86"/>
                    </a:lnTo>
                    <a:lnTo>
                      <a:pt x="140" y="92"/>
                    </a:lnTo>
                    <a:lnTo>
                      <a:pt x="143" y="96"/>
                    </a:lnTo>
                    <a:lnTo>
                      <a:pt x="149" y="102"/>
                    </a:lnTo>
                    <a:lnTo>
                      <a:pt x="153" y="106"/>
                    </a:lnTo>
                    <a:lnTo>
                      <a:pt x="163" y="111"/>
                    </a:lnTo>
                    <a:lnTo>
                      <a:pt x="174" y="117"/>
                    </a:lnTo>
                    <a:lnTo>
                      <a:pt x="174" y="121"/>
                    </a:lnTo>
                    <a:lnTo>
                      <a:pt x="178" y="125"/>
                    </a:lnTo>
                    <a:lnTo>
                      <a:pt x="186" y="125"/>
                    </a:lnTo>
                    <a:lnTo>
                      <a:pt x="203" y="125"/>
                    </a:lnTo>
                    <a:lnTo>
                      <a:pt x="203" y="115"/>
                    </a:lnTo>
                    <a:lnTo>
                      <a:pt x="203" y="106"/>
                    </a:lnTo>
                    <a:lnTo>
                      <a:pt x="213" y="102"/>
                    </a:lnTo>
                    <a:lnTo>
                      <a:pt x="222" y="96"/>
                    </a:lnTo>
                    <a:lnTo>
                      <a:pt x="224" y="96"/>
                    </a:lnTo>
                    <a:lnTo>
                      <a:pt x="226" y="96"/>
                    </a:lnTo>
                    <a:lnTo>
                      <a:pt x="228" y="98"/>
                    </a:lnTo>
                    <a:lnTo>
                      <a:pt x="232" y="102"/>
                    </a:lnTo>
                    <a:lnTo>
                      <a:pt x="237" y="104"/>
                    </a:lnTo>
                    <a:lnTo>
                      <a:pt x="247" y="106"/>
                    </a:lnTo>
                    <a:lnTo>
                      <a:pt x="249" y="109"/>
                    </a:lnTo>
                    <a:lnTo>
                      <a:pt x="251" y="111"/>
                    </a:lnTo>
                    <a:lnTo>
                      <a:pt x="255" y="113"/>
                    </a:lnTo>
                    <a:lnTo>
                      <a:pt x="264" y="115"/>
                    </a:lnTo>
                    <a:lnTo>
                      <a:pt x="276" y="113"/>
                    </a:lnTo>
                    <a:lnTo>
                      <a:pt x="280" y="111"/>
                    </a:lnTo>
                    <a:lnTo>
                      <a:pt x="282" y="109"/>
                    </a:lnTo>
                    <a:lnTo>
                      <a:pt x="285" y="106"/>
                    </a:lnTo>
                    <a:lnTo>
                      <a:pt x="289" y="106"/>
                    </a:lnTo>
                    <a:lnTo>
                      <a:pt x="295" y="106"/>
                    </a:lnTo>
                    <a:lnTo>
                      <a:pt x="297" y="109"/>
                    </a:lnTo>
                    <a:lnTo>
                      <a:pt x="299" y="111"/>
                    </a:lnTo>
                    <a:lnTo>
                      <a:pt x="301" y="113"/>
                    </a:lnTo>
                    <a:lnTo>
                      <a:pt x="305" y="117"/>
                    </a:lnTo>
                    <a:lnTo>
                      <a:pt x="307" y="119"/>
                    </a:lnTo>
                    <a:lnTo>
                      <a:pt x="308" y="121"/>
                    </a:lnTo>
                    <a:lnTo>
                      <a:pt x="310" y="123"/>
                    </a:lnTo>
                    <a:lnTo>
                      <a:pt x="314" y="125"/>
                    </a:lnTo>
                    <a:lnTo>
                      <a:pt x="316" y="129"/>
                    </a:lnTo>
                    <a:lnTo>
                      <a:pt x="318" y="130"/>
                    </a:lnTo>
                    <a:lnTo>
                      <a:pt x="324" y="132"/>
                    </a:lnTo>
                    <a:lnTo>
                      <a:pt x="328" y="134"/>
                    </a:lnTo>
                    <a:lnTo>
                      <a:pt x="328" y="144"/>
                    </a:lnTo>
                    <a:lnTo>
                      <a:pt x="328" y="155"/>
                    </a:lnTo>
                    <a:lnTo>
                      <a:pt x="324" y="159"/>
                    </a:lnTo>
                    <a:lnTo>
                      <a:pt x="318" y="165"/>
                    </a:lnTo>
                    <a:lnTo>
                      <a:pt x="314" y="169"/>
                    </a:lnTo>
                    <a:lnTo>
                      <a:pt x="308" y="175"/>
                    </a:lnTo>
                    <a:lnTo>
                      <a:pt x="299" y="177"/>
                    </a:lnTo>
                    <a:lnTo>
                      <a:pt x="289" y="178"/>
                    </a:lnTo>
                    <a:lnTo>
                      <a:pt x="287" y="180"/>
                    </a:lnTo>
                    <a:lnTo>
                      <a:pt x="285" y="184"/>
                    </a:lnTo>
                    <a:lnTo>
                      <a:pt x="282" y="186"/>
                    </a:lnTo>
                    <a:lnTo>
                      <a:pt x="280" y="188"/>
                    </a:lnTo>
                    <a:lnTo>
                      <a:pt x="278" y="190"/>
                    </a:lnTo>
                    <a:lnTo>
                      <a:pt x="276" y="194"/>
                    </a:lnTo>
                    <a:lnTo>
                      <a:pt x="272" y="196"/>
                    </a:lnTo>
                    <a:lnTo>
                      <a:pt x="270" y="198"/>
                    </a:lnTo>
                    <a:lnTo>
                      <a:pt x="268" y="201"/>
                    </a:lnTo>
                    <a:lnTo>
                      <a:pt x="264" y="203"/>
                    </a:lnTo>
                    <a:lnTo>
                      <a:pt x="262" y="205"/>
                    </a:lnTo>
                    <a:lnTo>
                      <a:pt x="261" y="207"/>
                    </a:lnTo>
                    <a:lnTo>
                      <a:pt x="259" y="211"/>
                    </a:lnTo>
                    <a:lnTo>
                      <a:pt x="255" y="213"/>
                    </a:lnTo>
                    <a:lnTo>
                      <a:pt x="253" y="226"/>
                    </a:lnTo>
                    <a:lnTo>
                      <a:pt x="251" y="242"/>
                    </a:lnTo>
                    <a:lnTo>
                      <a:pt x="241" y="244"/>
                    </a:lnTo>
                    <a:lnTo>
                      <a:pt x="232" y="246"/>
                    </a:lnTo>
                    <a:lnTo>
                      <a:pt x="228" y="249"/>
                    </a:lnTo>
                    <a:lnTo>
                      <a:pt x="226" y="251"/>
                    </a:lnTo>
                    <a:lnTo>
                      <a:pt x="213" y="246"/>
                    </a:lnTo>
                    <a:lnTo>
                      <a:pt x="197" y="242"/>
                    </a:lnTo>
                  </a:path>
                </a:pathLst>
              </a:custGeom>
              <a:grpFill/>
              <a:ln w="3175">
                <a:solidFill>
                  <a:srgbClr val="FF8300"/>
                </a:solidFill>
                <a:round/>
                <a:headEnd/>
                <a:tailEnd/>
              </a:ln>
            </p:spPr>
            <p:txBody>
              <a:bodyPr/>
              <a:lstStyle/>
              <a:p>
                <a:pPr>
                  <a:defRPr/>
                </a:pPr>
                <a:endParaRPr lang="en-GB" sz="1400">
                  <a:solidFill>
                    <a:schemeClr val="tx2"/>
                  </a:solidFill>
                </a:endParaRPr>
              </a:p>
            </p:txBody>
          </p:sp>
          <p:sp>
            <p:nvSpPr>
              <p:cNvPr id="385" name="Freeform 83"/>
              <p:cNvSpPr>
                <a:spLocks/>
              </p:cNvSpPr>
              <p:nvPr/>
            </p:nvSpPr>
            <p:spPr bwMode="gray">
              <a:xfrm>
                <a:off x="1583625" y="3619532"/>
                <a:ext cx="108694" cy="153286"/>
              </a:xfrm>
              <a:custGeom>
                <a:avLst/>
                <a:gdLst/>
                <a:ahLst/>
                <a:cxnLst>
                  <a:cxn ang="0">
                    <a:pos x="47" y="116"/>
                  </a:cxn>
                  <a:cxn ang="0">
                    <a:pos x="44" y="98"/>
                  </a:cxn>
                  <a:cxn ang="0">
                    <a:pos x="40" y="87"/>
                  </a:cxn>
                  <a:cxn ang="0">
                    <a:pos x="36" y="81"/>
                  </a:cxn>
                  <a:cxn ang="0">
                    <a:pos x="28" y="77"/>
                  </a:cxn>
                  <a:cxn ang="0">
                    <a:pos x="24" y="71"/>
                  </a:cxn>
                  <a:cxn ang="0">
                    <a:pos x="19" y="68"/>
                  </a:cxn>
                  <a:cxn ang="0">
                    <a:pos x="15" y="68"/>
                  </a:cxn>
                  <a:cxn ang="0">
                    <a:pos x="9" y="68"/>
                  </a:cxn>
                  <a:cxn ang="0">
                    <a:pos x="5" y="68"/>
                  </a:cxn>
                  <a:cxn ang="0">
                    <a:pos x="0" y="68"/>
                  </a:cxn>
                  <a:cxn ang="0">
                    <a:pos x="0" y="62"/>
                  </a:cxn>
                  <a:cxn ang="0">
                    <a:pos x="0" y="58"/>
                  </a:cxn>
                  <a:cxn ang="0">
                    <a:pos x="0" y="52"/>
                  </a:cxn>
                  <a:cxn ang="0">
                    <a:pos x="0" y="48"/>
                  </a:cxn>
                  <a:cxn ang="0">
                    <a:pos x="0" y="43"/>
                  </a:cxn>
                  <a:cxn ang="0">
                    <a:pos x="0" y="39"/>
                  </a:cxn>
                  <a:cxn ang="0">
                    <a:pos x="5" y="29"/>
                  </a:cxn>
                  <a:cxn ang="0">
                    <a:pos x="9" y="20"/>
                  </a:cxn>
                  <a:cxn ang="0">
                    <a:pos x="9" y="14"/>
                  </a:cxn>
                  <a:cxn ang="0">
                    <a:pos x="9" y="10"/>
                  </a:cxn>
                  <a:cxn ang="0">
                    <a:pos x="9" y="4"/>
                  </a:cxn>
                  <a:cxn ang="0">
                    <a:pos x="9" y="0"/>
                  </a:cxn>
                  <a:cxn ang="0">
                    <a:pos x="19" y="0"/>
                  </a:cxn>
                  <a:cxn ang="0">
                    <a:pos x="28" y="0"/>
                  </a:cxn>
                  <a:cxn ang="0">
                    <a:pos x="47" y="4"/>
                  </a:cxn>
                  <a:cxn ang="0">
                    <a:pos x="69" y="10"/>
                  </a:cxn>
                  <a:cxn ang="0">
                    <a:pos x="72" y="14"/>
                  </a:cxn>
                  <a:cxn ang="0">
                    <a:pos x="78" y="20"/>
                  </a:cxn>
                  <a:cxn ang="0">
                    <a:pos x="78" y="23"/>
                  </a:cxn>
                  <a:cxn ang="0">
                    <a:pos x="78" y="29"/>
                  </a:cxn>
                  <a:cxn ang="0">
                    <a:pos x="78" y="33"/>
                  </a:cxn>
                  <a:cxn ang="0">
                    <a:pos x="78" y="39"/>
                  </a:cxn>
                  <a:cxn ang="0">
                    <a:pos x="78" y="48"/>
                  </a:cxn>
                  <a:cxn ang="0">
                    <a:pos x="78" y="58"/>
                  </a:cxn>
                  <a:cxn ang="0">
                    <a:pos x="72" y="73"/>
                  </a:cxn>
                  <a:cxn ang="0">
                    <a:pos x="69" y="87"/>
                  </a:cxn>
                  <a:cxn ang="0">
                    <a:pos x="63" y="93"/>
                  </a:cxn>
                  <a:cxn ang="0">
                    <a:pos x="57" y="96"/>
                  </a:cxn>
                  <a:cxn ang="0">
                    <a:pos x="57" y="106"/>
                  </a:cxn>
                  <a:cxn ang="0">
                    <a:pos x="57" y="116"/>
                  </a:cxn>
                  <a:cxn ang="0">
                    <a:pos x="53" y="116"/>
                  </a:cxn>
                  <a:cxn ang="0">
                    <a:pos x="47" y="116"/>
                  </a:cxn>
                </a:cxnLst>
                <a:rect l="0" t="0" r="r" b="b"/>
                <a:pathLst>
                  <a:path w="78" h="116">
                    <a:moveTo>
                      <a:pt x="47" y="116"/>
                    </a:moveTo>
                    <a:lnTo>
                      <a:pt x="44" y="98"/>
                    </a:lnTo>
                    <a:lnTo>
                      <a:pt x="40" y="87"/>
                    </a:lnTo>
                    <a:lnTo>
                      <a:pt x="36" y="81"/>
                    </a:lnTo>
                    <a:lnTo>
                      <a:pt x="28" y="77"/>
                    </a:lnTo>
                    <a:lnTo>
                      <a:pt x="24" y="71"/>
                    </a:lnTo>
                    <a:lnTo>
                      <a:pt x="19" y="68"/>
                    </a:lnTo>
                    <a:lnTo>
                      <a:pt x="15" y="68"/>
                    </a:lnTo>
                    <a:lnTo>
                      <a:pt x="9" y="68"/>
                    </a:lnTo>
                    <a:lnTo>
                      <a:pt x="5" y="68"/>
                    </a:lnTo>
                    <a:lnTo>
                      <a:pt x="0" y="68"/>
                    </a:lnTo>
                    <a:lnTo>
                      <a:pt x="0" y="62"/>
                    </a:lnTo>
                    <a:lnTo>
                      <a:pt x="0" y="58"/>
                    </a:lnTo>
                    <a:lnTo>
                      <a:pt x="0" y="52"/>
                    </a:lnTo>
                    <a:lnTo>
                      <a:pt x="0" y="48"/>
                    </a:lnTo>
                    <a:lnTo>
                      <a:pt x="0" y="43"/>
                    </a:lnTo>
                    <a:lnTo>
                      <a:pt x="0" y="39"/>
                    </a:lnTo>
                    <a:lnTo>
                      <a:pt x="5" y="29"/>
                    </a:lnTo>
                    <a:lnTo>
                      <a:pt x="9" y="20"/>
                    </a:lnTo>
                    <a:lnTo>
                      <a:pt x="9" y="14"/>
                    </a:lnTo>
                    <a:lnTo>
                      <a:pt x="9" y="10"/>
                    </a:lnTo>
                    <a:lnTo>
                      <a:pt x="9" y="4"/>
                    </a:lnTo>
                    <a:lnTo>
                      <a:pt x="9" y="0"/>
                    </a:lnTo>
                    <a:lnTo>
                      <a:pt x="19" y="0"/>
                    </a:lnTo>
                    <a:lnTo>
                      <a:pt x="28" y="0"/>
                    </a:lnTo>
                    <a:lnTo>
                      <a:pt x="47" y="4"/>
                    </a:lnTo>
                    <a:lnTo>
                      <a:pt x="69" y="10"/>
                    </a:lnTo>
                    <a:lnTo>
                      <a:pt x="72" y="14"/>
                    </a:lnTo>
                    <a:lnTo>
                      <a:pt x="78" y="20"/>
                    </a:lnTo>
                    <a:lnTo>
                      <a:pt x="78" y="23"/>
                    </a:lnTo>
                    <a:lnTo>
                      <a:pt x="78" y="29"/>
                    </a:lnTo>
                    <a:lnTo>
                      <a:pt x="78" y="33"/>
                    </a:lnTo>
                    <a:lnTo>
                      <a:pt x="78" y="39"/>
                    </a:lnTo>
                    <a:lnTo>
                      <a:pt x="78" y="48"/>
                    </a:lnTo>
                    <a:lnTo>
                      <a:pt x="78" y="58"/>
                    </a:lnTo>
                    <a:lnTo>
                      <a:pt x="72" y="73"/>
                    </a:lnTo>
                    <a:lnTo>
                      <a:pt x="69" y="87"/>
                    </a:lnTo>
                    <a:lnTo>
                      <a:pt x="63" y="93"/>
                    </a:lnTo>
                    <a:lnTo>
                      <a:pt x="57" y="96"/>
                    </a:lnTo>
                    <a:lnTo>
                      <a:pt x="57" y="106"/>
                    </a:lnTo>
                    <a:lnTo>
                      <a:pt x="57" y="116"/>
                    </a:lnTo>
                    <a:lnTo>
                      <a:pt x="53" y="116"/>
                    </a:lnTo>
                    <a:lnTo>
                      <a:pt x="47" y="116"/>
                    </a:lnTo>
                  </a:path>
                </a:pathLst>
              </a:custGeom>
              <a:grpFill/>
              <a:ln w="3175">
                <a:solidFill>
                  <a:srgbClr val="FF8300"/>
                </a:solidFill>
                <a:round/>
                <a:headEnd/>
                <a:tailEnd/>
              </a:ln>
            </p:spPr>
            <p:txBody>
              <a:bodyPr/>
              <a:lstStyle/>
              <a:p>
                <a:pPr>
                  <a:defRPr/>
                </a:pPr>
                <a:endParaRPr lang="en-GB" sz="1400">
                  <a:solidFill>
                    <a:schemeClr val="tx2"/>
                  </a:solidFill>
                </a:endParaRPr>
              </a:p>
            </p:txBody>
          </p:sp>
          <p:sp>
            <p:nvSpPr>
              <p:cNvPr id="386" name="Freeform 131"/>
              <p:cNvSpPr>
                <a:spLocks noChangeArrowheads="1"/>
              </p:cNvSpPr>
              <p:nvPr>
                <p:custDataLst>
                  <p:tags r:id="rId35"/>
                </p:custDataLst>
              </p:nvPr>
            </p:nvSpPr>
            <p:spPr bwMode="gray">
              <a:xfrm>
                <a:off x="1558542" y="3714290"/>
                <a:ext cx="85003" cy="73855"/>
              </a:xfrm>
              <a:custGeom>
                <a:avLst/>
                <a:gdLst>
                  <a:gd name="T0" fmla="*/ 29748 w 96538"/>
                  <a:gd name="T1" fmla="*/ 747 h 84078"/>
                  <a:gd name="T2" fmla="*/ 47099 w 96538"/>
                  <a:gd name="T3" fmla="*/ 3142 h 84078"/>
                  <a:gd name="T4" fmla="*/ 54535 w 96538"/>
                  <a:gd name="T5" fmla="*/ 5549 h 84078"/>
                  <a:gd name="T6" fmla="*/ 69410 w 96538"/>
                  <a:gd name="T7" fmla="*/ 7956 h 84078"/>
                  <a:gd name="T8" fmla="*/ 76846 w 96538"/>
                  <a:gd name="T9" fmla="*/ 12758 h 84078"/>
                  <a:gd name="T10" fmla="*/ 84283 w 96538"/>
                  <a:gd name="T11" fmla="*/ 27175 h 84078"/>
                  <a:gd name="T12" fmla="*/ 91720 w 96538"/>
                  <a:gd name="T13" fmla="*/ 34384 h 84078"/>
                  <a:gd name="T14" fmla="*/ 96679 w 96538"/>
                  <a:gd name="T15" fmla="*/ 48801 h 84078"/>
                  <a:gd name="T16" fmla="*/ 99157 w 96538"/>
                  <a:gd name="T17" fmla="*/ 56010 h 84078"/>
                  <a:gd name="T18" fmla="*/ 96679 w 96538"/>
                  <a:gd name="T19" fmla="*/ 75237 h 84078"/>
                  <a:gd name="T20" fmla="*/ 66930 w 96538"/>
                  <a:gd name="T21" fmla="*/ 82446 h 84078"/>
                  <a:gd name="T22" fmla="*/ 59495 w 96538"/>
                  <a:gd name="T23" fmla="*/ 84845 h 84078"/>
                  <a:gd name="T24" fmla="*/ 29748 w 96538"/>
                  <a:gd name="T25" fmla="*/ 77636 h 84078"/>
                  <a:gd name="T26" fmla="*/ 22310 w 96538"/>
                  <a:gd name="T27" fmla="*/ 75237 h 84078"/>
                  <a:gd name="T28" fmla="*/ 14873 w 96538"/>
                  <a:gd name="T29" fmla="*/ 72835 h 84078"/>
                  <a:gd name="T30" fmla="*/ 4957 w 96538"/>
                  <a:gd name="T31" fmla="*/ 60817 h 84078"/>
                  <a:gd name="T32" fmla="*/ 0 w 96538"/>
                  <a:gd name="T33" fmla="*/ 44000 h 84078"/>
                  <a:gd name="T34" fmla="*/ 2479 w 96538"/>
                  <a:gd name="T35" fmla="*/ 22374 h 84078"/>
                  <a:gd name="T36" fmla="*/ 4957 w 96538"/>
                  <a:gd name="T37" fmla="*/ 15165 h 84078"/>
                  <a:gd name="T38" fmla="*/ 12394 w 96538"/>
                  <a:gd name="T39" fmla="*/ 10350 h 84078"/>
                  <a:gd name="T40" fmla="*/ 22310 w 96538"/>
                  <a:gd name="T41" fmla="*/ 5549 h 84078"/>
                  <a:gd name="T42" fmla="*/ 29748 w 96538"/>
                  <a:gd name="T43" fmla="*/ 747 h 84078"/>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96538"/>
                  <a:gd name="T67" fmla="*/ 0 h 84078"/>
                  <a:gd name="T68" fmla="*/ 96538 w 96538"/>
                  <a:gd name="T69" fmla="*/ 84078 h 84078"/>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96538" h="84078">
                    <a:moveTo>
                      <a:pt x="28575" y="734"/>
                    </a:moveTo>
                    <a:cubicBezTo>
                      <a:pt x="32544" y="337"/>
                      <a:pt x="39740" y="2015"/>
                      <a:pt x="45243" y="3116"/>
                    </a:cubicBezTo>
                    <a:cubicBezTo>
                      <a:pt x="47704" y="3608"/>
                      <a:pt x="49937" y="4953"/>
                      <a:pt x="52387" y="5497"/>
                    </a:cubicBezTo>
                    <a:cubicBezTo>
                      <a:pt x="57100" y="6544"/>
                      <a:pt x="61912" y="7084"/>
                      <a:pt x="66675" y="7878"/>
                    </a:cubicBezTo>
                    <a:cubicBezTo>
                      <a:pt x="69056" y="9466"/>
                      <a:pt x="71794" y="10617"/>
                      <a:pt x="73818" y="12641"/>
                    </a:cubicBezTo>
                    <a:cubicBezTo>
                      <a:pt x="85063" y="23886"/>
                      <a:pt x="73212" y="15303"/>
                      <a:pt x="80962" y="26928"/>
                    </a:cubicBezTo>
                    <a:cubicBezTo>
                      <a:pt x="82830" y="29730"/>
                      <a:pt x="85725" y="31691"/>
                      <a:pt x="88106" y="34072"/>
                    </a:cubicBezTo>
                    <a:lnTo>
                      <a:pt x="92868" y="48359"/>
                    </a:lnTo>
                    <a:lnTo>
                      <a:pt x="95250" y="55503"/>
                    </a:lnTo>
                    <a:cubicBezTo>
                      <a:pt x="94456" y="61853"/>
                      <a:pt x="96538" y="69310"/>
                      <a:pt x="92868" y="74553"/>
                    </a:cubicBezTo>
                    <a:cubicBezTo>
                      <a:pt x="90375" y="78114"/>
                      <a:pt x="67783" y="81115"/>
                      <a:pt x="64293" y="81697"/>
                    </a:cubicBezTo>
                    <a:cubicBezTo>
                      <a:pt x="61912" y="82491"/>
                      <a:pt x="59660" y="84078"/>
                      <a:pt x="57150" y="84078"/>
                    </a:cubicBezTo>
                    <a:cubicBezTo>
                      <a:pt x="47527" y="84078"/>
                      <a:pt x="37444" y="79891"/>
                      <a:pt x="28575" y="76934"/>
                    </a:cubicBezTo>
                    <a:lnTo>
                      <a:pt x="21431" y="74553"/>
                    </a:lnTo>
                    <a:lnTo>
                      <a:pt x="14287" y="72172"/>
                    </a:lnTo>
                    <a:cubicBezTo>
                      <a:pt x="8302" y="54215"/>
                      <a:pt x="17072" y="75653"/>
                      <a:pt x="4762" y="60266"/>
                    </a:cubicBezTo>
                    <a:cubicBezTo>
                      <a:pt x="3520" y="58714"/>
                      <a:pt x="155" y="44219"/>
                      <a:pt x="0" y="43597"/>
                    </a:cubicBezTo>
                    <a:cubicBezTo>
                      <a:pt x="794" y="36453"/>
                      <a:pt x="1199" y="29256"/>
                      <a:pt x="2381" y="22166"/>
                    </a:cubicBezTo>
                    <a:cubicBezTo>
                      <a:pt x="2794" y="19690"/>
                      <a:pt x="3194" y="16982"/>
                      <a:pt x="4762" y="15022"/>
                    </a:cubicBezTo>
                    <a:cubicBezTo>
                      <a:pt x="6550" y="12787"/>
                      <a:pt x="9421" y="11679"/>
                      <a:pt x="11906" y="10259"/>
                    </a:cubicBezTo>
                    <a:cubicBezTo>
                      <a:pt x="14988" y="8498"/>
                      <a:pt x="18031" y="6517"/>
                      <a:pt x="21431" y="5497"/>
                    </a:cubicBezTo>
                    <a:cubicBezTo>
                      <a:pt x="39758" y="0"/>
                      <a:pt x="24606" y="1131"/>
                      <a:pt x="28575" y="734"/>
                    </a:cubicBezTo>
                    <a:close/>
                  </a:path>
                </a:pathLst>
              </a:custGeom>
              <a:grpFill/>
              <a:ln w="3175">
                <a:solidFill>
                  <a:srgbClr val="FF8300"/>
                </a:solidFill>
                <a:round/>
                <a:headEnd/>
                <a:tailEnd/>
              </a:ln>
            </p:spPr>
            <p:txBody>
              <a:bodyPr/>
              <a:lstStyle/>
              <a:p>
                <a:pPr>
                  <a:defRPr/>
                </a:pPr>
                <a:endParaRPr lang="nl-NL" sz="1400">
                  <a:solidFill>
                    <a:schemeClr val="tx2"/>
                  </a:solidFill>
                </a:endParaRPr>
              </a:p>
            </p:txBody>
          </p:sp>
          <p:sp>
            <p:nvSpPr>
              <p:cNvPr id="387" name="Freeform 296"/>
              <p:cNvSpPr>
                <a:spLocks/>
              </p:cNvSpPr>
              <p:nvPr>
                <p:custDataLst>
                  <p:tags r:id="rId36"/>
                </p:custDataLst>
              </p:nvPr>
            </p:nvSpPr>
            <p:spPr bwMode="gray">
              <a:xfrm>
                <a:off x="2535390" y="5149602"/>
                <a:ext cx="356738" cy="377640"/>
              </a:xfrm>
              <a:custGeom>
                <a:avLst/>
                <a:gdLst>
                  <a:gd name="T0" fmla="*/ 2147483647 w 261"/>
                  <a:gd name="T1" fmla="*/ 2147483647 h 290"/>
                  <a:gd name="T2" fmla="*/ 2147483647 w 261"/>
                  <a:gd name="T3" fmla="*/ 2147483647 h 290"/>
                  <a:gd name="T4" fmla="*/ 2147483647 w 261"/>
                  <a:gd name="T5" fmla="*/ 2147483647 h 290"/>
                  <a:gd name="T6" fmla="*/ 2147483647 w 261"/>
                  <a:gd name="T7" fmla="*/ 2147483647 h 290"/>
                  <a:gd name="T8" fmla="*/ 2147483647 w 261"/>
                  <a:gd name="T9" fmla="*/ 2147483647 h 290"/>
                  <a:gd name="T10" fmla="*/ 2147483647 w 261"/>
                  <a:gd name="T11" fmla="*/ 2147483647 h 290"/>
                  <a:gd name="T12" fmla="*/ 2147483647 w 261"/>
                  <a:gd name="T13" fmla="*/ 2147483647 h 290"/>
                  <a:gd name="T14" fmla="*/ 2147483647 w 261"/>
                  <a:gd name="T15" fmla="*/ 2147483647 h 290"/>
                  <a:gd name="T16" fmla="*/ 2147483647 w 261"/>
                  <a:gd name="T17" fmla="*/ 2147483647 h 290"/>
                  <a:gd name="T18" fmla="*/ 2147483647 w 261"/>
                  <a:gd name="T19" fmla="*/ 2147483647 h 290"/>
                  <a:gd name="T20" fmla="*/ 2147483647 w 261"/>
                  <a:gd name="T21" fmla="*/ 2147483647 h 290"/>
                  <a:gd name="T22" fmla="*/ 2147483647 w 261"/>
                  <a:gd name="T23" fmla="*/ 2147483647 h 290"/>
                  <a:gd name="T24" fmla="*/ 2147483647 w 261"/>
                  <a:gd name="T25" fmla="*/ 2147483647 h 290"/>
                  <a:gd name="T26" fmla="*/ 2147483647 w 261"/>
                  <a:gd name="T27" fmla="*/ 2147483647 h 290"/>
                  <a:gd name="T28" fmla="*/ 2147483647 w 261"/>
                  <a:gd name="T29" fmla="*/ 2147483647 h 290"/>
                  <a:gd name="T30" fmla="*/ 2147483647 w 261"/>
                  <a:gd name="T31" fmla="*/ 2147483647 h 290"/>
                  <a:gd name="T32" fmla="*/ 2147483647 w 261"/>
                  <a:gd name="T33" fmla="*/ 2147483647 h 290"/>
                  <a:gd name="T34" fmla="*/ 2147483647 w 261"/>
                  <a:gd name="T35" fmla="*/ 2147483647 h 290"/>
                  <a:gd name="T36" fmla="*/ 2147483647 w 261"/>
                  <a:gd name="T37" fmla="*/ 2147483647 h 290"/>
                  <a:gd name="T38" fmla="*/ 2147483647 w 261"/>
                  <a:gd name="T39" fmla="*/ 2147483647 h 290"/>
                  <a:gd name="T40" fmla="*/ 2147483647 w 261"/>
                  <a:gd name="T41" fmla="*/ 0 h 290"/>
                  <a:gd name="T42" fmla="*/ 2147483647 w 261"/>
                  <a:gd name="T43" fmla="*/ 2147483647 h 290"/>
                  <a:gd name="T44" fmla="*/ 2147483647 w 261"/>
                  <a:gd name="T45" fmla="*/ 2147483647 h 290"/>
                  <a:gd name="T46" fmla="*/ 2147483647 w 261"/>
                  <a:gd name="T47" fmla="*/ 2147483647 h 290"/>
                  <a:gd name="T48" fmla="*/ 2147483647 w 261"/>
                  <a:gd name="T49" fmla="*/ 2147483647 h 290"/>
                  <a:gd name="T50" fmla="*/ 2147483647 w 261"/>
                  <a:gd name="T51" fmla="*/ 2147483647 h 290"/>
                  <a:gd name="T52" fmla="*/ 2147483647 w 261"/>
                  <a:gd name="T53" fmla="*/ 2147483647 h 290"/>
                  <a:gd name="T54" fmla="*/ 2147483647 w 261"/>
                  <a:gd name="T55" fmla="*/ 2147483647 h 290"/>
                  <a:gd name="T56" fmla="*/ 2147483647 w 261"/>
                  <a:gd name="T57" fmla="*/ 2147483647 h 290"/>
                  <a:gd name="T58" fmla="*/ 2147483647 w 261"/>
                  <a:gd name="T59" fmla="*/ 2147483647 h 290"/>
                  <a:gd name="T60" fmla="*/ 2147483647 w 261"/>
                  <a:gd name="T61" fmla="*/ 2147483647 h 290"/>
                  <a:gd name="T62" fmla="*/ 2147483647 w 261"/>
                  <a:gd name="T63" fmla="*/ 2147483647 h 290"/>
                  <a:gd name="T64" fmla="*/ 2147483647 w 261"/>
                  <a:gd name="T65" fmla="*/ 2147483647 h 290"/>
                  <a:gd name="T66" fmla="*/ 2147483647 w 261"/>
                  <a:gd name="T67" fmla="*/ 2147483647 h 290"/>
                  <a:gd name="T68" fmla="*/ 2147483647 w 261"/>
                  <a:gd name="T69" fmla="*/ 2147483647 h 290"/>
                  <a:gd name="T70" fmla="*/ 2147483647 w 261"/>
                  <a:gd name="T71" fmla="*/ 2147483647 h 290"/>
                  <a:gd name="T72" fmla="*/ 2147483647 w 261"/>
                  <a:gd name="T73" fmla="*/ 2147483647 h 290"/>
                  <a:gd name="T74" fmla="*/ 2147483647 w 261"/>
                  <a:gd name="T75" fmla="*/ 2147483647 h 290"/>
                  <a:gd name="T76" fmla="*/ 2147483647 w 261"/>
                  <a:gd name="T77" fmla="*/ 2147483647 h 290"/>
                  <a:gd name="T78" fmla="*/ 2147483647 w 261"/>
                  <a:gd name="T79" fmla="*/ 2147483647 h 290"/>
                  <a:gd name="T80" fmla="*/ 2147483647 w 261"/>
                  <a:gd name="T81" fmla="*/ 2147483647 h 290"/>
                  <a:gd name="T82" fmla="*/ 2147483647 w 261"/>
                  <a:gd name="T83" fmla="*/ 2147483647 h 290"/>
                  <a:gd name="T84" fmla="*/ 2147483647 w 261"/>
                  <a:gd name="T85" fmla="*/ 2147483647 h 290"/>
                  <a:gd name="T86" fmla="*/ 2147483647 w 261"/>
                  <a:gd name="T87" fmla="*/ 2147483647 h 290"/>
                  <a:gd name="T88" fmla="*/ 2147483647 w 261"/>
                  <a:gd name="T89" fmla="*/ 2147483647 h 290"/>
                  <a:gd name="T90" fmla="*/ 2147483647 w 261"/>
                  <a:gd name="T91" fmla="*/ 2147483647 h 290"/>
                  <a:gd name="T92" fmla="*/ 0 w 261"/>
                  <a:gd name="T93" fmla="*/ 2147483647 h 290"/>
                  <a:gd name="T94" fmla="*/ 2147483647 w 261"/>
                  <a:gd name="T95" fmla="*/ 2147483647 h 290"/>
                  <a:gd name="T96" fmla="*/ 2147483647 w 261"/>
                  <a:gd name="T97" fmla="*/ 2147483647 h 290"/>
                  <a:gd name="T98" fmla="*/ 2147483647 w 261"/>
                  <a:gd name="T99" fmla="*/ 2147483647 h 290"/>
                  <a:gd name="T100" fmla="*/ 2147483647 w 261"/>
                  <a:gd name="T101" fmla="*/ 2147483647 h 290"/>
                  <a:gd name="T102" fmla="*/ 2147483647 w 261"/>
                  <a:gd name="T103" fmla="*/ 2147483647 h 290"/>
                  <a:gd name="T104" fmla="*/ 2147483647 w 261"/>
                  <a:gd name="T105" fmla="*/ 2147483647 h 290"/>
                  <a:gd name="T106" fmla="*/ 2147483647 w 261"/>
                  <a:gd name="T107" fmla="*/ 2147483647 h 290"/>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61"/>
                  <a:gd name="T163" fmla="*/ 0 h 290"/>
                  <a:gd name="T164" fmla="*/ 261 w 261"/>
                  <a:gd name="T165" fmla="*/ 290 h 290"/>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61" h="290">
                    <a:moveTo>
                      <a:pt x="54" y="183"/>
                    </a:moveTo>
                    <a:lnTo>
                      <a:pt x="58" y="179"/>
                    </a:lnTo>
                    <a:lnTo>
                      <a:pt x="67" y="169"/>
                    </a:lnTo>
                    <a:lnTo>
                      <a:pt x="75" y="167"/>
                    </a:lnTo>
                    <a:lnTo>
                      <a:pt x="79" y="169"/>
                    </a:lnTo>
                    <a:lnTo>
                      <a:pt x="82" y="163"/>
                    </a:lnTo>
                    <a:lnTo>
                      <a:pt x="94" y="163"/>
                    </a:lnTo>
                    <a:lnTo>
                      <a:pt x="107" y="163"/>
                    </a:lnTo>
                    <a:lnTo>
                      <a:pt x="107" y="158"/>
                    </a:lnTo>
                    <a:lnTo>
                      <a:pt x="107" y="150"/>
                    </a:lnTo>
                    <a:lnTo>
                      <a:pt x="109" y="148"/>
                    </a:lnTo>
                    <a:lnTo>
                      <a:pt x="111" y="144"/>
                    </a:lnTo>
                    <a:lnTo>
                      <a:pt x="113" y="142"/>
                    </a:lnTo>
                    <a:lnTo>
                      <a:pt x="117" y="140"/>
                    </a:lnTo>
                    <a:lnTo>
                      <a:pt x="119" y="137"/>
                    </a:lnTo>
                    <a:lnTo>
                      <a:pt x="121" y="135"/>
                    </a:lnTo>
                    <a:lnTo>
                      <a:pt x="127" y="119"/>
                    </a:lnTo>
                    <a:lnTo>
                      <a:pt x="132" y="104"/>
                    </a:lnTo>
                    <a:lnTo>
                      <a:pt x="113" y="104"/>
                    </a:lnTo>
                    <a:lnTo>
                      <a:pt x="94" y="104"/>
                    </a:lnTo>
                    <a:lnTo>
                      <a:pt x="73" y="106"/>
                    </a:lnTo>
                    <a:lnTo>
                      <a:pt x="54" y="106"/>
                    </a:lnTo>
                    <a:lnTo>
                      <a:pt x="52" y="104"/>
                    </a:lnTo>
                    <a:lnTo>
                      <a:pt x="48" y="102"/>
                    </a:lnTo>
                    <a:lnTo>
                      <a:pt x="40" y="98"/>
                    </a:lnTo>
                    <a:lnTo>
                      <a:pt x="35" y="96"/>
                    </a:lnTo>
                    <a:lnTo>
                      <a:pt x="31" y="94"/>
                    </a:lnTo>
                    <a:lnTo>
                      <a:pt x="29" y="92"/>
                    </a:lnTo>
                    <a:lnTo>
                      <a:pt x="27" y="79"/>
                    </a:lnTo>
                    <a:lnTo>
                      <a:pt x="25" y="67"/>
                    </a:lnTo>
                    <a:lnTo>
                      <a:pt x="21" y="66"/>
                    </a:lnTo>
                    <a:lnTo>
                      <a:pt x="19" y="62"/>
                    </a:lnTo>
                    <a:lnTo>
                      <a:pt x="19" y="52"/>
                    </a:lnTo>
                    <a:lnTo>
                      <a:pt x="19" y="43"/>
                    </a:lnTo>
                    <a:lnTo>
                      <a:pt x="21" y="41"/>
                    </a:lnTo>
                    <a:lnTo>
                      <a:pt x="25" y="39"/>
                    </a:lnTo>
                    <a:lnTo>
                      <a:pt x="38" y="39"/>
                    </a:lnTo>
                    <a:lnTo>
                      <a:pt x="54" y="39"/>
                    </a:lnTo>
                    <a:lnTo>
                      <a:pt x="56" y="41"/>
                    </a:lnTo>
                    <a:lnTo>
                      <a:pt x="58" y="43"/>
                    </a:lnTo>
                    <a:lnTo>
                      <a:pt x="56" y="44"/>
                    </a:lnTo>
                    <a:lnTo>
                      <a:pt x="54" y="48"/>
                    </a:lnTo>
                    <a:lnTo>
                      <a:pt x="54" y="52"/>
                    </a:lnTo>
                    <a:lnTo>
                      <a:pt x="54" y="58"/>
                    </a:lnTo>
                    <a:lnTo>
                      <a:pt x="56" y="60"/>
                    </a:lnTo>
                    <a:lnTo>
                      <a:pt x="58" y="62"/>
                    </a:lnTo>
                    <a:lnTo>
                      <a:pt x="65" y="69"/>
                    </a:lnTo>
                    <a:lnTo>
                      <a:pt x="73" y="77"/>
                    </a:lnTo>
                    <a:lnTo>
                      <a:pt x="75" y="79"/>
                    </a:lnTo>
                    <a:lnTo>
                      <a:pt x="79" y="81"/>
                    </a:lnTo>
                    <a:lnTo>
                      <a:pt x="82" y="81"/>
                    </a:lnTo>
                    <a:lnTo>
                      <a:pt x="86" y="81"/>
                    </a:lnTo>
                    <a:lnTo>
                      <a:pt x="90" y="79"/>
                    </a:lnTo>
                    <a:lnTo>
                      <a:pt x="92" y="77"/>
                    </a:lnTo>
                    <a:lnTo>
                      <a:pt x="113" y="69"/>
                    </a:lnTo>
                    <a:lnTo>
                      <a:pt x="136" y="62"/>
                    </a:lnTo>
                    <a:lnTo>
                      <a:pt x="138" y="60"/>
                    </a:lnTo>
                    <a:lnTo>
                      <a:pt x="140" y="58"/>
                    </a:lnTo>
                    <a:lnTo>
                      <a:pt x="142" y="43"/>
                    </a:lnTo>
                    <a:lnTo>
                      <a:pt x="142" y="29"/>
                    </a:lnTo>
                    <a:lnTo>
                      <a:pt x="144" y="14"/>
                    </a:lnTo>
                    <a:lnTo>
                      <a:pt x="146" y="0"/>
                    </a:lnTo>
                    <a:lnTo>
                      <a:pt x="157" y="0"/>
                    </a:lnTo>
                    <a:lnTo>
                      <a:pt x="169" y="0"/>
                    </a:lnTo>
                    <a:lnTo>
                      <a:pt x="173" y="2"/>
                    </a:lnTo>
                    <a:lnTo>
                      <a:pt x="175" y="4"/>
                    </a:lnTo>
                    <a:lnTo>
                      <a:pt x="176" y="6"/>
                    </a:lnTo>
                    <a:lnTo>
                      <a:pt x="178" y="10"/>
                    </a:lnTo>
                    <a:lnTo>
                      <a:pt x="182" y="12"/>
                    </a:lnTo>
                    <a:lnTo>
                      <a:pt x="184" y="14"/>
                    </a:lnTo>
                    <a:lnTo>
                      <a:pt x="186" y="16"/>
                    </a:lnTo>
                    <a:lnTo>
                      <a:pt x="190" y="19"/>
                    </a:lnTo>
                    <a:lnTo>
                      <a:pt x="192" y="21"/>
                    </a:lnTo>
                    <a:lnTo>
                      <a:pt x="194" y="23"/>
                    </a:lnTo>
                    <a:lnTo>
                      <a:pt x="221" y="25"/>
                    </a:lnTo>
                    <a:lnTo>
                      <a:pt x="247" y="29"/>
                    </a:lnTo>
                    <a:lnTo>
                      <a:pt x="249" y="31"/>
                    </a:lnTo>
                    <a:lnTo>
                      <a:pt x="251" y="33"/>
                    </a:lnTo>
                    <a:lnTo>
                      <a:pt x="253" y="35"/>
                    </a:lnTo>
                    <a:lnTo>
                      <a:pt x="257" y="39"/>
                    </a:lnTo>
                    <a:lnTo>
                      <a:pt x="259" y="41"/>
                    </a:lnTo>
                    <a:lnTo>
                      <a:pt x="261" y="43"/>
                    </a:lnTo>
                    <a:lnTo>
                      <a:pt x="261" y="60"/>
                    </a:lnTo>
                    <a:lnTo>
                      <a:pt x="261" y="77"/>
                    </a:lnTo>
                    <a:lnTo>
                      <a:pt x="261" y="94"/>
                    </a:lnTo>
                    <a:lnTo>
                      <a:pt x="261" y="110"/>
                    </a:lnTo>
                    <a:lnTo>
                      <a:pt x="259" y="114"/>
                    </a:lnTo>
                    <a:lnTo>
                      <a:pt x="257" y="115"/>
                    </a:lnTo>
                    <a:lnTo>
                      <a:pt x="253" y="117"/>
                    </a:lnTo>
                    <a:lnTo>
                      <a:pt x="251" y="121"/>
                    </a:lnTo>
                    <a:lnTo>
                      <a:pt x="249" y="123"/>
                    </a:lnTo>
                    <a:lnTo>
                      <a:pt x="247" y="125"/>
                    </a:lnTo>
                    <a:lnTo>
                      <a:pt x="246" y="127"/>
                    </a:lnTo>
                    <a:lnTo>
                      <a:pt x="242" y="131"/>
                    </a:lnTo>
                    <a:lnTo>
                      <a:pt x="240" y="133"/>
                    </a:lnTo>
                    <a:lnTo>
                      <a:pt x="238" y="135"/>
                    </a:lnTo>
                    <a:lnTo>
                      <a:pt x="234" y="142"/>
                    </a:lnTo>
                    <a:lnTo>
                      <a:pt x="232" y="150"/>
                    </a:lnTo>
                    <a:lnTo>
                      <a:pt x="230" y="152"/>
                    </a:lnTo>
                    <a:lnTo>
                      <a:pt x="228" y="154"/>
                    </a:lnTo>
                    <a:lnTo>
                      <a:pt x="224" y="156"/>
                    </a:lnTo>
                    <a:lnTo>
                      <a:pt x="223" y="160"/>
                    </a:lnTo>
                    <a:lnTo>
                      <a:pt x="221" y="161"/>
                    </a:lnTo>
                    <a:lnTo>
                      <a:pt x="219" y="163"/>
                    </a:lnTo>
                    <a:lnTo>
                      <a:pt x="219" y="169"/>
                    </a:lnTo>
                    <a:lnTo>
                      <a:pt x="219" y="173"/>
                    </a:lnTo>
                    <a:lnTo>
                      <a:pt x="221" y="177"/>
                    </a:lnTo>
                    <a:lnTo>
                      <a:pt x="223" y="179"/>
                    </a:lnTo>
                    <a:lnTo>
                      <a:pt x="236" y="181"/>
                    </a:lnTo>
                    <a:lnTo>
                      <a:pt x="247" y="183"/>
                    </a:lnTo>
                    <a:lnTo>
                      <a:pt x="249" y="186"/>
                    </a:lnTo>
                    <a:lnTo>
                      <a:pt x="251" y="188"/>
                    </a:lnTo>
                    <a:lnTo>
                      <a:pt x="257" y="196"/>
                    </a:lnTo>
                    <a:lnTo>
                      <a:pt x="261" y="202"/>
                    </a:lnTo>
                    <a:lnTo>
                      <a:pt x="257" y="202"/>
                    </a:lnTo>
                    <a:lnTo>
                      <a:pt x="251" y="202"/>
                    </a:lnTo>
                    <a:lnTo>
                      <a:pt x="192" y="194"/>
                    </a:lnTo>
                    <a:lnTo>
                      <a:pt x="159" y="190"/>
                    </a:lnTo>
                    <a:lnTo>
                      <a:pt x="142" y="190"/>
                    </a:lnTo>
                    <a:lnTo>
                      <a:pt x="127" y="192"/>
                    </a:lnTo>
                    <a:lnTo>
                      <a:pt x="123" y="209"/>
                    </a:lnTo>
                    <a:lnTo>
                      <a:pt x="119" y="227"/>
                    </a:lnTo>
                    <a:lnTo>
                      <a:pt x="115" y="244"/>
                    </a:lnTo>
                    <a:lnTo>
                      <a:pt x="111" y="261"/>
                    </a:lnTo>
                    <a:lnTo>
                      <a:pt x="105" y="257"/>
                    </a:lnTo>
                    <a:lnTo>
                      <a:pt x="100" y="254"/>
                    </a:lnTo>
                    <a:lnTo>
                      <a:pt x="79" y="271"/>
                    </a:lnTo>
                    <a:lnTo>
                      <a:pt x="58" y="290"/>
                    </a:lnTo>
                    <a:lnTo>
                      <a:pt x="56" y="290"/>
                    </a:lnTo>
                    <a:lnTo>
                      <a:pt x="54" y="290"/>
                    </a:lnTo>
                    <a:lnTo>
                      <a:pt x="52" y="288"/>
                    </a:lnTo>
                    <a:lnTo>
                      <a:pt x="48" y="284"/>
                    </a:lnTo>
                    <a:lnTo>
                      <a:pt x="46" y="282"/>
                    </a:lnTo>
                    <a:lnTo>
                      <a:pt x="44" y="280"/>
                    </a:lnTo>
                    <a:lnTo>
                      <a:pt x="42" y="277"/>
                    </a:lnTo>
                    <a:lnTo>
                      <a:pt x="40" y="275"/>
                    </a:lnTo>
                    <a:lnTo>
                      <a:pt x="23" y="273"/>
                    </a:lnTo>
                    <a:lnTo>
                      <a:pt x="6" y="271"/>
                    </a:lnTo>
                    <a:lnTo>
                      <a:pt x="2" y="267"/>
                    </a:lnTo>
                    <a:lnTo>
                      <a:pt x="0" y="265"/>
                    </a:lnTo>
                    <a:lnTo>
                      <a:pt x="2" y="263"/>
                    </a:lnTo>
                    <a:lnTo>
                      <a:pt x="6" y="261"/>
                    </a:lnTo>
                    <a:lnTo>
                      <a:pt x="8" y="257"/>
                    </a:lnTo>
                    <a:lnTo>
                      <a:pt x="10" y="255"/>
                    </a:lnTo>
                    <a:lnTo>
                      <a:pt x="13" y="254"/>
                    </a:lnTo>
                    <a:lnTo>
                      <a:pt x="15" y="252"/>
                    </a:lnTo>
                    <a:lnTo>
                      <a:pt x="17" y="244"/>
                    </a:lnTo>
                    <a:lnTo>
                      <a:pt x="19" y="236"/>
                    </a:lnTo>
                    <a:lnTo>
                      <a:pt x="21" y="234"/>
                    </a:lnTo>
                    <a:lnTo>
                      <a:pt x="25" y="231"/>
                    </a:lnTo>
                    <a:lnTo>
                      <a:pt x="27" y="229"/>
                    </a:lnTo>
                    <a:lnTo>
                      <a:pt x="29" y="227"/>
                    </a:lnTo>
                    <a:lnTo>
                      <a:pt x="31" y="225"/>
                    </a:lnTo>
                    <a:lnTo>
                      <a:pt x="35" y="223"/>
                    </a:lnTo>
                    <a:lnTo>
                      <a:pt x="36" y="209"/>
                    </a:lnTo>
                    <a:lnTo>
                      <a:pt x="40" y="198"/>
                    </a:lnTo>
                    <a:lnTo>
                      <a:pt x="42" y="196"/>
                    </a:lnTo>
                    <a:lnTo>
                      <a:pt x="44" y="192"/>
                    </a:lnTo>
                    <a:lnTo>
                      <a:pt x="46" y="190"/>
                    </a:lnTo>
                    <a:lnTo>
                      <a:pt x="48" y="188"/>
                    </a:lnTo>
                    <a:lnTo>
                      <a:pt x="52" y="184"/>
                    </a:lnTo>
                    <a:lnTo>
                      <a:pt x="54" y="183"/>
                    </a:lnTo>
                  </a:path>
                </a:pathLst>
              </a:custGeom>
              <a:grpFill/>
              <a:ln w="3175">
                <a:solidFill>
                  <a:srgbClr val="FF8300"/>
                </a:solidFill>
                <a:round/>
                <a:headEnd/>
                <a:tailEnd/>
              </a:ln>
            </p:spPr>
            <p:txBody>
              <a:bodyPr/>
              <a:lstStyle/>
              <a:p>
                <a:pPr>
                  <a:defRPr/>
                </a:pPr>
                <a:endParaRPr lang="en-GB" sz="1400">
                  <a:solidFill>
                    <a:schemeClr val="tx2"/>
                  </a:solidFill>
                </a:endParaRPr>
              </a:p>
            </p:txBody>
          </p:sp>
          <p:sp>
            <p:nvSpPr>
              <p:cNvPr id="388" name="Freeform 316"/>
              <p:cNvSpPr>
                <a:spLocks/>
              </p:cNvSpPr>
              <p:nvPr>
                <p:custDataLst>
                  <p:tags r:id="rId37"/>
                </p:custDataLst>
              </p:nvPr>
            </p:nvSpPr>
            <p:spPr bwMode="gray">
              <a:xfrm>
                <a:off x="2047662" y="4815161"/>
                <a:ext cx="370673" cy="356738"/>
              </a:xfrm>
              <a:custGeom>
                <a:avLst/>
                <a:gdLst>
                  <a:gd name="T0" fmla="*/ 2147483647 w 271"/>
                  <a:gd name="T1" fmla="*/ 2147483647 h 270"/>
                  <a:gd name="T2" fmla="*/ 2147483647 w 271"/>
                  <a:gd name="T3" fmla="*/ 2147483647 h 270"/>
                  <a:gd name="T4" fmla="*/ 2147483647 w 271"/>
                  <a:gd name="T5" fmla="*/ 2147483647 h 270"/>
                  <a:gd name="T6" fmla="*/ 2147483647 w 271"/>
                  <a:gd name="T7" fmla="*/ 2147483647 h 270"/>
                  <a:gd name="T8" fmla="*/ 2147483647 w 271"/>
                  <a:gd name="T9" fmla="*/ 2147483647 h 270"/>
                  <a:gd name="T10" fmla="*/ 2147483647 w 271"/>
                  <a:gd name="T11" fmla="*/ 2147483647 h 270"/>
                  <a:gd name="T12" fmla="*/ 2147483647 w 271"/>
                  <a:gd name="T13" fmla="*/ 2147483647 h 270"/>
                  <a:gd name="T14" fmla="*/ 2147483647 w 271"/>
                  <a:gd name="T15" fmla="*/ 2147483647 h 270"/>
                  <a:gd name="T16" fmla="*/ 2147483647 w 271"/>
                  <a:gd name="T17" fmla="*/ 2147483647 h 270"/>
                  <a:gd name="T18" fmla="*/ 2147483647 w 271"/>
                  <a:gd name="T19" fmla="*/ 2147483647 h 270"/>
                  <a:gd name="T20" fmla="*/ 2147483647 w 271"/>
                  <a:gd name="T21" fmla="*/ 2147483647 h 270"/>
                  <a:gd name="T22" fmla="*/ 2147483647 w 271"/>
                  <a:gd name="T23" fmla="*/ 2147483647 h 270"/>
                  <a:gd name="T24" fmla="*/ 2147483647 w 271"/>
                  <a:gd name="T25" fmla="*/ 2147483647 h 270"/>
                  <a:gd name="T26" fmla="*/ 2147483647 w 271"/>
                  <a:gd name="T27" fmla="*/ 2147483647 h 270"/>
                  <a:gd name="T28" fmla="*/ 2147483647 w 271"/>
                  <a:gd name="T29" fmla="*/ 2147483647 h 270"/>
                  <a:gd name="T30" fmla="*/ 0 w 271"/>
                  <a:gd name="T31" fmla="*/ 2147483647 h 270"/>
                  <a:gd name="T32" fmla="*/ 2147483647 w 271"/>
                  <a:gd name="T33" fmla="*/ 2147483647 h 270"/>
                  <a:gd name="T34" fmla="*/ 2147483647 w 271"/>
                  <a:gd name="T35" fmla="*/ 2147483647 h 270"/>
                  <a:gd name="T36" fmla="*/ 2147483647 w 271"/>
                  <a:gd name="T37" fmla="*/ 2147483647 h 270"/>
                  <a:gd name="T38" fmla="*/ 2147483647 w 271"/>
                  <a:gd name="T39" fmla="*/ 2147483647 h 270"/>
                  <a:gd name="T40" fmla="*/ 2147483647 w 271"/>
                  <a:gd name="T41" fmla="*/ 2147483647 h 270"/>
                  <a:gd name="T42" fmla="*/ 2147483647 w 271"/>
                  <a:gd name="T43" fmla="*/ 2147483647 h 270"/>
                  <a:gd name="T44" fmla="*/ 2147483647 w 271"/>
                  <a:gd name="T45" fmla="*/ 2147483647 h 270"/>
                  <a:gd name="T46" fmla="*/ 2147483647 w 271"/>
                  <a:gd name="T47" fmla="*/ 2147483647 h 270"/>
                  <a:gd name="T48" fmla="*/ 2147483647 w 271"/>
                  <a:gd name="T49" fmla="*/ 2147483647 h 270"/>
                  <a:gd name="T50" fmla="*/ 2147483647 w 271"/>
                  <a:gd name="T51" fmla="*/ 0 h 270"/>
                  <a:gd name="T52" fmla="*/ 2147483647 w 271"/>
                  <a:gd name="T53" fmla="*/ 2147483647 h 270"/>
                  <a:gd name="T54" fmla="*/ 2147483647 w 271"/>
                  <a:gd name="T55" fmla="*/ 2147483647 h 270"/>
                  <a:gd name="T56" fmla="*/ 2147483647 w 271"/>
                  <a:gd name="T57" fmla="*/ 2147483647 h 270"/>
                  <a:gd name="T58" fmla="*/ 2147483647 w 271"/>
                  <a:gd name="T59" fmla="*/ 2147483647 h 270"/>
                  <a:gd name="T60" fmla="*/ 2147483647 w 271"/>
                  <a:gd name="T61" fmla="*/ 2147483647 h 270"/>
                  <a:gd name="T62" fmla="*/ 2147483647 w 271"/>
                  <a:gd name="T63" fmla="*/ 2147483647 h 270"/>
                  <a:gd name="T64" fmla="*/ 2147483647 w 271"/>
                  <a:gd name="T65" fmla="*/ 2147483647 h 270"/>
                  <a:gd name="T66" fmla="*/ 2147483647 w 271"/>
                  <a:gd name="T67" fmla="*/ 2147483647 h 270"/>
                  <a:gd name="T68" fmla="*/ 2147483647 w 271"/>
                  <a:gd name="T69" fmla="*/ 2147483647 h 270"/>
                  <a:gd name="T70" fmla="*/ 2147483647 w 271"/>
                  <a:gd name="T71" fmla="*/ 2147483647 h 270"/>
                  <a:gd name="T72" fmla="*/ 2147483647 w 271"/>
                  <a:gd name="T73" fmla="*/ 2147483647 h 270"/>
                  <a:gd name="T74" fmla="*/ 2147483647 w 271"/>
                  <a:gd name="T75" fmla="*/ 2147483647 h 270"/>
                  <a:gd name="T76" fmla="*/ 2147483647 w 271"/>
                  <a:gd name="T77" fmla="*/ 2147483647 h 270"/>
                  <a:gd name="T78" fmla="*/ 2147483647 w 271"/>
                  <a:gd name="T79" fmla="*/ 2147483647 h 270"/>
                  <a:gd name="T80" fmla="*/ 2147483647 w 271"/>
                  <a:gd name="T81" fmla="*/ 2147483647 h 270"/>
                  <a:gd name="T82" fmla="*/ 2147483647 w 271"/>
                  <a:gd name="T83" fmla="*/ 2147483647 h 270"/>
                  <a:gd name="T84" fmla="*/ 2147483647 w 271"/>
                  <a:gd name="T85" fmla="*/ 2147483647 h 270"/>
                  <a:gd name="T86" fmla="*/ 2147483647 w 271"/>
                  <a:gd name="T87" fmla="*/ 2147483647 h 270"/>
                  <a:gd name="T88" fmla="*/ 2147483647 w 271"/>
                  <a:gd name="T89" fmla="*/ 2147483647 h 270"/>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271"/>
                  <a:gd name="T136" fmla="*/ 0 h 270"/>
                  <a:gd name="T137" fmla="*/ 271 w 271"/>
                  <a:gd name="T138" fmla="*/ 270 h 270"/>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271" h="270">
                    <a:moveTo>
                      <a:pt x="179" y="270"/>
                    </a:moveTo>
                    <a:lnTo>
                      <a:pt x="177" y="267"/>
                    </a:lnTo>
                    <a:lnTo>
                      <a:pt x="173" y="265"/>
                    </a:lnTo>
                    <a:lnTo>
                      <a:pt x="171" y="253"/>
                    </a:lnTo>
                    <a:lnTo>
                      <a:pt x="169" y="242"/>
                    </a:lnTo>
                    <a:lnTo>
                      <a:pt x="167" y="238"/>
                    </a:lnTo>
                    <a:lnTo>
                      <a:pt x="165" y="236"/>
                    </a:lnTo>
                    <a:lnTo>
                      <a:pt x="157" y="219"/>
                    </a:lnTo>
                    <a:lnTo>
                      <a:pt x="150" y="201"/>
                    </a:lnTo>
                    <a:lnTo>
                      <a:pt x="146" y="199"/>
                    </a:lnTo>
                    <a:lnTo>
                      <a:pt x="144" y="198"/>
                    </a:lnTo>
                    <a:lnTo>
                      <a:pt x="142" y="196"/>
                    </a:lnTo>
                    <a:lnTo>
                      <a:pt x="140" y="192"/>
                    </a:lnTo>
                    <a:lnTo>
                      <a:pt x="138" y="190"/>
                    </a:lnTo>
                    <a:lnTo>
                      <a:pt x="134" y="188"/>
                    </a:lnTo>
                    <a:lnTo>
                      <a:pt x="132" y="180"/>
                    </a:lnTo>
                    <a:lnTo>
                      <a:pt x="131" y="173"/>
                    </a:lnTo>
                    <a:lnTo>
                      <a:pt x="127" y="171"/>
                    </a:lnTo>
                    <a:lnTo>
                      <a:pt x="125" y="169"/>
                    </a:lnTo>
                    <a:lnTo>
                      <a:pt x="121" y="169"/>
                    </a:lnTo>
                    <a:lnTo>
                      <a:pt x="115" y="169"/>
                    </a:lnTo>
                    <a:lnTo>
                      <a:pt x="113" y="171"/>
                    </a:lnTo>
                    <a:lnTo>
                      <a:pt x="111" y="173"/>
                    </a:lnTo>
                    <a:lnTo>
                      <a:pt x="96" y="173"/>
                    </a:lnTo>
                    <a:lnTo>
                      <a:pt x="83" y="173"/>
                    </a:lnTo>
                    <a:lnTo>
                      <a:pt x="79" y="171"/>
                    </a:lnTo>
                    <a:lnTo>
                      <a:pt x="77" y="169"/>
                    </a:lnTo>
                    <a:lnTo>
                      <a:pt x="75" y="167"/>
                    </a:lnTo>
                    <a:lnTo>
                      <a:pt x="73" y="163"/>
                    </a:lnTo>
                    <a:lnTo>
                      <a:pt x="69" y="161"/>
                    </a:lnTo>
                    <a:lnTo>
                      <a:pt x="67" y="159"/>
                    </a:lnTo>
                    <a:lnTo>
                      <a:pt x="65" y="146"/>
                    </a:lnTo>
                    <a:lnTo>
                      <a:pt x="61" y="134"/>
                    </a:lnTo>
                    <a:lnTo>
                      <a:pt x="60" y="132"/>
                    </a:lnTo>
                    <a:lnTo>
                      <a:pt x="58" y="128"/>
                    </a:lnTo>
                    <a:lnTo>
                      <a:pt x="56" y="123"/>
                    </a:lnTo>
                    <a:lnTo>
                      <a:pt x="52" y="115"/>
                    </a:lnTo>
                    <a:lnTo>
                      <a:pt x="50" y="113"/>
                    </a:lnTo>
                    <a:lnTo>
                      <a:pt x="48" y="111"/>
                    </a:lnTo>
                    <a:lnTo>
                      <a:pt x="31" y="107"/>
                    </a:lnTo>
                    <a:lnTo>
                      <a:pt x="14" y="105"/>
                    </a:lnTo>
                    <a:lnTo>
                      <a:pt x="12" y="104"/>
                    </a:lnTo>
                    <a:lnTo>
                      <a:pt x="10" y="100"/>
                    </a:lnTo>
                    <a:lnTo>
                      <a:pt x="6" y="94"/>
                    </a:lnTo>
                    <a:lnTo>
                      <a:pt x="4" y="86"/>
                    </a:lnTo>
                    <a:lnTo>
                      <a:pt x="2" y="84"/>
                    </a:lnTo>
                    <a:lnTo>
                      <a:pt x="0" y="81"/>
                    </a:lnTo>
                    <a:lnTo>
                      <a:pt x="0" y="77"/>
                    </a:lnTo>
                    <a:lnTo>
                      <a:pt x="0" y="71"/>
                    </a:lnTo>
                    <a:lnTo>
                      <a:pt x="2" y="69"/>
                    </a:lnTo>
                    <a:lnTo>
                      <a:pt x="4" y="67"/>
                    </a:lnTo>
                    <a:lnTo>
                      <a:pt x="6" y="54"/>
                    </a:lnTo>
                    <a:lnTo>
                      <a:pt x="10" y="42"/>
                    </a:lnTo>
                    <a:lnTo>
                      <a:pt x="12" y="40"/>
                    </a:lnTo>
                    <a:lnTo>
                      <a:pt x="14" y="38"/>
                    </a:lnTo>
                    <a:lnTo>
                      <a:pt x="17" y="34"/>
                    </a:lnTo>
                    <a:lnTo>
                      <a:pt x="19" y="33"/>
                    </a:lnTo>
                    <a:lnTo>
                      <a:pt x="21" y="31"/>
                    </a:lnTo>
                    <a:lnTo>
                      <a:pt x="23" y="29"/>
                    </a:lnTo>
                    <a:lnTo>
                      <a:pt x="31" y="25"/>
                    </a:lnTo>
                    <a:lnTo>
                      <a:pt x="38" y="23"/>
                    </a:lnTo>
                    <a:lnTo>
                      <a:pt x="40" y="21"/>
                    </a:lnTo>
                    <a:lnTo>
                      <a:pt x="42" y="19"/>
                    </a:lnTo>
                    <a:lnTo>
                      <a:pt x="50" y="15"/>
                    </a:lnTo>
                    <a:lnTo>
                      <a:pt x="58" y="13"/>
                    </a:lnTo>
                    <a:lnTo>
                      <a:pt x="60" y="11"/>
                    </a:lnTo>
                    <a:lnTo>
                      <a:pt x="61" y="10"/>
                    </a:lnTo>
                    <a:lnTo>
                      <a:pt x="65" y="11"/>
                    </a:lnTo>
                    <a:lnTo>
                      <a:pt x="67" y="13"/>
                    </a:lnTo>
                    <a:lnTo>
                      <a:pt x="77" y="13"/>
                    </a:lnTo>
                    <a:lnTo>
                      <a:pt x="86" y="13"/>
                    </a:lnTo>
                    <a:lnTo>
                      <a:pt x="88" y="11"/>
                    </a:lnTo>
                    <a:lnTo>
                      <a:pt x="92" y="10"/>
                    </a:lnTo>
                    <a:lnTo>
                      <a:pt x="94" y="6"/>
                    </a:lnTo>
                    <a:lnTo>
                      <a:pt x="96" y="4"/>
                    </a:lnTo>
                    <a:lnTo>
                      <a:pt x="98" y="2"/>
                    </a:lnTo>
                    <a:lnTo>
                      <a:pt x="102" y="0"/>
                    </a:lnTo>
                    <a:lnTo>
                      <a:pt x="106" y="0"/>
                    </a:lnTo>
                    <a:lnTo>
                      <a:pt x="111" y="0"/>
                    </a:lnTo>
                    <a:lnTo>
                      <a:pt x="113" y="2"/>
                    </a:lnTo>
                    <a:lnTo>
                      <a:pt x="115" y="4"/>
                    </a:lnTo>
                    <a:lnTo>
                      <a:pt x="129" y="6"/>
                    </a:lnTo>
                    <a:lnTo>
                      <a:pt x="140" y="10"/>
                    </a:lnTo>
                    <a:lnTo>
                      <a:pt x="142" y="11"/>
                    </a:lnTo>
                    <a:lnTo>
                      <a:pt x="144" y="13"/>
                    </a:lnTo>
                    <a:lnTo>
                      <a:pt x="146" y="15"/>
                    </a:lnTo>
                    <a:lnTo>
                      <a:pt x="150" y="19"/>
                    </a:lnTo>
                    <a:lnTo>
                      <a:pt x="152" y="21"/>
                    </a:lnTo>
                    <a:lnTo>
                      <a:pt x="154" y="23"/>
                    </a:lnTo>
                    <a:lnTo>
                      <a:pt x="157" y="31"/>
                    </a:lnTo>
                    <a:lnTo>
                      <a:pt x="159" y="38"/>
                    </a:lnTo>
                    <a:lnTo>
                      <a:pt x="161" y="40"/>
                    </a:lnTo>
                    <a:lnTo>
                      <a:pt x="165" y="42"/>
                    </a:lnTo>
                    <a:lnTo>
                      <a:pt x="167" y="50"/>
                    </a:lnTo>
                    <a:lnTo>
                      <a:pt x="169" y="58"/>
                    </a:lnTo>
                    <a:lnTo>
                      <a:pt x="171" y="59"/>
                    </a:lnTo>
                    <a:lnTo>
                      <a:pt x="173" y="61"/>
                    </a:lnTo>
                    <a:lnTo>
                      <a:pt x="180" y="79"/>
                    </a:lnTo>
                    <a:lnTo>
                      <a:pt x="188" y="96"/>
                    </a:lnTo>
                    <a:lnTo>
                      <a:pt x="190" y="98"/>
                    </a:lnTo>
                    <a:lnTo>
                      <a:pt x="194" y="100"/>
                    </a:lnTo>
                    <a:lnTo>
                      <a:pt x="196" y="104"/>
                    </a:lnTo>
                    <a:lnTo>
                      <a:pt x="198" y="105"/>
                    </a:lnTo>
                    <a:lnTo>
                      <a:pt x="200" y="107"/>
                    </a:lnTo>
                    <a:lnTo>
                      <a:pt x="203" y="111"/>
                    </a:lnTo>
                    <a:lnTo>
                      <a:pt x="228" y="113"/>
                    </a:lnTo>
                    <a:lnTo>
                      <a:pt x="255" y="115"/>
                    </a:lnTo>
                    <a:lnTo>
                      <a:pt x="257" y="117"/>
                    </a:lnTo>
                    <a:lnTo>
                      <a:pt x="261" y="121"/>
                    </a:lnTo>
                    <a:lnTo>
                      <a:pt x="257" y="123"/>
                    </a:lnTo>
                    <a:lnTo>
                      <a:pt x="255" y="125"/>
                    </a:lnTo>
                    <a:lnTo>
                      <a:pt x="253" y="134"/>
                    </a:lnTo>
                    <a:lnTo>
                      <a:pt x="251" y="144"/>
                    </a:lnTo>
                    <a:lnTo>
                      <a:pt x="261" y="144"/>
                    </a:lnTo>
                    <a:lnTo>
                      <a:pt x="271" y="144"/>
                    </a:lnTo>
                    <a:lnTo>
                      <a:pt x="271" y="161"/>
                    </a:lnTo>
                    <a:lnTo>
                      <a:pt x="271" y="178"/>
                    </a:lnTo>
                    <a:lnTo>
                      <a:pt x="267" y="180"/>
                    </a:lnTo>
                    <a:lnTo>
                      <a:pt x="265" y="182"/>
                    </a:lnTo>
                    <a:lnTo>
                      <a:pt x="238" y="182"/>
                    </a:lnTo>
                    <a:lnTo>
                      <a:pt x="213" y="182"/>
                    </a:lnTo>
                    <a:lnTo>
                      <a:pt x="213" y="205"/>
                    </a:lnTo>
                    <a:lnTo>
                      <a:pt x="213" y="226"/>
                    </a:lnTo>
                    <a:lnTo>
                      <a:pt x="209" y="228"/>
                    </a:lnTo>
                    <a:lnTo>
                      <a:pt x="207" y="232"/>
                    </a:lnTo>
                    <a:lnTo>
                      <a:pt x="205" y="238"/>
                    </a:lnTo>
                    <a:lnTo>
                      <a:pt x="203" y="246"/>
                    </a:lnTo>
                    <a:lnTo>
                      <a:pt x="200" y="247"/>
                    </a:lnTo>
                    <a:lnTo>
                      <a:pt x="198" y="251"/>
                    </a:lnTo>
                    <a:lnTo>
                      <a:pt x="196" y="253"/>
                    </a:lnTo>
                    <a:lnTo>
                      <a:pt x="194" y="255"/>
                    </a:lnTo>
                    <a:lnTo>
                      <a:pt x="190" y="257"/>
                    </a:lnTo>
                    <a:lnTo>
                      <a:pt x="188" y="261"/>
                    </a:lnTo>
                    <a:lnTo>
                      <a:pt x="182" y="265"/>
                    </a:lnTo>
                    <a:lnTo>
                      <a:pt x="179" y="270"/>
                    </a:lnTo>
                  </a:path>
                </a:pathLst>
              </a:custGeom>
              <a:grpFill/>
              <a:ln w="3175">
                <a:solidFill>
                  <a:srgbClr val="FF8300"/>
                </a:solidFill>
                <a:round/>
                <a:headEnd/>
                <a:tailEnd/>
              </a:ln>
            </p:spPr>
            <p:txBody>
              <a:bodyPr/>
              <a:lstStyle/>
              <a:p>
                <a:pPr>
                  <a:defRPr/>
                </a:pPr>
                <a:endParaRPr lang="en-GB" sz="1400">
                  <a:solidFill>
                    <a:schemeClr val="tx2"/>
                  </a:solidFill>
                </a:endParaRPr>
              </a:p>
            </p:txBody>
          </p:sp>
          <p:sp>
            <p:nvSpPr>
              <p:cNvPr id="389" name="Freeform 322"/>
              <p:cNvSpPr>
                <a:spLocks/>
              </p:cNvSpPr>
              <p:nvPr>
                <p:custDataLst>
                  <p:tags r:id="rId38"/>
                </p:custDataLst>
              </p:nvPr>
            </p:nvSpPr>
            <p:spPr bwMode="gray">
              <a:xfrm>
                <a:off x="1955691" y="4752452"/>
                <a:ext cx="168615" cy="153286"/>
              </a:xfrm>
              <a:custGeom>
                <a:avLst/>
                <a:gdLst>
                  <a:gd name="T0" fmla="*/ 2147483647 w 125"/>
                  <a:gd name="T1" fmla="*/ 2147483647 h 117"/>
                  <a:gd name="T2" fmla="*/ 2147483647 w 125"/>
                  <a:gd name="T3" fmla="*/ 2147483647 h 117"/>
                  <a:gd name="T4" fmla="*/ 2147483647 w 125"/>
                  <a:gd name="T5" fmla="*/ 2147483647 h 117"/>
                  <a:gd name="T6" fmla="*/ 0 w 125"/>
                  <a:gd name="T7" fmla="*/ 2147483647 h 117"/>
                  <a:gd name="T8" fmla="*/ 2147483647 w 125"/>
                  <a:gd name="T9" fmla="*/ 2147483647 h 117"/>
                  <a:gd name="T10" fmla="*/ 2147483647 w 125"/>
                  <a:gd name="T11" fmla="*/ 2147483647 h 117"/>
                  <a:gd name="T12" fmla="*/ 2147483647 w 125"/>
                  <a:gd name="T13" fmla="*/ 2147483647 h 117"/>
                  <a:gd name="T14" fmla="*/ 2147483647 w 125"/>
                  <a:gd name="T15" fmla="*/ 2147483647 h 117"/>
                  <a:gd name="T16" fmla="*/ 2147483647 w 125"/>
                  <a:gd name="T17" fmla="*/ 2147483647 h 117"/>
                  <a:gd name="T18" fmla="*/ 2147483647 w 125"/>
                  <a:gd name="T19" fmla="*/ 2147483647 h 117"/>
                  <a:gd name="T20" fmla="*/ 2147483647 w 125"/>
                  <a:gd name="T21" fmla="*/ 2147483647 h 117"/>
                  <a:gd name="T22" fmla="*/ 2147483647 w 125"/>
                  <a:gd name="T23" fmla="*/ 2147483647 h 117"/>
                  <a:gd name="T24" fmla="*/ 2147483647 w 125"/>
                  <a:gd name="T25" fmla="*/ 2147483647 h 117"/>
                  <a:gd name="T26" fmla="*/ 2147483647 w 125"/>
                  <a:gd name="T27" fmla="*/ 0 h 117"/>
                  <a:gd name="T28" fmla="*/ 2147483647 w 125"/>
                  <a:gd name="T29" fmla="*/ 2147483647 h 117"/>
                  <a:gd name="T30" fmla="*/ 2147483647 w 125"/>
                  <a:gd name="T31" fmla="*/ 2147483647 h 117"/>
                  <a:gd name="T32" fmla="*/ 2147483647 w 125"/>
                  <a:gd name="T33" fmla="*/ 2147483647 h 117"/>
                  <a:gd name="T34" fmla="*/ 2147483647 w 125"/>
                  <a:gd name="T35" fmla="*/ 2147483647 h 117"/>
                  <a:gd name="T36" fmla="*/ 2147483647 w 125"/>
                  <a:gd name="T37" fmla="*/ 2147483647 h 117"/>
                  <a:gd name="T38" fmla="*/ 2147483647 w 125"/>
                  <a:gd name="T39" fmla="*/ 2147483647 h 117"/>
                  <a:gd name="T40" fmla="*/ 2147483647 w 125"/>
                  <a:gd name="T41" fmla="*/ 2147483647 h 117"/>
                  <a:gd name="T42" fmla="*/ 2147483647 w 125"/>
                  <a:gd name="T43" fmla="*/ 2147483647 h 117"/>
                  <a:gd name="T44" fmla="*/ 2147483647 w 125"/>
                  <a:gd name="T45" fmla="*/ 2147483647 h 117"/>
                  <a:gd name="T46" fmla="*/ 2147483647 w 125"/>
                  <a:gd name="T47" fmla="*/ 2147483647 h 117"/>
                  <a:gd name="T48" fmla="*/ 2147483647 w 125"/>
                  <a:gd name="T49" fmla="*/ 2147483647 h 117"/>
                  <a:gd name="T50" fmla="*/ 2147483647 w 125"/>
                  <a:gd name="T51" fmla="*/ 2147483647 h 117"/>
                  <a:gd name="T52" fmla="*/ 2147483647 w 125"/>
                  <a:gd name="T53" fmla="*/ 2147483647 h 117"/>
                  <a:gd name="T54" fmla="*/ 2147483647 w 125"/>
                  <a:gd name="T55" fmla="*/ 2147483647 h 117"/>
                  <a:gd name="T56" fmla="*/ 2147483647 w 125"/>
                  <a:gd name="T57" fmla="*/ 2147483647 h 117"/>
                  <a:gd name="T58" fmla="*/ 2147483647 w 125"/>
                  <a:gd name="T59" fmla="*/ 2147483647 h 117"/>
                  <a:gd name="T60" fmla="*/ 2147483647 w 125"/>
                  <a:gd name="T61" fmla="*/ 2147483647 h 117"/>
                  <a:gd name="T62" fmla="*/ 2147483647 w 125"/>
                  <a:gd name="T63" fmla="*/ 2147483647 h 117"/>
                  <a:gd name="T64" fmla="*/ 2147483647 w 125"/>
                  <a:gd name="T65" fmla="*/ 2147483647 h 11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25"/>
                  <a:gd name="T100" fmla="*/ 0 h 117"/>
                  <a:gd name="T101" fmla="*/ 125 w 125"/>
                  <a:gd name="T102" fmla="*/ 117 h 11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25" h="117">
                    <a:moveTo>
                      <a:pt x="23" y="117"/>
                    </a:moveTo>
                    <a:lnTo>
                      <a:pt x="21" y="113"/>
                    </a:lnTo>
                    <a:lnTo>
                      <a:pt x="17" y="111"/>
                    </a:lnTo>
                    <a:lnTo>
                      <a:pt x="17" y="109"/>
                    </a:lnTo>
                    <a:lnTo>
                      <a:pt x="15" y="108"/>
                    </a:lnTo>
                    <a:lnTo>
                      <a:pt x="10" y="108"/>
                    </a:lnTo>
                    <a:lnTo>
                      <a:pt x="0" y="108"/>
                    </a:lnTo>
                    <a:lnTo>
                      <a:pt x="0" y="100"/>
                    </a:lnTo>
                    <a:lnTo>
                      <a:pt x="0" y="92"/>
                    </a:lnTo>
                    <a:lnTo>
                      <a:pt x="2" y="90"/>
                    </a:lnTo>
                    <a:lnTo>
                      <a:pt x="4" y="88"/>
                    </a:lnTo>
                    <a:lnTo>
                      <a:pt x="6" y="75"/>
                    </a:lnTo>
                    <a:lnTo>
                      <a:pt x="8" y="63"/>
                    </a:lnTo>
                    <a:lnTo>
                      <a:pt x="11" y="61"/>
                    </a:lnTo>
                    <a:lnTo>
                      <a:pt x="13" y="60"/>
                    </a:lnTo>
                    <a:lnTo>
                      <a:pt x="15" y="52"/>
                    </a:lnTo>
                    <a:lnTo>
                      <a:pt x="17" y="44"/>
                    </a:lnTo>
                    <a:lnTo>
                      <a:pt x="21" y="42"/>
                    </a:lnTo>
                    <a:lnTo>
                      <a:pt x="23" y="40"/>
                    </a:lnTo>
                    <a:lnTo>
                      <a:pt x="25" y="37"/>
                    </a:lnTo>
                    <a:lnTo>
                      <a:pt x="29" y="35"/>
                    </a:lnTo>
                    <a:lnTo>
                      <a:pt x="31" y="33"/>
                    </a:lnTo>
                    <a:lnTo>
                      <a:pt x="33" y="29"/>
                    </a:lnTo>
                    <a:lnTo>
                      <a:pt x="40" y="17"/>
                    </a:lnTo>
                    <a:lnTo>
                      <a:pt x="48" y="6"/>
                    </a:lnTo>
                    <a:lnTo>
                      <a:pt x="50" y="2"/>
                    </a:lnTo>
                    <a:lnTo>
                      <a:pt x="52" y="0"/>
                    </a:lnTo>
                    <a:lnTo>
                      <a:pt x="63" y="0"/>
                    </a:lnTo>
                    <a:lnTo>
                      <a:pt x="77" y="0"/>
                    </a:lnTo>
                    <a:lnTo>
                      <a:pt x="90" y="6"/>
                    </a:lnTo>
                    <a:lnTo>
                      <a:pt x="105" y="12"/>
                    </a:lnTo>
                    <a:lnTo>
                      <a:pt x="109" y="25"/>
                    </a:lnTo>
                    <a:lnTo>
                      <a:pt x="115" y="40"/>
                    </a:lnTo>
                    <a:lnTo>
                      <a:pt x="117" y="40"/>
                    </a:lnTo>
                    <a:lnTo>
                      <a:pt x="119" y="40"/>
                    </a:lnTo>
                    <a:lnTo>
                      <a:pt x="123" y="42"/>
                    </a:lnTo>
                    <a:lnTo>
                      <a:pt x="125" y="44"/>
                    </a:lnTo>
                    <a:lnTo>
                      <a:pt x="125" y="48"/>
                    </a:lnTo>
                    <a:lnTo>
                      <a:pt x="125" y="54"/>
                    </a:lnTo>
                    <a:lnTo>
                      <a:pt x="123" y="56"/>
                    </a:lnTo>
                    <a:lnTo>
                      <a:pt x="119" y="60"/>
                    </a:lnTo>
                    <a:lnTo>
                      <a:pt x="111" y="61"/>
                    </a:lnTo>
                    <a:lnTo>
                      <a:pt x="105" y="63"/>
                    </a:lnTo>
                    <a:lnTo>
                      <a:pt x="102" y="65"/>
                    </a:lnTo>
                    <a:lnTo>
                      <a:pt x="100" y="69"/>
                    </a:lnTo>
                    <a:lnTo>
                      <a:pt x="94" y="71"/>
                    </a:lnTo>
                    <a:lnTo>
                      <a:pt x="86" y="73"/>
                    </a:lnTo>
                    <a:lnTo>
                      <a:pt x="84" y="75"/>
                    </a:lnTo>
                    <a:lnTo>
                      <a:pt x="81" y="79"/>
                    </a:lnTo>
                    <a:lnTo>
                      <a:pt x="79" y="81"/>
                    </a:lnTo>
                    <a:lnTo>
                      <a:pt x="77" y="83"/>
                    </a:lnTo>
                    <a:lnTo>
                      <a:pt x="73" y="84"/>
                    </a:lnTo>
                    <a:lnTo>
                      <a:pt x="71" y="88"/>
                    </a:lnTo>
                    <a:lnTo>
                      <a:pt x="69" y="100"/>
                    </a:lnTo>
                    <a:lnTo>
                      <a:pt x="67" y="111"/>
                    </a:lnTo>
                    <a:lnTo>
                      <a:pt x="63" y="113"/>
                    </a:lnTo>
                    <a:lnTo>
                      <a:pt x="61" y="117"/>
                    </a:lnTo>
                    <a:lnTo>
                      <a:pt x="58" y="117"/>
                    </a:lnTo>
                    <a:lnTo>
                      <a:pt x="52" y="117"/>
                    </a:lnTo>
                    <a:lnTo>
                      <a:pt x="50" y="113"/>
                    </a:lnTo>
                    <a:lnTo>
                      <a:pt x="48" y="111"/>
                    </a:lnTo>
                    <a:lnTo>
                      <a:pt x="44" y="109"/>
                    </a:lnTo>
                    <a:lnTo>
                      <a:pt x="38" y="108"/>
                    </a:lnTo>
                    <a:lnTo>
                      <a:pt x="31" y="109"/>
                    </a:lnTo>
                    <a:lnTo>
                      <a:pt x="29" y="111"/>
                    </a:lnTo>
                    <a:lnTo>
                      <a:pt x="25" y="113"/>
                    </a:lnTo>
                    <a:lnTo>
                      <a:pt x="23" y="117"/>
                    </a:lnTo>
                  </a:path>
                </a:pathLst>
              </a:custGeom>
              <a:grpFill/>
              <a:ln w="3175">
                <a:solidFill>
                  <a:srgbClr val="FF8300"/>
                </a:solidFill>
                <a:round/>
                <a:headEnd/>
                <a:tailEnd/>
              </a:ln>
            </p:spPr>
            <p:txBody>
              <a:bodyPr/>
              <a:lstStyle/>
              <a:p>
                <a:pPr>
                  <a:defRPr/>
                </a:pPr>
                <a:endParaRPr lang="en-GB" sz="1400">
                  <a:solidFill>
                    <a:schemeClr val="tx2"/>
                  </a:solidFill>
                </a:endParaRPr>
              </a:p>
            </p:txBody>
          </p:sp>
          <p:sp>
            <p:nvSpPr>
              <p:cNvPr id="390" name="Freeform 325"/>
              <p:cNvSpPr>
                <a:spLocks/>
              </p:cNvSpPr>
              <p:nvPr>
                <p:custDataLst>
                  <p:tags r:id="rId39"/>
                </p:custDataLst>
              </p:nvPr>
            </p:nvSpPr>
            <p:spPr bwMode="gray">
              <a:xfrm>
                <a:off x="2033727" y="4663268"/>
                <a:ext cx="222961" cy="165828"/>
              </a:xfrm>
              <a:custGeom>
                <a:avLst/>
                <a:gdLst>
                  <a:gd name="T0" fmla="*/ 2147483647 w 163"/>
                  <a:gd name="T1" fmla="*/ 2147483647 h 127"/>
                  <a:gd name="T2" fmla="*/ 2147483647 w 163"/>
                  <a:gd name="T3" fmla="*/ 2147483647 h 127"/>
                  <a:gd name="T4" fmla="*/ 2147483647 w 163"/>
                  <a:gd name="T5" fmla="*/ 2147483647 h 127"/>
                  <a:gd name="T6" fmla="*/ 2147483647 w 163"/>
                  <a:gd name="T7" fmla="*/ 2147483647 h 127"/>
                  <a:gd name="T8" fmla="*/ 2147483647 w 163"/>
                  <a:gd name="T9" fmla="*/ 2147483647 h 127"/>
                  <a:gd name="T10" fmla="*/ 2147483647 w 163"/>
                  <a:gd name="T11" fmla="*/ 2147483647 h 127"/>
                  <a:gd name="T12" fmla="*/ 2147483647 w 163"/>
                  <a:gd name="T13" fmla="*/ 2147483647 h 127"/>
                  <a:gd name="T14" fmla="*/ 2147483647 w 163"/>
                  <a:gd name="T15" fmla="*/ 2147483647 h 127"/>
                  <a:gd name="T16" fmla="*/ 2147483647 w 163"/>
                  <a:gd name="T17" fmla="*/ 2147483647 h 127"/>
                  <a:gd name="T18" fmla="*/ 2147483647 w 163"/>
                  <a:gd name="T19" fmla="*/ 2147483647 h 127"/>
                  <a:gd name="T20" fmla="*/ 2147483647 w 163"/>
                  <a:gd name="T21" fmla="*/ 2147483647 h 127"/>
                  <a:gd name="T22" fmla="*/ 2147483647 w 163"/>
                  <a:gd name="T23" fmla="*/ 2147483647 h 127"/>
                  <a:gd name="T24" fmla="*/ 0 w 163"/>
                  <a:gd name="T25" fmla="*/ 2147483647 h 127"/>
                  <a:gd name="T26" fmla="*/ 2147483647 w 163"/>
                  <a:gd name="T27" fmla="*/ 2147483647 h 127"/>
                  <a:gd name="T28" fmla="*/ 2147483647 w 163"/>
                  <a:gd name="T29" fmla="*/ 2147483647 h 127"/>
                  <a:gd name="T30" fmla="*/ 2147483647 w 163"/>
                  <a:gd name="T31" fmla="*/ 2147483647 h 127"/>
                  <a:gd name="T32" fmla="*/ 2147483647 w 163"/>
                  <a:gd name="T33" fmla="*/ 2147483647 h 127"/>
                  <a:gd name="T34" fmla="*/ 2147483647 w 163"/>
                  <a:gd name="T35" fmla="*/ 2147483647 h 127"/>
                  <a:gd name="T36" fmla="*/ 2147483647 w 163"/>
                  <a:gd name="T37" fmla="*/ 2147483647 h 127"/>
                  <a:gd name="T38" fmla="*/ 2147483647 w 163"/>
                  <a:gd name="T39" fmla="*/ 2147483647 h 127"/>
                  <a:gd name="T40" fmla="*/ 2147483647 w 163"/>
                  <a:gd name="T41" fmla="*/ 2147483647 h 127"/>
                  <a:gd name="T42" fmla="*/ 2147483647 w 163"/>
                  <a:gd name="T43" fmla="*/ 2147483647 h 127"/>
                  <a:gd name="T44" fmla="*/ 2147483647 w 163"/>
                  <a:gd name="T45" fmla="*/ 2147483647 h 127"/>
                  <a:gd name="T46" fmla="*/ 2147483647 w 163"/>
                  <a:gd name="T47" fmla="*/ 2147483647 h 127"/>
                  <a:gd name="T48" fmla="*/ 2147483647 w 163"/>
                  <a:gd name="T49" fmla="*/ 2147483647 h 127"/>
                  <a:gd name="T50" fmla="*/ 2147483647 w 163"/>
                  <a:gd name="T51" fmla="*/ 2147483647 h 127"/>
                  <a:gd name="T52" fmla="*/ 2147483647 w 163"/>
                  <a:gd name="T53" fmla="*/ 2147483647 h 127"/>
                  <a:gd name="T54" fmla="*/ 2147483647 w 163"/>
                  <a:gd name="T55" fmla="*/ 2147483647 h 127"/>
                  <a:gd name="T56" fmla="*/ 2147483647 w 163"/>
                  <a:gd name="T57" fmla="*/ 2147483647 h 127"/>
                  <a:gd name="T58" fmla="*/ 2147483647 w 163"/>
                  <a:gd name="T59" fmla="*/ 2147483647 h 127"/>
                  <a:gd name="T60" fmla="*/ 2147483647 w 163"/>
                  <a:gd name="T61" fmla="*/ 2147483647 h 127"/>
                  <a:gd name="T62" fmla="*/ 2147483647 w 163"/>
                  <a:gd name="T63" fmla="*/ 2147483647 h 127"/>
                  <a:gd name="T64" fmla="*/ 2147483647 w 163"/>
                  <a:gd name="T65" fmla="*/ 2147483647 h 127"/>
                  <a:gd name="T66" fmla="*/ 2147483647 w 163"/>
                  <a:gd name="T67" fmla="*/ 2147483647 h 127"/>
                  <a:gd name="T68" fmla="*/ 2147483647 w 163"/>
                  <a:gd name="T69" fmla="*/ 2147483647 h 127"/>
                  <a:gd name="T70" fmla="*/ 2147483647 w 163"/>
                  <a:gd name="T71" fmla="*/ 2147483647 h 127"/>
                  <a:gd name="T72" fmla="*/ 2147483647 w 163"/>
                  <a:gd name="T73" fmla="*/ 2147483647 h 127"/>
                  <a:gd name="T74" fmla="*/ 2147483647 w 163"/>
                  <a:gd name="T75" fmla="*/ 2147483647 h 127"/>
                  <a:gd name="T76" fmla="*/ 2147483647 w 163"/>
                  <a:gd name="T77" fmla="*/ 2147483647 h 127"/>
                  <a:gd name="T78" fmla="*/ 2147483647 w 163"/>
                  <a:gd name="T79" fmla="*/ 2147483647 h 127"/>
                  <a:gd name="T80" fmla="*/ 2147483647 w 163"/>
                  <a:gd name="T81" fmla="*/ 2147483647 h 127"/>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63"/>
                  <a:gd name="T124" fmla="*/ 0 h 127"/>
                  <a:gd name="T125" fmla="*/ 163 w 163"/>
                  <a:gd name="T126" fmla="*/ 127 h 127"/>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63" h="127">
                    <a:moveTo>
                      <a:pt x="82" y="127"/>
                    </a:moveTo>
                    <a:lnTo>
                      <a:pt x="78" y="123"/>
                    </a:lnTo>
                    <a:lnTo>
                      <a:pt x="76" y="121"/>
                    </a:lnTo>
                    <a:lnTo>
                      <a:pt x="74" y="113"/>
                    </a:lnTo>
                    <a:lnTo>
                      <a:pt x="70" y="107"/>
                    </a:lnTo>
                    <a:lnTo>
                      <a:pt x="69" y="104"/>
                    </a:lnTo>
                    <a:lnTo>
                      <a:pt x="67" y="102"/>
                    </a:lnTo>
                    <a:lnTo>
                      <a:pt x="61" y="100"/>
                    </a:lnTo>
                    <a:lnTo>
                      <a:pt x="57" y="96"/>
                    </a:lnTo>
                    <a:lnTo>
                      <a:pt x="57" y="86"/>
                    </a:lnTo>
                    <a:lnTo>
                      <a:pt x="57" y="79"/>
                    </a:lnTo>
                    <a:lnTo>
                      <a:pt x="51" y="73"/>
                    </a:lnTo>
                    <a:lnTo>
                      <a:pt x="47" y="67"/>
                    </a:lnTo>
                    <a:lnTo>
                      <a:pt x="47" y="61"/>
                    </a:lnTo>
                    <a:lnTo>
                      <a:pt x="46" y="59"/>
                    </a:lnTo>
                    <a:lnTo>
                      <a:pt x="40" y="57"/>
                    </a:lnTo>
                    <a:lnTo>
                      <a:pt x="28" y="57"/>
                    </a:lnTo>
                    <a:lnTo>
                      <a:pt x="28" y="63"/>
                    </a:lnTo>
                    <a:lnTo>
                      <a:pt x="28" y="67"/>
                    </a:lnTo>
                    <a:lnTo>
                      <a:pt x="23" y="67"/>
                    </a:lnTo>
                    <a:lnTo>
                      <a:pt x="19" y="67"/>
                    </a:lnTo>
                    <a:lnTo>
                      <a:pt x="19" y="61"/>
                    </a:lnTo>
                    <a:lnTo>
                      <a:pt x="17" y="59"/>
                    </a:lnTo>
                    <a:lnTo>
                      <a:pt x="9" y="57"/>
                    </a:lnTo>
                    <a:lnTo>
                      <a:pt x="0" y="57"/>
                    </a:lnTo>
                    <a:lnTo>
                      <a:pt x="0" y="36"/>
                    </a:lnTo>
                    <a:lnTo>
                      <a:pt x="0" y="13"/>
                    </a:lnTo>
                    <a:lnTo>
                      <a:pt x="1" y="11"/>
                    </a:lnTo>
                    <a:lnTo>
                      <a:pt x="3" y="9"/>
                    </a:lnTo>
                    <a:lnTo>
                      <a:pt x="11" y="8"/>
                    </a:lnTo>
                    <a:lnTo>
                      <a:pt x="19" y="6"/>
                    </a:lnTo>
                    <a:lnTo>
                      <a:pt x="21" y="2"/>
                    </a:lnTo>
                    <a:lnTo>
                      <a:pt x="23" y="0"/>
                    </a:lnTo>
                    <a:lnTo>
                      <a:pt x="26" y="2"/>
                    </a:lnTo>
                    <a:lnTo>
                      <a:pt x="28" y="6"/>
                    </a:lnTo>
                    <a:lnTo>
                      <a:pt x="40" y="8"/>
                    </a:lnTo>
                    <a:lnTo>
                      <a:pt x="51" y="9"/>
                    </a:lnTo>
                    <a:lnTo>
                      <a:pt x="55" y="11"/>
                    </a:lnTo>
                    <a:lnTo>
                      <a:pt x="57" y="13"/>
                    </a:lnTo>
                    <a:lnTo>
                      <a:pt x="59" y="17"/>
                    </a:lnTo>
                    <a:lnTo>
                      <a:pt x="61" y="19"/>
                    </a:lnTo>
                    <a:lnTo>
                      <a:pt x="65" y="21"/>
                    </a:lnTo>
                    <a:lnTo>
                      <a:pt x="67" y="25"/>
                    </a:lnTo>
                    <a:lnTo>
                      <a:pt x="74" y="27"/>
                    </a:lnTo>
                    <a:lnTo>
                      <a:pt x="82" y="29"/>
                    </a:lnTo>
                    <a:lnTo>
                      <a:pt x="84" y="31"/>
                    </a:lnTo>
                    <a:lnTo>
                      <a:pt x="86" y="34"/>
                    </a:lnTo>
                    <a:lnTo>
                      <a:pt x="94" y="36"/>
                    </a:lnTo>
                    <a:lnTo>
                      <a:pt x="101" y="38"/>
                    </a:lnTo>
                    <a:lnTo>
                      <a:pt x="103" y="40"/>
                    </a:lnTo>
                    <a:lnTo>
                      <a:pt x="105" y="44"/>
                    </a:lnTo>
                    <a:lnTo>
                      <a:pt x="117" y="46"/>
                    </a:lnTo>
                    <a:lnTo>
                      <a:pt x="130" y="48"/>
                    </a:lnTo>
                    <a:lnTo>
                      <a:pt x="132" y="52"/>
                    </a:lnTo>
                    <a:lnTo>
                      <a:pt x="134" y="54"/>
                    </a:lnTo>
                    <a:lnTo>
                      <a:pt x="141" y="56"/>
                    </a:lnTo>
                    <a:lnTo>
                      <a:pt x="149" y="57"/>
                    </a:lnTo>
                    <a:lnTo>
                      <a:pt x="151" y="59"/>
                    </a:lnTo>
                    <a:lnTo>
                      <a:pt x="153" y="63"/>
                    </a:lnTo>
                    <a:lnTo>
                      <a:pt x="155" y="69"/>
                    </a:lnTo>
                    <a:lnTo>
                      <a:pt x="159" y="79"/>
                    </a:lnTo>
                    <a:lnTo>
                      <a:pt x="161" y="80"/>
                    </a:lnTo>
                    <a:lnTo>
                      <a:pt x="163" y="82"/>
                    </a:lnTo>
                    <a:lnTo>
                      <a:pt x="163" y="102"/>
                    </a:lnTo>
                    <a:lnTo>
                      <a:pt x="163" y="121"/>
                    </a:lnTo>
                    <a:lnTo>
                      <a:pt x="161" y="123"/>
                    </a:lnTo>
                    <a:lnTo>
                      <a:pt x="159" y="127"/>
                    </a:lnTo>
                    <a:lnTo>
                      <a:pt x="155" y="123"/>
                    </a:lnTo>
                    <a:lnTo>
                      <a:pt x="153" y="121"/>
                    </a:lnTo>
                    <a:lnTo>
                      <a:pt x="141" y="119"/>
                    </a:lnTo>
                    <a:lnTo>
                      <a:pt x="130" y="117"/>
                    </a:lnTo>
                    <a:lnTo>
                      <a:pt x="126" y="113"/>
                    </a:lnTo>
                    <a:lnTo>
                      <a:pt x="124" y="111"/>
                    </a:lnTo>
                    <a:lnTo>
                      <a:pt x="115" y="111"/>
                    </a:lnTo>
                    <a:lnTo>
                      <a:pt x="105" y="111"/>
                    </a:lnTo>
                    <a:lnTo>
                      <a:pt x="103" y="113"/>
                    </a:lnTo>
                    <a:lnTo>
                      <a:pt x="101" y="117"/>
                    </a:lnTo>
                    <a:lnTo>
                      <a:pt x="97" y="119"/>
                    </a:lnTo>
                    <a:lnTo>
                      <a:pt x="95" y="121"/>
                    </a:lnTo>
                    <a:lnTo>
                      <a:pt x="94" y="123"/>
                    </a:lnTo>
                    <a:lnTo>
                      <a:pt x="92" y="127"/>
                    </a:lnTo>
                    <a:lnTo>
                      <a:pt x="86" y="127"/>
                    </a:lnTo>
                    <a:lnTo>
                      <a:pt x="82" y="127"/>
                    </a:lnTo>
                  </a:path>
                </a:pathLst>
              </a:custGeom>
              <a:grpFill/>
              <a:ln w="3175">
                <a:solidFill>
                  <a:srgbClr val="FF8300"/>
                </a:solidFill>
                <a:round/>
                <a:headEnd/>
                <a:tailEnd/>
              </a:ln>
            </p:spPr>
            <p:txBody>
              <a:bodyPr/>
              <a:lstStyle/>
              <a:p>
                <a:pPr>
                  <a:defRPr/>
                </a:pPr>
                <a:endParaRPr lang="en-GB" sz="1400">
                  <a:solidFill>
                    <a:schemeClr val="tx2"/>
                  </a:solidFill>
                </a:endParaRPr>
              </a:p>
            </p:txBody>
          </p:sp>
          <p:sp>
            <p:nvSpPr>
              <p:cNvPr id="391" name="Freeform 334"/>
              <p:cNvSpPr>
                <a:spLocks/>
              </p:cNvSpPr>
              <p:nvPr>
                <p:custDataLst>
                  <p:tags r:id="rId40"/>
                </p:custDataLst>
              </p:nvPr>
            </p:nvSpPr>
            <p:spPr bwMode="gray">
              <a:xfrm>
                <a:off x="1745272" y="4370631"/>
                <a:ext cx="232715" cy="209026"/>
              </a:xfrm>
              <a:custGeom>
                <a:avLst/>
                <a:gdLst>
                  <a:gd name="T0" fmla="*/ 2147483647 w 171"/>
                  <a:gd name="T1" fmla="*/ 2147483647 h 160"/>
                  <a:gd name="T2" fmla="*/ 2147483647 w 171"/>
                  <a:gd name="T3" fmla="*/ 2147483647 h 160"/>
                  <a:gd name="T4" fmla="*/ 2147483647 w 171"/>
                  <a:gd name="T5" fmla="*/ 2147483647 h 160"/>
                  <a:gd name="T6" fmla="*/ 2147483647 w 171"/>
                  <a:gd name="T7" fmla="*/ 2147483647 h 160"/>
                  <a:gd name="T8" fmla="*/ 2147483647 w 171"/>
                  <a:gd name="T9" fmla="*/ 2147483647 h 160"/>
                  <a:gd name="T10" fmla="*/ 2147483647 w 171"/>
                  <a:gd name="T11" fmla="*/ 2147483647 h 160"/>
                  <a:gd name="T12" fmla="*/ 2147483647 w 171"/>
                  <a:gd name="T13" fmla="*/ 2147483647 h 160"/>
                  <a:gd name="T14" fmla="*/ 2147483647 w 171"/>
                  <a:gd name="T15" fmla="*/ 2147483647 h 160"/>
                  <a:gd name="T16" fmla="*/ 2147483647 w 171"/>
                  <a:gd name="T17" fmla="*/ 2147483647 h 160"/>
                  <a:gd name="T18" fmla="*/ 2147483647 w 171"/>
                  <a:gd name="T19" fmla="*/ 2147483647 h 160"/>
                  <a:gd name="T20" fmla="*/ 2147483647 w 171"/>
                  <a:gd name="T21" fmla="*/ 2147483647 h 160"/>
                  <a:gd name="T22" fmla="*/ 2147483647 w 171"/>
                  <a:gd name="T23" fmla="*/ 2147483647 h 160"/>
                  <a:gd name="T24" fmla="*/ 2147483647 w 171"/>
                  <a:gd name="T25" fmla="*/ 2147483647 h 160"/>
                  <a:gd name="T26" fmla="*/ 2147483647 w 171"/>
                  <a:gd name="T27" fmla="*/ 2147483647 h 160"/>
                  <a:gd name="T28" fmla="*/ 2147483647 w 171"/>
                  <a:gd name="T29" fmla="*/ 2147483647 h 160"/>
                  <a:gd name="T30" fmla="*/ 2147483647 w 171"/>
                  <a:gd name="T31" fmla="*/ 2147483647 h 160"/>
                  <a:gd name="T32" fmla="*/ 2147483647 w 171"/>
                  <a:gd name="T33" fmla="*/ 2147483647 h 160"/>
                  <a:gd name="T34" fmla="*/ 2147483647 w 171"/>
                  <a:gd name="T35" fmla="*/ 2147483647 h 160"/>
                  <a:gd name="T36" fmla="*/ 2147483647 w 171"/>
                  <a:gd name="T37" fmla="*/ 2147483647 h 160"/>
                  <a:gd name="T38" fmla="*/ 2147483647 w 171"/>
                  <a:gd name="T39" fmla="*/ 2147483647 h 160"/>
                  <a:gd name="T40" fmla="*/ 2147483647 w 171"/>
                  <a:gd name="T41" fmla="*/ 2147483647 h 160"/>
                  <a:gd name="T42" fmla="*/ 2147483647 w 171"/>
                  <a:gd name="T43" fmla="*/ 2147483647 h 160"/>
                  <a:gd name="T44" fmla="*/ 2147483647 w 171"/>
                  <a:gd name="T45" fmla="*/ 0 h 160"/>
                  <a:gd name="T46" fmla="*/ 2147483647 w 171"/>
                  <a:gd name="T47" fmla="*/ 2147483647 h 160"/>
                  <a:gd name="T48" fmla="*/ 2147483647 w 171"/>
                  <a:gd name="T49" fmla="*/ 2147483647 h 160"/>
                  <a:gd name="T50" fmla="*/ 2147483647 w 171"/>
                  <a:gd name="T51" fmla="*/ 2147483647 h 160"/>
                  <a:gd name="T52" fmla="*/ 2147483647 w 171"/>
                  <a:gd name="T53" fmla="*/ 2147483647 h 160"/>
                  <a:gd name="T54" fmla="*/ 2147483647 w 171"/>
                  <a:gd name="T55" fmla="*/ 2147483647 h 160"/>
                  <a:gd name="T56" fmla="*/ 2147483647 w 171"/>
                  <a:gd name="T57" fmla="*/ 2147483647 h 160"/>
                  <a:gd name="T58" fmla="*/ 2147483647 w 171"/>
                  <a:gd name="T59" fmla="*/ 2147483647 h 160"/>
                  <a:gd name="T60" fmla="*/ 2147483647 w 171"/>
                  <a:gd name="T61" fmla="*/ 2147483647 h 160"/>
                  <a:gd name="T62" fmla="*/ 2147483647 w 171"/>
                  <a:gd name="T63" fmla="*/ 2147483647 h 160"/>
                  <a:gd name="T64" fmla="*/ 2147483647 w 171"/>
                  <a:gd name="T65" fmla="*/ 2147483647 h 160"/>
                  <a:gd name="T66" fmla="*/ 2147483647 w 171"/>
                  <a:gd name="T67" fmla="*/ 2147483647 h 160"/>
                  <a:gd name="T68" fmla="*/ 2147483647 w 171"/>
                  <a:gd name="T69" fmla="*/ 2147483647 h 160"/>
                  <a:gd name="T70" fmla="*/ 2147483647 w 171"/>
                  <a:gd name="T71" fmla="*/ 2147483647 h 160"/>
                  <a:gd name="T72" fmla="*/ 2147483647 w 171"/>
                  <a:gd name="T73" fmla="*/ 2147483647 h 160"/>
                  <a:gd name="T74" fmla="*/ 2147483647 w 171"/>
                  <a:gd name="T75" fmla="*/ 2147483647 h 160"/>
                  <a:gd name="T76" fmla="*/ 2147483647 w 171"/>
                  <a:gd name="T77" fmla="*/ 2147483647 h 160"/>
                  <a:gd name="T78" fmla="*/ 2147483647 w 171"/>
                  <a:gd name="T79" fmla="*/ 2147483647 h 160"/>
                  <a:gd name="T80" fmla="*/ 2147483647 w 171"/>
                  <a:gd name="T81" fmla="*/ 2147483647 h 160"/>
                  <a:gd name="T82" fmla="*/ 2147483647 w 171"/>
                  <a:gd name="T83" fmla="*/ 2147483647 h 160"/>
                  <a:gd name="T84" fmla="*/ 2147483647 w 171"/>
                  <a:gd name="T85" fmla="*/ 2147483647 h 160"/>
                  <a:gd name="T86" fmla="*/ 2147483647 w 171"/>
                  <a:gd name="T87" fmla="*/ 2147483647 h 160"/>
                  <a:gd name="T88" fmla="*/ 2147483647 w 171"/>
                  <a:gd name="T89" fmla="*/ 2147483647 h 160"/>
                  <a:gd name="T90" fmla="*/ 2147483647 w 171"/>
                  <a:gd name="T91" fmla="*/ 2147483647 h 160"/>
                  <a:gd name="T92" fmla="*/ 2147483647 w 171"/>
                  <a:gd name="T93" fmla="*/ 2147483647 h 160"/>
                  <a:gd name="T94" fmla="*/ 2147483647 w 171"/>
                  <a:gd name="T95" fmla="*/ 2147483647 h 160"/>
                  <a:gd name="T96" fmla="*/ 2147483647 w 171"/>
                  <a:gd name="T97" fmla="*/ 2147483647 h 160"/>
                  <a:gd name="T98" fmla="*/ 2147483647 w 171"/>
                  <a:gd name="T99" fmla="*/ 2147483647 h 160"/>
                  <a:gd name="T100" fmla="*/ 2147483647 w 171"/>
                  <a:gd name="T101" fmla="*/ 2147483647 h 160"/>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71"/>
                  <a:gd name="T154" fmla="*/ 0 h 160"/>
                  <a:gd name="T155" fmla="*/ 171 w 171"/>
                  <a:gd name="T156" fmla="*/ 160 h 160"/>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71" h="160">
                    <a:moveTo>
                      <a:pt x="81" y="146"/>
                    </a:moveTo>
                    <a:lnTo>
                      <a:pt x="77" y="142"/>
                    </a:lnTo>
                    <a:lnTo>
                      <a:pt x="75" y="140"/>
                    </a:lnTo>
                    <a:lnTo>
                      <a:pt x="73" y="138"/>
                    </a:lnTo>
                    <a:lnTo>
                      <a:pt x="71" y="137"/>
                    </a:lnTo>
                    <a:lnTo>
                      <a:pt x="68" y="133"/>
                    </a:lnTo>
                    <a:lnTo>
                      <a:pt x="66" y="131"/>
                    </a:lnTo>
                    <a:lnTo>
                      <a:pt x="64" y="129"/>
                    </a:lnTo>
                    <a:lnTo>
                      <a:pt x="62" y="127"/>
                    </a:lnTo>
                    <a:lnTo>
                      <a:pt x="58" y="123"/>
                    </a:lnTo>
                    <a:lnTo>
                      <a:pt x="56" y="121"/>
                    </a:lnTo>
                    <a:lnTo>
                      <a:pt x="54" y="114"/>
                    </a:lnTo>
                    <a:lnTo>
                      <a:pt x="50" y="108"/>
                    </a:lnTo>
                    <a:lnTo>
                      <a:pt x="48" y="104"/>
                    </a:lnTo>
                    <a:lnTo>
                      <a:pt x="47" y="102"/>
                    </a:lnTo>
                    <a:lnTo>
                      <a:pt x="45" y="94"/>
                    </a:lnTo>
                    <a:lnTo>
                      <a:pt x="41" y="87"/>
                    </a:lnTo>
                    <a:lnTo>
                      <a:pt x="39" y="85"/>
                    </a:lnTo>
                    <a:lnTo>
                      <a:pt x="37" y="83"/>
                    </a:lnTo>
                    <a:lnTo>
                      <a:pt x="25" y="81"/>
                    </a:lnTo>
                    <a:lnTo>
                      <a:pt x="12" y="77"/>
                    </a:lnTo>
                    <a:lnTo>
                      <a:pt x="10" y="75"/>
                    </a:lnTo>
                    <a:lnTo>
                      <a:pt x="8" y="73"/>
                    </a:lnTo>
                    <a:lnTo>
                      <a:pt x="4" y="56"/>
                    </a:lnTo>
                    <a:lnTo>
                      <a:pt x="0" y="39"/>
                    </a:lnTo>
                    <a:lnTo>
                      <a:pt x="4" y="37"/>
                    </a:lnTo>
                    <a:lnTo>
                      <a:pt x="8" y="35"/>
                    </a:lnTo>
                    <a:lnTo>
                      <a:pt x="10" y="31"/>
                    </a:lnTo>
                    <a:lnTo>
                      <a:pt x="12" y="29"/>
                    </a:lnTo>
                    <a:lnTo>
                      <a:pt x="22" y="29"/>
                    </a:lnTo>
                    <a:lnTo>
                      <a:pt x="33" y="29"/>
                    </a:lnTo>
                    <a:lnTo>
                      <a:pt x="35" y="31"/>
                    </a:lnTo>
                    <a:lnTo>
                      <a:pt x="37" y="35"/>
                    </a:lnTo>
                    <a:lnTo>
                      <a:pt x="41" y="35"/>
                    </a:lnTo>
                    <a:lnTo>
                      <a:pt x="47" y="35"/>
                    </a:lnTo>
                    <a:lnTo>
                      <a:pt x="48" y="31"/>
                    </a:lnTo>
                    <a:lnTo>
                      <a:pt x="50" y="29"/>
                    </a:lnTo>
                    <a:lnTo>
                      <a:pt x="56" y="29"/>
                    </a:lnTo>
                    <a:lnTo>
                      <a:pt x="66" y="25"/>
                    </a:lnTo>
                    <a:lnTo>
                      <a:pt x="75" y="20"/>
                    </a:lnTo>
                    <a:lnTo>
                      <a:pt x="85" y="16"/>
                    </a:lnTo>
                    <a:lnTo>
                      <a:pt x="87" y="12"/>
                    </a:lnTo>
                    <a:lnTo>
                      <a:pt x="91" y="10"/>
                    </a:lnTo>
                    <a:lnTo>
                      <a:pt x="96" y="6"/>
                    </a:lnTo>
                    <a:lnTo>
                      <a:pt x="104" y="0"/>
                    </a:lnTo>
                    <a:lnTo>
                      <a:pt x="117" y="0"/>
                    </a:lnTo>
                    <a:lnTo>
                      <a:pt x="129" y="0"/>
                    </a:lnTo>
                    <a:lnTo>
                      <a:pt x="131" y="2"/>
                    </a:lnTo>
                    <a:lnTo>
                      <a:pt x="133" y="4"/>
                    </a:lnTo>
                    <a:lnTo>
                      <a:pt x="133" y="14"/>
                    </a:lnTo>
                    <a:lnTo>
                      <a:pt x="133" y="25"/>
                    </a:lnTo>
                    <a:lnTo>
                      <a:pt x="131" y="27"/>
                    </a:lnTo>
                    <a:lnTo>
                      <a:pt x="129" y="29"/>
                    </a:lnTo>
                    <a:lnTo>
                      <a:pt x="127" y="35"/>
                    </a:lnTo>
                    <a:lnTo>
                      <a:pt x="123" y="39"/>
                    </a:lnTo>
                    <a:lnTo>
                      <a:pt x="127" y="48"/>
                    </a:lnTo>
                    <a:lnTo>
                      <a:pt x="129" y="58"/>
                    </a:lnTo>
                    <a:lnTo>
                      <a:pt x="131" y="62"/>
                    </a:lnTo>
                    <a:lnTo>
                      <a:pt x="133" y="64"/>
                    </a:lnTo>
                    <a:lnTo>
                      <a:pt x="135" y="66"/>
                    </a:lnTo>
                    <a:lnTo>
                      <a:pt x="139" y="69"/>
                    </a:lnTo>
                    <a:lnTo>
                      <a:pt x="141" y="71"/>
                    </a:lnTo>
                    <a:lnTo>
                      <a:pt x="142" y="73"/>
                    </a:lnTo>
                    <a:lnTo>
                      <a:pt x="146" y="75"/>
                    </a:lnTo>
                    <a:lnTo>
                      <a:pt x="148" y="77"/>
                    </a:lnTo>
                    <a:lnTo>
                      <a:pt x="150" y="81"/>
                    </a:lnTo>
                    <a:lnTo>
                      <a:pt x="154" y="83"/>
                    </a:lnTo>
                    <a:lnTo>
                      <a:pt x="158" y="89"/>
                    </a:lnTo>
                    <a:lnTo>
                      <a:pt x="164" y="94"/>
                    </a:lnTo>
                    <a:lnTo>
                      <a:pt x="165" y="102"/>
                    </a:lnTo>
                    <a:lnTo>
                      <a:pt x="167" y="108"/>
                    </a:lnTo>
                    <a:lnTo>
                      <a:pt x="169" y="110"/>
                    </a:lnTo>
                    <a:lnTo>
                      <a:pt x="171" y="112"/>
                    </a:lnTo>
                    <a:lnTo>
                      <a:pt x="169" y="114"/>
                    </a:lnTo>
                    <a:lnTo>
                      <a:pt x="167" y="117"/>
                    </a:lnTo>
                    <a:lnTo>
                      <a:pt x="165" y="119"/>
                    </a:lnTo>
                    <a:lnTo>
                      <a:pt x="162" y="121"/>
                    </a:lnTo>
                    <a:lnTo>
                      <a:pt x="160" y="123"/>
                    </a:lnTo>
                    <a:lnTo>
                      <a:pt x="158" y="127"/>
                    </a:lnTo>
                    <a:lnTo>
                      <a:pt x="156" y="133"/>
                    </a:lnTo>
                    <a:lnTo>
                      <a:pt x="154" y="140"/>
                    </a:lnTo>
                    <a:lnTo>
                      <a:pt x="150" y="142"/>
                    </a:lnTo>
                    <a:lnTo>
                      <a:pt x="148" y="146"/>
                    </a:lnTo>
                    <a:lnTo>
                      <a:pt x="142" y="146"/>
                    </a:lnTo>
                    <a:lnTo>
                      <a:pt x="139" y="146"/>
                    </a:lnTo>
                    <a:lnTo>
                      <a:pt x="135" y="142"/>
                    </a:lnTo>
                    <a:lnTo>
                      <a:pt x="133" y="140"/>
                    </a:lnTo>
                    <a:lnTo>
                      <a:pt x="129" y="138"/>
                    </a:lnTo>
                    <a:lnTo>
                      <a:pt x="119" y="137"/>
                    </a:lnTo>
                    <a:lnTo>
                      <a:pt x="110" y="138"/>
                    </a:lnTo>
                    <a:lnTo>
                      <a:pt x="104" y="140"/>
                    </a:lnTo>
                    <a:lnTo>
                      <a:pt x="102" y="142"/>
                    </a:lnTo>
                    <a:lnTo>
                      <a:pt x="100" y="146"/>
                    </a:lnTo>
                    <a:lnTo>
                      <a:pt x="98" y="148"/>
                    </a:lnTo>
                    <a:lnTo>
                      <a:pt x="98" y="154"/>
                    </a:lnTo>
                    <a:lnTo>
                      <a:pt x="96" y="156"/>
                    </a:lnTo>
                    <a:lnTo>
                      <a:pt x="96" y="158"/>
                    </a:lnTo>
                    <a:lnTo>
                      <a:pt x="94" y="160"/>
                    </a:lnTo>
                    <a:lnTo>
                      <a:pt x="91" y="160"/>
                    </a:lnTo>
                    <a:lnTo>
                      <a:pt x="85" y="156"/>
                    </a:lnTo>
                    <a:lnTo>
                      <a:pt x="83" y="152"/>
                    </a:lnTo>
                    <a:lnTo>
                      <a:pt x="81" y="148"/>
                    </a:lnTo>
                    <a:lnTo>
                      <a:pt x="81" y="146"/>
                    </a:lnTo>
                  </a:path>
                </a:pathLst>
              </a:custGeom>
              <a:grpFill/>
              <a:ln w="3175">
                <a:solidFill>
                  <a:srgbClr val="FF8300"/>
                </a:solidFill>
                <a:round/>
                <a:headEnd/>
                <a:tailEnd/>
              </a:ln>
            </p:spPr>
            <p:txBody>
              <a:bodyPr/>
              <a:lstStyle/>
              <a:p>
                <a:pPr>
                  <a:defRPr/>
                </a:pPr>
                <a:endParaRPr lang="en-GB" sz="1400">
                  <a:solidFill>
                    <a:schemeClr val="tx2"/>
                  </a:solidFill>
                </a:endParaRPr>
              </a:p>
            </p:txBody>
          </p:sp>
          <p:sp>
            <p:nvSpPr>
              <p:cNvPr id="392" name="Freeform 342"/>
              <p:cNvSpPr>
                <a:spLocks/>
              </p:cNvSpPr>
              <p:nvPr>
                <p:custDataLst>
                  <p:tags r:id="rId41"/>
                </p:custDataLst>
              </p:nvPr>
            </p:nvSpPr>
            <p:spPr bwMode="gray">
              <a:xfrm>
                <a:off x="1682563" y="4195050"/>
                <a:ext cx="259192" cy="224355"/>
              </a:xfrm>
              <a:custGeom>
                <a:avLst/>
                <a:gdLst>
                  <a:gd name="T0" fmla="*/ 2147483647 w 186"/>
                  <a:gd name="T1" fmla="*/ 2147483647 h 173"/>
                  <a:gd name="T2" fmla="*/ 2147483647 w 186"/>
                  <a:gd name="T3" fmla="*/ 2147483647 h 173"/>
                  <a:gd name="T4" fmla="*/ 2147483647 w 186"/>
                  <a:gd name="T5" fmla="*/ 2147483647 h 173"/>
                  <a:gd name="T6" fmla="*/ 0 w 186"/>
                  <a:gd name="T7" fmla="*/ 2147483647 h 173"/>
                  <a:gd name="T8" fmla="*/ 2147483647 w 186"/>
                  <a:gd name="T9" fmla="*/ 2147483647 h 173"/>
                  <a:gd name="T10" fmla="*/ 2147483647 w 186"/>
                  <a:gd name="T11" fmla="*/ 2147483647 h 173"/>
                  <a:gd name="T12" fmla="*/ 2147483647 w 186"/>
                  <a:gd name="T13" fmla="*/ 2147483647 h 173"/>
                  <a:gd name="T14" fmla="*/ 2147483647 w 186"/>
                  <a:gd name="T15" fmla="*/ 2147483647 h 173"/>
                  <a:gd name="T16" fmla="*/ 2147483647 w 186"/>
                  <a:gd name="T17" fmla="*/ 2147483647 h 173"/>
                  <a:gd name="T18" fmla="*/ 2147483647 w 186"/>
                  <a:gd name="T19" fmla="*/ 2147483647 h 173"/>
                  <a:gd name="T20" fmla="*/ 2147483647 w 186"/>
                  <a:gd name="T21" fmla="*/ 2147483647 h 173"/>
                  <a:gd name="T22" fmla="*/ 2147483647 w 186"/>
                  <a:gd name="T23" fmla="*/ 2147483647 h 173"/>
                  <a:gd name="T24" fmla="*/ 2147483647 w 186"/>
                  <a:gd name="T25" fmla="*/ 0 h 173"/>
                  <a:gd name="T26" fmla="*/ 2147483647 w 186"/>
                  <a:gd name="T27" fmla="*/ 2147483647 h 173"/>
                  <a:gd name="T28" fmla="*/ 2147483647 w 186"/>
                  <a:gd name="T29" fmla="*/ 2147483647 h 173"/>
                  <a:gd name="T30" fmla="*/ 2147483647 w 186"/>
                  <a:gd name="T31" fmla="*/ 2147483647 h 173"/>
                  <a:gd name="T32" fmla="*/ 2147483647 w 186"/>
                  <a:gd name="T33" fmla="*/ 2147483647 h 173"/>
                  <a:gd name="T34" fmla="*/ 2147483647 w 186"/>
                  <a:gd name="T35" fmla="*/ 2147483647 h 173"/>
                  <a:gd name="T36" fmla="*/ 2147483647 w 186"/>
                  <a:gd name="T37" fmla="*/ 2147483647 h 173"/>
                  <a:gd name="T38" fmla="*/ 2147483647 w 186"/>
                  <a:gd name="T39" fmla="*/ 2147483647 h 173"/>
                  <a:gd name="T40" fmla="*/ 2147483647 w 186"/>
                  <a:gd name="T41" fmla="*/ 2147483647 h 173"/>
                  <a:gd name="T42" fmla="*/ 2147483647 w 186"/>
                  <a:gd name="T43" fmla="*/ 2147483647 h 173"/>
                  <a:gd name="T44" fmla="*/ 2147483647 w 186"/>
                  <a:gd name="T45" fmla="*/ 2147483647 h 173"/>
                  <a:gd name="T46" fmla="*/ 2147483647 w 186"/>
                  <a:gd name="T47" fmla="*/ 2147483647 h 173"/>
                  <a:gd name="T48" fmla="*/ 2147483647 w 186"/>
                  <a:gd name="T49" fmla="*/ 2147483647 h 173"/>
                  <a:gd name="T50" fmla="*/ 2147483647 w 186"/>
                  <a:gd name="T51" fmla="*/ 2147483647 h 173"/>
                  <a:gd name="T52" fmla="*/ 2147483647 w 186"/>
                  <a:gd name="T53" fmla="*/ 2147483647 h 173"/>
                  <a:gd name="T54" fmla="*/ 2147483647 w 186"/>
                  <a:gd name="T55" fmla="*/ 2147483647 h 173"/>
                  <a:gd name="T56" fmla="*/ 2147483647 w 186"/>
                  <a:gd name="T57" fmla="*/ 2147483647 h 173"/>
                  <a:gd name="T58" fmla="*/ 2147483647 w 186"/>
                  <a:gd name="T59" fmla="*/ 2147483647 h 173"/>
                  <a:gd name="T60" fmla="*/ 2147483647 w 186"/>
                  <a:gd name="T61" fmla="*/ 2147483647 h 173"/>
                  <a:gd name="T62" fmla="*/ 2147483647 w 186"/>
                  <a:gd name="T63" fmla="*/ 2147483647 h 173"/>
                  <a:gd name="T64" fmla="*/ 2147483647 w 186"/>
                  <a:gd name="T65" fmla="*/ 2147483647 h 173"/>
                  <a:gd name="T66" fmla="*/ 2147483647 w 186"/>
                  <a:gd name="T67" fmla="*/ 2147483647 h 173"/>
                  <a:gd name="T68" fmla="*/ 2147483647 w 186"/>
                  <a:gd name="T69" fmla="*/ 2147483647 h 173"/>
                  <a:gd name="T70" fmla="*/ 2147483647 w 186"/>
                  <a:gd name="T71" fmla="*/ 2147483647 h 173"/>
                  <a:gd name="T72" fmla="*/ 2147483647 w 186"/>
                  <a:gd name="T73" fmla="*/ 2147483647 h 173"/>
                  <a:gd name="T74" fmla="*/ 2147483647 w 186"/>
                  <a:gd name="T75" fmla="*/ 2147483647 h 173"/>
                  <a:gd name="T76" fmla="*/ 2147483647 w 186"/>
                  <a:gd name="T77" fmla="*/ 2147483647 h 173"/>
                  <a:gd name="T78" fmla="*/ 2147483647 w 186"/>
                  <a:gd name="T79" fmla="*/ 2147483647 h 173"/>
                  <a:gd name="T80" fmla="*/ 2147483647 w 186"/>
                  <a:gd name="T81" fmla="*/ 2147483647 h 173"/>
                  <a:gd name="T82" fmla="*/ 2147483647 w 186"/>
                  <a:gd name="T83" fmla="*/ 2147483647 h 173"/>
                  <a:gd name="T84" fmla="*/ 2147483647 w 186"/>
                  <a:gd name="T85" fmla="*/ 2147483647 h 17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86"/>
                  <a:gd name="T130" fmla="*/ 0 h 173"/>
                  <a:gd name="T131" fmla="*/ 186 w 186"/>
                  <a:gd name="T132" fmla="*/ 173 h 173"/>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86" h="173">
                    <a:moveTo>
                      <a:pt x="18" y="173"/>
                    </a:moveTo>
                    <a:lnTo>
                      <a:pt x="16" y="171"/>
                    </a:lnTo>
                    <a:lnTo>
                      <a:pt x="14" y="169"/>
                    </a:lnTo>
                    <a:lnTo>
                      <a:pt x="8" y="152"/>
                    </a:lnTo>
                    <a:lnTo>
                      <a:pt x="4" y="140"/>
                    </a:lnTo>
                    <a:lnTo>
                      <a:pt x="2" y="136"/>
                    </a:lnTo>
                    <a:lnTo>
                      <a:pt x="0" y="130"/>
                    </a:lnTo>
                    <a:lnTo>
                      <a:pt x="0" y="127"/>
                    </a:lnTo>
                    <a:lnTo>
                      <a:pt x="2" y="119"/>
                    </a:lnTo>
                    <a:lnTo>
                      <a:pt x="4" y="117"/>
                    </a:lnTo>
                    <a:lnTo>
                      <a:pt x="6" y="113"/>
                    </a:lnTo>
                    <a:lnTo>
                      <a:pt x="8" y="111"/>
                    </a:lnTo>
                    <a:lnTo>
                      <a:pt x="12" y="111"/>
                    </a:lnTo>
                    <a:lnTo>
                      <a:pt x="18" y="104"/>
                    </a:lnTo>
                    <a:lnTo>
                      <a:pt x="23" y="96"/>
                    </a:lnTo>
                    <a:lnTo>
                      <a:pt x="37" y="86"/>
                    </a:lnTo>
                    <a:lnTo>
                      <a:pt x="43" y="83"/>
                    </a:lnTo>
                    <a:lnTo>
                      <a:pt x="44" y="81"/>
                    </a:lnTo>
                    <a:lnTo>
                      <a:pt x="50" y="71"/>
                    </a:lnTo>
                    <a:lnTo>
                      <a:pt x="54" y="65"/>
                    </a:lnTo>
                    <a:lnTo>
                      <a:pt x="60" y="58"/>
                    </a:lnTo>
                    <a:lnTo>
                      <a:pt x="66" y="50"/>
                    </a:lnTo>
                    <a:lnTo>
                      <a:pt x="69" y="36"/>
                    </a:lnTo>
                    <a:lnTo>
                      <a:pt x="75" y="17"/>
                    </a:lnTo>
                    <a:lnTo>
                      <a:pt x="81" y="0"/>
                    </a:lnTo>
                    <a:lnTo>
                      <a:pt x="83" y="0"/>
                    </a:lnTo>
                    <a:lnTo>
                      <a:pt x="85" y="0"/>
                    </a:lnTo>
                    <a:lnTo>
                      <a:pt x="89" y="2"/>
                    </a:lnTo>
                    <a:lnTo>
                      <a:pt x="91" y="4"/>
                    </a:lnTo>
                    <a:lnTo>
                      <a:pt x="92" y="6"/>
                    </a:lnTo>
                    <a:lnTo>
                      <a:pt x="94" y="10"/>
                    </a:lnTo>
                    <a:lnTo>
                      <a:pt x="98" y="12"/>
                    </a:lnTo>
                    <a:lnTo>
                      <a:pt x="100" y="13"/>
                    </a:lnTo>
                    <a:lnTo>
                      <a:pt x="104" y="15"/>
                    </a:lnTo>
                    <a:lnTo>
                      <a:pt x="110" y="19"/>
                    </a:lnTo>
                    <a:lnTo>
                      <a:pt x="114" y="21"/>
                    </a:lnTo>
                    <a:lnTo>
                      <a:pt x="117" y="23"/>
                    </a:lnTo>
                    <a:lnTo>
                      <a:pt x="123" y="27"/>
                    </a:lnTo>
                    <a:lnTo>
                      <a:pt x="127" y="33"/>
                    </a:lnTo>
                    <a:lnTo>
                      <a:pt x="135" y="38"/>
                    </a:lnTo>
                    <a:lnTo>
                      <a:pt x="140" y="46"/>
                    </a:lnTo>
                    <a:lnTo>
                      <a:pt x="146" y="48"/>
                    </a:lnTo>
                    <a:lnTo>
                      <a:pt x="152" y="54"/>
                    </a:lnTo>
                    <a:lnTo>
                      <a:pt x="158" y="58"/>
                    </a:lnTo>
                    <a:lnTo>
                      <a:pt x="165" y="63"/>
                    </a:lnTo>
                    <a:lnTo>
                      <a:pt x="169" y="65"/>
                    </a:lnTo>
                    <a:lnTo>
                      <a:pt x="173" y="69"/>
                    </a:lnTo>
                    <a:lnTo>
                      <a:pt x="177" y="71"/>
                    </a:lnTo>
                    <a:lnTo>
                      <a:pt x="181" y="75"/>
                    </a:lnTo>
                    <a:lnTo>
                      <a:pt x="183" y="79"/>
                    </a:lnTo>
                    <a:lnTo>
                      <a:pt x="186" y="84"/>
                    </a:lnTo>
                    <a:lnTo>
                      <a:pt x="183" y="84"/>
                    </a:lnTo>
                    <a:lnTo>
                      <a:pt x="171" y="88"/>
                    </a:lnTo>
                    <a:lnTo>
                      <a:pt x="167" y="92"/>
                    </a:lnTo>
                    <a:lnTo>
                      <a:pt x="165" y="94"/>
                    </a:lnTo>
                    <a:lnTo>
                      <a:pt x="169" y="96"/>
                    </a:lnTo>
                    <a:lnTo>
                      <a:pt x="177" y="96"/>
                    </a:lnTo>
                    <a:lnTo>
                      <a:pt x="177" y="104"/>
                    </a:lnTo>
                    <a:lnTo>
                      <a:pt x="177" y="109"/>
                    </a:lnTo>
                    <a:lnTo>
                      <a:pt x="175" y="113"/>
                    </a:lnTo>
                    <a:lnTo>
                      <a:pt x="173" y="115"/>
                    </a:lnTo>
                    <a:lnTo>
                      <a:pt x="165" y="119"/>
                    </a:lnTo>
                    <a:lnTo>
                      <a:pt x="158" y="125"/>
                    </a:lnTo>
                    <a:lnTo>
                      <a:pt x="154" y="125"/>
                    </a:lnTo>
                    <a:lnTo>
                      <a:pt x="148" y="125"/>
                    </a:lnTo>
                    <a:lnTo>
                      <a:pt x="138" y="125"/>
                    </a:lnTo>
                    <a:lnTo>
                      <a:pt x="129" y="125"/>
                    </a:lnTo>
                    <a:lnTo>
                      <a:pt x="129" y="132"/>
                    </a:lnTo>
                    <a:lnTo>
                      <a:pt x="129" y="138"/>
                    </a:lnTo>
                    <a:lnTo>
                      <a:pt x="127" y="142"/>
                    </a:lnTo>
                    <a:lnTo>
                      <a:pt x="125" y="144"/>
                    </a:lnTo>
                    <a:lnTo>
                      <a:pt x="108" y="152"/>
                    </a:lnTo>
                    <a:lnTo>
                      <a:pt x="91" y="159"/>
                    </a:lnTo>
                    <a:lnTo>
                      <a:pt x="89" y="161"/>
                    </a:lnTo>
                    <a:lnTo>
                      <a:pt x="85" y="163"/>
                    </a:lnTo>
                    <a:lnTo>
                      <a:pt x="83" y="161"/>
                    </a:lnTo>
                    <a:lnTo>
                      <a:pt x="81" y="159"/>
                    </a:lnTo>
                    <a:lnTo>
                      <a:pt x="66" y="159"/>
                    </a:lnTo>
                    <a:lnTo>
                      <a:pt x="52" y="159"/>
                    </a:lnTo>
                    <a:lnTo>
                      <a:pt x="50" y="161"/>
                    </a:lnTo>
                    <a:lnTo>
                      <a:pt x="46" y="163"/>
                    </a:lnTo>
                    <a:lnTo>
                      <a:pt x="39" y="165"/>
                    </a:lnTo>
                    <a:lnTo>
                      <a:pt x="33" y="169"/>
                    </a:lnTo>
                    <a:lnTo>
                      <a:pt x="29" y="171"/>
                    </a:lnTo>
                    <a:lnTo>
                      <a:pt x="27" y="173"/>
                    </a:lnTo>
                    <a:lnTo>
                      <a:pt x="23" y="173"/>
                    </a:lnTo>
                    <a:lnTo>
                      <a:pt x="18" y="173"/>
                    </a:lnTo>
                  </a:path>
                </a:pathLst>
              </a:custGeom>
              <a:grpFill/>
              <a:ln w="3175">
                <a:solidFill>
                  <a:srgbClr val="FF8300"/>
                </a:solidFill>
                <a:round/>
                <a:headEnd/>
                <a:tailEnd/>
              </a:ln>
            </p:spPr>
            <p:txBody>
              <a:bodyPr/>
              <a:lstStyle/>
              <a:p>
                <a:pPr>
                  <a:defRPr/>
                </a:pPr>
                <a:endParaRPr lang="en-GB" sz="1400">
                  <a:solidFill>
                    <a:schemeClr val="tx2"/>
                  </a:solidFill>
                </a:endParaRPr>
              </a:p>
            </p:txBody>
          </p:sp>
          <p:sp>
            <p:nvSpPr>
              <p:cNvPr id="393" name="Freeform 343"/>
              <p:cNvSpPr>
                <a:spLocks/>
              </p:cNvSpPr>
              <p:nvPr>
                <p:custDataLst>
                  <p:tags r:id="rId42"/>
                </p:custDataLst>
              </p:nvPr>
            </p:nvSpPr>
            <p:spPr bwMode="gray">
              <a:xfrm>
                <a:off x="1306317" y="4041764"/>
                <a:ext cx="477973" cy="296817"/>
              </a:xfrm>
              <a:custGeom>
                <a:avLst/>
                <a:gdLst>
                  <a:gd name="T0" fmla="*/ 2147483647 w 349"/>
                  <a:gd name="T1" fmla="*/ 2147483647 h 228"/>
                  <a:gd name="T2" fmla="*/ 2147483647 w 349"/>
                  <a:gd name="T3" fmla="*/ 2147483647 h 228"/>
                  <a:gd name="T4" fmla="*/ 2147483647 w 349"/>
                  <a:gd name="T5" fmla="*/ 2147483647 h 228"/>
                  <a:gd name="T6" fmla="*/ 2147483647 w 349"/>
                  <a:gd name="T7" fmla="*/ 2147483647 h 228"/>
                  <a:gd name="T8" fmla="*/ 2147483647 w 349"/>
                  <a:gd name="T9" fmla="*/ 2147483647 h 228"/>
                  <a:gd name="T10" fmla="*/ 2147483647 w 349"/>
                  <a:gd name="T11" fmla="*/ 2147483647 h 228"/>
                  <a:gd name="T12" fmla="*/ 2147483647 w 349"/>
                  <a:gd name="T13" fmla="*/ 2147483647 h 228"/>
                  <a:gd name="T14" fmla="*/ 2147483647 w 349"/>
                  <a:gd name="T15" fmla="*/ 2147483647 h 228"/>
                  <a:gd name="T16" fmla="*/ 2147483647 w 349"/>
                  <a:gd name="T17" fmla="*/ 2147483647 h 228"/>
                  <a:gd name="T18" fmla="*/ 2147483647 w 349"/>
                  <a:gd name="T19" fmla="*/ 2147483647 h 228"/>
                  <a:gd name="T20" fmla="*/ 2147483647 w 349"/>
                  <a:gd name="T21" fmla="*/ 2147483647 h 228"/>
                  <a:gd name="T22" fmla="*/ 2147483647 w 349"/>
                  <a:gd name="T23" fmla="*/ 2147483647 h 228"/>
                  <a:gd name="T24" fmla="*/ 2147483647 w 349"/>
                  <a:gd name="T25" fmla="*/ 2147483647 h 228"/>
                  <a:gd name="T26" fmla="*/ 2147483647 w 349"/>
                  <a:gd name="T27" fmla="*/ 2147483647 h 228"/>
                  <a:gd name="T28" fmla="*/ 2147483647 w 349"/>
                  <a:gd name="T29" fmla="*/ 2147483647 h 228"/>
                  <a:gd name="T30" fmla="*/ 2147483647 w 349"/>
                  <a:gd name="T31" fmla="*/ 2147483647 h 228"/>
                  <a:gd name="T32" fmla="*/ 2147483647 w 349"/>
                  <a:gd name="T33" fmla="*/ 2147483647 h 228"/>
                  <a:gd name="T34" fmla="*/ 2147483647 w 349"/>
                  <a:gd name="T35" fmla="*/ 2147483647 h 228"/>
                  <a:gd name="T36" fmla="*/ 2147483647 w 349"/>
                  <a:gd name="T37" fmla="*/ 2147483647 h 228"/>
                  <a:gd name="T38" fmla="*/ 2147483647 w 349"/>
                  <a:gd name="T39" fmla="*/ 2147483647 h 228"/>
                  <a:gd name="T40" fmla="*/ 2147483647 w 349"/>
                  <a:gd name="T41" fmla="*/ 2147483647 h 228"/>
                  <a:gd name="T42" fmla="*/ 2147483647 w 349"/>
                  <a:gd name="T43" fmla="*/ 2147483647 h 228"/>
                  <a:gd name="T44" fmla="*/ 2147483647 w 349"/>
                  <a:gd name="T45" fmla="*/ 2147483647 h 228"/>
                  <a:gd name="T46" fmla="*/ 2147483647 w 349"/>
                  <a:gd name="T47" fmla="*/ 2147483647 h 228"/>
                  <a:gd name="T48" fmla="*/ 2147483647 w 349"/>
                  <a:gd name="T49" fmla="*/ 2147483647 h 228"/>
                  <a:gd name="T50" fmla="*/ 2147483647 w 349"/>
                  <a:gd name="T51" fmla="*/ 2147483647 h 228"/>
                  <a:gd name="T52" fmla="*/ 2147483647 w 349"/>
                  <a:gd name="T53" fmla="*/ 2147483647 h 228"/>
                  <a:gd name="T54" fmla="*/ 2147483647 w 349"/>
                  <a:gd name="T55" fmla="*/ 2147483647 h 228"/>
                  <a:gd name="T56" fmla="*/ 2147483647 w 349"/>
                  <a:gd name="T57" fmla="*/ 2147483647 h 228"/>
                  <a:gd name="T58" fmla="*/ 2147483647 w 349"/>
                  <a:gd name="T59" fmla="*/ 2147483647 h 228"/>
                  <a:gd name="T60" fmla="*/ 2147483647 w 349"/>
                  <a:gd name="T61" fmla="*/ 2147483647 h 228"/>
                  <a:gd name="T62" fmla="*/ 2147483647 w 349"/>
                  <a:gd name="T63" fmla="*/ 2147483647 h 228"/>
                  <a:gd name="T64" fmla="*/ 2147483647 w 349"/>
                  <a:gd name="T65" fmla="*/ 2147483647 h 228"/>
                  <a:gd name="T66" fmla="*/ 2147483647 w 349"/>
                  <a:gd name="T67" fmla="*/ 2147483647 h 228"/>
                  <a:gd name="T68" fmla="*/ 2147483647 w 349"/>
                  <a:gd name="T69" fmla="*/ 2147483647 h 228"/>
                  <a:gd name="T70" fmla="*/ 2147483647 w 349"/>
                  <a:gd name="T71" fmla="*/ 2147483647 h 228"/>
                  <a:gd name="T72" fmla="*/ 2147483647 w 349"/>
                  <a:gd name="T73" fmla="*/ 2147483647 h 228"/>
                  <a:gd name="T74" fmla="*/ 2147483647 w 349"/>
                  <a:gd name="T75" fmla="*/ 2147483647 h 228"/>
                  <a:gd name="T76" fmla="*/ 2147483647 w 349"/>
                  <a:gd name="T77" fmla="*/ 2147483647 h 228"/>
                  <a:gd name="T78" fmla="*/ 2147483647 w 349"/>
                  <a:gd name="T79" fmla="*/ 2147483647 h 228"/>
                  <a:gd name="T80" fmla="*/ 2147483647 w 349"/>
                  <a:gd name="T81" fmla="*/ 2147483647 h 228"/>
                  <a:gd name="T82" fmla="*/ 2147483647 w 349"/>
                  <a:gd name="T83" fmla="*/ 2147483647 h 228"/>
                  <a:gd name="T84" fmla="*/ 2147483647 w 349"/>
                  <a:gd name="T85" fmla="*/ 2147483647 h 228"/>
                  <a:gd name="T86" fmla="*/ 2147483647 w 349"/>
                  <a:gd name="T87" fmla="*/ 2147483647 h 228"/>
                  <a:gd name="T88" fmla="*/ 2147483647 w 349"/>
                  <a:gd name="T89" fmla="*/ 2147483647 h 228"/>
                  <a:gd name="T90" fmla="*/ 2147483647 w 349"/>
                  <a:gd name="T91" fmla="*/ 2147483647 h 228"/>
                  <a:gd name="T92" fmla="*/ 2147483647 w 349"/>
                  <a:gd name="T93" fmla="*/ 2147483647 h 228"/>
                  <a:gd name="T94" fmla="*/ 2147483647 w 349"/>
                  <a:gd name="T95" fmla="*/ 2147483647 h 228"/>
                  <a:gd name="T96" fmla="*/ 2147483647 w 349"/>
                  <a:gd name="T97" fmla="*/ 2147483647 h 228"/>
                  <a:gd name="T98" fmla="*/ 2147483647 w 349"/>
                  <a:gd name="T99" fmla="*/ 2147483647 h 228"/>
                  <a:gd name="T100" fmla="*/ 2147483647 w 349"/>
                  <a:gd name="T101" fmla="*/ 2147483647 h 228"/>
                  <a:gd name="T102" fmla="*/ 2147483647 w 349"/>
                  <a:gd name="T103" fmla="*/ 2147483647 h 228"/>
                  <a:gd name="T104" fmla="*/ 2147483647 w 349"/>
                  <a:gd name="T105" fmla="*/ 2147483647 h 228"/>
                  <a:gd name="T106" fmla="*/ 2147483647 w 349"/>
                  <a:gd name="T107" fmla="*/ 2147483647 h 228"/>
                  <a:gd name="T108" fmla="*/ 2147483647 w 349"/>
                  <a:gd name="T109" fmla="*/ 2147483647 h 228"/>
                  <a:gd name="T110" fmla="*/ 2147483647 w 349"/>
                  <a:gd name="T111" fmla="*/ 2147483647 h 228"/>
                  <a:gd name="T112" fmla="*/ 2147483647 w 349"/>
                  <a:gd name="T113" fmla="*/ 2147483647 h 228"/>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349"/>
                  <a:gd name="T172" fmla="*/ 0 h 228"/>
                  <a:gd name="T173" fmla="*/ 349 w 349"/>
                  <a:gd name="T174" fmla="*/ 228 h 228"/>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349" h="228">
                    <a:moveTo>
                      <a:pt x="219" y="213"/>
                    </a:moveTo>
                    <a:lnTo>
                      <a:pt x="217" y="211"/>
                    </a:lnTo>
                    <a:lnTo>
                      <a:pt x="213" y="209"/>
                    </a:lnTo>
                    <a:lnTo>
                      <a:pt x="202" y="205"/>
                    </a:lnTo>
                    <a:lnTo>
                      <a:pt x="190" y="203"/>
                    </a:lnTo>
                    <a:lnTo>
                      <a:pt x="186" y="201"/>
                    </a:lnTo>
                    <a:lnTo>
                      <a:pt x="184" y="198"/>
                    </a:lnTo>
                    <a:lnTo>
                      <a:pt x="182" y="196"/>
                    </a:lnTo>
                    <a:lnTo>
                      <a:pt x="180" y="194"/>
                    </a:lnTo>
                    <a:lnTo>
                      <a:pt x="177" y="190"/>
                    </a:lnTo>
                    <a:lnTo>
                      <a:pt x="175" y="188"/>
                    </a:lnTo>
                    <a:lnTo>
                      <a:pt x="171" y="182"/>
                    </a:lnTo>
                    <a:lnTo>
                      <a:pt x="167" y="176"/>
                    </a:lnTo>
                    <a:lnTo>
                      <a:pt x="150" y="180"/>
                    </a:lnTo>
                    <a:lnTo>
                      <a:pt x="131" y="184"/>
                    </a:lnTo>
                    <a:lnTo>
                      <a:pt x="129" y="182"/>
                    </a:lnTo>
                    <a:lnTo>
                      <a:pt x="127" y="178"/>
                    </a:lnTo>
                    <a:lnTo>
                      <a:pt x="125" y="176"/>
                    </a:lnTo>
                    <a:lnTo>
                      <a:pt x="123" y="175"/>
                    </a:lnTo>
                    <a:lnTo>
                      <a:pt x="119" y="173"/>
                    </a:lnTo>
                    <a:lnTo>
                      <a:pt x="117" y="169"/>
                    </a:lnTo>
                    <a:lnTo>
                      <a:pt x="115" y="161"/>
                    </a:lnTo>
                    <a:lnTo>
                      <a:pt x="111" y="155"/>
                    </a:lnTo>
                    <a:lnTo>
                      <a:pt x="109" y="152"/>
                    </a:lnTo>
                    <a:lnTo>
                      <a:pt x="108" y="150"/>
                    </a:lnTo>
                    <a:lnTo>
                      <a:pt x="92" y="146"/>
                    </a:lnTo>
                    <a:lnTo>
                      <a:pt x="75" y="142"/>
                    </a:lnTo>
                    <a:lnTo>
                      <a:pt x="60" y="140"/>
                    </a:lnTo>
                    <a:lnTo>
                      <a:pt x="44" y="136"/>
                    </a:lnTo>
                    <a:lnTo>
                      <a:pt x="42" y="132"/>
                    </a:lnTo>
                    <a:lnTo>
                      <a:pt x="40" y="130"/>
                    </a:lnTo>
                    <a:lnTo>
                      <a:pt x="37" y="123"/>
                    </a:lnTo>
                    <a:lnTo>
                      <a:pt x="35" y="117"/>
                    </a:lnTo>
                    <a:lnTo>
                      <a:pt x="33" y="113"/>
                    </a:lnTo>
                    <a:lnTo>
                      <a:pt x="31" y="111"/>
                    </a:lnTo>
                    <a:lnTo>
                      <a:pt x="27" y="109"/>
                    </a:lnTo>
                    <a:lnTo>
                      <a:pt x="25" y="105"/>
                    </a:lnTo>
                    <a:lnTo>
                      <a:pt x="23" y="104"/>
                    </a:lnTo>
                    <a:lnTo>
                      <a:pt x="19" y="102"/>
                    </a:lnTo>
                    <a:lnTo>
                      <a:pt x="17" y="100"/>
                    </a:lnTo>
                    <a:lnTo>
                      <a:pt x="15" y="96"/>
                    </a:lnTo>
                    <a:lnTo>
                      <a:pt x="14" y="94"/>
                    </a:lnTo>
                    <a:lnTo>
                      <a:pt x="12" y="92"/>
                    </a:lnTo>
                    <a:lnTo>
                      <a:pt x="8" y="84"/>
                    </a:lnTo>
                    <a:lnTo>
                      <a:pt x="6" y="77"/>
                    </a:lnTo>
                    <a:lnTo>
                      <a:pt x="4" y="75"/>
                    </a:lnTo>
                    <a:lnTo>
                      <a:pt x="0" y="73"/>
                    </a:lnTo>
                    <a:lnTo>
                      <a:pt x="4" y="69"/>
                    </a:lnTo>
                    <a:lnTo>
                      <a:pt x="6" y="67"/>
                    </a:lnTo>
                    <a:lnTo>
                      <a:pt x="14" y="65"/>
                    </a:lnTo>
                    <a:lnTo>
                      <a:pt x="19" y="63"/>
                    </a:lnTo>
                    <a:lnTo>
                      <a:pt x="23" y="61"/>
                    </a:lnTo>
                    <a:lnTo>
                      <a:pt x="25" y="58"/>
                    </a:lnTo>
                    <a:lnTo>
                      <a:pt x="27" y="56"/>
                    </a:lnTo>
                    <a:lnTo>
                      <a:pt x="31" y="54"/>
                    </a:lnTo>
                    <a:lnTo>
                      <a:pt x="33" y="50"/>
                    </a:lnTo>
                    <a:lnTo>
                      <a:pt x="35" y="48"/>
                    </a:lnTo>
                    <a:lnTo>
                      <a:pt x="37" y="27"/>
                    </a:lnTo>
                    <a:lnTo>
                      <a:pt x="40" y="6"/>
                    </a:lnTo>
                    <a:lnTo>
                      <a:pt x="42" y="2"/>
                    </a:lnTo>
                    <a:lnTo>
                      <a:pt x="44" y="0"/>
                    </a:lnTo>
                    <a:lnTo>
                      <a:pt x="46" y="2"/>
                    </a:lnTo>
                    <a:lnTo>
                      <a:pt x="50" y="6"/>
                    </a:lnTo>
                    <a:lnTo>
                      <a:pt x="56" y="8"/>
                    </a:lnTo>
                    <a:lnTo>
                      <a:pt x="63" y="10"/>
                    </a:lnTo>
                    <a:lnTo>
                      <a:pt x="65" y="11"/>
                    </a:lnTo>
                    <a:lnTo>
                      <a:pt x="69" y="15"/>
                    </a:lnTo>
                    <a:lnTo>
                      <a:pt x="75" y="17"/>
                    </a:lnTo>
                    <a:lnTo>
                      <a:pt x="83" y="19"/>
                    </a:lnTo>
                    <a:lnTo>
                      <a:pt x="86" y="21"/>
                    </a:lnTo>
                    <a:lnTo>
                      <a:pt x="88" y="25"/>
                    </a:lnTo>
                    <a:lnTo>
                      <a:pt x="106" y="27"/>
                    </a:lnTo>
                    <a:lnTo>
                      <a:pt x="123" y="29"/>
                    </a:lnTo>
                    <a:lnTo>
                      <a:pt x="125" y="31"/>
                    </a:lnTo>
                    <a:lnTo>
                      <a:pt x="127" y="35"/>
                    </a:lnTo>
                    <a:lnTo>
                      <a:pt x="134" y="36"/>
                    </a:lnTo>
                    <a:lnTo>
                      <a:pt x="140" y="38"/>
                    </a:lnTo>
                    <a:lnTo>
                      <a:pt x="144" y="40"/>
                    </a:lnTo>
                    <a:lnTo>
                      <a:pt x="146" y="44"/>
                    </a:lnTo>
                    <a:lnTo>
                      <a:pt x="156" y="44"/>
                    </a:lnTo>
                    <a:lnTo>
                      <a:pt x="165" y="44"/>
                    </a:lnTo>
                    <a:lnTo>
                      <a:pt x="167" y="40"/>
                    </a:lnTo>
                    <a:lnTo>
                      <a:pt x="171" y="38"/>
                    </a:lnTo>
                    <a:lnTo>
                      <a:pt x="177" y="36"/>
                    </a:lnTo>
                    <a:lnTo>
                      <a:pt x="184" y="35"/>
                    </a:lnTo>
                    <a:lnTo>
                      <a:pt x="186" y="31"/>
                    </a:lnTo>
                    <a:lnTo>
                      <a:pt x="190" y="29"/>
                    </a:lnTo>
                    <a:lnTo>
                      <a:pt x="204" y="29"/>
                    </a:lnTo>
                    <a:lnTo>
                      <a:pt x="219" y="29"/>
                    </a:lnTo>
                    <a:lnTo>
                      <a:pt x="221" y="31"/>
                    </a:lnTo>
                    <a:lnTo>
                      <a:pt x="223" y="35"/>
                    </a:lnTo>
                    <a:lnTo>
                      <a:pt x="225" y="36"/>
                    </a:lnTo>
                    <a:lnTo>
                      <a:pt x="228" y="38"/>
                    </a:lnTo>
                    <a:lnTo>
                      <a:pt x="230" y="40"/>
                    </a:lnTo>
                    <a:lnTo>
                      <a:pt x="232" y="44"/>
                    </a:lnTo>
                    <a:lnTo>
                      <a:pt x="232" y="50"/>
                    </a:lnTo>
                    <a:lnTo>
                      <a:pt x="232" y="58"/>
                    </a:lnTo>
                    <a:lnTo>
                      <a:pt x="246" y="58"/>
                    </a:lnTo>
                    <a:lnTo>
                      <a:pt x="257" y="58"/>
                    </a:lnTo>
                    <a:lnTo>
                      <a:pt x="259" y="61"/>
                    </a:lnTo>
                    <a:lnTo>
                      <a:pt x="261" y="63"/>
                    </a:lnTo>
                    <a:lnTo>
                      <a:pt x="267" y="63"/>
                    </a:lnTo>
                    <a:lnTo>
                      <a:pt x="273" y="63"/>
                    </a:lnTo>
                    <a:lnTo>
                      <a:pt x="274" y="61"/>
                    </a:lnTo>
                    <a:lnTo>
                      <a:pt x="276" y="58"/>
                    </a:lnTo>
                    <a:lnTo>
                      <a:pt x="278" y="61"/>
                    </a:lnTo>
                    <a:lnTo>
                      <a:pt x="282" y="63"/>
                    </a:lnTo>
                    <a:lnTo>
                      <a:pt x="288" y="65"/>
                    </a:lnTo>
                    <a:lnTo>
                      <a:pt x="296" y="67"/>
                    </a:lnTo>
                    <a:lnTo>
                      <a:pt x="298" y="69"/>
                    </a:lnTo>
                    <a:lnTo>
                      <a:pt x="301" y="73"/>
                    </a:lnTo>
                    <a:lnTo>
                      <a:pt x="307" y="75"/>
                    </a:lnTo>
                    <a:lnTo>
                      <a:pt x="315" y="77"/>
                    </a:lnTo>
                    <a:lnTo>
                      <a:pt x="317" y="81"/>
                    </a:lnTo>
                    <a:lnTo>
                      <a:pt x="321" y="82"/>
                    </a:lnTo>
                    <a:lnTo>
                      <a:pt x="322" y="84"/>
                    </a:lnTo>
                    <a:lnTo>
                      <a:pt x="330" y="86"/>
                    </a:lnTo>
                    <a:lnTo>
                      <a:pt x="336" y="84"/>
                    </a:lnTo>
                    <a:lnTo>
                      <a:pt x="340" y="82"/>
                    </a:lnTo>
                    <a:lnTo>
                      <a:pt x="342" y="81"/>
                    </a:lnTo>
                    <a:lnTo>
                      <a:pt x="344" y="77"/>
                    </a:lnTo>
                    <a:lnTo>
                      <a:pt x="345" y="81"/>
                    </a:lnTo>
                    <a:lnTo>
                      <a:pt x="349" y="82"/>
                    </a:lnTo>
                    <a:lnTo>
                      <a:pt x="349" y="88"/>
                    </a:lnTo>
                    <a:lnTo>
                      <a:pt x="349" y="96"/>
                    </a:lnTo>
                    <a:lnTo>
                      <a:pt x="349" y="100"/>
                    </a:lnTo>
                    <a:lnTo>
                      <a:pt x="349" y="104"/>
                    </a:lnTo>
                    <a:lnTo>
                      <a:pt x="347" y="105"/>
                    </a:lnTo>
                    <a:lnTo>
                      <a:pt x="347" y="111"/>
                    </a:lnTo>
                    <a:lnTo>
                      <a:pt x="347" y="115"/>
                    </a:lnTo>
                    <a:lnTo>
                      <a:pt x="347" y="121"/>
                    </a:lnTo>
                    <a:lnTo>
                      <a:pt x="347" y="125"/>
                    </a:lnTo>
                    <a:lnTo>
                      <a:pt x="345" y="130"/>
                    </a:lnTo>
                    <a:lnTo>
                      <a:pt x="344" y="136"/>
                    </a:lnTo>
                    <a:lnTo>
                      <a:pt x="342" y="144"/>
                    </a:lnTo>
                    <a:lnTo>
                      <a:pt x="342" y="150"/>
                    </a:lnTo>
                    <a:lnTo>
                      <a:pt x="340" y="157"/>
                    </a:lnTo>
                    <a:lnTo>
                      <a:pt x="336" y="163"/>
                    </a:lnTo>
                    <a:lnTo>
                      <a:pt x="332" y="169"/>
                    </a:lnTo>
                    <a:lnTo>
                      <a:pt x="328" y="171"/>
                    </a:lnTo>
                    <a:lnTo>
                      <a:pt x="326" y="175"/>
                    </a:lnTo>
                    <a:lnTo>
                      <a:pt x="324" y="178"/>
                    </a:lnTo>
                    <a:lnTo>
                      <a:pt x="322" y="182"/>
                    </a:lnTo>
                    <a:lnTo>
                      <a:pt x="322" y="184"/>
                    </a:lnTo>
                    <a:lnTo>
                      <a:pt x="321" y="188"/>
                    </a:lnTo>
                    <a:lnTo>
                      <a:pt x="317" y="190"/>
                    </a:lnTo>
                    <a:lnTo>
                      <a:pt x="313" y="192"/>
                    </a:lnTo>
                    <a:lnTo>
                      <a:pt x="309" y="194"/>
                    </a:lnTo>
                    <a:lnTo>
                      <a:pt x="307" y="198"/>
                    </a:lnTo>
                    <a:lnTo>
                      <a:pt x="301" y="203"/>
                    </a:lnTo>
                    <a:lnTo>
                      <a:pt x="298" y="207"/>
                    </a:lnTo>
                    <a:lnTo>
                      <a:pt x="292" y="211"/>
                    </a:lnTo>
                    <a:lnTo>
                      <a:pt x="286" y="217"/>
                    </a:lnTo>
                    <a:lnTo>
                      <a:pt x="282" y="221"/>
                    </a:lnTo>
                    <a:lnTo>
                      <a:pt x="278" y="226"/>
                    </a:lnTo>
                    <a:lnTo>
                      <a:pt x="276" y="228"/>
                    </a:lnTo>
                    <a:lnTo>
                      <a:pt x="274" y="228"/>
                    </a:lnTo>
                    <a:lnTo>
                      <a:pt x="273" y="228"/>
                    </a:lnTo>
                    <a:lnTo>
                      <a:pt x="271" y="224"/>
                    </a:lnTo>
                    <a:lnTo>
                      <a:pt x="265" y="223"/>
                    </a:lnTo>
                    <a:lnTo>
                      <a:pt x="259" y="223"/>
                    </a:lnTo>
                    <a:lnTo>
                      <a:pt x="253" y="215"/>
                    </a:lnTo>
                    <a:lnTo>
                      <a:pt x="253" y="219"/>
                    </a:lnTo>
                    <a:lnTo>
                      <a:pt x="250" y="217"/>
                    </a:lnTo>
                    <a:lnTo>
                      <a:pt x="244" y="213"/>
                    </a:lnTo>
                    <a:lnTo>
                      <a:pt x="234" y="213"/>
                    </a:lnTo>
                    <a:lnTo>
                      <a:pt x="223" y="213"/>
                    </a:lnTo>
                    <a:lnTo>
                      <a:pt x="221" y="213"/>
                    </a:lnTo>
                    <a:lnTo>
                      <a:pt x="219" y="213"/>
                    </a:lnTo>
                  </a:path>
                </a:pathLst>
              </a:custGeom>
              <a:grpFill/>
              <a:ln w="3175">
                <a:solidFill>
                  <a:srgbClr val="FF8300"/>
                </a:solidFill>
                <a:round/>
                <a:headEnd/>
                <a:tailEnd/>
              </a:ln>
            </p:spPr>
            <p:txBody>
              <a:bodyPr/>
              <a:lstStyle/>
              <a:p>
                <a:pPr>
                  <a:defRPr/>
                </a:pPr>
                <a:endParaRPr lang="en-GB" sz="1400">
                  <a:solidFill>
                    <a:schemeClr val="tx2"/>
                  </a:solidFill>
                </a:endParaRPr>
              </a:p>
            </p:txBody>
          </p:sp>
          <p:sp>
            <p:nvSpPr>
              <p:cNvPr id="394" name="Freeform 297"/>
              <p:cNvSpPr>
                <a:spLocks/>
              </p:cNvSpPr>
              <p:nvPr>
                <p:custDataLst>
                  <p:tags r:id="rId43"/>
                </p:custDataLst>
              </p:nvPr>
            </p:nvSpPr>
            <p:spPr bwMode="gray">
              <a:xfrm>
                <a:off x="2294313" y="4980988"/>
                <a:ext cx="426413" cy="572732"/>
              </a:xfrm>
              <a:custGeom>
                <a:avLst/>
                <a:gdLst>
                  <a:gd name="T0" fmla="*/ 2147483647 w 311"/>
                  <a:gd name="T1" fmla="*/ 2147483647 h 435"/>
                  <a:gd name="T2" fmla="*/ 2147483647 w 311"/>
                  <a:gd name="T3" fmla="*/ 2147483647 h 435"/>
                  <a:gd name="T4" fmla="*/ 2147483647 w 311"/>
                  <a:gd name="T5" fmla="*/ 2147483647 h 435"/>
                  <a:gd name="T6" fmla="*/ 2147483647 w 311"/>
                  <a:gd name="T7" fmla="*/ 2147483647 h 435"/>
                  <a:gd name="T8" fmla="*/ 2147483647 w 311"/>
                  <a:gd name="T9" fmla="*/ 2147483647 h 435"/>
                  <a:gd name="T10" fmla="*/ 2147483647 w 311"/>
                  <a:gd name="T11" fmla="*/ 2147483647 h 435"/>
                  <a:gd name="T12" fmla="*/ 2147483647 w 311"/>
                  <a:gd name="T13" fmla="*/ 2147483647 h 435"/>
                  <a:gd name="T14" fmla="*/ 2147483647 w 311"/>
                  <a:gd name="T15" fmla="*/ 2147483647 h 435"/>
                  <a:gd name="T16" fmla="*/ 2147483647 w 311"/>
                  <a:gd name="T17" fmla="*/ 2147483647 h 435"/>
                  <a:gd name="T18" fmla="*/ 2147483647 w 311"/>
                  <a:gd name="T19" fmla="*/ 2147483647 h 435"/>
                  <a:gd name="T20" fmla="*/ 2147483647 w 311"/>
                  <a:gd name="T21" fmla="*/ 2147483647 h 435"/>
                  <a:gd name="T22" fmla="*/ 2147483647 w 311"/>
                  <a:gd name="T23" fmla="*/ 2147483647 h 435"/>
                  <a:gd name="T24" fmla="*/ 2147483647 w 311"/>
                  <a:gd name="T25" fmla="*/ 2147483647 h 435"/>
                  <a:gd name="T26" fmla="*/ 2147483647 w 311"/>
                  <a:gd name="T27" fmla="*/ 2147483647 h 435"/>
                  <a:gd name="T28" fmla="*/ 2147483647 w 311"/>
                  <a:gd name="T29" fmla="*/ 2147483647 h 435"/>
                  <a:gd name="T30" fmla="*/ 2147483647 w 311"/>
                  <a:gd name="T31" fmla="*/ 2147483647 h 435"/>
                  <a:gd name="T32" fmla="*/ 2147483647 w 311"/>
                  <a:gd name="T33" fmla="*/ 2147483647 h 435"/>
                  <a:gd name="T34" fmla="*/ 2147483647 w 311"/>
                  <a:gd name="T35" fmla="*/ 2147483647 h 435"/>
                  <a:gd name="T36" fmla="*/ 2147483647 w 311"/>
                  <a:gd name="T37" fmla="*/ 2147483647 h 435"/>
                  <a:gd name="T38" fmla="*/ 2147483647 w 311"/>
                  <a:gd name="T39" fmla="*/ 2147483647 h 435"/>
                  <a:gd name="T40" fmla="*/ 2147483647 w 311"/>
                  <a:gd name="T41" fmla="*/ 2147483647 h 435"/>
                  <a:gd name="T42" fmla="*/ 2147483647 w 311"/>
                  <a:gd name="T43" fmla="*/ 2147483647 h 435"/>
                  <a:gd name="T44" fmla="*/ 2147483647 w 311"/>
                  <a:gd name="T45" fmla="*/ 2147483647 h 435"/>
                  <a:gd name="T46" fmla="*/ 2147483647 w 311"/>
                  <a:gd name="T47" fmla="*/ 2147483647 h 435"/>
                  <a:gd name="T48" fmla="*/ 2147483647 w 311"/>
                  <a:gd name="T49" fmla="*/ 2147483647 h 435"/>
                  <a:gd name="T50" fmla="*/ 2147483647 w 311"/>
                  <a:gd name="T51" fmla="*/ 2147483647 h 435"/>
                  <a:gd name="T52" fmla="*/ 2147483647 w 311"/>
                  <a:gd name="T53" fmla="*/ 2147483647 h 435"/>
                  <a:gd name="T54" fmla="*/ 2147483647 w 311"/>
                  <a:gd name="T55" fmla="*/ 2147483647 h 435"/>
                  <a:gd name="T56" fmla="*/ 2147483647 w 311"/>
                  <a:gd name="T57" fmla="*/ 2147483647 h 435"/>
                  <a:gd name="T58" fmla="*/ 2147483647 w 311"/>
                  <a:gd name="T59" fmla="*/ 2147483647 h 435"/>
                  <a:gd name="T60" fmla="*/ 2147483647 w 311"/>
                  <a:gd name="T61" fmla="*/ 2147483647 h 435"/>
                  <a:gd name="T62" fmla="*/ 2147483647 w 311"/>
                  <a:gd name="T63" fmla="*/ 0 h 435"/>
                  <a:gd name="T64" fmla="*/ 2147483647 w 311"/>
                  <a:gd name="T65" fmla="*/ 2147483647 h 435"/>
                  <a:gd name="T66" fmla="*/ 2147483647 w 311"/>
                  <a:gd name="T67" fmla="*/ 2147483647 h 435"/>
                  <a:gd name="T68" fmla="*/ 2147483647 w 311"/>
                  <a:gd name="T69" fmla="*/ 2147483647 h 435"/>
                  <a:gd name="T70" fmla="*/ 2147483647 w 311"/>
                  <a:gd name="T71" fmla="*/ 2147483647 h 435"/>
                  <a:gd name="T72" fmla="*/ 2147483647 w 311"/>
                  <a:gd name="T73" fmla="*/ 2147483647 h 435"/>
                  <a:gd name="T74" fmla="*/ 2147483647 w 311"/>
                  <a:gd name="T75" fmla="*/ 2147483647 h 435"/>
                  <a:gd name="T76" fmla="*/ 2147483647 w 311"/>
                  <a:gd name="T77" fmla="*/ 2147483647 h 435"/>
                  <a:gd name="T78" fmla="*/ 2147483647 w 311"/>
                  <a:gd name="T79" fmla="*/ 2147483647 h 435"/>
                  <a:gd name="T80" fmla="*/ 2147483647 w 311"/>
                  <a:gd name="T81" fmla="*/ 2147483647 h 435"/>
                  <a:gd name="T82" fmla="*/ 2147483647 w 311"/>
                  <a:gd name="T83" fmla="*/ 2147483647 h 435"/>
                  <a:gd name="T84" fmla="*/ 2147483647 w 311"/>
                  <a:gd name="T85" fmla="*/ 2147483647 h 435"/>
                  <a:gd name="T86" fmla="*/ 2147483647 w 311"/>
                  <a:gd name="T87" fmla="*/ 2147483647 h 435"/>
                  <a:gd name="T88" fmla="*/ 2147483647 w 311"/>
                  <a:gd name="T89" fmla="*/ 2147483647 h 435"/>
                  <a:gd name="T90" fmla="*/ 2147483647 w 311"/>
                  <a:gd name="T91" fmla="*/ 2147483647 h 435"/>
                  <a:gd name="T92" fmla="*/ 2147483647 w 311"/>
                  <a:gd name="T93" fmla="*/ 2147483647 h 435"/>
                  <a:gd name="T94" fmla="*/ 2147483647 w 311"/>
                  <a:gd name="T95" fmla="*/ 2147483647 h 435"/>
                  <a:gd name="T96" fmla="*/ 2147483647 w 311"/>
                  <a:gd name="T97" fmla="*/ 2147483647 h 435"/>
                  <a:gd name="T98" fmla="*/ 2147483647 w 311"/>
                  <a:gd name="T99" fmla="*/ 2147483647 h 435"/>
                  <a:gd name="T100" fmla="*/ 2147483647 w 311"/>
                  <a:gd name="T101" fmla="*/ 2147483647 h 435"/>
                  <a:gd name="T102" fmla="*/ 2147483647 w 311"/>
                  <a:gd name="T103" fmla="*/ 2147483647 h 435"/>
                  <a:gd name="T104" fmla="*/ 2147483647 w 311"/>
                  <a:gd name="T105" fmla="*/ 2147483647 h 435"/>
                  <a:gd name="T106" fmla="*/ 2147483647 w 311"/>
                  <a:gd name="T107" fmla="*/ 2147483647 h 435"/>
                  <a:gd name="T108" fmla="*/ 2147483647 w 311"/>
                  <a:gd name="T109" fmla="*/ 2147483647 h 435"/>
                  <a:gd name="T110" fmla="*/ 2147483647 w 311"/>
                  <a:gd name="T111" fmla="*/ 2147483647 h 435"/>
                  <a:gd name="T112" fmla="*/ 2147483647 w 311"/>
                  <a:gd name="T113" fmla="*/ 2147483647 h 435"/>
                  <a:gd name="T114" fmla="*/ 2147483647 w 311"/>
                  <a:gd name="T115" fmla="*/ 2147483647 h 435"/>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11"/>
                  <a:gd name="T175" fmla="*/ 0 h 435"/>
                  <a:gd name="T176" fmla="*/ 311 w 311"/>
                  <a:gd name="T177" fmla="*/ 435 h 435"/>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11" h="435">
                    <a:moveTo>
                      <a:pt x="238" y="291"/>
                    </a:moveTo>
                    <a:lnTo>
                      <a:pt x="233" y="297"/>
                    </a:lnTo>
                    <a:lnTo>
                      <a:pt x="223" y="305"/>
                    </a:lnTo>
                    <a:lnTo>
                      <a:pt x="221" y="307"/>
                    </a:lnTo>
                    <a:lnTo>
                      <a:pt x="219" y="309"/>
                    </a:lnTo>
                    <a:lnTo>
                      <a:pt x="217" y="312"/>
                    </a:lnTo>
                    <a:lnTo>
                      <a:pt x="215" y="314"/>
                    </a:lnTo>
                    <a:lnTo>
                      <a:pt x="211" y="316"/>
                    </a:lnTo>
                    <a:lnTo>
                      <a:pt x="210" y="318"/>
                    </a:lnTo>
                    <a:lnTo>
                      <a:pt x="206" y="332"/>
                    </a:lnTo>
                    <a:lnTo>
                      <a:pt x="204" y="343"/>
                    </a:lnTo>
                    <a:lnTo>
                      <a:pt x="202" y="345"/>
                    </a:lnTo>
                    <a:lnTo>
                      <a:pt x="200" y="349"/>
                    </a:lnTo>
                    <a:lnTo>
                      <a:pt x="196" y="351"/>
                    </a:lnTo>
                    <a:lnTo>
                      <a:pt x="194" y="353"/>
                    </a:lnTo>
                    <a:lnTo>
                      <a:pt x="192" y="355"/>
                    </a:lnTo>
                    <a:lnTo>
                      <a:pt x="190" y="357"/>
                    </a:lnTo>
                    <a:lnTo>
                      <a:pt x="188" y="364"/>
                    </a:lnTo>
                    <a:lnTo>
                      <a:pt x="185" y="372"/>
                    </a:lnTo>
                    <a:lnTo>
                      <a:pt x="183" y="374"/>
                    </a:lnTo>
                    <a:lnTo>
                      <a:pt x="181" y="378"/>
                    </a:lnTo>
                    <a:lnTo>
                      <a:pt x="177" y="380"/>
                    </a:lnTo>
                    <a:lnTo>
                      <a:pt x="175" y="381"/>
                    </a:lnTo>
                    <a:lnTo>
                      <a:pt x="173" y="383"/>
                    </a:lnTo>
                    <a:lnTo>
                      <a:pt x="171" y="387"/>
                    </a:lnTo>
                    <a:lnTo>
                      <a:pt x="171" y="391"/>
                    </a:lnTo>
                    <a:lnTo>
                      <a:pt x="171" y="397"/>
                    </a:lnTo>
                    <a:lnTo>
                      <a:pt x="173" y="399"/>
                    </a:lnTo>
                    <a:lnTo>
                      <a:pt x="175" y="401"/>
                    </a:lnTo>
                    <a:lnTo>
                      <a:pt x="173" y="403"/>
                    </a:lnTo>
                    <a:lnTo>
                      <a:pt x="171" y="406"/>
                    </a:lnTo>
                    <a:lnTo>
                      <a:pt x="167" y="408"/>
                    </a:lnTo>
                    <a:lnTo>
                      <a:pt x="165" y="410"/>
                    </a:lnTo>
                    <a:lnTo>
                      <a:pt x="163" y="414"/>
                    </a:lnTo>
                    <a:lnTo>
                      <a:pt x="162" y="416"/>
                    </a:lnTo>
                    <a:lnTo>
                      <a:pt x="158" y="418"/>
                    </a:lnTo>
                    <a:lnTo>
                      <a:pt x="156" y="420"/>
                    </a:lnTo>
                    <a:lnTo>
                      <a:pt x="154" y="424"/>
                    </a:lnTo>
                    <a:lnTo>
                      <a:pt x="150" y="426"/>
                    </a:lnTo>
                    <a:lnTo>
                      <a:pt x="148" y="428"/>
                    </a:lnTo>
                    <a:lnTo>
                      <a:pt x="146" y="429"/>
                    </a:lnTo>
                    <a:lnTo>
                      <a:pt x="144" y="433"/>
                    </a:lnTo>
                    <a:lnTo>
                      <a:pt x="142" y="435"/>
                    </a:lnTo>
                    <a:lnTo>
                      <a:pt x="137" y="435"/>
                    </a:lnTo>
                    <a:lnTo>
                      <a:pt x="133" y="435"/>
                    </a:lnTo>
                    <a:lnTo>
                      <a:pt x="129" y="433"/>
                    </a:lnTo>
                    <a:lnTo>
                      <a:pt x="127" y="429"/>
                    </a:lnTo>
                    <a:lnTo>
                      <a:pt x="119" y="428"/>
                    </a:lnTo>
                    <a:lnTo>
                      <a:pt x="112" y="426"/>
                    </a:lnTo>
                    <a:lnTo>
                      <a:pt x="110" y="424"/>
                    </a:lnTo>
                    <a:lnTo>
                      <a:pt x="108" y="420"/>
                    </a:lnTo>
                    <a:lnTo>
                      <a:pt x="85" y="418"/>
                    </a:lnTo>
                    <a:lnTo>
                      <a:pt x="64" y="416"/>
                    </a:lnTo>
                    <a:lnTo>
                      <a:pt x="62" y="414"/>
                    </a:lnTo>
                    <a:lnTo>
                      <a:pt x="60" y="410"/>
                    </a:lnTo>
                    <a:lnTo>
                      <a:pt x="60" y="406"/>
                    </a:lnTo>
                    <a:lnTo>
                      <a:pt x="60" y="401"/>
                    </a:lnTo>
                    <a:lnTo>
                      <a:pt x="62" y="399"/>
                    </a:lnTo>
                    <a:lnTo>
                      <a:pt x="64" y="397"/>
                    </a:lnTo>
                    <a:lnTo>
                      <a:pt x="68" y="391"/>
                    </a:lnTo>
                    <a:lnTo>
                      <a:pt x="68" y="381"/>
                    </a:lnTo>
                    <a:lnTo>
                      <a:pt x="68" y="372"/>
                    </a:lnTo>
                    <a:lnTo>
                      <a:pt x="64" y="368"/>
                    </a:lnTo>
                    <a:lnTo>
                      <a:pt x="62" y="364"/>
                    </a:lnTo>
                    <a:lnTo>
                      <a:pt x="60" y="362"/>
                    </a:lnTo>
                    <a:lnTo>
                      <a:pt x="64" y="358"/>
                    </a:lnTo>
                    <a:lnTo>
                      <a:pt x="69" y="353"/>
                    </a:lnTo>
                    <a:lnTo>
                      <a:pt x="71" y="351"/>
                    </a:lnTo>
                    <a:lnTo>
                      <a:pt x="73" y="349"/>
                    </a:lnTo>
                    <a:lnTo>
                      <a:pt x="73" y="337"/>
                    </a:lnTo>
                    <a:lnTo>
                      <a:pt x="73" y="328"/>
                    </a:lnTo>
                    <a:lnTo>
                      <a:pt x="71" y="326"/>
                    </a:lnTo>
                    <a:lnTo>
                      <a:pt x="69" y="324"/>
                    </a:lnTo>
                    <a:lnTo>
                      <a:pt x="58" y="322"/>
                    </a:lnTo>
                    <a:lnTo>
                      <a:pt x="45" y="318"/>
                    </a:lnTo>
                    <a:lnTo>
                      <a:pt x="43" y="316"/>
                    </a:lnTo>
                    <a:lnTo>
                      <a:pt x="41" y="314"/>
                    </a:lnTo>
                    <a:lnTo>
                      <a:pt x="37" y="297"/>
                    </a:lnTo>
                    <a:lnTo>
                      <a:pt x="35" y="280"/>
                    </a:lnTo>
                    <a:lnTo>
                      <a:pt x="33" y="278"/>
                    </a:lnTo>
                    <a:lnTo>
                      <a:pt x="31" y="276"/>
                    </a:lnTo>
                    <a:lnTo>
                      <a:pt x="27" y="264"/>
                    </a:lnTo>
                    <a:lnTo>
                      <a:pt x="25" y="251"/>
                    </a:lnTo>
                    <a:lnTo>
                      <a:pt x="23" y="249"/>
                    </a:lnTo>
                    <a:lnTo>
                      <a:pt x="21" y="247"/>
                    </a:lnTo>
                    <a:lnTo>
                      <a:pt x="18" y="234"/>
                    </a:lnTo>
                    <a:lnTo>
                      <a:pt x="16" y="222"/>
                    </a:lnTo>
                    <a:lnTo>
                      <a:pt x="14" y="220"/>
                    </a:lnTo>
                    <a:lnTo>
                      <a:pt x="12" y="218"/>
                    </a:lnTo>
                    <a:lnTo>
                      <a:pt x="8" y="192"/>
                    </a:lnTo>
                    <a:lnTo>
                      <a:pt x="6" y="165"/>
                    </a:lnTo>
                    <a:lnTo>
                      <a:pt x="4" y="161"/>
                    </a:lnTo>
                    <a:lnTo>
                      <a:pt x="0" y="159"/>
                    </a:lnTo>
                    <a:lnTo>
                      <a:pt x="6" y="149"/>
                    </a:lnTo>
                    <a:lnTo>
                      <a:pt x="12" y="140"/>
                    </a:lnTo>
                    <a:lnTo>
                      <a:pt x="14" y="138"/>
                    </a:lnTo>
                    <a:lnTo>
                      <a:pt x="16" y="136"/>
                    </a:lnTo>
                    <a:lnTo>
                      <a:pt x="18" y="132"/>
                    </a:lnTo>
                    <a:lnTo>
                      <a:pt x="21" y="130"/>
                    </a:lnTo>
                    <a:lnTo>
                      <a:pt x="23" y="128"/>
                    </a:lnTo>
                    <a:lnTo>
                      <a:pt x="25" y="126"/>
                    </a:lnTo>
                    <a:lnTo>
                      <a:pt x="27" y="119"/>
                    </a:lnTo>
                    <a:lnTo>
                      <a:pt x="31" y="111"/>
                    </a:lnTo>
                    <a:lnTo>
                      <a:pt x="33" y="109"/>
                    </a:lnTo>
                    <a:lnTo>
                      <a:pt x="35" y="107"/>
                    </a:lnTo>
                    <a:lnTo>
                      <a:pt x="37" y="86"/>
                    </a:lnTo>
                    <a:lnTo>
                      <a:pt x="41" y="67"/>
                    </a:lnTo>
                    <a:lnTo>
                      <a:pt x="68" y="67"/>
                    </a:lnTo>
                    <a:lnTo>
                      <a:pt x="83" y="67"/>
                    </a:lnTo>
                    <a:lnTo>
                      <a:pt x="85" y="67"/>
                    </a:lnTo>
                    <a:lnTo>
                      <a:pt x="87" y="65"/>
                    </a:lnTo>
                    <a:lnTo>
                      <a:pt x="89" y="65"/>
                    </a:lnTo>
                    <a:lnTo>
                      <a:pt x="89" y="63"/>
                    </a:lnTo>
                    <a:lnTo>
                      <a:pt x="91" y="59"/>
                    </a:lnTo>
                    <a:lnTo>
                      <a:pt x="92" y="57"/>
                    </a:lnTo>
                    <a:lnTo>
                      <a:pt x="96" y="38"/>
                    </a:lnTo>
                    <a:lnTo>
                      <a:pt x="98" y="19"/>
                    </a:lnTo>
                    <a:lnTo>
                      <a:pt x="110" y="19"/>
                    </a:lnTo>
                    <a:lnTo>
                      <a:pt x="115" y="19"/>
                    </a:lnTo>
                    <a:lnTo>
                      <a:pt x="117" y="17"/>
                    </a:lnTo>
                    <a:lnTo>
                      <a:pt x="117" y="15"/>
                    </a:lnTo>
                    <a:lnTo>
                      <a:pt x="119" y="11"/>
                    </a:lnTo>
                    <a:lnTo>
                      <a:pt x="121" y="9"/>
                    </a:lnTo>
                    <a:lnTo>
                      <a:pt x="129" y="7"/>
                    </a:lnTo>
                    <a:lnTo>
                      <a:pt x="137" y="3"/>
                    </a:lnTo>
                    <a:lnTo>
                      <a:pt x="139" y="2"/>
                    </a:lnTo>
                    <a:lnTo>
                      <a:pt x="142" y="0"/>
                    </a:lnTo>
                    <a:lnTo>
                      <a:pt x="146" y="0"/>
                    </a:lnTo>
                    <a:lnTo>
                      <a:pt x="150" y="0"/>
                    </a:lnTo>
                    <a:lnTo>
                      <a:pt x="154" y="2"/>
                    </a:lnTo>
                    <a:lnTo>
                      <a:pt x="156" y="3"/>
                    </a:lnTo>
                    <a:lnTo>
                      <a:pt x="158" y="11"/>
                    </a:lnTo>
                    <a:lnTo>
                      <a:pt x="162" y="19"/>
                    </a:lnTo>
                    <a:lnTo>
                      <a:pt x="163" y="21"/>
                    </a:lnTo>
                    <a:lnTo>
                      <a:pt x="165" y="25"/>
                    </a:lnTo>
                    <a:lnTo>
                      <a:pt x="173" y="27"/>
                    </a:lnTo>
                    <a:lnTo>
                      <a:pt x="181" y="28"/>
                    </a:lnTo>
                    <a:lnTo>
                      <a:pt x="183" y="30"/>
                    </a:lnTo>
                    <a:lnTo>
                      <a:pt x="185" y="34"/>
                    </a:lnTo>
                    <a:lnTo>
                      <a:pt x="192" y="36"/>
                    </a:lnTo>
                    <a:lnTo>
                      <a:pt x="200" y="38"/>
                    </a:lnTo>
                    <a:lnTo>
                      <a:pt x="202" y="42"/>
                    </a:lnTo>
                    <a:lnTo>
                      <a:pt x="204" y="44"/>
                    </a:lnTo>
                    <a:lnTo>
                      <a:pt x="211" y="51"/>
                    </a:lnTo>
                    <a:lnTo>
                      <a:pt x="219" y="57"/>
                    </a:lnTo>
                    <a:lnTo>
                      <a:pt x="221" y="59"/>
                    </a:lnTo>
                    <a:lnTo>
                      <a:pt x="223" y="63"/>
                    </a:lnTo>
                    <a:lnTo>
                      <a:pt x="227" y="69"/>
                    </a:lnTo>
                    <a:lnTo>
                      <a:pt x="229" y="76"/>
                    </a:lnTo>
                    <a:lnTo>
                      <a:pt x="231" y="80"/>
                    </a:lnTo>
                    <a:lnTo>
                      <a:pt x="233" y="82"/>
                    </a:lnTo>
                    <a:lnTo>
                      <a:pt x="238" y="82"/>
                    </a:lnTo>
                    <a:lnTo>
                      <a:pt x="244" y="82"/>
                    </a:lnTo>
                    <a:lnTo>
                      <a:pt x="246" y="80"/>
                    </a:lnTo>
                    <a:lnTo>
                      <a:pt x="248" y="76"/>
                    </a:lnTo>
                    <a:lnTo>
                      <a:pt x="250" y="80"/>
                    </a:lnTo>
                    <a:lnTo>
                      <a:pt x="254" y="82"/>
                    </a:lnTo>
                    <a:lnTo>
                      <a:pt x="256" y="84"/>
                    </a:lnTo>
                    <a:lnTo>
                      <a:pt x="257" y="86"/>
                    </a:lnTo>
                    <a:lnTo>
                      <a:pt x="259" y="90"/>
                    </a:lnTo>
                    <a:lnTo>
                      <a:pt x="261" y="92"/>
                    </a:lnTo>
                    <a:lnTo>
                      <a:pt x="265" y="94"/>
                    </a:lnTo>
                    <a:lnTo>
                      <a:pt x="267" y="96"/>
                    </a:lnTo>
                    <a:lnTo>
                      <a:pt x="269" y="99"/>
                    </a:lnTo>
                    <a:lnTo>
                      <a:pt x="273" y="101"/>
                    </a:lnTo>
                    <a:lnTo>
                      <a:pt x="275" y="103"/>
                    </a:lnTo>
                    <a:lnTo>
                      <a:pt x="277" y="107"/>
                    </a:lnTo>
                    <a:lnTo>
                      <a:pt x="279" y="109"/>
                    </a:lnTo>
                    <a:lnTo>
                      <a:pt x="282" y="111"/>
                    </a:lnTo>
                    <a:lnTo>
                      <a:pt x="288" y="113"/>
                    </a:lnTo>
                    <a:lnTo>
                      <a:pt x="296" y="117"/>
                    </a:lnTo>
                    <a:lnTo>
                      <a:pt x="298" y="119"/>
                    </a:lnTo>
                    <a:lnTo>
                      <a:pt x="302" y="121"/>
                    </a:lnTo>
                    <a:lnTo>
                      <a:pt x="304" y="136"/>
                    </a:lnTo>
                    <a:lnTo>
                      <a:pt x="305" y="149"/>
                    </a:lnTo>
                    <a:lnTo>
                      <a:pt x="307" y="165"/>
                    </a:lnTo>
                    <a:lnTo>
                      <a:pt x="311" y="178"/>
                    </a:lnTo>
                    <a:lnTo>
                      <a:pt x="307" y="182"/>
                    </a:lnTo>
                    <a:lnTo>
                      <a:pt x="305" y="184"/>
                    </a:lnTo>
                    <a:lnTo>
                      <a:pt x="284" y="184"/>
                    </a:lnTo>
                    <a:lnTo>
                      <a:pt x="261" y="184"/>
                    </a:lnTo>
                    <a:lnTo>
                      <a:pt x="261" y="190"/>
                    </a:lnTo>
                    <a:lnTo>
                      <a:pt x="261" y="197"/>
                    </a:lnTo>
                    <a:lnTo>
                      <a:pt x="259" y="201"/>
                    </a:lnTo>
                    <a:lnTo>
                      <a:pt x="257" y="203"/>
                    </a:lnTo>
                    <a:lnTo>
                      <a:pt x="256" y="201"/>
                    </a:lnTo>
                    <a:lnTo>
                      <a:pt x="254" y="197"/>
                    </a:lnTo>
                    <a:lnTo>
                      <a:pt x="254" y="190"/>
                    </a:lnTo>
                    <a:lnTo>
                      <a:pt x="254" y="184"/>
                    </a:lnTo>
                    <a:lnTo>
                      <a:pt x="246" y="184"/>
                    </a:lnTo>
                    <a:lnTo>
                      <a:pt x="238" y="184"/>
                    </a:lnTo>
                    <a:lnTo>
                      <a:pt x="236" y="182"/>
                    </a:lnTo>
                    <a:lnTo>
                      <a:pt x="233" y="178"/>
                    </a:lnTo>
                    <a:lnTo>
                      <a:pt x="236" y="176"/>
                    </a:lnTo>
                    <a:lnTo>
                      <a:pt x="238" y="174"/>
                    </a:lnTo>
                    <a:lnTo>
                      <a:pt x="238" y="169"/>
                    </a:lnTo>
                    <a:lnTo>
                      <a:pt x="238" y="165"/>
                    </a:lnTo>
                    <a:lnTo>
                      <a:pt x="236" y="161"/>
                    </a:lnTo>
                    <a:lnTo>
                      <a:pt x="233" y="159"/>
                    </a:lnTo>
                    <a:lnTo>
                      <a:pt x="213" y="159"/>
                    </a:lnTo>
                    <a:lnTo>
                      <a:pt x="194" y="159"/>
                    </a:lnTo>
                    <a:lnTo>
                      <a:pt x="192" y="161"/>
                    </a:lnTo>
                    <a:lnTo>
                      <a:pt x="190" y="165"/>
                    </a:lnTo>
                    <a:lnTo>
                      <a:pt x="186" y="169"/>
                    </a:lnTo>
                    <a:lnTo>
                      <a:pt x="186" y="178"/>
                    </a:lnTo>
                    <a:lnTo>
                      <a:pt x="186" y="190"/>
                    </a:lnTo>
                    <a:lnTo>
                      <a:pt x="190" y="193"/>
                    </a:lnTo>
                    <a:lnTo>
                      <a:pt x="192" y="195"/>
                    </a:lnTo>
                    <a:lnTo>
                      <a:pt x="194" y="197"/>
                    </a:lnTo>
                    <a:lnTo>
                      <a:pt x="196" y="211"/>
                    </a:lnTo>
                    <a:lnTo>
                      <a:pt x="200" y="222"/>
                    </a:lnTo>
                    <a:lnTo>
                      <a:pt x="202" y="224"/>
                    </a:lnTo>
                    <a:lnTo>
                      <a:pt x="204" y="228"/>
                    </a:lnTo>
                    <a:lnTo>
                      <a:pt x="211" y="230"/>
                    </a:lnTo>
                    <a:lnTo>
                      <a:pt x="219" y="232"/>
                    </a:lnTo>
                    <a:lnTo>
                      <a:pt x="221" y="234"/>
                    </a:lnTo>
                    <a:lnTo>
                      <a:pt x="223" y="236"/>
                    </a:lnTo>
                    <a:lnTo>
                      <a:pt x="231" y="238"/>
                    </a:lnTo>
                    <a:lnTo>
                      <a:pt x="275" y="236"/>
                    </a:lnTo>
                    <a:lnTo>
                      <a:pt x="286" y="236"/>
                    </a:lnTo>
                    <a:lnTo>
                      <a:pt x="300" y="236"/>
                    </a:lnTo>
                    <a:lnTo>
                      <a:pt x="296" y="245"/>
                    </a:lnTo>
                    <a:lnTo>
                      <a:pt x="292" y="257"/>
                    </a:lnTo>
                    <a:lnTo>
                      <a:pt x="288" y="259"/>
                    </a:lnTo>
                    <a:lnTo>
                      <a:pt x="286" y="261"/>
                    </a:lnTo>
                    <a:lnTo>
                      <a:pt x="284" y="263"/>
                    </a:lnTo>
                    <a:lnTo>
                      <a:pt x="282" y="266"/>
                    </a:lnTo>
                    <a:lnTo>
                      <a:pt x="279" y="268"/>
                    </a:lnTo>
                    <a:lnTo>
                      <a:pt x="277" y="270"/>
                    </a:lnTo>
                    <a:lnTo>
                      <a:pt x="275" y="276"/>
                    </a:lnTo>
                    <a:lnTo>
                      <a:pt x="275" y="284"/>
                    </a:lnTo>
                    <a:lnTo>
                      <a:pt x="263" y="284"/>
                    </a:lnTo>
                    <a:lnTo>
                      <a:pt x="254" y="286"/>
                    </a:lnTo>
                    <a:lnTo>
                      <a:pt x="246" y="287"/>
                    </a:lnTo>
                    <a:lnTo>
                      <a:pt x="238" y="291"/>
                    </a:lnTo>
                  </a:path>
                </a:pathLst>
              </a:custGeom>
              <a:grpFill/>
              <a:ln w="3175">
                <a:solidFill>
                  <a:srgbClr val="FF8300"/>
                </a:solidFill>
                <a:round/>
                <a:headEnd/>
                <a:tailEnd/>
              </a:ln>
            </p:spPr>
            <p:txBody>
              <a:bodyPr/>
              <a:lstStyle/>
              <a:p>
                <a:pPr>
                  <a:defRPr/>
                </a:pPr>
                <a:endParaRPr lang="en-GB" sz="1400">
                  <a:solidFill>
                    <a:schemeClr val="tx2"/>
                  </a:solidFill>
                </a:endParaRPr>
              </a:p>
            </p:txBody>
          </p:sp>
          <p:sp>
            <p:nvSpPr>
              <p:cNvPr id="395" name="Freeform 299"/>
              <p:cNvSpPr>
                <a:spLocks/>
              </p:cNvSpPr>
              <p:nvPr>
                <p:custDataLst>
                  <p:tags r:id="rId44"/>
                </p:custDataLst>
              </p:nvPr>
            </p:nvSpPr>
            <p:spPr bwMode="gray">
              <a:xfrm>
                <a:off x="2033727" y="5134273"/>
                <a:ext cx="579699" cy="565764"/>
              </a:xfrm>
              <a:custGeom>
                <a:avLst/>
                <a:gdLst>
                  <a:gd name="T0" fmla="*/ 2147483647 w 424"/>
                  <a:gd name="T1" fmla="*/ 2147483647 h 430"/>
                  <a:gd name="T2" fmla="*/ 2147483647 w 424"/>
                  <a:gd name="T3" fmla="*/ 2147483647 h 430"/>
                  <a:gd name="T4" fmla="*/ 2147483647 w 424"/>
                  <a:gd name="T5" fmla="*/ 2147483647 h 430"/>
                  <a:gd name="T6" fmla="*/ 2147483647 w 424"/>
                  <a:gd name="T7" fmla="*/ 2147483647 h 430"/>
                  <a:gd name="T8" fmla="*/ 2147483647 w 424"/>
                  <a:gd name="T9" fmla="*/ 2147483647 h 430"/>
                  <a:gd name="T10" fmla="*/ 2147483647 w 424"/>
                  <a:gd name="T11" fmla="*/ 2147483647 h 430"/>
                  <a:gd name="T12" fmla="*/ 2147483647 w 424"/>
                  <a:gd name="T13" fmla="*/ 2147483647 h 430"/>
                  <a:gd name="T14" fmla="*/ 2147483647 w 424"/>
                  <a:gd name="T15" fmla="*/ 2147483647 h 430"/>
                  <a:gd name="T16" fmla="*/ 2147483647 w 424"/>
                  <a:gd name="T17" fmla="*/ 2147483647 h 430"/>
                  <a:gd name="T18" fmla="*/ 2147483647 w 424"/>
                  <a:gd name="T19" fmla="*/ 2147483647 h 430"/>
                  <a:gd name="T20" fmla="*/ 2147483647 w 424"/>
                  <a:gd name="T21" fmla="*/ 2147483647 h 430"/>
                  <a:gd name="T22" fmla="*/ 0 w 424"/>
                  <a:gd name="T23" fmla="*/ 2147483647 h 430"/>
                  <a:gd name="T24" fmla="*/ 0 w 424"/>
                  <a:gd name="T25" fmla="*/ 2147483647 h 430"/>
                  <a:gd name="T26" fmla="*/ 2147483647 w 424"/>
                  <a:gd name="T27" fmla="*/ 2147483647 h 430"/>
                  <a:gd name="T28" fmla="*/ 2147483647 w 424"/>
                  <a:gd name="T29" fmla="*/ 2147483647 h 430"/>
                  <a:gd name="T30" fmla="*/ 2147483647 w 424"/>
                  <a:gd name="T31" fmla="*/ 2147483647 h 430"/>
                  <a:gd name="T32" fmla="*/ 2147483647 w 424"/>
                  <a:gd name="T33" fmla="*/ 2147483647 h 430"/>
                  <a:gd name="T34" fmla="*/ 2147483647 w 424"/>
                  <a:gd name="T35" fmla="*/ 2147483647 h 430"/>
                  <a:gd name="T36" fmla="*/ 2147483647 w 424"/>
                  <a:gd name="T37" fmla="*/ 2147483647 h 430"/>
                  <a:gd name="T38" fmla="*/ 2147483647 w 424"/>
                  <a:gd name="T39" fmla="*/ 2147483647 h 430"/>
                  <a:gd name="T40" fmla="*/ 2147483647 w 424"/>
                  <a:gd name="T41" fmla="*/ 2147483647 h 430"/>
                  <a:gd name="T42" fmla="*/ 2147483647 w 424"/>
                  <a:gd name="T43" fmla="*/ 2147483647 h 430"/>
                  <a:gd name="T44" fmla="*/ 2147483647 w 424"/>
                  <a:gd name="T45" fmla="*/ 2147483647 h 430"/>
                  <a:gd name="T46" fmla="*/ 2147483647 w 424"/>
                  <a:gd name="T47" fmla="*/ 2147483647 h 430"/>
                  <a:gd name="T48" fmla="*/ 2147483647 w 424"/>
                  <a:gd name="T49" fmla="*/ 2147483647 h 430"/>
                  <a:gd name="T50" fmla="*/ 2147483647 w 424"/>
                  <a:gd name="T51" fmla="*/ 2147483647 h 430"/>
                  <a:gd name="T52" fmla="*/ 2147483647 w 424"/>
                  <a:gd name="T53" fmla="*/ 0 h 430"/>
                  <a:gd name="T54" fmla="*/ 2147483647 w 424"/>
                  <a:gd name="T55" fmla="*/ 2147483647 h 430"/>
                  <a:gd name="T56" fmla="*/ 2147483647 w 424"/>
                  <a:gd name="T57" fmla="*/ 2147483647 h 430"/>
                  <a:gd name="T58" fmla="*/ 2147483647 w 424"/>
                  <a:gd name="T59" fmla="*/ 2147483647 h 430"/>
                  <a:gd name="T60" fmla="*/ 2147483647 w 424"/>
                  <a:gd name="T61" fmla="*/ 2147483647 h 430"/>
                  <a:gd name="T62" fmla="*/ 2147483647 w 424"/>
                  <a:gd name="T63" fmla="*/ 2147483647 h 430"/>
                  <a:gd name="T64" fmla="*/ 2147483647 w 424"/>
                  <a:gd name="T65" fmla="*/ 2147483647 h 430"/>
                  <a:gd name="T66" fmla="*/ 2147483647 w 424"/>
                  <a:gd name="T67" fmla="*/ 2147483647 h 430"/>
                  <a:gd name="T68" fmla="*/ 2147483647 w 424"/>
                  <a:gd name="T69" fmla="*/ 2147483647 h 430"/>
                  <a:gd name="T70" fmla="*/ 2147483647 w 424"/>
                  <a:gd name="T71" fmla="*/ 2147483647 h 430"/>
                  <a:gd name="T72" fmla="*/ 2147483647 w 424"/>
                  <a:gd name="T73" fmla="*/ 2147483647 h 430"/>
                  <a:gd name="T74" fmla="*/ 2147483647 w 424"/>
                  <a:gd name="T75" fmla="*/ 2147483647 h 430"/>
                  <a:gd name="T76" fmla="*/ 2147483647 w 424"/>
                  <a:gd name="T77" fmla="*/ 2147483647 h 430"/>
                  <a:gd name="T78" fmla="*/ 2147483647 w 424"/>
                  <a:gd name="T79" fmla="*/ 2147483647 h 430"/>
                  <a:gd name="T80" fmla="*/ 2147483647 w 424"/>
                  <a:gd name="T81" fmla="*/ 2147483647 h 430"/>
                  <a:gd name="T82" fmla="*/ 2147483647 w 424"/>
                  <a:gd name="T83" fmla="*/ 2147483647 h 430"/>
                  <a:gd name="T84" fmla="*/ 2147483647 w 424"/>
                  <a:gd name="T85" fmla="*/ 2147483647 h 430"/>
                  <a:gd name="T86" fmla="*/ 2147483647 w 424"/>
                  <a:gd name="T87" fmla="*/ 2147483647 h 430"/>
                  <a:gd name="T88" fmla="*/ 2147483647 w 424"/>
                  <a:gd name="T89" fmla="*/ 2147483647 h 430"/>
                  <a:gd name="T90" fmla="*/ 2147483647 w 424"/>
                  <a:gd name="T91" fmla="*/ 2147483647 h 430"/>
                  <a:gd name="T92" fmla="*/ 2147483647 w 424"/>
                  <a:gd name="T93" fmla="*/ 2147483647 h 430"/>
                  <a:gd name="T94" fmla="*/ 2147483647 w 424"/>
                  <a:gd name="T95" fmla="*/ 2147483647 h 430"/>
                  <a:gd name="T96" fmla="*/ 2147483647 w 424"/>
                  <a:gd name="T97" fmla="*/ 2147483647 h 430"/>
                  <a:gd name="T98" fmla="*/ 2147483647 w 424"/>
                  <a:gd name="T99" fmla="*/ 2147483647 h 430"/>
                  <a:gd name="T100" fmla="*/ 2147483647 w 424"/>
                  <a:gd name="T101" fmla="*/ 2147483647 h 430"/>
                  <a:gd name="T102" fmla="*/ 2147483647 w 424"/>
                  <a:gd name="T103" fmla="*/ 2147483647 h 430"/>
                  <a:gd name="T104" fmla="*/ 2147483647 w 424"/>
                  <a:gd name="T105" fmla="*/ 2147483647 h 430"/>
                  <a:gd name="T106" fmla="*/ 2147483647 w 424"/>
                  <a:gd name="T107" fmla="*/ 2147483647 h 430"/>
                  <a:gd name="T108" fmla="*/ 2147483647 w 424"/>
                  <a:gd name="T109" fmla="*/ 2147483647 h 430"/>
                  <a:gd name="T110" fmla="*/ 2147483647 w 424"/>
                  <a:gd name="T111" fmla="*/ 2147483647 h 430"/>
                  <a:gd name="T112" fmla="*/ 2147483647 w 424"/>
                  <a:gd name="T113" fmla="*/ 2147483647 h 430"/>
                  <a:gd name="T114" fmla="*/ 2147483647 w 424"/>
                  <a:gd name="T115" fmla="*/ 2147483647 h 430"/>
                  <a:gd name="T116" fmla="*/ 2147483647 w 424"/>
                  <a:gd name="T117" fmla="*/ 2147483647 h 430"/>
                  <a:gd name="T118" fmla="*/ 2147483647 w 424"/>
                  <a:gd name="T119" fmla="*/ 2147483647 h 430"/>
                  <a:gd name="T120" fmla="*/ 2147483647 w 424"/>
                  <a:gd name="T121" fmla="*/ 2147483647 h 43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4"/>
                  <a:gd name="T184" fmla="*/ 0 h 430"/>
                  <a:gd name="T185" fmla="*/ 424 w 424"/>
                  <a:gd name="T186" fmla="*/ 430 h 430"/>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4" h="430">
                    <a:moveTo>
                      <a:pt x="356" y="424"/>
                    </a:moveTo>
                    <a:lnTo>
                      <a:pt x="333" y="420"/>
                    </a:lnTo>
                    <a:lnTo>
                      <a:pt x="308" y="414"/>
                    </a:lnTo>
                    <a:lnTo>
                      <a:pt x="303" y="395"/>
                    </a:lnTo>
                    <a:lnTo>
                      <a:pt x="299" y="376"/>
                    </a:lnTo>
                    <a:lnTo>
                      <a:pt x="299" y="360"/>
                    </a:lnTo>
                    <a:lnTo>
                      <a:pt x="299" y="347"/>
                    </a:lnTo>
                    <a:lnTo>
                      <a:pt x="255" y="334"/>
                    </a:lnTo>
                    <a:lnTo>
                      <a:pt x="218" y="322"/>
                    </a:lnTo>
                    <a:lnTo>
                      <a:pt x="199" y="320"/>
                    </a:lnTo>
                    <a:lnTo>
                      <a:pt x="180" y="318"/>
                    </a:lnTo>
                    <a:lnTo>
                      <a:pt x="159" y="318"/>
                    </a:lnTo>
                    <a:lnTo>
                      <a:pt x="134" y="318"/>
                    </a:lnTo>
                    <a:lnTo>
                      <a:pt x="134" y="312"/>
                    </a:lnTo>
                    <a:lnTo>
                      <a:pt x="134" y="309"/>
                    </a:lnTo>
                    <a:lnTo>
                      <a:pt x="130" y="293"/>
                    </a:lnTo>
                    <a:lnTo>
                      <a:pt x="128" y="276"/>
                    </a:lnTo>
                    <a:lnTo>
                      <a:pt x="117" y="274"/>
                    </a:lnTo>
                    <a:lnTo>
                      <a:pt x="105" y="270"/>
                    </a:lnTo>
                    <a:lnTo>
                      <a:pt x="97" y="259"/>
                    </a:lnTo>
                    <a:lnTo>
                      <a:pt x="92" y="247"/>
                    </a:lnTo>
                    <a:lnTo>
                      <a:pt x="88" y="234"/>
                    </a:lnTo>
                    <a:lnTo>
                      <a:pt x="86" y="211"/>
                    </a:lnTo>
                    <a:lnTo>
                      <a:pt x="82" y="205"/>
                    </a:lnTo>
                    <a:lnTo>
                      <a:pt x="76" y="199"/>
                    </a:lnTo>
                    <a:lnTo>
                      <a:pt x="65" y="192"/>
                    </a:lnTo>
                    <a:lnTo>
                      <a:pt x="47" y="182"/>
                    </a:lnTo>
                    <a:lnTo>
                      <a:pt x="47" y="178"/>
                    </a:lnTo>
                    <a:lnTo>
                      <a:pt x="47" y="172"/>
                    </a:lnTo>
                    <a:lnTo>
                      <a:pt x="47" y="169"/>
                    </a:lnTo>
                    <a:lnTo>
                      <a:pt x="47" y="163"/>
                    </a:lnTo>
                    <a:lnTo>
                      <a:pt x="44" y="157"/>
                    </a:lnTo>
                    <a:lnTo>
                      <a:pt x="40" y="151"/>
                    </a:lnTo>
                    <a:lnTo>
                      <a:pt x="19" y="147"/>
                    </a:lnTo>
                    <a:lnTo>
                      <a:pt x="0" y="144"/>
                    </a:lnTo>
                    <a:lnTo>
                      <a:pt x="0" y="140"/>
                    </a:lnTo>
                    <a:lnTo>
                      <a:pt x="0" y="134"/>
                    </a:lnTo>
                    <a:lnTo>
                      <a:pt x="0" y="132"/>
                    </a:lnTo>
                    <a:lnTo>
                      <a:pt x="0" y="130"/>
                    </a:lnTo>
                    <a:lnTo>
                      <a:pt x="1" y="126"/>
                    </a:lnTo>
                    <a:lnTo>
                      <a:pt x="3" y="124"/>
                    </a:lnTo>
                    <a:lnTo>
                      <a:pt x="17" y="123"/>
                    </a:lnTo>
                    <a:lnTo>
                      <a:pt x="28" y="119"/>
                    </a:lnTo>
                    <a:lnTo>
                      <a:pt x="30" y="117"/>
                    </a:lnTo>
                    <a:lnTo>
                      <a:pt x="32" y="115"/>
                    </a:lnTo>
                    <a:lnTo>
                      <a:pt x="34" y="113"/>
                    </a:lnTo>
                    <a:lnTo>
                      <a:pt x="38" y="111"/>
                    </a:lnTo>
                    <a:lnTo>
                      <a:pt x="40" y="107"/>
                    </a:lnTo>
                    <a:lnTo>
                      <a:pt x="42" y="105"/>
                    </a:lnTo>
                    <a:lnTo>
                      <a:pt x="44" y="103"/>
                    </a:lnTo>
                    <a:lnTo>
                      <a:pt x="47" y="101"/>
                    </a:lnTo>
                    <a:lnTo>
                      <a:pt x="49" y="98"/>
                    </a:lnTo>
                    <a:lnTo>
                      <a:pt x="51" y="96"/>
                    </a:lnTo>
                    <a:lnTo>
                      <a:pt x="65" y="94"/>
                    </a:lnTo>
                    <a:lnTo>
                      <a:pt x="76" y="90"/>
                    </a:lnTo>
                    <a:lnTo>
                      <a:pt x="78" y="88"/>
                    </a:lnTo>
                    <a:lnTo>
                      <a:pt x="82" y="86"/>
                    </a:lnTo>
                    <a:lnTo>
                      <a:pt x="84" y="84"/>
                    </a:lnTo>
                    <a:lnTo>
                      <a:pt x="86" y="80"/>
                    </a:lnTo>
                    <a:lnTo>
                      <a:pt x="88" y="78"/>
                    </a:lnTo>
                    <a:lnTo>
                      <a:pt x="92" y="76"/>
                    </a:lnTo>
                    <a:lnTo>
                      <a:pt x="94" y="75"/>
                    </a:lnTo>
                    <a:lnTo>
                      <a:pt x="95" y="71"/>
                    </a:lnTo>
                    <a:lnTo>
                      <a:pt x="97" y="69"/>
                    </a:lnTo>
                    <a:lnTo>
                      <a:pt x="101" y="67"/>
                    </a:lnTo>
                    <a:lnTo>
                      <a:pt x="103" y="65"/>
                    </a:lnTo>
                    <a:lnTo>
                      <a:pt x="105" y="61"/>
                    </a:lnTo>
                    <a:lnTo>
                      <a:pt x="107" y="59"/>
                    </a:lnTo>
                    <a:lnTo>
                      <a:pt x="111" y="57"/>
                    </a:lnTo>
                    <a:lnTo>
                      <a:pt x="113" y="50"/>
                    </a:lnTo>
                    <a:lnTo>
                      <a:pt x="115" y="42"/>
                    </a:lnTo>
                    <a:lnTo>
                      <a:pt x="117" y="40"/>
                    </a:lnTo>
                    <a:lnTo>
                      <a:pt x="120" y="38"/>
                    </a:lnTo>
                    <a:lnTo>
                      <a:pt x="132" y="34"/>
                    </a:lnTo>
                    <a:lnTo>
                      <a:pt x="143" y="32"/>
                    </a:lnTo>
                    <a:lnTo>
                      <a:pt x="147" y="30"/>
                    </a:lnTo>
                    <a:lnTo>
                      <a:pt x="149" y="28"/>
                    </a:lnTo>
                    <a:lnTo>
                      <a:pt x="151" y="13"/>
                    </a:lnTo>
                    <a:lnTo>
                      <a:pt x="153" y="0"/>
                    </a:lnTo>
                    <a:lnTo>
                      <a:pt x="161" y="0"/>
                    </a:lnTo>
                    <a:lnTo>
                      <a:pt x="168" y="0"/>
                    </a:lnTo>
                    <a:lnTo>
                      <a:pt x="170" y="2"/>
                    </a:lnTo>
                    <a:lnTo>
                      <a:pt x="174" y="4"/>
                    </a:lnTo>
                    <a:lnTo>
                      <a:pt x="176" y="15"/>
                    </a:lnTo>
                    <a:lnTo>
                      <a:pt x="178" y="28"/>
                    </a:lnTo>
                    <a:lnTo>
                      <a:pt x="180" y="30"/>
                    </a:lnTo>
                    <a:lnTo>
                      <a:pt x="182" y="32"/>
                    </a:lnTo>
                    <a:lnTo>
                      <a:pt x="186" y="40"/>
                    </a:lnTo>
                    <a:lnTo>
                      <a:pt x="188" y="48"/>
                    </a:lnTo>
                    <a:lnTo>
                      <a:pt x="189" y="50"/>
                    </a:lnTo>
                    <a:lnTo>
                      <a:pt x="191" y="52"/>
                    </a:lnTo>
                    <a:lnTo>
                      <a:pt x="195" y="78"/>
                    </a:lnTo>
                    <a:lnTo>
                      <a:pt x="197" y="105"/>
                    </a:lnTo>
                    <a:lnTo>
                      <a:pt x="199" y="107"/>
                    </a:lnTo>
                    <a:lnTo>
                      <a:pt x="203" y="111"/>
                    </a:lnTo>
                    <a:lnTo>
                      <a:pt x="205" y="123"/>
                    </a:lnTo>
                    <a:lnTo>
                      <a:pt x="207" y="134"/>
                    </a:lnTo>
                    <a:lnTo>
                      <a:pt x="209" y="136"/>
                    </a:lnTo>
                    <a:lnTo>
                      <a:pt x="212" y="140"/>
                    </a:lnTo>
                    <a:lnTo>
                      <a:pt x="214" y="151"/>
                    </a:lnTo>
                    <a:lnTo>
                      <a:pt x="216" y="163"/>
                    </a:lnTo>
                    <a:lnTo>
                      <a:pt x="218" y="165"/>
                    </a:lnTo>
                    <a:lnTo>
                      <a:pt x="222" y="169"/>
                    </a:lnTo>
                    <a:lnTo>
                      <a:pt x="224" y="184"/>
                    </a:lnTo>
                    <a:lnTo>
                      <a:pt x="226" y="201"/>
                    </a:lnTo>
                    <a:lnTo>
                      <a:pt x="228" y="205"/>
                    </a:lnTo>
                    <a:lnTo>
                      <a:pt x="232" y="207"/>
                    </a:lnTo>
                    <a:lnTo>
                      <a:pt x="243" y="209"/>
                    </a:lnTo>
                    <a:lnTo>
                      <a:pt x="255" y="211"/>
                    </a:lnTo>
                    <a:lnTo>
                      <a:pt x="259" y="215"/>
                    </a:lnTo>
                    <a:lnTo>
                      <a:pt x="260" y="217"/>
                    </a:lnTo>
                    <a:lnTo>
                      <a:pt x="260" y="220"/>
                    </a:lnTo>
                    <a:lnTo>
                      <a:pt x="260" y="226"/>
                    </a:lnTo>
                    <a:lnTo>
                      <a:pt x="259" y="228"/>
                    </a:lnTo>
                    <a:lnTo>
                      <a:pt x="255" y="232"/>
                    </a:lnTo>
                    <a:lnTo>
                      <a:pt x="247" y="232"/>
                    </a:lnTo>
                    <a:lnTo>
                      <a:pt x="241" y="232"/>
                    </a:lnTo>
                    <a:lnTo>
                      <a:pt x="243" y="241"/>
                    </a:lnTo>
                    <a:lnTo>
                      <a:pt x="245" y="251"/>
                    </a:lnTo>
                    <a:lnTo>
                      <a:pt x="247" y="253"/>
                    </a:lnTo>
                    <a:lnTo>
                      <a:pt x="251" y="255"/>
                    </a:lnTo>
                    <a:lnTo>
                      <a:pt x="251" y="264"/>
                    </a:lnTo>
                    <a:lnTo>
                      <a:pt x="251" y="274"/>
                    </a:lnTo>
                    <a:lnTo>
                      <a:pt x="247" y="276"/>
                    </a:lnTo>
                    <a:lnTo>
                      <a:pt x="245" y="280"/>
                    </a:lnTo>
                    <a:lnTo>
                      <a:pt x="245" y="289"/>
                    </a:lnTo>
                    <a:lnTo>
                      <a:pt x="245" y="299"/>
                    </a:lnTo>
                    <a:lnTo>
                      <a:pt x="247" y="301"/>
                    </a:lnTo>
                    <a:lnTo>
                      <a:pt x="251" y="303"/>
                    </a:lnTo>
                    <a:lnTo>
                      <a:pt x="272" y="307"/>
                    </a:lnTo>
                    <a:lnTo>
                      <a:pt x="293" y="309"/>
                    </a:lnTo>
                    <a:lnTo>
                      <a:pt x="297" y="311"/>
                    </a:lnTo>
                    <a:lnTo>
                      <a:pt x="299" y="312"/>
                    </a:lnTo>
                    <a:lnTo>
                      <a:pt x="306" y="316"/>
                    </a:lnTo>
                    <a:lnTo>
                      <a:pt x="312" y="318"/>
                    </a:lnTo>
                    <a:lnTo>
                      <a:pt x="316" y="320"/>
                    </a:lnTo>
                    <a:lnTo>
                      <a:pt x="318" y="322"/>
                    </a:lnTo>
                    <a:lnTo>
                      <a:pt x="328" y="322"/>
                    </a:lnTo>
                    <a:lnTo>
                      <a:pt x="337" y="322"/>
                    </a:lnTo>
                    <a:lnTo>
                      <a:pt x="339" y="320"/>
                    </a:lnTo>
                    <a:lnTo>
                      <a:pt x="341" y="318"/>
                    </a:lnTo>
                    <a:lnTo>
                      <a:pt x="345" y="316"/>
                    </a:lnTo>
                    <a:lnTo>
                      <a:pt x="347" y="312"/>
                    </a:lnTo>
                    <a:lnTo>
                      <a:pt x="349" y="311"/>
                    </a:lnTo>
                    <a:lnTo>
                      <a:pt x="353" y="309"/>
                    </a:lnTo>
                    <a:lnTo>
                      <a:pt x="354" y="307"/>
                    </a:lnTo>
                    <a:lnTo>
                      <a:pt x="356" y="303"/>
                    </a:lnTo>
                    <a:lnTo>
                      <a:pt x="358" y="301"/>
                    </a:lnTo>
                    <a:lnTo>
                      <a:pt x="362" y="299"/>
                    </a:lnTo>
                    <a:lnTo>
                      <a:pt x="364" y="297"/>
                    </a:lnTo>
                    <a:lnTo>
                      <a:pt x="366" y="293"/>
                    </a:lnTo>
                    <a:lnTo>
                      <a:pt x="368" y="291"/>
                    </a:lnTo>
                    <a:lnTo>
                      <a:pt x="372" y="289"/>
                    </a:lnTo>
                    <a:lnTo>
                      <a:pt x="385" y="289"/>
                    </a:lnTo>
                    <a:lnTo>
                      <a:pt x="401" y="289"/>
                    </a:lnTo>
                    <a:lnTo>
                      <a:pt x="402" y="291"/>
                    </a:lnTo>
                    <a:lnTo>
                      <a:pt x="406" y="293"/>
                    </a:lnTo>
                    <a:lnTo>
                      <a:pt x="408" y="297"/>
                    </a:lnTo>
                    <a:lnTo>
                      <a:pt x="410" y="299"/>
                    </a:lnTo>
                    <a:lnTo>
                      <a:pt x="412" y="301"/>
                    </a:lnTo>
                    <a:lnTo>
                      <a:pt x="414" y="303"/>
                    </a:lnTo>
                    <a:lnTo>
                      <a:pt x="414" y="307"/>
                    </a:lnTo>
                    <a:lnTo>
                      <a:pt x="414" y="309"/>
                    </a:lnTo>
                    <a:lnTo>
                      <a:pt x="414" y="312"/>
                    </a:lnTo>
                    <a:lnTo>
                      <a:pt x="414" y="318"/>
                    </a:lnTo>
                    <a:lnTo>
                      <a:pt x="410" y="322"/>
                    </a:lnTo>
                    <a:lnTo>
                      <a:pt x="406" y="328"/>
                    </a:lnTo>
                    <a:lnTo>
                      <a:pt x="401" y="332"/>
                    </a:lnTo>
                    <a:lnTo>
                      <a:pt x="395" y="337"/>
                    </a:lnTo>
                    <a:lnTo>
                      <a:pt x="393" y="337"/>
                    </a:lnTo>
                    <a:lnTo>
                      <a:pt x="391" y="343"/>
                    </a:lnTo>
                    <a:lnTo>
                      <a:pt x="391" y="355"/>
                    </a:lnTo>
                    <a:lnTo>
                      <a:pt x="393" y="378"/>
                    </a:lnTo>
                    <a:lnTo>
                      <a:pt x="402" y="382"/>
                    </a:lnTo>
                    <a:lnTo>
                      <a:pt x="414" y="385"/>
                    </a:lnTo>
                    <a:lnTo>
                      <a:pt x="420" y="401"/>
                    </a:lnTo>
                    <a:lnTo>
                      <a:pt x="424" y="414"/>
                    </a:lnTo>
                    <a:lnTo>
                      <a:pt x="420" y="422"/>
                    </a:lnTo>
                    <a:lnTo>
                      <a:pt x="414" y="430"/>
                    </a:lnTo>
                    <a:lnTo>
                      <a:pt x="389" y="424"/>
                    </a:lnTo>
                    <a:lnTo>
                      <a:pt x="374" y="422"/>
                    </a:lnTo>
                    <a:lnTo>
                      <a:pt x="366" y="422"/>
                    </a:lnTo>
                    <a:lnTo>
                      <a:pt x="356" y="424"/>
                    </a:lnTo>
                  </a:path>
                </a:pathLst>
              </a:custGeom>
              <a:grpFill/>
              <a:ln w="3175">
                <a:solidFill>
                  <a:srgbClr val="FF8300"/>
                </a:solidFill>
                <a:round/>
                <a:headEnd/>
                <a:tailEnd/>
              </a:ln>
            </p:spPr>
            <p:txBody>
              <a:bodyPr/>
              <a:lstStyle/>
              <a:p>
                <a:pPr>
                  <a:defRPr/>
                </a:pPr>
                <a:endParaRPr lang="en-GB" sz="1400">
                  <a:solidFill>
                    <a:schemeClr val="tx2"/>
                  </a:solidFill>
                </a:endParaRPr>
              </a:p>
            </p:txBody>
          </p:sp>
          <p:sp>
            <p:nvSpPr>
              <p:cNvPr id="396" name="Freeform 315"/>
              <p:cNvSpPr>
                <a:spLocks/>
              </p:cNvSpPr>
              <p:nvPr>
                <p:custDataLst>
                  <p:tags r:id="rId45"/>
                </p:custDataLst>
              </p:nvPr>
            </p:nvSpPr>
            <p:spPr bwMode="gray">
              <a:xfrm>
                <a:off x="1945937" y="5042302"/>
                <a:ext cx="302391" cy="267553"/>
              </a:xfrm>
              <a:custGeom>
                <a:avLst/>
                <a:gdLst>
                  <a:gd name="T0" fmla="*/ 2147483647 w 223"/>
                  <a:gd name="T1" fmla="*/ 2147483647 h 203"/>
                  <a:gd name="T2" fmla="*/ 2147483647 w 223"/>
                  <a:gd name="T3" fmla="*/ 2147483647 h 203"/>
                  <a:gd name="T4" fmla="*/ 2147483647 w 223"/>
                  <a:gd name="T5" fmla="*/ 2147483647 h 203"/>
                  <a:gd name="T6" fmla="*/ 2147483647 w 223"/>
                  <a:gd name="T7" fmla="*/ 2147483647 h 203"/>
                  <a:gd name="T8" fmla="*/ 2147483647 w 223"/>
                  <a:gd name="T9" fmla="*/ 2147483647 h 203"/>
                  <a:gd name="T10" fmla="*/ 2147483647 w 223"/>
                  <a:gd name="T11" fmla="*/ 2147483647 h 203"/>
                  <a:gd name="T12" fmla="*/ 2147483647 w 223"/>
                  <a:gd name="T13" fmla="*/ 2147483647 h 203"/>
                  <a:gd name="T14" fmla="*/ 2147483647 w 223"/>
                  <a:gd name="T15" fmla="*/ 2147483647 h 203"/>
                  <a:gd name="T16" fmla="*/ 2147483647 w 223"/>
                  <a:gd name="T17" fmla="*/ 2147483647 h 203"/>
                  <a:gd name="T18" fmla="*/ 2147483647 w 223"/>
                  <a:gd name="T19" fmla="*/ 2147483647 h 203"/>
                  <a:gd name="T20" fmla="*/ 2147483647 w 223"/>
                  <a:gd name="T21" fmla="*/ 2147483647 h 203"/>
                  <a:gd name="T22" fmla="*/ 2147483647 w 223"/>
                  <a:gd name="T23" fmla="*/ 2147483647 h 203"/>
                  <a:gd name="T24" fmla="*/ 2147483647 w 223"/>
                  <a:gd name="T25" fmla="*/ 2147483647 h 203"/>
                  <a:gd name="T26" fmla="*/ 2147483647 w 223"/>
                  <a:gd name="T27" fmla="*/ 2147483647 h 203"/>
                  <a:gd name="T28" fmla="*/ 2147483647 w 223"/>
                  <a:gd name="T29" fmla="*/ 2147483647 h 203"/>
                  <a:gd name="T30" fmla="*/ 2147483647 w 223"/>
                  <a:gd name="T31" fmla="*/ 2147483647 h 203"/>
                  <a:gd name="T32" fmla="*/ 2147483647 w 223"/>
                  <a:gd name="T33" fmla="*/ 2147483647 h 203"/>
                  <a:gd name="T34" fmla="*/ 2147483647 w 223"/>
                  <a:gd name="T35" fmla="*/ 2147483647 h 203"/>
                  <a:gd name="T36" fmla="*/ 2147483647 w 223"/>
                  <a:gd name="T37" fmla="*/ 2147483647 h 203"/>
                  <a:gd name="T38" fmla="*/ 2147483647 w 223"/>
                  <a:gd name="T39" fmla="*/ 2147483647 h 203"/>
                  <a:gd name="T40" fmla="*/ 2147483647 w 223"/>
                  <a:gd name="T41" fmla="*/ 2147483647 h 203"/>
                  <a:gd name="T42" fmla="*/ 2147483647 w 223"/>
                  <a:gd name="T43" fmla="*/ 2147483647 h 203"/>
                  <a:gd name="T44" fmla="*/ 2147483647 w 223"/>
                  <a:gd name="T45" fmla="*/ 2147483647 h 203"/>
                  <a:gd name="T46" fmla="*/ 2147483647 w 223"/>
                  <a:gd name="T47" fmla="*/ 2147483647 h 203"/>
                  <a:gd name="T48" fmla="*/ 2147483647 w 223"/>
                  <a:gd name="T49" fmla="*/ 2147483647 h 203"/>
                  <a:gd name="T50" fmla="*/ 2147483647 w 223"/>
                  <a:gd name="T51" fmla="*/ 2147483647 h 203"/>
                  <a:gd name="T52" fmla="*/ 2147483647 w 223"/>
                  <a:gd name="T53" fmla="*/ 2147483647 h 203"/>
                  <a:gd name="T54" fmla="*/ 2147483647 w 223"/>
                  <a:gd name="T55" fmla="*/ 2147483647 h 203"/>
                  <a:gd name="T56" fmla="*/ 2147483647 w 223"/>
                  <a:gd name="T57" fmla="*/ 2147483647 h 203"/>
                  <a:gd name="T58" fmla="*/ 2147483647 w 223"/>
                  <a:gd name="T59" fmla="*/ 2147483647 h 203"/>
                  <a:gd name="T60" fmla="*/ 2147483647 w 223"/>
                  <a:gd name="T61" fmla="*/ 2147483647 h 203"/>
                  <a:gd name="T62" fmla="*/ 2147483647 w 223"/>
                  <a:gd name="T63" fmla="*/ 2147483647 h 203"/>
                  <a:gd name="T64" fmla="*/ 2147483647 w 223"/>
                  <a:gd name="T65" fmla="*/ 2147483647 h 203"/>
                  <a:gd name="T66" fmla="*/ 2147483647 w 223"/>
                  <a:gd name="T67" fmla="*/ 2147483647 h 203"/>
                  <a:gd name="T68" fmla="*/ 2147483647 w 223"/>
                  <a:gd name="T69" fmla="*/ 2147483647 h 203"/>
                  <a:gd name="T70" fmla="*/ 2147483647 w 223"/>
                  <a:gd name="T71" fmla="*/ 2147483647 h 203"/>
                  <a:gd name="T72" fmla="*/ 2147483647 w 223"/>
                  <a:gd name="T73" fmla="*/ 2147483647 h 203"/>
                  <a:gd name="T74" fmla="*/ 2147483647 w 223"/>
                  <a:gd name="T75" fmla="*/ 2147483647 h 203"/>
                  <a:gd name="T76" fmla="*/ 2147483647 w 223"/>
                  <a:gd name="T77" fmla="*/ 2147483647 h 203"/>
                  <a:gd name="T78" fmla="*/ 2147483647 w 223"/>
                  <a:gd name="T79" fmla="*/ 2147483647 h 203"/>
                  <a:gd name="T80" fmla="*/ 2147483647 w 223"/>
                  <a:gd name="T81" fmla="*/ 2147483647 h 203"/>
                  <a:gd name="T82" fmla="*/ 2147483647 w 223"/>
                  <a:gd name="T83" fmla="*/ 2147483647 h 203"/>
                  <a:gd name="T84" fmla="*/ 2147483647 w 223"/>
                  <a:gd name="T85" fmla="*/ 2147483647 h 203"/>
                  <a:gd name="T86" fmla="*/ 2147483647 w 223"/>
                  <a:gd name="T87" fmla="*/ 2147483647 h 203"/>
                  <a:gd name="T88" fmla="*/ 2147483647 w 223"/>
                  <a:gd name="T89" fmla="*/ 2147483647 h 203"/>
                  <a:gd name="T90" fmla="*/ 2147483647 w 223"/>
                  <a:gd name="T91" fmla="*/ 2147483647 h 203"/>
                  <a:gd name="T92" fmla="*/ 2147483647 w 223"/>
                  <a:gd name="T93" fmla="*/ 2147483647 h 203"/>
                  <a:gd name="T94" fmla="*/ 2147483647 w 223"/>
                  <a:gd name="T95" fmla="*/ 2147483647 h 203"/>
                  <a:gd name="T96" fmla="*/ 2147483647 w 223"/>
                  <a:gd name="T97" fmla="*/ 2147483647 h 203"/>
                  <a:gd name="T98" fmla="*/ 2147483647 w 223"/>
                  <a:gd name="T99" fmla="*/ 2147483647 h 203"/>
                  <a:gd name="T100" fmla="*/ 2147483647 w 223"/>
                  <a:gd name="T101" fmla="*/ 2147483647 h 203"/>
                  <a:gd name="T102" fmla="*/ 2147483647 w 223"/>
                  <a:gd name="T103" fmla="*/ 2147483647 h 203"/>
                  <a:gd name="T104" fmla="*/ 2147483647 w 223"/>
                  <a:gd name="T105" fmla="*/ 2147483647 h 203"/>
                  <a:gd name="T106" fmla="*/ 2147483647 w 223"/>
                  <a:gd name="T107" fmla="*/ 2147483647 h 203"/>
                  <a:gd name="T108" fmla="*/ 2147483647 w 223"/>
                  <a:gd name="T109" fmla="*/ 2147483647 h 203"/>
                  <a:gd name="T110" fmla="*/ 2147483647 w 223"/>
                  <a:gd name="T111" fmla="*/ 2147483647 h 203"/>
                  <a:gd name="T112" fmla="*/ 2147483647 w 223"/>
                  <a:gd name="T113" fmla="*/ 2147483647 h 203"/>
                  <a:gd name="T114" fmla="*/ 2147483647 w 223"/>
                  <a:gd name="T115" fmla="*/ 2147483647 h 203"/>
                  <a:gd name="T116" fmla="*/ 2147483647 w 223"/>
                  <a:gd name="T117" fmla="*/ 2147483647 h 203"/>
                  <a:gd name="T118" fmla="*/ 2147483647 w 223"/>
                  <a:gd name="T119" fmla="*/ 2147483647 h 203"/>
                  <a:gd name="T120" fmla="*/ 2147483647 w 223"/>
                  <a:gd name="T121" fmla="*/ 2147483647 h 20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223"/>
                  <a:gd name="T184" fmla="*/ 0 h 203"/>
                  <a:gd name="T185" fmla="*/ 223 w 223"/>
                  <a:gd name="T186" fmla="*/ 203 h 20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223" h="203">
                    <a:moveTo>
                      <a:pt x="50" y="203"/>
                    </a:moveTo>
                    <a:lnTo>
                      <a:pt x="46" y="180"/>
                    </a:lnTo>
                    <a:lnTo>
                      <a:pt x="45" y="155"/>
                    </a:lnTo>
                    <a:lnTo>
                      <a:pt x="43" y="154"/>
                    </a:lnTo>
                    <a:lnTo>
                      <a:pt x="41" y="150"/>
                    </a:lnTo>
                    <a:lnTo>
                      <a:pt x="37" y="138"/>
                    </a:lnTo>
                    <a:lnTo>
                      <a:pt x="35" y="127"/>
                    </a:lnTo>
                    <a:lnTo>
                      <a:pt x="33" y="123"/>
                    </a:lnTo>
                    <a:lnTo>
                      <a:pt x="29" y="121"/>
                    </a:lnTo>
                    <a:lnTo>
                      <a:pt x="23" y="119"/>
                    </a:lnTo>
                    <a:lnTo>
                      <a:pt x="16" y="117"/>
                    </a:lnTo>
                    <a:lnTo>
                      <a:pt x="14" y="113"/>
                    </a:lnTo>
                    <a:lnTo>
                      <a:pt x="12" y="111"/>
                    </a:lnTo>
                    <a:lnTo>
                      <a:pt x="8" y="104"/>
                    </a:lnTo>
                    <a:lnTo>
                      <a:pt x="6" y="98"/>
                    </a:lnTo>
                    <a:lnTo>
                      <a:pt x="4" y="94"/>
                    </a:lnTo>
                    <a:lnTo>
                      <a:pt x="0" y="92"/>
                    </a:lnTo>
                    <a:lnTo>
                      <a:pt x="4" y="75"/>
                    </a:lnTo>
                    <a:lnTo>
                      <a:pt x="6" y="58"/>
                    </a:lnTo>
                    <a:lnTo>
                      <a:pt x="8" y="42"/>
                    </a:lnTo>
                    <a:lnTo>
                      <a:pt x="12" y="25"/>
                    </a:lnTo>
                    <a:lnTo>
                      <a:pt x="14" y="21"/>
                    </a:lnTo>
                    <a:lnTo>
                      <a:pt x="16" y="19"/>
                    </a:lnTo>
                    <a:lnTo>
                      <a:pt x="23" y="17"/>
                    </a:lnTo>
                    <a:lnTo>
                      <a:pt x="29" y="15"/>
                    </a:lnTo>
                    <a:lnTo>
                      <a:pt x="33" y="12"/>
                    </a:lnTo>
                    <a:lnTo>
                      <a:pt x="35" y="10"/>
                    </a:lnTo>
                    <a:lnTo>
                      <a:pt x="37" y="8"/>
                    </a:lnTo>
                    <a:lnTo>
                      <a:pt x="41" y="6"/>
                    </a:lnTo>
                    <a:lnTo>
                      <a:pt x="43" y="4"/>
                    </a:lnTo>
                    <a:lnTo>
                      <a:pt x="45" y="0"/>
                    </a:lnTo>
                    <a:lnTo>
                      <a:pt x="46" y="4"/>
                    </a:lnTo>
                    <a:lnTo>
                      <a:pt x="50" y="6"/>
                    </a:lnTo>
                    <a:lnTo>
                      <a:pt x="52" y="8"/>
                    </a:lnTo>
                    <a:lnTo>
                      <a:pt x="54" y="10"/>
                    </a:lnTo>
                    <a:lnTo>
                      <a:pt x="56" y="12"/>
                    </a:lnTo>
                    <a:lnTo>
                      <a:pt x="60" y="15"/>
                    </a:lnTo>
                    <a:lnTo>
                      <a:pt x="66" y="17"/>
                    </a:lnTo>
                    <a:lnTo>
                      <a:pt x="73" y="19"/>
                    </a:lnTo>
                    <a:lnTo>
                      <a:pt x="75" y="21"/>
                    </a:lnTo>
                    <a:lnTo>
                      <a:pt x="79" y="25"/>
                    </a:lnTo>
                    <a:lnTo>
                      <a:pt x="85" y="27"/>
                    </a:lnTo>
                    <a:lnTo>
                      <a:pt x="93" y="29"/>
                    </a:lnTo>
                    <a:lnTo>
                      <a:pt x="96" y="33"/>
                    </a:lnTo>
                    <a:lnTo>
                      <a:pt x="98" y="35"/>
                    </a:lnTo>
                    <a:lnTo>
                      <a:pt x="108" y="35"/>
                    </a:lnTo>
                    <a:lnTo>
                      <a:pt x="117" y="35"/>
                    </a:lnTo>
                    <a:lnTo>
                      <a:pt x="119" y="33"/>
                    </a:lnTo>
                    <a:lnTo>
                      <a:pt x="121" y="29"/>
                    </a:lnTo>
                    <a:lnTo>
                      <a:pt x="125" y="27"/>
                    </a:lnTo>
                    <a:lnTo>
                      <a:pt x="127" y="25"/>
                    </a:lnTo>
                    <a:lnTo>
                      <a:pt x="129" y="21"/>
                    </a:lnTo>
                    <a:lnTo>
                      <a:pt x="131" y="19"/>
                    </a:lnTo>
                    <a:lnTo>
                      <a:pt x="135" y="13"/>
                    </a:lnTo>
                    <a:lnTo>
                      <a:pt x="137" y="6"/>
                    </a:lnTo>
                    <a:lnTo>
                      <a:pt x="139" y="4"/>
                    </a:lnTo>
                    <a:lnTo>
                      <a:pt x="140" y="0"/>
                    </a:lnTo>
                    <a:lnTo>
                      <a:pt x="144" y="4"/>
                    </a:lnTo>
                    <a:lnTo>
                      <a:pt x="146" y="6"/>
                    </a:lnTo>
                    <a:lnTo>
                      <a:pt x="148" y="8"/>
                    </a:lnTo>
                    <a:lnTo>
                      <a:pt x="152" y="10"/>
                    </a:lnTo>
                    <a:lnTo>
                      <a:pt x="154" y="12"/>
                    </a:lnTo>
                    <a:lnTo>
                      <a:pt x="156" y="15"/>
                    </a:lnTo>
                    <a:lnTo>
                      <a:pt x="162" y="17"/>
                    </a:lnTo>
                    <a:lnTo>
                      <a:pt x="175" y="19"/>
                    </a:lnTo>
                    <a:lnTo>
                      <a:pt x="188" y="17"/>
                    </a:lnTo>
                    <a:lnTo>
                      <a:pt x="194" y="15"/>
                    </a:lnTo>
                    <a:lnTo>
                      <a:pt x="196" y="12"/>
                    </a:lnTo>
                    <a:lnTo>
                      <a:pt x="200" y="10"/>
                    </a:lnTo>
                    <a:lnTo>
                      <a:pt x="202" y="12"/>
                    </a:lnTo>
                    <a:lnTo>
                      <a:pt x="204" y="15"/>
                    </a:lnTo>
                    <a:lnTo>
                      <a:pt x="206" y="21"/>
                    </a:lnTo>
                    <a:lnTo>
                      <a:pt x="210" y="29"/>
                    </a:lnTo>
                    <a:lnTo>
                      <a:pt x="211" y="33"/>
                    </a:lnTo>
                    <a:lnTo>
                      <a:pt x="213" y="35"/>
                    </a:lnTo>
                    <a:lnTo>
                      <a:pt x="217" y="36"/>
                    </a:lnTo>
                    <a:lnTo>
                      <a:pt x="219" y="38"/>
                    </a:lnTo>
                    <a:lnTo>
                      <a:pt x="221" y="42"/>
                    </a:lnTo>
                    <a:lnTo>
                      <a:pt x="223" y="44"/>
                    </a:lnTo>
                    <a:lnTo>
                      <a:pt x="221" y="58"/>
                    </a:lnTo>
                    <a:lnTo>
                      <a:pt x="219" y="73"/>
                    </a:lnTo>
                    <a:lnTo>
                      <a:pt x="215" y="88"/>
                    </a:lnTo>
                    <a:lnTo>
                      <a:pt x="213" y="102"/>
                    </a:lnTo>
                    <a:lnTo>
                      <a:pt x="211" y="104"/>
                    </a:lnTo>
                    <a:lnTo>
                      <a:pt x="210" y="107"/>
                    </a:lnTo>
                    <a:lnTo>
                      <a:pt x="198" y="109"/>
                    </a:lnTo>
                    <a:lnTo>
                      <a:pt x="185" y="111"/>
                    </a:lnTo>
                    <a:lnTo>
                      <a:pt x="183" y="113"/>
                    </a:lnTo>
                    <a:lnTo>
                      <a:pt x="181" y="117"/>
                    </a:lnTo>
                    <a:lnTo>
                      <a:pt x="177" y="123"/>
                    </a:lnTo>
                    <a:lnTo>
                      <a:pt x="175" y="131"/>
                    </a:lnTo>
                    <a:lnTo>
                      <a:pt x="173" y="132"/>
                    </a:lnTo>
                    <a:lnTo>
                      <a:pt x="171" y="136"/>
                    </a:lnTo>
                    <a:lnTo>
                      <a:pt x="167" y="138"/>
                    </a:lnTo>
                    <a:lnTo>
                      <a:pt x="165" y="140"/>
                    </a:lnTo>
                    <a:lnTo>
                      <a:pt x="164" y="144"/>
                    </a:lnTo>
                    <a:lnTo>
                      <a:pt x="162" y="146"/>
                    </a:lnTo>
                    <a:lnTo>
                      <a:pt x="158" y="148"/>
                    </a:lnTo>
                    <a:lnTo>
                      <a:pt x="156" y="150"/>
                    </a:lnTo>
                    <a:lnTo>
                      <a:pt x="154" y="154"/>
                    </a:lnTo>
                    <a:lnTo>
                      <a:pt x="152" y="155"/>
                    </a:lnTo>
                    <a:lnTo>
                      <a:pt x="148" y="157"/>
                    </a:lnTo>
                    <a:lnTo>
                      <a:pt x="146" y="159"/>
                    </a:lnTo>
                    <a:lnTo>
                      <a:pt x="144" y="163"/>
                    </a:lnTo>
                    <a:lnTo>
                      <a:pt x="140" y="165"/>
                    </a:lnTo>
                    <a:lnTo>
                      <a:pt x="129" y="167"/>
                    </a:lnTo>
                    <a:lnTo>
                      <a:pt x="117" y="169"/>
                    </a:lnTo>
                    <a:lnTo>
                      <a:pt x="114" y="173"/>
                    </a:lnTo>
                    <a:lnTo>
                      <a:pt x="112" y="175"/>
                    </a:lnTo>
                    <a:lnTo>
                      <a:pt x="110" y="177"/>
                    </a:lnTo>
                    <a:lnTo>
                      <a:pt x="108" y="180"/>
                    </a:lnTo>
                    <a:lnTo>
                      <a:pt x="104" y="182"/>
                    </a:lnTo>
                    <a:lnTo>
                      <a:pt x="102" y="184"/>
                    </a:lnTo>
                    <a:lnTo>
                      <a:pt x="100" y="186"/>
                    </a:lnTo>
                    <a:lnTo>
                      <a:pt x="98" y="190"/>
                    </a:lnTo>
                    <a:lnTo>
                      <a:pt x="96" y="192"/>
                    </a:lnTo>
                    <a:lnTo>
                      <a:pt x="93" y="194"/>
                    </a:lnTo>
                    <a:lnTo>
                      <a:pt x="81" y="196"/>
                    </a:lnTo>
                    <a:lnTo>
                      <a:pt x="70" y="198"/>
                    </a:lnTo>
                    <a:lnTo>
                      <a:pt x="66" y="202"/>
                    </a:lnTo>
                    <a:lnTo>
                      <a:pt x="64" y="203"/>
                    </a:lnTo>
                    <a:lnTo>
                      <a:pt x="56" y="203"/>
                    </a:lnTo>
                    <a:lnTo>
                      <a:pt x="50" y="203"/>
                    </a:lnTo>
                  </a:path>
                </a:pathLst>
              </a:custGeom>
              <a:grpFill/>
              <a:ln w="3175">
                <a:solidFill>
                  <a:srgbClr val="FF8300"/>
                </a:solidFill>
                <a:round/>
                <a:headEnd/>
                <a:tailEnd/>
              </a:ln>
            </p:spPr>
            <p:txBody>
              <a:bodyPr/>
              <a:lstStyle/>
              <a:p>
                <a:pPr>
                  <a:defRPr/>
                </a:pPr>
                <a:endParaRPr lang="en-GB" sz="1400">
                  <a:solidFill>
                    <a:schemeClr val="tx2"/>
                  </a:solidFill>
                </a:endParaRPr>
              </a:p>
            </p:txBody>
          </p:sp>
          <p:sp>
            <p:nvSpPr>
              <p:cNvPr id="397" name="Freeform 317"/>
              <p:cNvSpPr>
                <a:spLocks/>
              </p:cNvSpPr>
              <p:nvPr>
                <p:custDataLst>
                  <p:tags r:id="rId46"/>
                </p:custDataLst>
              </p:nvPr>
            </p:nvSpPr>
            <p:spPr bwMode="gray">
              <a:xfrm>
                <a:off x="1834456" y="4905738"/>
                <a:ext cx="289849" cy="202059"/>
              </a:xfrm>
              <a:custGeom>
                <a:avLst/>
                <a:gdLst>
                  <a:gd name="T0" fmla="*/ 2147483647 w 213"/>
                  <a:gd name="T1" fmla="*/ 2147483647 h 154"/>
                  <a:gd name="T2" fmla="*/ 2147483647 w 213"/>
                  <a:gd name="T3" fmla="*/ 2147483647 h 154"/>
                  <a:gd name="T4" fmla="*/ 2147483647 w 213"/>
                  <a:gd name="T5" fmla="*/ 2147483647 h 154"/>
                  <a:gd name="T6" fmla="*/ 2147483647 w 213"/>
                  <a:gd name="T7" fmla="*/ 2147483647 h 154"/>
                  <a:gd name="T8" fmla="*/ 2147483647 w 213"/>
                  <a:gd name="T9" fmla="*/ 2147483647 h 154"/>
                  <a:gd name="T10" fmla="*/ 2147483647 w 213"/>
                  <a:gd name="T11" fmla="*/ 2147483647 h 154"/>
                  <a:gd name="T12" fmla="*/ 2147483647 w 213"/>
                  <a:gd name="T13" fmla="*/ 2147483647 h 154"/>
                  <a:gd name="T14" fmla="*/ 2147483647 w 213"/>
                  <a:gd name="T15" fmla="*/ 2147483647 h 154"/>
                  <a:gd name="T16" fmla="*/ 2147483647 w 213"/>
                  <a:gd name="T17" fmla="*/ 2147483647 h 154"/>
                  <a:gd name="T18" fmla="*/ 2147483647 w 213"/>
                  <a:gd name="T19" fmla="*/ 2147483647 h 154"/>
                  <a:gd name="T20" fmla="*/ 2147483647 w 213"/>
                  <a:gd name="T21" fmla="*/ 2147483647 h 154"/>
                  <a:gd name="T22" fmla="*/ 2147483647 w 213"/>
                  <a:gd name="T23" fmla="*/ 2147483647 h 154"/>
                  <a:gd name="T24" fmla="*/ 2147483647 w 213"/>
                  <a:gd name="T25" fmla="*/ 2147483647 h 154"/>
                  <a:gd name="T26" fmla="*/ 2147483647 w 213"/>
                  <a:gd name="T27" fmla="*/ 2147483647 h 154"/>
                  <a:gd name="T28" fmla="*/ 2147483647 w 213"/>
                  <a:gd name="T29" fmla="*/ 2147483647 h 154"/>
                  <a:gd name="T30" fmla="*/ 2147483647 w 213"/>
                  <a:gd name="T31" fmla="*/ 2147483647 h 154"/>
                  <a:gd name="T32" fmla="*/ 2147483647 w 213"/>
                  <a:gd name="T33" fmla="*/ 2147483647 h 154"/>
                  <a:gd name="T34" fmla="*/ 2147483647 w 213"/>
                  <a:gd name="T35" fmla="*/ 2147483647 h 154"/>
                  <a:gd name="T36" fmla="*/ 2147483647 w 213"/>
                  <a:gd name="T37" fmla="*/ 2147483647 h 154"/>
                  <a:gd name="T38" fmla="*/ 2147483647 w 213"/>
                  <a:gd name="T39" fmla="*/ 2147483647 h 154"/>
                  <a:gd name="T40" fmla="*/ 2147483647 w 213"/>
                  <a:gd name="T41" fmla="*/ 0 h 154"/>
                  <a:gd name="T42" fmla="*/ 2147483647 w 213"/>
                  <a:gd name="T43" fmla="*/ 2147483647 h 154"/>
                  <a:gd name="T44" fmla="*/ 2147483647 w 213"/>
                  <a:gd name="T45" fmla="*/ 2147483647 h 154"/>
                  <a:gd name="T46" fmla="*/ 2147483647 w 213"/>
                  <a:gd name="T47" fmla="*/ 2147483647 h 154"/>
                  <a:gd name="T48" fmla="*/ 2147483647 w 213"/>
                  <a:gd name="T49" fmla="*/ 2147483647 h 154"/>
                  <a:gd name="T50" fmla="*/ 2147483647 w 213"/>
                  <a:gd name="T51" fmla="*/ 2147483647 h 154"/>
                  <a:gd name="T52" fmla="*/ 2147483647 w 213"/>
                  <a:gd name="T53" fmla="*/ 2147483647 h 154"/>
                  <a:gd name="T54" fmla="*/ 2147483647 w 213"/>
                  <a:gd name="T55" fmla="*/ 2147483647 h 154"/>
                  <a:gd name="T56" fmla="*/ 2147483647 w 213"/>
                  <a:gd name="T57" fmla="*/ 2147483647 h 154"/>
                  <a:gd name="T58" fmla="*/ 2147483647 w 213"/>
                  <a:gd name="T59" fmla="*/ 2147483647 h 154"/>
                  <a:gd name="T60" fmla="*/ 2147483647 w 213"/>
                  <a:gd name="T61" fmla="*/ 2147483647 h 154"/>
                  <a:gd name="T62" fmla="*/ 2147483647 w 213"/>
                  <a:gd name="T63" fmla="*/ 2147483647 h 154"/>
                  <a:gd name="T64" fmla="*/ 2147483647 w 213"/>
                  <a:gd name="T65" fmla="*/ 2147483647 h 154"/>
                  <a:gd name="T66" fmla="*/ 2147483647 w 213"/>
                  <a:gd name="T67" fmla="*/ 2147483647 h 154"/>
                  <a:gd name="T68" fmla="*/ 2147483647 w 213"/>
                  <a:gd name="T69" fmla="*/ 2147483647 h 154"/>
                  <a:gd name="T70" fmla="*/ 2147483647 w 213"/>
                  <a:gd name="T71" fmla="*/ 2147483647 h 154"/>
                  <a:gd name="T72" fmla="*/ 2147483647 w 213"/>
                  <a:gd name="T73" fmla="*/ 2147483647 h 154"/>
                  <a:gd name="T74" fmla="*/ 2147483647 w 213"/>
                  <a:gd name="T75" fmla="*/ 2147483647 h 154"/>
                  <a:gd name="T76" fmla="*/ 2147483647 w 213"/>
                  <a:gd name="T77" fmla="*/ 2147483647 h 154"/>
                  <a:gd name="T78" fmla="*/ 2147483647 w 213"/>
                  <a:gd name="T79" fmla="*/ 2147483647 h 154"/>
                  <a:gd name="T80" fmla="*/ 2147483647 w 213"/>
                  <a:gd name="T81" fmla="*/ 2147483647 h 154"/>
                  <a:gd name="T82" fmla="*/ 2147483647 w 213"/>
                  <a:gd name="T83" fmla="*/ 2147483647 h 154"/>
                  <a:gd name="T84" fmla="*/ 2147483647 w 213"/>
                  <a:gd name="T85" fmla="*/ 2147483647 h 154"/>
                  <a:gd name="T86" fmla="*/ 2147483647 w 213"/>
                  <a:gd name="T87" fmla="*/ 2147483647 h 154"/>
                  <a:gd name="T88" fmla="*/ 2147483647 w 213"/>
                  <a:gd name="T89" fmla="*/ 2147483647 h 154"/>
                  <a:gd name="T90" fmla="*/ 2147483647 w 213"/>
                  <a:gd name="T91" fmla="*/ 2147483647 h 154"/>
                  <a:gd name="T92" fmla="*/ 2147483647 w 213"/>
                  <a:gd name="T93" fmla="*/ 2147483647 h 154"/>
                  <a:gd name="T94" fmla="*/ 2147483647 w 213"/>
                  <a:gd name="T95" fmla="*/ 2147483647 h 154"/>
                  <a:gd name="T96" fmla="*/ 2147483647 w 213"/>
                  <a:gd name="T97" fmla="*/ 2147483647 h 154"/>
                  <a:gd name="T98" fmla="*/ 2147483647 w 213"/>
                  <a:gd name="T99" fmla="*/ 2147483647 h 154"/>
                  <a:gd name="T100" fmla="*/ 2147483647 w 213"/>
                  <a:gd name="T101" fmla="*/ 2147483647 h 154"/>
                  <a:gd name="T102" fmla="*/ 2147483647 w 213"/>
                  <a:gd name="T103" fmla="*/ 2147483647 h 154"/>
                  <a:gd name="T104" fmla="*/ 2147483647 w 213"/>
                  <a:gd name="T105" fmla="*/ 2147483647 h 154"/>
                  <a:gd name="T106" fmla="*/ 2147483647 w 213"/>
                  <a:gd name="T107" fmla="*/ 2147483647 h 154"/>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13"/>
                  <a:gd name="T163" fmla="*/ 0 h 154"/>
                  <a:gd name="T164" fmla="*/ 213 w 213"/>
                  <a:gd name="T165" fmla="*/ 154 h 154"/>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13" h="154">
                    <a:moveTo>
                      <a:pt x="34" y="154"/>
                    </a:moveTo>
                    <a:lnTo>
                      <a:pt x="30" y="152"/>
                    </a:lnTo>
                    <a:lnTo>
                      <a:pt x="28" y="150"/>
                    </a:lnTo>
                    <a:lnTo>
                      <a:pt x="21" y="148"/>
                    </a:lnTo>
                    <a:lnTo>
                      <a:pt x="15" y="144"/>
                    </a:lnTo>
                    <a:lnTo>
                      <a:pt x="11" y="142"/>
                    </a:lnTo>
                    <a:lnTo>
                      <a:pt x="9" y="140"/>
                    </a:lnTo>
                    <a:lnTo>
                      <a:pt x="7" y="138"/>
                    </a:lnTo>
                    <a:lnTo>
                      <a:pt x="5" y="134"/>
                    </a:lnTo>
                    <a:lnTo>
                      <a:pt x="2" y="132"/>
                    </a:lnTo>
                    <a:lnTo>
                      <a:pt x="0" y="131"/>
                    </a:lnTo>
                    <a:lnTo>
                      <a:pt x="2" y="129"/>
                    </a:lnTo>
                    <a:lnTo>
                      <a:pt x="5" y="125"/>
                    </a:lnTo>
                    <a:lnTo>
                      <a:pt x="7" y="123"/>
                    </a:lnTo>
                    <a:lnTo>
                      <a:pt x="9" y="121"/>
                    </a:lnTo>
                    <a:lnTo>
                      <a:pt x="11" y="117"/>
                    </a:lnTo>
                    <a:lnTo>
                      <a:pt x="15" y="115"/>
                    </a:lnTo>
                    <a:lnTo>
                      <a:pt x="17" y="113"/>
                    </a:lnTo>
                    <a:lnTo>
                      <a:pt x="19" y="111"/>
                    </a:lnTo>
                    <a:lnTo>
                      <a:pt x="21" y="108"/>
                    </a:lnTo>
                    <a:lnTo>
                      <a:pt x="25" y="106"/>
                    </a:lnTo>
                    <a:lnTo>
                      <a:pt x="27" y="104"/>
                    </a:lnTo>
                    <a:lnTo>
                      <a:pt x="28" y="102"/>
                    </a:lnTo>
                    <a:lnTo>
                      <a:pt x="30" y="100"/>
                    </a:lnTo>
                    <a:lnTo>
                      <a:pt x="34" y="96"/>
                    </a:lnTo>
                    <a:lnTo>
                      <a:pt x="36" y="85"/>
                    </a:lnTo>
                    <a:lnTo>
                      <a:pt x="38" y="58"/>
                    </a:lnTo>
                    <a:lnTo>
                      <a:pt x="36" y="31"/>
                    </a:lnTo>
                    <a:lnTo>
                      <a:pt x="34" y="19"/>
                    </a:lnTo>
                    <a:lnTo>
                      <a:pt x="30" y="17"/>
                    </a:lnTo>
                    <a:lnTo>
                      <a:pt x="28" y="14"/>
                    </a:lnTo>
                    <a:lnTo>
                      <a:pt x="28" y="10"/>
                    </a:lnTo>
                    <a:lnTo>
                      <a:pt x="28" y="4"/>
                    </a:lnTo>
                    <a:lnTo>
                      <a:pt x="30" y="2"/>
                    </a:lnTo>
                    <a:lnTo>
                      <a:pt x="34" y="0"/>
                    </a:lnTo>
                    <a:lnTo>
                      <a:pt x="36" y="2"/>
                    </a:lnTo>
                    <a:lnTo>
                      <a:pt x="38" y="4"/>
                    </a:lnTo>
                    <a:lnTo>
                      <a:pt x="57" y="4"/>
                    </a:lnTo>
                    <a:lnTo>
                      <a:pt x="76" y="4"/>
                    </a:lnTo>
                    <a:lnTo>
                      <a:pt x="80" y="2"/>
                    </a:lnTo>
                    <a:lnTo>
                      <a:pt x="82" y="0"/>
                    </a:lnTo>
                    <a:lnTo>
                      <a:pt x="92" y="0"/>
                    </a:lnTo>
                    <a:lnTo>
                      <a:pt x="101" y="0"/>
                    </a:lnTo>
                    <a:lnTo>
                      <a:pt x="103" y="2"/>
                    </a:lnTo>
                    <a:lnTo>
                      <a:pt x="105" y="4"/>
                    </a:lnTo>
                    <a:lnTo>
                      <a:pt x="109" y="8"/>
                    </a:lnTo>
                    <a:lnTo>
                      <a:pt x="111" y="10"/>
                    </a:lnTo>
                    <a:lnTo>
                      <a:pt x="113" y="12"/>
                    </a:lnTo>
                    <a:lnTo>
                      <a:pt x="117" y="14"/>
                    </a:lnTo>
                    <a:lnTo>
                      <a:pt x="132" y="17"/>
                    </a:lnTo>
                    <a:lnTo>
                      <a:pt x="149" y="19"/>
                    </a:lnTo>
                    <a:lnTo>
                      <a:pt x="151" y="21"/>
                    </a:lnTo>
                    <a:lnTo>
                      <a:pt x="155" y="23"/>
                    </a:lnTo>
                    <a:lnTo>
                      <a:pt x="157" y="31"/>
                    </a:lnTo>
                    <a:lnTo>
                      <a:pt x="159" y="38"/>
                    </a:lnTo>
                    <a:lnTo>
                      <a:pt x="161" y="40"/>
                    </a:lnTo>
                    <a:lnTo>
                      <a:pt x="165" y="44"/>
                    </a:lnTo>
                    <a:lnTo>
                      <a:pt x="182" y="46"/>
                    </a:lnTo>
                    <a:lnTo>
                      <a:pt x="197" y="48"/>
                    </a:lnTo>
                    <a:lnTo>
                      <a:pt x="201" y="50"/>
                    </a:lnTo>
                    <a:lnTo>
                      <a:pt x="203" y="54"/>
                    </a:lnTo>
                    <a:lnTo>
                      <a:pt x="205" y="60"/>
                    </a:lnTo>
                    <a:lnTo>
                      <a:pt x="207" y="67"/>
                    </a:lnTo>
                    <a:lnTo>
                      <a:pt x="211" y="69"/>
                    </a:lnTo>
                    <a:lnTo>
                      <a:pt x="213" y="73"/>
                    </a:lnTo>
                    <a:lnTo>
                      <a:pt x="213" y="83"/>
                    </a:lnTo>
                    <a:lnTo>
                      <a:pt x="213" y="92"/>
                    </a:lnTo>
                    <a:lnTo>
                      <a:pt x="211" y="94"/>
                    </a:lnTo>
                    <a:lnTo>
                      <a:pt x="207" y="96"/>
                    </a:lnTo>
                    <a:lnTo>
                      <a:pt x="205" y="104"/>
                    </a:lnTo>
                    <a:lnTo>
                      <a:pt x="203" y="111"/>
                    </a:lnTo>
                    <a:lnTo>
                      <a:pt x="201" y="113"/>
                    </a:lnTo>
                    <a:lnTo>
                      <a:pt x="197" y="115"/>
                    </a:lnTo>
                    <a:lnTo>
                      <a:pt x="195" y="117"/>
                    </a:lnTo>
                    <a:lnTo>
                      <a:pt x="193" y="121"/>
                    </a:lnTo>
                    <a:lnTo>
                      <a:pt x="190" y="123"/>
                    </a:lnTo>
                    <a:lnTo>
                      <a:pt x="188" y="125"/>
                    </a:lnTo>
                    <a:lnTo>
                      <a:pt x="184" y="125"/>
                    </a:lnTo>
                    <a:lnTo>
                      <a:pt x="178" y="125"/>
                    </a:lnTo>
                    <a:lnTo>
                      <a:pt x="176" y="123"/>
                    </a:lnTo>
                    <a:lnTo>
                      <a:pt x="174" y="121"/>
                    </a:lnTo>
                    <a:lnTo>
                      <a:pt x="167" y="117"/>
                    </a:lnTo>
                    <a:lnTo>
                      <a:pt x="159" y="115"/>
                    </a:lnTo>
                    <a:lnTo>
                      <a:pt x="157" y="113"/>
                    </a:lnTo>
                    <a:lnTo>
                      <a:pt x="155" y="111"/>
                    </a:lnTo>
                    <a:lnTo>
                      <a:pt x="147" y="108"/>
                    </a:lnTo>
                    <a:lnTo>
                      <a:pt x="140" y="106"/>
                    </a:lnTo>
                    <a:lnTo>
                      <a:pt x="138" y="104"/>
                    </a:lnTo>
                    <a:lnTo>
                      <a:pt x="136" y="102"/>
                    </a:lnTo>
                    <a:lnTo>
                      <a:pt x="132" y="100"/>
                    </a:lnTo>
                    <a:lnTo>
                      <a:pt x="130" y="96"/>
                    </a:lnTo>
                    <a:lnTo>
                      <a:pt x="128" y="94"/>
                    </a:lnTo>
                    <a:lnTo>
                      <a:pt x="126" y="92"/>
                    </a:lnTo>
                    <a:lnTo>
                      <a:pt x="121" y="92"/>
                    </a:lnTo>
                    <a:lnTo>
                      <a:pt x="117" y="92"/>
                    </a:lnTo>
                    <a:lnTo>
                      <a:pt x="113" y="94"/>
                    </a:lnTo>
                    <a:lnTo>
                      <a:pt x="111" y="96"/>
                    </a:lnTo>
                    <a:lnTo>
                      <a:pt x="109" y="100"/>
                    </a:lnTo>
                    <a:lnTo>
                      <a:pt x="105" y="102"/>
                    </a:lnTo>
                    <a:lnTo>
                      <a:pt x="103" y="104"/>
                    </a:lnTo>
                    <a:lnTo>
                      <a:pt x="101" y="106"/>
                    </a:lnTo>
                    <a:lnTo>
                      <a:pt x="94" y="108"/>
                    </a:lnTo>
                    <a:lnTo>
                      <a:pt x="88" y="111"/>
                    </a:lnTo>
                    <a:lnTo>
                      <a:pt x="84" y="113"/>
                    </a:lnTo>
                    <a:lnTo>
                      <a:pt x="82" y="115"/>
                    </a:lnTo>
                    <a:lnTo>
                      <a:pt x="80" y="134"/>
                    </a:lnTo>
                    <a:lnTo>
                      <a:pt x="76" y="154"/>
                    </a:lnTo>
                    <a:lnTo>
                      <a:pt x="55" y="154"/>
                    </a:lnTo>
                    <a:lnTo>
                      <a:pt x="34" y="154"/>
                    </a:lnTo>
                  </a:path>
                </a:pathLst>
              </a:custGeom>
              <a:grpFill/>
              <a:ln w="3175">
                <a:solidFill>
                  <a:srgbClr val="FF8300"/>
                </a:solidFill>
                <a:round/>
                <a:headEnd/>
                <a:tailEnd/>
              </a:ln>
            </p:spPr>
            <p:txBody>
              <a:bodyPr/>
              <a:lstStyle/>
              <a:p>
                <a:pPr>
                  <a:defRPr/>
                </a:pPr>
                <a:endParaRPr lang="en-GB" sz="1400">
                  <a:solidFill>
                    <a:schemeClr val="tx2"/>
                  </a:solidFill>
                </a:endParaRPr>
              </a:p>
            </p:txBody>
          </p:sp>
          <p:sp>
            <p:nvSpPr>
              <p:cNvPr id="398" name="Freeform 321"/>
              <p:cNvSpPr>
                <a:spLocks/>
              </p:cNvSpPr>
              <p:nvPr>
                <p:custDataLst>
                  <p:tags r:id="rId47"/>
                </p:custDataLst>
              </p:nvPr>
            </p:nvSpPr>
            <p:spPr bwMode="gray">
              <a:xfrm>
                <a:off x="1679776" y="4727369"/>
                <a:ext cx="275914" cy="178369"/>
              </a:xfrm>
              <a:custGeom>
                <a:avLst/>
                <a:gdLst>
                  <a:gd name="T0" fmla="*/ 2147483647 w 203"/>
                  <a:gd name="T1" fmla="*/ 2147483647 h 136"/>
                  <a:gd name="T2" fmla="*/ 2147483647 w 203"/>
                  <a:gd name="T3" fmla="*/ 2147483647 h 136"/>
                  <a:gd name="T4" fmla="*/ 2147483647 w 203"/>
                  <a:gd name="T5" fmla="*/ 2147483647 h 136"/>
                  <a:gd name="T6" fmla="*/ 2147483647 w 203"/>
                  <a:gd name="T7" fmla="*/ 2147483647 h 136"/>
                  <a:gd name="T8" fmla="*/ 2147483647 w 203"/>
                  <a:gd name="T9" fmla="*/ 2147483647 h 136"/>
                  <a:gd name="T10" fmla="*/ 2147483647 w 203"/>
                  <a:gd name="T11" fmla="*/ 2147483647 h 136"/>
                  <a:gd name="T12" fmla="*/ 2147483647 w 203"/>
                  <a:gd name="T13" fmla="*/ 2147483647 h 136"/>
                  <a:gd name="T14" fmla="*/ 2147483647 w 203"/>
                  <a:gd name="T15" fmla="*/ 2147483647 h 136"/>
                  <a:gd name="T16" fmla="*/ 2147483647 w 203"/>
                  <a:gd name="T17" fmla="*/ 2147483647 h 136"/>
                  <a:gd name="T18" fmla="*/ 2147483647 w 203"/>
                  <a:gd name="T19" fmla="*/ 2147483647 h 136"/>
                  <a:gd name="T20" fmla="*/ 2147483647 w 203"/>
                  <a:gd name="T21" fmla="*/ 2147483647 h 136"/>
                  <a:gd name="T22" fmla="*/ 2147483647 w 203"/>
                  <a:gd name="T23" fmla="*/ 2147483647 h 136"/>
                  <a:gd name="T24" fmla="*/ 2147483647 w 203"/>
                  <a:gd name="T25" fmla="*/ 2147483647 h 136"/>
                  <a:gd name="T26" fmla="*/ 2147483647 w 203"/>
                  <a:gd name="T27" fmla="*/ 2147483647 h 136"/>
                  <a:gd name="T28" fmla="*/ 2147483647 w 203"/>
                  <a:gd name="T29" fmla="*/ 2147483647 h 136"/>
                  <a:gd name="T30" fmla="*/ 2147483647 w 203"/>
                  <a:gd name="T31" fmla="*/ 2147483647 h 136"/>
                  <a:gd name="T32" fmla="*/ 2147483647 w 203"/>
                  <a:gd name="T33" fmla="*/ 2147483647 h 136"/>
                  <a:gd name="T34" fmla="*/ 2147483647 w 203"/>
                  <a:gd name="T35" fmla="*/ 2147483647 h 136"/>
                  <a:gd name="T36" fmla="*/ 2147483647 w 203"/>
                  <a:gd name="T37" fmla="*/ 2147483647 h 136"/>
                  <a:gd name="T38" fmla="*/ 2147483647 w 203"/>
                  <a:gd name="T39" fmla="*/ 2147483647 h 136"/>
                  <a:gd name="T40" fmla="*/ 2147483647 w 203"/>
                  <a:gd name="T41" fmla="*/ 2147483647 h 136"/>
                  <a:gd name="T42" fmla="*/ 2147483647 w 203"/>
                  <a:gd name="T43" fmla="*/ 2147483647 h 136"/>
                  <a:gd name="T44" fmla="*/ 2147483647 w 203"/>
                  <a:gd name="T45" fmla="*/ 0 h 136"/>
                  <a:gd name="T46" fmla="*/ 2147483647 w 203"/>
                  <a:gd name="T47" fmla="*/ 2147483647 h 136"/>
                  <a:gd name="T48" fmla="*/ 2147483647 w 203"/>
                  <a:gd name="T49" fmla="*/ 2147483647 h 136"/>
                  <a:gd name="T50" fmla="*/ 2147483647 w 203"/>
                  <a:gd name="T51" fmla="*/ 2147483647 h 136"/>
                  <a:gd name="T52" fmla="*/ 2147483647 w 203"/>
                  <a:gd name="T53" fmla="*/ 2147483647 h 136"/>
                  <a:gd name="T54" fmla="*/ 2147483647 w 203"/>
                  <a:gd name="T55" fmla="*/ 2147483647 h 136"/>
                  <a:gd name="T56" fmla="*/ 2147483647 w 203"/>
                  <a:gd name="T57" fmla="*/ 2147483647 h 136"/>
                  <a:gd name="T58" fmla="*/ 2147483647 w 203"/>
                  <a:gd name="T59" fmla="*/ 2147483647 h 136"/>
                  <a:gd name="T60" fmla="*/ 2147483647 w 203"/>
                  <a:gd name="T61" fmla="*/ 2147483647 h 136"/>
                  <a:gd name="T62" fmla="*/ 2147483647 w 203"/>
                  <a:gd name="T63" fmla="*/ 2147483647 h 136"/>
                  <a:gd name="T64" fmla="*/ 2147483647 w 203"/>
                  <a:gd name="T65" fmla="*/ 2147483647 h 136"/>
                  <a:gd name="T66" fmla="*/ 2147483647 w 203"/>
                  <a:gd name="T67" fmla="*/ 2147483647 h 136"/>
                  <a:gd name="T68" fmla="*/ 2147483647 w 203"/>
                  <a:gd name="T69" fmla="*/ 2147483647 h 136"/>
                  <a:gd name="T70" fmla="*/ 2147483647 w 203"/>
                  <a:gd name="T71" fmla="*/ 2147483647 h 136"/>
                  <a:gd name="T72" fmla="*/ 2147483647 w 203"/>
                  <a:gd name="T73" fmla="*/ 2147483647 h 136"/>
                  <a:gd name="T74" fmla="*/ 2147483647 w 203"/>
                  <a:gd name="T75" fmla="*/ 2147483647 h 136"/>
                  <a:gd name="T76" fmla="*/ 2147483647 w 203"/>
                  <a:gd name="T77" fmla="*/ 2147483647 h 136"/>
                  <a:gd name="T78" fmla="*/ 2147483647 w 203"/>
                  <a:gd name="T79" fmla="*/ 2147483647 h 136"/>
                  <a:gd name="T80" fmla="*/ 2147483647 w 203"/>
                  <a:gd name="T81" fmla="*/ 2147483647 h 136"/>
                  <a:gd name="T82" fmla="*/ 2147483647 w 203"/>
                  <a:gd name="T83" fmla="*/ 2147483647 h 136"/>
                  <a:gd name="T84" fmla="*/ 2147483647 w 203"/>
                  <a:gd name="T85" fmla="*/ 2147483647 h 136"/>
                  <a:gd name="T86" fmla="*/ 2147483647 w 203"/>
                  <a:gd name="T87" fmla="*/ 2147483647 h 136"/>
                  <a:gd name="T88" fmla="*/ 2147483647 w 203"/>
                  <a:gd name="T89" fmla="*/ 2147483647 h 136"/>
                  <a:gd name="T90" fmla="*/ 2147483647 w 203"/>
                  <a:gd name="T91" fmla="*/ 2147483647 h 136"/>
                  <a:gd name="T92" fmla="*/ 2147483647 w 203"/>
                  <a:gd name="T93" fmla="*/ 2147483647 h 136"/>
                  <a:gd name="T94" fmla="*/ 2147483647 w 203"/>
                  <a:gd name="T95" fmla="*/ 2147483647 h 136"/>
                  <a:gd name="T96" fmla="*/ 2147483647 w 203"/>
                  <a:gd name="T97" fmla="*/ 2147483647 h 136"/>
                  <a:gd name="T98" fmla="*/ 2147483647 w 203"/>
                  <a:gd name="T99" fmla="*/ 2147483647 h 136"/>
                  <a:gd name="T100" fmla="*/ 2147483647 w 203"/>
                  <a:gd name="T101" fmla="*/ 2147483647 h 136"/>
                  <a:gd name="T102" fmla="*/ 2147483647 w 203"/>
                  <a:gd name="T103" fmla="*/ 2147483647 h 1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203"/>
                  <a:gd name="T157" fmla="*/ 0 h 136"/>
                  <a:gd name="T158" fmla="*/ 203 w 203"/>
                  <a:gd name="T159" fmla="*/ 136 h 1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203" h="136">
                    <a:moveTo>
                      <a:pt x="99" y="121"/>
                    </a:moveTo>
                    <a:lnTo>
                      <a:pt x="92" y="121"/>
                    </a:lnTo>
                    <a:lnTo>
                      <a:pt x="86" y="121"/>
                    </a:lnTo>
                    <a:lnTo>
                      <a:pt x="84" y="123"/>
                    </a:lnTo>
                    <a:lnTo>
                      <a:pt x="82" y="127"/>
                    </a:lnTo>
                    <a:lnTo>
                      <a:pt x="78" y="123"/>
                    </a:lnTo>
                    <a:lnTo>
                      <a:pt x="76" y="121"/>
                    </a:lnTo>
                    <a:lnTo>
                      <a:pt x="72" y="119"/>
                    </a:lnTo>
                    <a:lnTo>
                      <a:pt x="71" y="117"/>
                    </a:lnTo>
                    <a:lnTo>
                      <a:pt x="69" y="113"/>
                    </a:lnTo>
                    <a:lnTo>
                      <a:pt x="67" y="111"/>
                    </a:lnTo>
                    <a:lnTo>
                      <a:pt x="63" y="90"/>
                    </a:lnTo>
                    <a:lnTo>
                      <a:pt x="61" y="69"/>
                    </a:lnTo>
                    <a:lnTo>
                      <a:pt x="59" y="65"/>
                    </a:lnTo>
                    <a:lnTo>
                      <a:pt x="57" y="63"/>
                    </a:lnTo>
                    <a:lnTo>
                      <a:pt x="48" y="63"/>
                    </a:lnTo>
                    <a:lnTo>
                      <a:pt x="38" y="63"/>
                    </a:lnTo>
                    <a:lnTo>
                      <a:pt x="34" y="65"/>
                    </a:lnTo>
                    <a:lnTo>
                      <a:pt x="32" y="69"/>
                    </a:lnTo>
                    <a:lnTo>
                      <a:pt x="28" y="69"/>
                    </a:lnTo>
                    <a:lnTo>
                      <a:pt x="23" y="69"/>
                    </a:lnTo>
                    <a:lnTo>
                      <a:pt x="21" y="65"/>
                    </a:lnTo>
                    <a:lnTo>
                      <a:pt x="19" y="63"/>
                    </a:lnTo>
                    <a:lnTo>
                      <a:pt x="11" y="56"/>
                    </a:lnTo>
                    <a:lnTo>
                      <a:pt x="3" y="48"/>
                    </a:lnTo>
                    <a:lnTo>
                      <a:pt x="1" y="46"/>
                    </a:lnTo>
                    <a:lnTo>
                      <a:pt x="0" y="44"/>
                    </a:lnTo>
                    <a:lnTo>
                      <a:pt x="1" y="42"/>
                    </a:lnTo>
                    <a:lnTo>
                      <a:pt x="3" y="38"/>
                    </a:lnTo>
                    <a:lnTo>
                      <a:pt x="11" y="36"/>
                    </a:lnTo>
                    <a:lnTo>
                      <a:pt x="19" y="34"/>
                    </a:lnTo>
                    <a:lnTo>
                      <a:pt x="21" y="32"/>
                    </a:lnTo>
                    <a:lnTo>
                      <a:pt x="23" y="31"/>
                    </a:lnTo>
                    <a:lnTo>
                      <a:pt x="25" y="27"/>
                    </a:lnTo>
                    <a:lnTo>
                      <a:pt x="28" y="25"/>
                    </a:lnTo>
                    <a:lnTo>
                      <a:pt x="30" y="21"/>
                    </a:lnTo>
                    <a:lnTo>
                      <a:pt x="32" y="19"/>
                    </a:lnTo>
                    <a:lnTo>
                      <a:pt x="34" y="17"/>
                    </a:lnTo>
                    <a:lnTo>
                      <a:pt x="38" y="15"/>
                    </a:lnTo>
                    <a:lnTo>
                      <a:pt x="40" y="11"/>
                    </a:lnTo>
                    <a:lnTo>
                      <a:pt x="42" y="9"/>
                    </a:lnTo>
                    <a:lnTo>
                      <a:pt x="44" y="8"/>
                    </a:lnTo>
                    <a:lnTo>
                      <a:pt x="48" y="6"/>
                    </a:lnTo>
                    <a:lnTo>
                      <a:pt x="49" y="4"/>
                    </a:lnTo>
                    <a:lnTo>
                      <a:pt x="51" y="0"/>
                    </a:lnTo>
                    <a:lnTo>
                      <a:pt x="57" y="0"/>
                    </a:lnTo>
                    <a:lnTo>
                      <a:pt x="61" y="0"/>
                    </a:lnTo>
                    <a:lnTo>
                      <a:pt x="63" y="4"/>
                    </a:lnTo>
                    <a:lnTo>
                      <a:pt x="67" y="6"/>
                    </a:lnTo>
                    <a:lnTo>
                      <a:pt x="78" y="8"/>
                    </a:lnTo>
                    <a:lnTo>
                      <a:pt x="90" y="9"/>
                    </a:lnTo>
                    <a:lnTo>
                      <a:pt x="94" y="11"/>
                    </a:lnTo>
                    <a:lnTo>
                      <a:pt x="96" y="15"/>
                    </a:lnTo>
                    <a:lnTo>
                      <a:pt x="97" y="27"/>
                    </a:lnTo>
                    <a:lnTo>
                      <a:pt x="99" y="38"/>
                    </a:lnTo>
                    <a:lnTo>
                      <a:pt x="103" y="42"/>
                    </a:lnTo>
                    <a:lnTo>
                      <a:pt x="105" y="44"/>
                    </a:lnTo>
                    <a:lnTo>
                      <a:pt x="105" y="52"/>
                    </a:lnTo>
                    <a:lnTo>
                      <a:pt x="105" y="59"/>
                    </a:lnTo>
                    <a:lnTo>
                      <a:pt x="115" y="59"/>
                    </a:lnTo>
                    <a:lnTo>
                      <a:pt x="124" y="59"/>
                    </a:lnTo>
                    <a:lnTo>
                      <a:pt x="124" y="73"/>
                    </a:lnTo>
                    <a:lnTo>
                      <a:pt x="124" y="88"/>
                    </a:lnTo>
                    <a:lnTo>
                      <a:pt x="128" y="88"/>
                    </a:lnTo>
                    <a:lnTo>
                      <a:pt x="134" y="88"/>
                    </a:lnTo>
                    <a:lnTo>
                      <a:pt x="140" y="82"/>
                    </a:lnTo>
                    <a:lnTo>
                      <a:pt x="143" y="79"/>
                    </a:lnTo>
                    <a:lnTo>
                      <a:pt x="159" y="75"/>
                    </a:lnTo>
                    <a:lnTo>
                      <a:pt x="172" y="73"/>
                    </a:lnTo>
                    <a:lnTo>
                      <a:pt x="176" y="71"/>
                    </a:lnTo>
                    <a:lnTo>
                      <a:pt x="178" y="69"/>
                    </a:lnTo>
                    <a:lnTo>
                      <a:pt x="182" y="69"/>
                    </a:lnTo>
                    <a:lnTo>
                      <a:pt x="188" y="69"/>
                    </a:lnTo>
                    <a:lnTo>
                      <a:pt x="190" y="71"/>
                    </a:lnTo>
                    <a:lnTo>
                      <a:pt x="191" y="73"/>
                    </a:lnTo>
                    <a:lnTo>
                      <a:pt x="195" y="75"/>
                    </a:lnTo>
                    <a:lnTo>
                      <a:pt x="197" y="79"/>
                    </a:lnTo>
                    <a:lnTo>
                      <a:pt x="199" y="80"/>
                    </a:lnTo>
                    <a:lnTo>
                      <a:pt x="203" y="82"/>
                    </a:lnTo>
                    <a:lnTo>
                      <a:pt x="203" y="92"/>
                    </a:lnTo>
                    <a:lnTo>
                      <a:pt x="203" y="102"/>
                    </a:lnTo>
                    <a:lnTo>
                      <a:pt x="199" y="103"/>
                    </a:lnTo>
                    <a:lnTo>
                      <a:pt x="197" y="107"/>
                    </a:lnTo>
                    <a:lnTo>
                      <a:pt x="195" y="119"/>
                    </a:lnTo>
                    <a:lnTo>
                      <a:pt x="191" y="130"/>
                    </a:lnTo>
                    <a:lnTo>
                      <a:pt x="190" y="132"/>
                    </a:lnTo>
                    <a:lnTo>
                      <a:pt x="188" y="136"/>
                    </a:lnTo>
                    <a:lnTo>
                      <a:pt x="172" y="136"/>
                    </a:lnTo>
                    <a:lnTo>
                      <a:pt x="159" y="136"/>
                    </a:lnTo>
                    <a:lnTo>
                      <a:pt x="155" y="132"/>
                    </a:lnTo>
                    <a:lnTo>
                      <a:pt x="153" y="130"/>
                    </a:lnTo>
                    <a:lnTo>
                      <a:pt x="149" y="130"/>
                    </a:lnTo>
                    <a:lnTo>
                      <a:pt x="143" y="130"/>
                    </a:lnTo>
                    <a:lnTo>
                      <a:pt x="142" y="132"/>
                    </a:lnTo>
                    <a:lnTo>
                      <a:pt x="140" y="136"/>
                    </a:lnTo>
                    <a:lnTo>
                      <a:pt x="136" y="132"/>
                    </a:lnTo>
                    <a:lnTo>
                      <a:pt x="134" y="130"/>
                    </a:lnTo>
                    <a:lnTo>
                      <a:pt x="134" y="123"/>
                    </a:lnTo>
                    <a:lnTo>
                      <a:pt x="134" y="117"/>
                    </a:lnTo>
                    <a:lnTo>
                      <a:pt x="117" y="117"/>
                    </a:lnTo>
                    <a:lnTo>
                      <a:pt x="105" y="115"/>
                    </a:lnTo>
                    <a:lnTo>
                      <a:pt x="103" y="115"/>
                    </a:lnTo>
                    <a:lnTo>
                      <a:pt x="99" y="117"/>
                    </a:lnTo>
                    <a:lnTo>
                      <a:pt x="99" y="119"/>
                    </a:lnTo>
                    <a:lnTo>
                      <a:pt x="99" y="121"/>
                    </a:lnTo>
                  </a:path>
                </a:pathLst>
              </a:custGeom>
              <a:grpFill/>
              <a:ln w="3175">
                <a:solidFill>
                  <a:srgbClr val="FF8300"/>
                </a:solidFill>
                <a:round/>
                <a:headEnd/>
                <a:tailEnd/>
              </a:ln>
            </p:spPr>
            <p:txBody>
              <a:bodyPr/>
              <a:lstStyle/>
              <a:p>
                <a:pPr>
                  <a:defRPr/>
                </a:pPr>
                <a:endParaRPr lang="en-GB" sz="1400">
                  <a:solidFill>
                    <a:schemeClr val="tx2"/>
                  </a:solidFill>
                </a:endParaRPr>
              </a:p>
            </p:txBody>
          </p:sp>
          <p:sp>
            <p:nvSpPr>
              <p:cNvPr id="399" name="Freeform 324"/>
              <p:cNvSpPr>
                <a:spLocks/>
              </p:cNvSpPr>
              <p:nvPr>
                <p:custDataLst>
                  <p:tags r:id="rId48"/>
                </p:custDataLst>
              </p:nvPr>
            </p:nvSpPr>
            <p:spPr bwMode="gray">
              <a:xfrm>
                <a:off x="1743878" y="4523917"/>
                <a:ext cx="461251" cy="305178"/>
              </a:xfrm>
              <a:custGeom>
                <a:avLst/>
                <a:gdLst>
                  <a:gd name="T0" fmla="*/ 2147483647 w 337"/>
                  <a:gd name="T1" fmla="*/ 2147483647 h 233"/>
                  <a:gd name="T2" fmla="*/ 2147483647 w 337"/>
                  <a:gd name="T3" fmla="*/ 2147483647 h 233"/>
                  <a:gd name="T4" fmla="*/ 2147483647 w 337"/>
                  <a:gd name="T5" fmla="*/ 2147483647 h 233"/>
                  <a:gd name="T6" fmla="*/ 2147483647 w 337"/>
                  <a:gd name="T7" fmla="*/ 2147483647 h 233"/>
                  <a:gd name="T8" fmla="*/ 2147483647 w 337"/>
                  <a:gd name="T9" fmla="*/ 2147483647 h 233"/>
                  <a:gd name="T10" fmla="*/ 2147483647 w 337"/>
                  <a:gd name="T11" fmla="*/ 2147483647 h 233"/>
                  <a:gd name="T12" fmla="*/ 2147483647 w 337"/>
                  <a:gd name="T13" fmla="*/ 2147483647 h 233"/>
                  <a:gd name="T14" fmla="*/ 2147483647 w 337"/>
                  <a:gd name="T15" fmla="*/ 2147483647 h 233"/>
                  <a:gd name="T16" fmla="*/ 2147483647 w 337"/>
                  <a:gd name="T17" fmla="*/ 2147483647 h 233"/>
                  <a:gd name="T18" fmla="*/ 2147483647 w 337"/>
                  <a:gd name="T19" fmla="*/ 2147483647 h 233"/>
                  <a:gd name="T20" fmla="*/ 2147483647 w 337"/>
                  <a:gd name="T21" fmla="*/ 2147483647 h 233"/>
                  <a:gd name="T22" fmla="*/ 2147483647 w 337"/>
                  <a:gd name="T23" fmla="*/ 2147483647 h 233"/>
                  <a:gd name="T24" fmla="*/ 2147483647 w 337"/>
                  <a:gd name="T25" fmla="*/ 2147483647 h 233"/>
                  <a:gd name="T26" fmla="*/ 2147483647 w 337"/>
                  <a:gd name="T27" fmla="*/ 2147483647 h 233"/>
                  <a:gd name="T28" fmla="*/ 2147483647 w 337"/>
                  <a:gd name="T29" fmla="*/ 2147483647 h 233"/>
                  <a:gd name="T30" fmla="*/ 2147483647 w 337"/>
                  <a:gd name="T31" fmla="*/ 2147483647 h 233"/>
                  <a:gd name="T32" fmla="*/ 2147483647 w 337"/>
                  <a:gd name="T33" fmla="*/ 2147483647 h 233"/>
                  <a:gd name="T34" fmla="*/ 2147483647 w 337"/>
                  <a:gd name="T35" fmla="*/ 2147483647 h 233"/>
                  <a:gd name="T36" fmla="*/ 2147483647 w 337"/>
                  <a:gd name="T37" fmla="*/ 0 h 233"/>
                  <a:gd name="T38" fmla="*/ 2147483647 w 337"/>
                  <a:gd name="T39" fmla="*/ 2147483647 h 233"/>
                  <a:gd name="T40" fmla="*/ 2147483647 w 337"/>
                  <a:gd name="T41" fmla="*/ 0 h 233"/>
                  <a:gd name="T42" fmla="*/ 2147483647 w 337"/>
                  <a:gd name="T43" fmla="*/ 2147483647 h 233"/>
                  <a:gd name="T44" fmla="*/ 2147483647 w 337"/>
                  <a:gd name="T45" fmla="*/ 2147483647 h 233"/>
                  <a:gd name="T46" fmla="*/ 2147483647 w 337"/>
                  <a:gd name="T47" fmla="*/ 2147483647 h 233"/>
                  <a:gd name="T48" fmla="*/ 2147483647 w 337"/>
                  <a:gd name="T49" fmla="*/ 2147483647 h 233"/>
                  <a:gd name="T50" fmla="*/ 2147483647 w 337"/>
                  <a:gd name="T51" fmla="*/ 2147483647 h 233"/>
                  <a:gd name="T52" fmla="*/ 2147483647 w 337"/>
                  <a:gd name="T53" fmla="*/ 2147483647 h 233"/>
                  <a:gd name="T54" fmla="*/ 2147483647 w 337"/>
                  <a:gd name="T55" fmla="*/ 2147483647 h 233"/>
                  <a:gd name="T56" fmla="*/ 2147483647 w 337"/>
                  <a:gd name="T57" fmla="*/ 2147483647 h 233"/>
                  <a:gd name="T58" fmla="*/ 2147483647 w 337"/>
                  <a:gd name="T59" fmla="*/ 2147483647 h 233"/>
                  <a:gd name="T60" fmla="*/ 2147483647 w 337"/>
                  <a:gd name="T61" fmla="*/ 2147483647 h 233"/>
                  <a:gd name="T62" fmla="*/ 2147483647 w 337"/>
                  <a:gd name="T63" fmla="*/ 2147483647 h 233"/>
                  <a:gd name="T64" fmla="*/ 2147483647 w 337"/>
                  <a:gd name="T65" fmla="*/ 2147483647 h 233"/>
                  <a:gd name="T66" fmla="*/ 2147483647 w 337"/>
                  <a:gd name="T67" fmla="*/ 2147483647 h 233"/>
                  <a:gd name="T68" fmla="*/ 2147483647 w 337"/>
                  <a:gd name="T69" fmla="*/ 2147483647 h 233"/>
                  <a:gd name="T70" fmla="*/ 2147483647 w 337"/>
                  <a:gd name="T71" fmla="*/ 2147483647 h 233"/>
                  <a:gd name="T72" fmla="*/ 2147483647 w 337"/>
                  <a:gd name="T73" fmla="*/ 2147483647 h 233"/>
                  <a:gd name="T74" fmla="*/ 2147483647 w 337"/>
                  <a:gd name="T75" fmla="*/ 2147483647 h 233"/>
                  <a:gd name="T76" fmla="*/ 2147483647 w 337"/>
                  <a:gd name="T77" fmla="*/ 2147483647 h 233"/>
                  <a:gd name="T78" fmla="*/ 2147483647 w 337"/>
                  <a:gd name="T79" fmla="*/ 2147483647 h 233"/>
                  <a:gd name="T80" fmla="*/ 2147483647 w 337"/>
                  <a:gd name="T81" fmla="*/ 2147483647 h 233"/>
                  <a:gd name="T82" fmla="*/ 2147483647 w 337"/>
                  <a:gd name="T83" fmla="*/ 2147483647 h 233"/>
                  <a:gd name="T84" fmla="*/ 2147483647 w 337"/>
                  <a:gd name="T85" fmla="*/ 2147483647 h 233"/>
                  <a:gd name="T86" fmla="*/ 2147483647 w 337"/>
                  <a:gd name="T87" fmla="*/ 2147483647 h 233"/>
                  <a:gd name="T88" fmla="*/ 2147483647 w 337"/>
                  <a:gd name="T89" fmla="*/ 2147483647 h 233"/>
                  <a:gd name="T90" fmla="*/ 2147483647 w 337"/>
                  <a:gd name="T91" fmla="*/ 2147483647 h 233"/>
                  <a:gd name="T92" fmla="*/ 2147483647 w 337"/>
                  <a:gd name="T93" fmla="*/ 2147483647 h 233"/>
                  <a:gd name="T94" fmla="*/ 2147483647 w 337"/>
                  <a:gd name="T95" fmla="*/ 2147483647 h 233"/>
                  <a:gd name="T96" fmla="*/ 2147483647 w 337"/>
                  <a:gd name="T97" fmla="*/ 2147483647 h 233"/>
                  <a:gd name="T98" fmla="*/ 2147483647 w 337"/>
                  <a:gd name="T99" fmla="*/ 2147483647 h 233"/>
                  <a:gd name="T100" fmla="*/ 2147483647 w 337"/>
                  <a:gd name="T101" fmla="*/ 2147483647 h 233"/>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337"/>
                  <a:gd name="T154" fmla="*/ 0 h 233"/>
                  <a:gd name="T155" fmla="*/ 337 w 337"/>
                  <a:gd name="T156" fmla="*/ 233 h 233"/>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337" h="233">
                    <a:moveTo>
                      <a:pt x="86" y="233"/>
                    </a:moveTo>
                    <a:lnTo>
                      <a:pt x="86" y="217"/>
                    </a:lnTo>
                    <a:lnTo>
                      <a:pt x="86" y="202"/>
                    </a:lnTo>
                    <a:lnTo>
                      <a:pt x="74" y="198"/>
                    </a:lnTo>
                    <a:lnTo>
                      <a:pt x="63" y="192"/>
                    </a:lnTo>
                    <a:lnTo>
                      <a:pt x="59" y="190"/>
                    </a:lnTo>
                    <a:lnTo>
                      <a:pt x="57" y="188"/>
                    </a:lnTo>
                    <a:lnTo>
                      <a:pt x="55" y="177"/>
                    </a:lnTo>
                    <a:lnTo>
                      <a:pt x="51" y="163"/>
                    </a:lnTo>
                    <a:lnTo>
                      <a:pt x="49" y="162"/>
                    </a:lnTo>
                    <a:lnTo>
                      <a:pt x="48" y="160"/>
                    </a:lnTo>
                    <a:lnTo>
                      <a:pt x="36" y="158"/>
                    </a:lnTo>
                    <a:lnTo>
                      <a:pt x="23" y="154"/>
                    </a:lnTo>
                    <a:lnTo>
                      <a:pt x="21" y="152"/>
                    </a:lnTo>
                    <a:lnTo>
                      <a:pt x="19" y="150"/>
                    </a:lnTo>
                    <a:lnTo>
                      <a:pt x="11" y="133"/>
                    </a:lnTo>
                    <a:lnTo>
                      <a:pt x="3" y="115"/>
                    </a:lnTo>
                    <a:lnTo>
                      <a:pt x="1" y="114"/>
                    </a:lnTo>
                    <a:lnTo>
                      <a:pt x="0" y="112"/>
                    </a:lnTo>
                    <a:lnTo>
                      <a:pt x="3" y="100"/>
                    </a:lnTo>
                    <a:lnTo>
                      <a:pt x="9" y="91"/>
                    </a:lnTo>
                    <a:lnTo>
                      <a:pt x="11" y="89"/>
                    </a:lnTo>
                    <a:lnTo>
                      <a:pt x="13" y="87"/>
                    </a:lnTo>
                    <a:lnTo>
                      <a:pt x="21" y="85"/>
                    </a:lnTo>
                    <a:lnTo>
                      <a:pt x="28" y="81"/>
                    </a:lnTo>
                    <a:lnTo>
                      <a:pt x="30" y="79"/>
                    </a:lnTo>
                    <a:lnTo>
                      <a:pt x="34" y="77"/>
                    </a:lnTo>
                    <a:lnTo>
                      <a:pt x="46" y="75"/>
                    </a:lnTo>
                    <a:lnTo>
                      <a:pt x="57" y="71"/>
                    </a:lnTo>
                    <a:lnTo>
                      <a:pt x="59" y="69"/>
                    </a:lnTo>
                    <a:lnTo>
                      <a:pt x="63" y="68"/>
                    </a:lnTo>
                    <a:lnTo>
                      <a:pt x="74" y="66"/>
                    </a:lnTo>
                    <a:lnTo>
                      <a:pt x="86" y="62"/>
                    </a:lnTo>
                    <a:lnTo>
                      <a:pt x="88" y="60"/>
                    </a:lnTo>
                    <a:lnTo>
                      <a:pt x="92" y="58"/>
                    </a:lnTo>
                    <a:lnTo>
                      <a:pt x="97" y="44"/>
                    </a:lnTo>
                    <a:lnTo>
                      <a:pt x="105" y="33"/>
                    </a:lnTo>
                    <a:lnTo>
                      <a:pt x="107" y="31"/>
                    </a:lnTo>
                    <a:lnTo>
                      <a:pt x="111" y="29"/>
                    </a:lnTo>
                    <a:lnTo>
                      <a:pt x="120" y="29"/>
                    </a:lnTo>
                    <a:lnTo>
                      <a:pt x="130" y="29"/>
                    </a:lnTo>
                    <a:lnTo>
                      <a:pt x="132" y="31"/>
                    </a:lnTo>
                    <a:lnTo>
                      <a:pt x="134" y="33"/>
                    </a:lnTo>
                    <a:lnTo>
                      <a:pt x="138" y="37"/>
                    </a:lnTo>
                    <a:lnTo>
                      <a:pt x="143" y="37"/>
                    </a:lnTo>
                    <a:lnTo>
                      <a:pt x="151" y="37"/>
                    </a:lnTo>
                    <a:lnTo>
                      <a:pt x="155" y="33"/>
                    </a:lnTo>
                    <a:lnTo>
                      <a:pt x="157" y="31"/>
                    </a:lnTo>
                    <a:lnTo>
                      <a:pt x="159" y="29"/>
                    </a:lnTo>
                    <a:lnTo>
                      <a:pt x="161" y="21"/>
                    </a:lnTo>
                    <a:lnTo>
                      <a:pt x="163" y="14"/>
                    </a:lnTo>
                    <a:lnTo>
                      <a:pt x="166" y="12"/>
                    </a:lnTo>
                    <a:lnTo>
                      <a:pt x="168" y="10"/>
                    </a:lnTo>
                    <a:lnTo>
                      <a:pt x="170" y="6"/>
                    </a:lnTo>
                    <a:lnTo>
                      <a:pt x="172" y="4"/>
                    </a:lnTo>
                    <a:lnTo>
                      <a:pt x="176" y="2"/>
                    </a:lnTo>
                    <a:lnTo>
                      <a:pt x="178" y="0"/>
                    </a:lnTo>
                    <a:lnTo>
                      <a:pt x="193" y="0"/>
                    </a:lnTo>
                    <a:lnTo>
                      <a:pt x="209" y="2"/>
                    </a:lnTo>
                    <a:lnTo>
                      <a:pt x="226" y="2"/>
                    </a:lnTo>
                    <a:lnTo>
                      <a:pt x="241" y="4"/>
                    </a:lnTo>
                    <a:lnTo>
                      <a:pt x="243" y="2"/>
                    </a:lnTo>
                    <a:lnTo>
                      <a:pt x="245" y="0"/>
                    </a:lnTo>
                    <a:lnTo>
                      <a:pt x="251" y="0"/>
                    </a:lnTo>
                    <a:lnTo>
                      <a:pt x="255" y="0"/>
                    </a:lnTo>
                    <a:lnTo>
                      <a:pt x="257" y="2"/>
                    </a:lnTo>
                    <a:lnTo>
                      <a:pt x="260" y="4"/>
                    </a:lnTo>
                    <a:lnTo>
                      <a:pt x="262" y="6"/>
                    </a:lnTo>
                    <a:lnTo>
                      <a:pt x="264" y="10"/>
                    </a:lnTo>
                    <a:lnTo>
                      <a:pt x="268" y="12"/>
                    </a:lnTo>
                    <a:lnTo>
                      <a:pt x="270" y="14"/>
                    </a:lnTo>
                    <a:lnTo>
                      <a:pt x="272" y="16"/>
                    </a:lnTo>
                    <a:lnTo>
                      <a:pt x="274" y="20"/>
                    </a:lnTo>
                    <a:lnTo>
                      <a:pt x="278" y="21"/>
                    </a:lnTo>
                    <a:lnTo>
                      <a:pt x="280" y="23"/>
                    </a:lnTo>
                    <a:lnTo>
                      <a:pt x="297" y="25"/>
                    </a:lnTo>
                    <a:lnTo>
                      <a:pt x="314" y="29"/>
                    </a:lnTo>
                    <a:lnTo>
                      <a:pt x="316" y="31"/>
                    </a:lnTo>
                    <a:lnTo>
                      <a:pt x="318" y="33"/>
                    </a:lnTo>
                    <a:lnTo>
                      <a:pt x="320" y="41"/>
                    </a:lnTo>
                    <a:lnTo>
                      <a:pt x="324" y="48"/>
                    </a:lnTo>
                    <a:lnTo>
                      <a:pt x="326" y="50"/>
                    </a:lnTo>
                    <a:lnTo>
                      <a:pt x="328" y="52"/>
                    </a:lnTo>
                    <a:lnTo>
                      <a:pt x="330" y="54"/>
                    </a:lnTo>
                    <a:lnTo>
                      <a:pt x="333" y="58"/>
                    </a:lnTo>
                    <a:lnTo>
                      <a:pt x="335" y="60"/>
                    </a:lnTo>
                    <a:lnTo>
                      <a:pt x="337" y="62"/>
                    </a:lnTo>
                    <a:lnTo>
                      <a:pt x="337" y="68"/>
                    </a:lnTo>
                    <a:lnTo>
                      <a:pt x="337" y="71"/>
                    </a:lnTo>
                    <a:lnTo>
                      <a:pt x="335" y="75"/>
                    </a:lnTo>
                    <a:lnTo>
                      <a:pt x="333" y="77"/>
                    </a:lnTo>
                    <a:lnTo>
                      <a:pt x="330" y="79"/>
                    </a:lnTo>
                    <a:lnTo>
                      <a:pt x="328" y="81"/>
                    </a:lnTo>
                    <a:lnTo>
                      <a:pt x="326" y="85"/>
                    </a:lnTo>
                    <a:lnTo>
                      <a:pt x="324" y="87"/>
                    </a:lnTo>
                    <a:lnTo>
                      <a:pt x="318" y="87"/>
                    </a:lnTo>
                    <a:lnTo>
                      <a:pt x="314" y="87"/>
                    </a:lnTo>
                    <a:lnTo>
                      <a:pt x="310" y="85"/>
                    </a:lnTo>
                    <a:lnTo>
                      <a:pt x="308" y="81"/>
                    </a:lnTo>
                    <a:lnTo>
                      <a:pt x="303" y="81"/>
                    </a:lnTo>
                    <a:lnTo>
                      <a:pt x="299" y="81"/>
                    </a:lnTo>
                    <a:lnTo>
                      <a:pt x="297" y="85"/>
                    </a:lnTo>
                    <a:lnTo>
                      <a:pt x="295" y="87"/>
                    </a:lnTo>
                    <a:lnTo>
                      <a:pt x="287" y="89"/>
                    </a:lnTo>
                    <a:lnTo>
                      <a:pt x="280" y="91"/>
                    </a:lnTo>
                    <a:lnTo>
                      <a:pt x="278" y="94"/>
                    </a:lnTo>
                    <a:lnTo>
                      <a:pt x="274" y="96"/>
                    </a:lnTo>
                    <a:lnTo>
                      <a:pt x="272" y="98"/>
                    </a:lnTo>
                    <a:lnTo>
                      <a:pt x="270" y="102"/>
                    </a:lnTo>
                    <a:lnTo>
                      <a:pt x="268" y="104"/>
                    </a:lnTo>
                    <a:lnTo>
                      <a:pt x="264" y="106"/>
                    </a:lnTo>
                    <a:lnTo>
                      <a:pt x="255" y="106"/>
                    </a:lnTo>
                    <a:lnTo>
                      <a:pt x="245" y="106"/>
                    </a:lnTo>
                    <a:lnTo>
                      <a:pt x="243" y="104"/>
                    </a:lnTo>
                    <a:lnTo>
                      <a:pt x="241" y="102"/>
                    </a:lnTo>
                    <a:lnTo>
                      <a:pt x="236" y="102"/>
                    </a:lnTo>
                    <a:lnTo>
                      <a:pt x="232" y="102"/>
                    </a:lnTo>
                    <a:lnTo>
                      <a:pt x="228" y="104"/>
                    </a:lnTo>
                    <a:lnTo>
                      <a:pt x="226" y="106"/>
                    </a:lnTo>
                    <a:lnTo>
                      <a:pt x="218" y="108"/>
                    </a:lnTo>
                    <a:lnTo>
                      <a:pt x="213" y="112"/>
                    </a:lnTo>
                    <a:lnTo>
                      <a:pt x="209" y="114"/>
                    </a:lnTo>
                    <a:lnTo>
                      <a:pt x="207" y="115"/>
                    </a:lnTo>
                    <a:lnTo>
                      <a:pt x="205" y="142"/>
                    </a:lnTo>
                    <a:lnTo>
                      <a:pt x="203" y="169"/>
                    </a:lnTo>
                    <a:lnTo>
                      <a:pt x="199" y="171"/>
                    </a:lnTo>
                    <a:lnTo>
                      <a:pt x="197" y="173"/>
                    </a:lnTo>
                    <a:lnTo>
                      <a:pt x="189" y="173"/>
                    </a:lnTo>
                    <a:lnTo>
                      <a:pt x="184" y="173"/>
                    </a:lnTo>
                    <a:lnTo>
                      <a:pt x="184" y="186"/>
                    </a:lnTo>
                    <a:lnTo>
                      <a:pt x="184" y="198"/>
                    </a:lnTo>
                    <a:lnTo>
                      <a:pt x="180" y="200"/>
                    </a:lnTo>
                    <a:lnTo>
                      <a:pt x="178" y="202"/>
                    </a:lnTo>
                    <a:lnTo>
                      <a:pt x="176" y="206"/>
                    </a:lnTo>
                    <a:lnTo>
                      <a:pt x="172" y="208"/>
                    </a:lnTo>
                    <a:lnTo>
                      <a:pt x="170" y="210"/>
                    </a:lnTo>
                    <a:lnTo>
                      <a:pt x="168" y="213"/>
                    </a:lnTo>
                    <a:lnTo>
                      <a:pt x="166" y="219"/>
                    </a:lnTo>
                    <a:lnTo>
                      <a:pt x="163" y="227"/>
                    </a:lnTo>
                    <a:lnTo>
                      <a:pt x="161" y="229"/>
                    </a:lnTo>
                    <a:lnTo>
                      <a:pt x="159" y="233"/>
                    </a:lnTo>
                    <a:lnTo>
                      <a:pt x="157" y="229"/>
                    </a:lnTo>
                    <a:lnTo>
                      <a:pt x="155" y="227"/>
                    </a:lnTo>
                    <a:lnTo>
                      <a:pt x="151" y="225"/>
                    </a:lnTo>
                    <a:lnTo>
                      <a:pt x="149" y="223"/>
                    </a:lnTo>
                    <a:lnTo>
                      <a:pt x="147" y="219"/>
                    </a:lnTo>
                    <a:lnTo>
                      <a:pt x="143" y="217"/>
                    </a:lnTo>
                    <a:lnTo>
                      <a:pt x="134" y="217"/>
                    </a:lnTo>
                    <a:lnTo>
                      <a:pt x="124" y="217"/>
                    </a:lnTo>
                    <a:lnTo>
                      <a:pt x="122" y="219"/>
                    </a:lnTo>
                    <a:lnTo>
                      <a:pt x="120" y="223"/>
                    </a:lnTo>
                    <a:lnTo>
                      <a:pt x="109" y="227"/>
                    </a:lnTo>
                    <a:lnTo>
                      <a:pt x="95" y="233"/>
                    </a:lnTo>
                    <a:lnTo>
                      <a:pt x="92" y="233"/>
                    </a:lnTo>
                    <a:lnTo>
                      <a:pt x="86" y="233"/>
                    </a:lnTo>
                  </a:path>
                </a:pathLst>
              </a:custGeom>
              <a:grpFill/>
              <a:ln w="3175">
                <a:solidFill>
                  <a:srgbClr val="FF8300"/>
                </a:solidFill>
                <a:round/>
                <a:headEnd/>
                <a:tailEnd/>
              </a:ln>
            </p:spPr>
            <p:txBody>
              <a:bodyPr/>
              <a:lstStyle/>
              <a:p>
                <a:pPr>
                  <a:defRPr/>
                </a:pPr>
                <a:endParaRPr lang="en-GB" sz="1400">
                  <a:solidFill>
                    <a:schemeClr val="tx2"/>
                  </a:solidFill>
                </a:endParaRPr>
              </a:p>
            </p:txBody>
          </p:sp>
          <p:sp>
            <p:nvSpPr>
              <p:cNvPr id="400" name="Freeform 331"/>
              <p:cNvSpPr>
                <a:spLocks/>
              </p:cNvSpPr>
              <p:nvPr>
                <p:custDataLst>
                  <p:tags r:id="rId49"/>
                </p:custDataLst>
              </p:nvPr>
            </p:nvSpPr>
            <p:spPr bwMode="gray">
              <a:xfrm>
                <a:off x="1493046" y="4574083"/>
                <a:ext cx="250831" cy="202059"/>
              </a:xfrm>
              <a:custGeom>
                <a:avLst/>
                <a:gdLst>
                  <a:gd name="T0" fmla="*/ 2147483647 w 185"/>
                  <a:gd name="T1" fmla="*/ 2147483647 h 153"/>
                  <a:gd name="T2" fmla="*/ 2147483647 w 185"/>
                  <a:gd name="T3" fmla="*/ 2147483647 h 153"/>
                  <a:gd name="T4" fmla="*/ 2147483647 w 185"/>
                  <a:gd name="T5" fmla="*/ 2147483647 h 153"/>
                  <a:gd name="T6" fmla="*/ 2147483647 w 185"/>
                  <a:gd name="T7" fmla="*/ 2147483647 h 153"/>
                  <a:gd name="T8" fmla="*/ 2147483647 w 185"/>
                  <a:gd name="T9" fmla="*/ 2147483647 h 153"/>
                  <a:gd name="T10" fmla="*/ 2147483647 w 185"/>
                  <a:gd name="T11" fmla="*/ 2147483647 h 153"/>
                  <a:gd name="T12" fmla="*/ 2147483647 w 185"/>
                  <a:gd name="T13" fmla="*/ 2147483647 h 153"/>
                  <a:gd name="T14" fmla="*/ 2147483647 w 185"/>
                  <a:gd name="T15" fmla="*/ 2147483647 h 153"/>
                  <a:gd name="T16" fmla="*/ 2147483647 w 185"/>
                  <a:gd name="T17" fmla="*/ 2147483647 h 153"/>
                  <a:gd name="T18" fmla="*/ 2147483647 w 185"/>
                  <a:gd name="T19" fmla="*/ 2147483647 h 153"/>
                  <a:gd name="T20" fmla="*/ 2147483647 w 185"/>
                  <a:gd name="T21" fmla="*/ 2147483647 h 153"/>
                  <a:gd name="T22" fmla="*/ 2147483647 w 185"/>
                  <a:gd name="T23" fmla="*/ 2147483647 h 153"/>
                  <a:gd name="T24" fmla="*/ 0 w 185"/>
                  <a:gd name="T25" fmla="*/ 2147483647 h 153"/>
                  <a:gd name="T26" fmla="*/ 2147483647 w 185"/>
                  <a:gd name="T27" fmla="*/ 2147483647 h 153"/>
                  <a:gd name="T28" fmla="*/ 2147483647 w 185"/>
                  <a:gd name="T29" fmla="*/ 2147483647 h 153"/>
                  <a:gd name="T30" fmla="*/ 2147483647 w 185"/>
                  <a:gd name="T31" fmla="*/ 2147483647 h 153"/>
                  <a:gd name="T32" fmla="*/ 2147483647 w 185"/>
                  <a:gd name="T33" fmla="*/ 2147483647 h 153"/>
                  <a:gd name="T34" fmla="*/ 2147483647 w 185"/>
                  <a:gd name="T35" fmla="*/ 2147483647 h 153"/>
                  <a:gd name="T36" fmla="*/ 2147483647 w 185"/>
                  <a:gd name="T37" fmla="*/ 2147483647 h 153"/>
                  <a:gd name="T38" fmla="*/ 2147483647 w 185"/>
                  <a:gd name="T39" fmla="*/ 0 h 153"/>
                  <a:gd name="T40" fmla="*/ 2147483647 w 185"/>
                  <a:gd name="T41" fmla="*/ 2147483647 h 153"/>
                  <a:gd name="T42" fmla="*/ 2147483647 w 185"/>
                  <a:gd name="T43" fmla="*/ 2147483647 h 153"/>
                  <a:gd name="T44" fmla="*/ 2147483647 w 185"/>
                  <a:gd name="T45" fmla="*/ 2147483647 h 153"/>
                  <a:gd name="T46" fmla="*/ 2147483647 w 185"/>
                  <a:gd name="T47" fmla="*/ 2147483647 h 153"/>
                  <a:gd name="T48" fmla="*/ 2147483647 w 185"/>
                  <a:gd name="T49" fmla="*/ 2147483647 h 153"/>
                  <a:gd name="T50" fmla="*/ 2147483647 w 185"/>
                  <a:gd name="T51" fmla="*/ 2147483647 h 153"/>
                  <a:gd name="T52" fmla="*/ 2147483647 w 185"/>
                  <a:gd name="T53" fmla="*/ 2147483647 h 153"/>
                  <a:gd name="T54" fmla="*/ 2147483647 w 185"/>
                  <a:gd name="T55" fmla="*/ 2147483647 h 153"/>
                  <a:gd name="T56" fmla="*/ 2147483647 w 185"/>
                  <a:gd name="T57" fmla="*/ 2147483647 h 153"/>
                  <a:gd name="T58" fmla="*/ 2147483647 w 185"/>
                  <a:gd name="T59" fmla="*/ 2147483647 h 153"/>
                  <a:gd name="T60" fmla="*/ 2147483647 w 185"/>
                  <a:gd name="T61" fmla="*/ 2147483647 h 153"/>
                  <a:gd name="T62" fmla="*/ 2147483647 w 185"/>
                  <a:gd name="T63" fmla="*/ 2147483647 h 153"/>
                  <a:gd name="T64" fmla="*/ 2147483647 w 185"/>
                  <a:gd name="T65" fmla="*/ 2147483647 h 153"/>
                  <a:gd name="T66" fmla="*/ 2147483647 w 185"/>
                  <a:gd name="T67" fmla="*/ 2147483647 h 153"/>
                  <a:gd name="T68" fmla="*/ 2147483647 w 185"/>
                  <a:gd name="T69" fmla="*/ 2147483647 h 153"/>
                  <a:gd name="T70" fmla="*/ 2147483647 w 185"/>
                  <a:gd name="T71" fmla="*/ 2147483647 h 153"/>
                  <a:gd name="T72" fmla="*/ 2147483647 w 185"/>
                  <a:gd name="T73" fmla="*/ 2147483647 h 153"/>
                  <a:gd name="T74" fmla="*/ 2147483647 w 185"/>
                  <a:gd name="T75" fmla="*/ 2147483647 h 153"/>
                  <a:gd name="T76" fmla="*/ 2147483647 w 185"/>
                  <a:gd name="T77" fmla="*/ 2147483647 h 153"/>
                  <a:gd name="T78" fmla="*/ 2147483647 w 185"/>
                  <a:gd name="T79" fmla="*/ 2147483647 h 153"/>
                  <a:gd name="T80" fmla="*/ 2147483647 w 185"/>
                  <a:gd name="T81" fmla="*/ 2147483647 h 153"/>
                  <a:gd name="T82" fmla="*/ 2147483647 w 185"/>
                  <a:gd name="T83" fmla="*/ 2147483647 h 153"/>
                  <a:gd name="T84" fmla="*/ 2147483647 w 185"/>
                  <a:gd name="T85" fmla="*/ 2147483647 h 153"/>
                  <a:gd name="T86" fmla="*/ 2147483647 w 185"/>
                  <a:gd name="T87" fmla="*/ 2147483647 h 153"/>
                  <a:gd name="T88" fmla="*/ 2147483647 w 185"/>
                  <a:gd name="T89" fmla="*/ 2147483647 h 15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85"/>
                  <a:gd name="T136" fmla="*/ 0 h 153"/>
                  <a:gd name="T137" fmla="*/ 185 w 185"/>
                  <a:gd name="T138" fmla="*/ 153 h 153"/>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85" h="153">
                    <a:moveTo>
                      <a:pt x="121" y="153"/>
                    </a:moveTo>
                    <a:lnTo>
                      <a:pt x="119" y="151"/>
                    </a:lnTo>
                    <a:lnTo>
                      <a:pt x="115" y="149"/>
                    </a:lnTo>
                    <a:lnTo>
                      <a:pt x="115" y="142"/>
                    </a:lnTo>
                    <a:lnTo>
                      <a:pt x="115" y="134"/>
                    </a:lnTo>
                    <a:lnTo>
                      <a:pt x="96" y="136"/>
                    </a:lnTo>
                    <a:lnTo>
                      <a:pt x="77" y="140"/>
                    </a:lnTo>
                    <a:lnTo>
                      <a:pt x="75" y="142"/>
                    </a:lnTo>
                    <a:lnTo>
                      <a:pt x="73" y="146"/>
                    </a:lnTo>
                    <a:lnTo>
                      <a:pt x="71" y="142"/>
                    </a:lnTo>
                    <a:lnTo>
                      <a:pt x="68" y="140"/>
                    </a:lnTo>
                    <a:lnTo>
                      <a:pt x="66" y="136"/>
                    </a:lnTo>
                    <a:lnTo>
                      <a:pt x="64" y="134"/>
                    </a:lnTo>
                    <a:lnTo>
                      <a:pt x="60" y="132"/>
                    </a:lnTo>
                    <a:lnTo>
                      <a:pt x="58" y="130"/>
                    </a:lnTo>
                    <a:lnTo>
                      <a:pt x="46" y="126"/>
                    </a:lnTo>
                    <a:lnTo>
                      <a:pt x="35" y="124"/>
                    </a:lnTo>
                    <a:lnTo>
                      <a:pt x="31" y="123"/>
                    </a:lnTo>
                    <a:lnTo>
                      <a:pt x="29" y="121"/>
                    </a:lnTo>
                    <a:lnTo>
                      <a:pt x="29" y="109"/>
                    </a:lnTo>
                    <a:lnTo>
                      <a:pt x="29" y="96"/>
                    </a:lnTo>
                    <a:lnTo>
                      <a:pt x="18" y="96"/>
                    </a:lnTo>
                    <a:lnTo>
                      <a:pt x="4" y="96"/>
                    </a:lnTo>
                    <a:lnTo>
                      <a:pt x="2" y="94"/>
                    </a:lnTo>
                    <a:lnTo>
                      <a:pt x="0" y="92"/>
                    </a:lnTo>
                    <a:lnTo>
                      <a:pt x="0" y="67"/>
                    </a:lnTo>
                    <a:lnTo>
                      <a:pt x="0" y="42"/>
                    </a:lnTo>
                    <a:lnTo>
                      <a:pt x="2" y="40"/>
                    </a:lnTo>
                    <a:lnTo>
                      <a:pt x="4" y="38"/>
                    </a:lnTo>
                    <a:lnTo>
                      <a:pt x="8" y="30"/>
                    </a:lnTo>
                    <a:lnTo>
                      <a:pt x="10" y="23"/>
                    </a:lnTo>
                    <a:lnTo>
                      <a:pt x="12" y="21"/>
                    </a:lnTo>
                    <a:lnTo>
                      <a:pt x="16" y="19"/>
                    </a:lnTo>
                    <a:lnTo>
                      <a:pt x="20" y="13"/>
                    </a:lnTo>
                    <a:lnTo>
                      <a:pt x="25" y="7"/>
                    </a:lnTo>
                    <a:lnTo>
                      <a:pt x="52" y="5"/>
                    </a:lnTo>
                    <a:lnTo>
                      <a:pt x="77" y="4"/>
                    </a:lnTo>
                    <a:lnTo>
                      <a:pt x="81" y="2"/>
                    </a:lnTo>
                    <a:lnTo>
                      <a:pt x="83" y="0"/>
                    </a:lnTo>
                    <a:lnTo>
                      <a:pt x="87" y="0"/>
                    </a:lnTo>
                    <a:lnTo>
                      <a:pt x="92" y="0"/>
                    </a:lnTo>
                    <a:lnTo>
                      <a:pt x="94" y="2"/>
                    </a:lnTo>
                    <a:lnTo>
                      <a:pt x="96" y="4"/>
                    </a:lnTo>
                    <a:lnTo>
                      <a:pt x="100" y="7"/>
                    </a:lnTo>
                    <a:lnTo>
                      <a:pt x="106" y="7"/>
                    </a:lnTo>
                    <a:lnTo>
                      <a:pt x="114" y="7"/>
                    </a:lnTo>
                    <a:lnTo>
                      <a:pt x="115" y="4"/>
                    </a:lnTo>
                    <a:lnTo>
                      <a:pt x="119" y="2"/>
                    </a:lnTo>
                    <a:lnTo>
                      <a:pt x="121" y="0"/>
                    </a:lnTo>
                    <a:lnTo>
                      <a:pt x="131" y="4"/>
                    </a:lnTo>
                    <a:lnTo>
                      <a:pt x="140" y="9"/>
                    </a:lnTo>
                    <a:lnTo>
                      <a:pt x="142" y="11"/>
                    </a:lnTo>
                    <a:lnTo>
                      <a:pt x="146" y="13"/>
                    </a:lnTo>
                    <a:lnTo>
                      <a:pt x="148" y="15"/>
                    </a:lnTo>
                    <a:lnTo>
                      <a:pt x="150" y="19"/>
                    </a:lnTo>
                    <a:lnTo>
                      <a:pt x="152" y="21"/>
                    </a:lnTo>
                    <a:lnTo>
                      <a:pt x="156" y="23"/>
                    </a:lnTo>
                    <a:lnTo>
                      <a:pt x="158" y="27"/>
                    </a:lnTo>
                    <a:lnTo>
                      <a:pt x="160" y="29"/>
                    </a:lnTo>
                    <a:lnTo>
                      <a:pt x="162" y="30"/>
                    </a:lnTo>
                    <a:lnTo>
                      <a:pt x="165" y="32"/>
                    </a:lnTo>
                    <a:lnTo>
                      <a:pt x="167" y="40"/>
                    </a:lnTo>
                    <a:lnTo>
                      <a:pt x="169" y="48"/>
                    </a:lnTo>
                    <a:lnTo>
                      <a:pt x="171" y="50"/>
                    </a:lnTo>
                    <a:lnTo>
                      <a:pt x="175" y="52"/>
                    </a:lnTo>
                    <a:lnTo>
                      <a:pt x="177" y="65"/>
                    </a:lnTo>
                    <a:lnTo>
                      <a:pt x="179" y="76"/>
                    </a:lnTo>
                    <a:lnTo>
                      <a:pt x="181" y="78"/>
                    </a:lnTo>
                    <a:lnTo>
                      <a:pt x="185" y="80"/>
                    </a:lnTo>
                    <a:lnTo>
                      <a:pt x="185" y="96"/>
                    </a:lnTo>
                    <a:lnTo>
                      <a:pt x="185" y="111"/>
                    </a:lnTo>
                    <a:lnTo>
                      <a:pt x="181" y="113"/>
                    </a:lnTo>
                    <a:lnTo>
                      <a:pt x="179" y="115"/>
                    </a:lnTo>
                    <a:lnTo>
                      <a:pt x="177" y="119"/>
                    </a:lnTo>
                    <a:lnTo>
                      <a:pt x="175" y="121"/>
                    </a:lnTo>
                    <a:lnTo>
                      <a:pt x="171" y="123"/>
                    </a:lnTo>
                    <a:lnTo>
                      <a:pt x="169" y="124"/>
                    </a:lnTo>
                    <a:lnTo>
                      <a:pt x="167" y="126"/>
                    </a:lnTo>
                    <a:lnTo>
                      <a:pt x="165" y="130"/>
                    </a:lnTo>
                    <a:lnTo>
                      <a:pt x="162" y="132"/>
                    </a:lnTo>
                    <a:lnTo>
                      <a:pt x="160" y="134"/>
                    </a:lnTo>
                    <a:lnTo>
                      <a:pt x="158" y="136"/>
                    </a:lnTo>
                    <a:lnTo>
                      <a:pt x="156" y="140"/>
                    </a:lnTo>
                    <a:lnTo>
                      <a:pt x="152" y="142"/>
                    </a:lnTo>
                    <a:lnTo>
                      <a:pt x="150" y="146"/>
                    </a:lnTo>
                    <a:lnTo>
                      <a:pt x="142" y="147"/>
                    </a:lnTo>
                    <a:lnTo>
                      <a:pt x="137" y="149"/>
                    </a:lnTo>
                    <a:lnTo>
                      <a:pt x="133" y="151"/>
                    </a:lnTo>
                    <a:lnTo>
                      <a:pt x="131" y="153"/>
                    </a:lnTo>
                    <a:lnTo>
                      <a:pt x="127" y="153"/>
                    </a:lnTo>
                    <a:lnTo>
                      <a:pt x="121" y="153"/>
                    </a:lnTo>
                  </a:path>
                </a:pathLst>
              </a:custGeom>
              <a:grpFill/>
              <a:ln w="3175">
                <a:solidFill>
                  <a:srgbClr val="FF8300"/>
                </a:solidFill>
                <a:round/>
                <a:headEnd/>
                <a:tailEnd/>
              </a:ln>
            </p:spPr>
            <p:txBody>
              <a:bodyPr/>
              <a:lstStyle/>
              <a:p>
                <a:pPr>
                  <a:defRPr/>
                </a:pPr>
                <a:endParaRPr lang="en-GB" sz="1400">
                  <a:solidFill>
                    <a:schemeClr val="tx2"/>
                  </a:solidFill>
                </a:endParaRPr>
              </a:p>
            </p:txBody>
          </p:sp>
          <p:sp>
            <p:nvSpPr>
              <p:cNvPr id="401" name="Freeform 332"/>
              <p:cNvSpPr>
                <a:spLocks/>
              </p:cNvSpPr>
              <p:nvPr>
                <p:custDataLst>
                  <p:tags r:id="rId50"/>
                </p:custDataLst>
              </p:nvPr>
            </p:nvSpPr>
            <p:spPr bwMode="gray">
              <a:xfrm>
                <a:off x="1349516" y="4501621"/>
                <a:ext cx="170008" cy="172795"/>
              </a:xfrm>
              <a:custGeom>
                <a:avLst/>
                <a:gdLst>
                  <a:gd name="T0" fmla="*/ 2147483647 w 126"/>
                  <a:gd name="T1" fmla="*/ 2147483647 h 134"/>
                  <a:gd name="T2" fmla="*/ 2147483647 w 126"/>
                  <a:gd name="T3" fmla="*/ 2147483647 h 134"/>
                  <a:gd name="T4" fmla="*/ 2147483647 w 126"/>
                  <a:gd name="T5" fmla="*/ 2147483647 h 134"/>
                  <a:gd name="T6" fmla="*/ 2147483647 w 126"/>
                  <a:gd name="T7" fmla="*/ 2147483647 h 134"/>
                  <a:gd name="T8" fmla="*/ 2147483647 w 126"/>
                  <a:gd name="T9" fmla="*/ 2147483647 h 134"/>
                  <a:gd name="T10" fmla="*/ 2147483647 w 126"/>
                  <a:gd name="T11" fmla="*/ 2147483647 h 134"/>
                  <a:gd name="T12" fmla="*/ 2147483647 w 126"/>
                  <a:gd name="T13" fmla="*/ 2147483647 h 134"/>
                  <a:gd name="T14" fmla="*/ 2147483647 w 126"/>
                  <a:gd name="T15" fmla="*/ 2147483647 h 134"/>
                  <a:gd name="T16" fmla="*/ 2147483647 w 126"/>
                  <a:gd name="T17" fmla="*/ 2147483647 h 134"/>
                  <a:gd name="T18" fmla="*/ 2147483647 w 126"/>
                  <a:gd name="T19" fmla="*/ 2147483647 h 134"/>
                  <a:gd name="T20" fmla="*/ 2147483647 w 126"/>
                  <a:gd name="T21" fmla="*/ 2147483647 h 134"/>
                  <a:gd name="T22" fmla="*/ 2147483647 w 126"/>
                  <a:gd name="T23" fmla="*/ 2147483647 h 134"/>
                  <a:gd name="T24" fmla="*/ 2147483647 w 126"/>
                  <a:gd name="T25" fmla="*/ 2147483647 h 134"/>
                  <a:gd name="T26" fmla="*/ 2147483647 w 126"/>
                  <a:gd name="T27" fmla="*/ 2147483647 h 134"/>
                  <a:gd name="T28" fmla="*/ 0 w 126"/>
                  <a:gd name="T29" fmla="*/ 2147483647 h 134"/>
                  <a:gd name="T30" fmla="*/ 2147483647 w 126"/>
                  <a:gd name="T31" fmla="*/ 2147483647 h 134"/>
                  <a:gd name="T32" fmla="*/ 2147483647 w 126"/>
                  <a:gd name="T33" fmla="*/ 2147483647 h 134"/>
                  <a:gd name="T34" fmla="*/ 2147483647 w 126"/>
                  <a:gd name="T35" fmla="*/ 2147483647 h 134"/>
                  <a:gd name="T36" fmla="*/ 2147483647 w 126"/>
                  <a:gd name="T37" fmla="*/ 2147483647 h 134"/>
                  <a:gd name="T38" fmla="*/ 2147483647 w 126"/>
                  <a:gd name="T39" fmla="*/ 2147483647 h 134"/>
                  <a:gd name="T40" fmla="*/ 2147483647 w 126"/>
                  <a:gd name="T41" fmla="*/ 2147483647 h 134"/>
                  <a:gd name="T42" fmla="*/ 2147483647 w 126"/>
                  <a:gd name="T43" fmla="*/ 2147483647 h 134"/>
                  <a:gd name="T44" fmla="*/ 2147483647 w 126"/>
                  <a:gd name="T45" fmla="*/ 0 h 134"/>
                  <a:gd name="T46" fmla="*/ 2147483647 w 126"/>
                  <a:gd name="T47" fmla="*/ 0 h 134"/>
                  <a:gd name="T48" fmla="*/ 2147483647 w 126"/>
                  <a:gd name="T49" fmla="*/ 0 h 134"/>
                  <a:gd name="T50" fmla="*/ 2147483647 w 126"/>
                  <a:gd name="T51" fmla="*/ 0 h 134"/>
                  <a:gd name="T52" fmla="*/ 2147483647 w 126"/>
                  <a:gd name="T53" fmla="*/ 0 h 134"/>
                  <a:gd name="T54" fmla="*/ 2147483647 w 126"/>
                  <a:gd name="T55" fmla="*/ 2147483647 h 134"/>
                  <a:gd name="T56" fmla="*/ 2147483647 w 126"/>
                  <a:gd name="T57" fmla="*/ 2147483647 h 134"/>
                  <a:gd name="T58" fmla="*/ 2147483647 w 126"/>
                  <a:gd name="T59" fmla="*/ 2147483647 h 134"/>
                  <a:gd name="T60" fmla="*/ 2147483647 w 126"/>
                  <a:gd name="T61" fmla="*/ 2147483647 h 134"/>
                  <a:gd name="T62" fmla="*/ 2147483647 w 126"/>
                  <a:gd name="T63" fmla="*/ 2147483647 h 134"/>
                  <a:gd name="T64" fmla="*/ 2147483647 w 126"/>
                  <a:gd name="T65" fmla="*/ 2147483647 h 134"/>
                  <a:gd name="T66" fmla="*/ 2147483647 w 126"/>
                  <a:gd name="T67" fmla="*/ 2147483647 h 134"/>
                  <a:gd name="T68" fmla="*/ 2147483647 w 126"/>
                  <a:gd name="T69" fmla="*/ 2147483647 h 134"/>
                  <a:gd name="T70" fmla="*/ 2147483647 w 126"/>
                  <a:gd name="T71" fmla="*/ 2147483647 h 134"/>
                  <a:gd name="T72" fmla="*/ 2147483647 w 126"/>
                  <a:gd name="T73" fmla="*/ 2147483647 h 134"/>
                  <a:gd name="T74" fmla="*/ 2147483647 w 126"/>
                  <a:gd name="T75" fmla="*/ 2147483647 h 134"/>
                  <a:gd name="T76" fmla="*/ 2147483647 w 126"/>
                  <a:gd name="T77" fmla="*/ 2147483647 h 134"/>
                  <a:gd name="T78" fmla="*/ 2147483647 w 126"/>
                  <a:gd name="T79" fmla="*/ 2147483647 h 134"/>
                  <a:gd name="T80" fmla="*/ 2147483647 w 126"/>
                  <a:gd name="T81" fmla="*/ 2147483647 h 134"/>
                  <a:gd name="T82" fmla="*/ 2147483647 w 126"/>
                  <a:gd name="T83" fmla="*/ 2147483647 h 134"/>
                  <a:gd name="T84" fmla="*/ 2147483647 w 126"/>
                  <a:gd name="T85" fmla="*/ 2147483647 h 134"/>
                  <a:gd name="T86" fmla="*/ 2147483647 w 126"/>
                  <a:gd name="T87" fmla="*/ 2147483647 h 134"/>
                  <a:gd name="T88" fmla="*/ 2147483647 w 126"/>
                  <a:gd name="T89" fmla="*/ 2147483647 h 134"/>
                  <a:gd name="T90" fmla="*/ 2147483647 w 126"/>
                  <a:gd name="T91" fmla="*/ 2147483647 h 134"/>
                  <a:gd name="T92" fmla="*/ 2147483647 w 126"/>
                  <a:gd name="T93" fmla="*/ 2147483647 h 134"/>
                  <a:gd name="T94" fmla="*/ 2147483647 w 126"/>
                  <a:gd name="T95" fmla="*/ 2147483647 h 134"/>
                  <a:gd name="T96" fmla="*/ 2147483647 w 126"/>
                  <a:gd name="T97" fmla="*/ 2147483647 h 134"/>
                  <a:gd name="T98" fmla="*/ 2147483647 w 126"/>
                  <a:gd name="T99" fmla="*/ 2147483647 h 134"/>
                  <a:gd name="T100" fmla="*/ 2147483647 w 126"/>
                  <a:gd name="T101" fmla="*/ 2147483647 h 134"/>
                  <a:gd name="T102" fmla="*/ 2147483647 w 126"/>
                  <a:gd name="T103" fmla="*/ 2147483647 h 134"/>
                  <a:gd name="T104" fmla="*/ 2147483647 w 126"/>
                  <a:gd name="T105" fmla="*/ 2147483647 h 134"/>
                  <a:gd name="T106" fmla="*/ 2147483647 w 126"/>
                  <a:gd name="T107" fmla="*/ 2147483647 h 134"/>
                  <a:gd name="T108" fmla="*/ 2147483647 w 126"/>
                  <a:gd name="T109" fmla="*/ 2147483647 h 134"/>
                  <a:gd name="T110" fmla="*/ 2147483647 w 126"/>
                  <a:gd name="T111" fmla="*/ 2147483647 h 134"/>
                  <a:gd name="T112" fmla="*/ 2147483647 w 126"/>
                  <a:gd name="T113" fmla="*/ 2147483647 h 134"/>
                  <a:gd name="T114" fmla="*/ 2147483647 w 126"/>
                  <a:gd name="T115" fmla="*/ 2147483647 h 134"/>
                  <a:gd name="T116" fmla="*/ 2147483647 w 126"/>
                  <a:gd name="T117" fmla="*/ 2147483647 h 134"/>
                  <a:gd name="T118" fmla="*/ 2147483647 w 126"/>
                  <a:gd name="T119" fmla="*/ 2147483647 h 134"/>
                  <a:gd name="T120" fmla="*/ 2147483647 w 126"/>
                  <a:gd name="T121" fmla="*/ 2147483647 h 13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26"/>
                  <a:gd name="T184" fmla="*/ 0 h 134"/>
                  <a:gd name="T185" fmla="*/ 126 w 126"/>
                  <a:gd name="T186" fmla="*/ 134 h 134"/>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26" h="134">
                    <a:moveTo>
                      <a:pt x="32" y="125"/>
                    </a:moveTo>
                    <a:lnTo>
                      <a:pt x="31" y="123"/>
                    </a:lnTo>
                    <a:lnTo>
                      <a:pt x="29" y="121"/>
                    </a:lnTo>
                    <a:lnTo>
                      <a:pt x="25" y="104"/>
                    </a:lnTo>
                    <a:lnTo>
                      <a:pt x="23" y="87"/>
                    </a:lnTo>
                    <a:lnTo>
                      <a:pt x="21" y="85"/>
                    </a:lnTo>
                    <a:lnTo>
                      <a:pt x="19" y="81"/>
                    </a:lnTo>
                    <a:lnTo>
                      <a:pt x="15" y="69"/>
                    </a:lnTo>
                    <a:lnTo>
                      <a:pt x="13" y="58"/>
                    </a:lnTo>
                    <a:lnTo>
                      <a:pt x="11" y="54"/>
                    </a:lnTo>
                    <a:lnTo>
                      <a:pt x="9" y="52"/>
                    </a:lnTo>
                    <a:lnTo>
                      <a:pt x="6" y="44"/>
                    </a:lnTo>
                    <a:lnTo>
                      <a:pt x="4" y="39"/>
                    </a:lnTo>
                    <a:lnTo>
                      <a:pt x="2" y="35"/>
                    </a:lnTo>
                    <a:lnTo>
                      <a:pt x="0" y="33"/>
                    </a:lnTo>
                    <a:lnTo>
                      <a:pt x="4" y="23"/>
                    </a:lnTo>
                    <a:lnTo>
                      <a:pt x="9" y="14"/>
                    </a:lnTo>
                    <a:lnTo>
                      <a:pt x="11" y="12"/>
                    </a:lnTo>
                    <a:lnTo>
                      <a:pt x="13" y="10"/>
                    </a:lnTo>
                    <a:lnTo>
                      <a:pt x="15" y="6"/>
                    </a:lnTo>
                    <a:lnTo>
                      <a:pt x="19" y="4"/>
                    </a:lnTo>
                    <a:lnTo>
                      <a:pt x="21" y="2"/>
                    </a:lnTo>
                    <a:lnTo>
                      <a:pt x="23" y="0"/>
                    </a:lnTo>
                    <a:lnTo>
                      <a:pt x="42" y="0"/>
                    </a:lnTo>
                    <a:lnTo>
                      <a:pt x="61" y="0"/>
                    </a:lnTo>
                    <a:lnTo>
                      <a:pt x="80" y="0"/>
                    </a:lnTo>
                    <a:lnTo>
                      <a:pt x="100" y="0"/>
                    </a:lnTo>
                    <a:lnTo>
                      <a:pt x="103" y="2"/>
                    </a:lnTo>
                    <a:lnTo>
                      <a:pt x="105" y="4"/>
                    </a:lnTo>
                    <a:lnTo>
                      <a:pt x="107" y="6"/>
                    </a:lnTo>
                    <a:lnTo>
                      <a:pt x="109" y="10"/>
                    </a:lnTo>
                    <a:lnTo>
                      <a:pt x="113" y="12"/>
                    </a:lnTo>
                    <a:lnTo>
                      <a:pt x="115" y="14"/>
                    </a:lnTo>
                    <a:lnTo>
                      <a:pt x="117" y="16"/>
                    </a:lnTo>
                    <a:lnTo>
                      <a:pt x="121" y="19"/>
                    </a:lnTo>
                    <a:lnTo>
                      <a:pt x="123" y="21"/>
                    </a:lnTo>
                    <a:lnTo>
                      <a:pt x="125" y="23"/>
                    </a:lnTo>
                    <a:lnTo>
                      <a:pt x="125" y="40"/>
                    </a:lnTo>
                    <a:lnTo>
                      <a:pt x="126" y="58"/>
                    </a:lnTo>
                    <a:lnTo>
                      <a:pt x="121" y="65"/>
                    </a:lnTo>
                    <a:lnTo>
                      <a:pt x="115" y="71"/>
                    </a:lnTo>
                    <a:lnTo>
                      <a:pt x="113" y="73"/>
                    </a:lnTo>
                    <a:lnTo>
                      <a:pt x="109" y="77"/>
                    </a:lnTo>
                    <a:lnTo>
                      <a:pt x="107" y="83"/>
                    </a:lnTo>
                    <a:lnTo>
                      <a:pt x="105" y="90"/>
                    </a:lnTo>
                    <a:lnTo>
                      <a:pt x="103" y="94"/>
                    </a:lnTo>
                    <a:lnTo>
                      <a:pt x="100" y="96"/>
                    </a:lnTo>
                    <a:lnTo>
                      <a:pt x="98" y="106"/>
                    </a:lnTo>
                    <a:lnTo>
                      <a:pt x="96" y="115"/>
                    </a:lnTo>
                    <a:lnTo>
                      <a:pt x="84" y="115"/>
                    </a:lnTo>
                    <a:lnTo>
                      <a:pt x="78" y="115"/>
                    </a:lnTo>
                    <a:lnTo>
                      <a:pt x="77" y="117"/>
                    </a:lnTo>
                    <a:lnTo>
                      <a:pt x="77" y="121"/>
                    </a:lnTo>
                    <a:lnTo>
                      <a:pt x="75" y="123"/>
                    </a:lnTo>
                    <a:lnTo>
                      <a:pt x="71" y="125"/>
                    </a:lnTo>
                    <a:lnTo>
                      <a:pt x="69" y="127"/>
                    </a:lnTo>
                    <a:lnTo>
                      <a:pt x="67" y="131"/>
                    </a:lnTo>
                    <a:lnTo>
                      <a:pt x="65" y="133"/>
                    </a:lnTo>
                    <a:lnTo>
                      <a:pt x="61" y="134"/>
                    </a:lnTo>
                    <a:lnTo>
                      <a:pt x="48" y="129"/>
                    </a:lnTo>
                    <a:lnTo>
                      <a:pt x="32" y="125"/>
                    </a:lnTo>
                  </a:path>
                </a:pathLst>
              </a:custGeom>
              <a:grpFill/>
              <a:ln w="3175">
                <a:solidFill>
                  <a:srgbClr val="FF8300"/>
                </a:solidFill>
                <a:round/>
                <a:headEnd/>
                <a:tailEnd/>
              </a:ln>
            </p:spPr>
            <p:txBody>
              <a:bodyPr/>
              <a:lstStyle/>
              <a:p>
                <a:pPr>
                  <a:defRPr/>
                </a:pPr>
                <a:endParaRPr lang="en-GB" sz="1400">
                  <a:solidFill>
                    <a:schemeClr val="tx2"/>
                  </a:solidFill>
                </a:endParaRPr>
              </a:p>
            </p:txBody>
          </p:sp>
          <p:sp>
            <p:nvSpPr>
              <p:cNvPr id="402" name="Freeform 333"/>
              <p:cNvSpPr>
                <a:spLocks/>
              </p:cNvSpPr>
              <p:nvPr>
                <p:custDataLst>
                  <p:tags r:id="rId51"/>
                </p:custDataLst>
              </p:nvPr>
            </p:nvSpPr>
            <p:spPr bwMode="gray">
              <a:xfrm>
                <a:off x="1650513" y="4395715"/>
                <a:ext cx="209026" cy="241077"/>
              </a:xfrm>
              <a:custGeom>
                <a:avLst/>
                <a:gdLst>
                  <a:gd name="T0" fmla="*/ 2147483647 w 156"/>
                  <a:gd name="T1" fmla="*/ 2147483647 h 184"/>
                  <a:gd name="T2" fmla="*/ 2147483647 w 156"/>
                  <a:gd name="T3" fmla="*/ 2147483647 h 184"/>
                  <a:gd name="T4" fmla="*/ 2147483647 w 156"/>
                  <a:gd name="T5" fmla="*/ 2147483647 h 184"/>
                  <a:gd name="T6" fmla="*/ 2147483647 w 156"/>
                  <a:gd name="T7" fmla="*/ 2147483647 h 184"/>
                  <a:gd name="T8" fmla="*/ 2147483647 w 156"/>
                  <a:gd name="T9" fmla="*/ 2147483647 h 184"/>
                  <a:gd name="T10" fmla="*/ 2147483647 w 156"/>
                  <a:gd name="T11" fmla="*/ 2147483647 h 184"/>
                  <a:gd name="T12" fmla="*/ 2147483647 w 156"/>
                  <a:gd name="T13" fmla="*/ 2147483647 h 184"/>
                  <a:gd name="T14" fmla="*/ 2147483647 w 156"/>
                  <a:gd name="T15" fmla="*/ 2147483647 h 184"/>
                  <a:gd name="T16" fmla="*/ 2147483647 w 156"/>
                  <a:gd name="T17" fmla="*/ 2147483647 h 184"/>
                  <a:gd name="T18" fmla="*/ 2147483647 w 156"/>
                  <a:gd name="T19" fmla="*/ 2147483647 h 184"/>
                  <a:gd name="T20" fmla="*/ 2147483647 w 156"/>
                  <a:gd name="T21" fmla="*/ 2147483647 h 184"/>
                  <a:gd name="T22" fmla="*/ 2147483647 w 156"/>
                  <a:gd name="T23" fmla="*/ 2147483647 h 184"/>
                  <a:gd name="T24" fmla="*/ 2147483647 w 156"/>
                  <a:gd name="T25" fmla="*/ 2147483647 h 184"/>
                  <a:gd name="T26" fmla="*/ 2147483647 w 156"/>
                  <a:gd name="T27" fmla="*/ 2147483647 h 184"/>
                  <a:gd name="T28" fmla="*/ 2147483647 w 156"/>
                  <a:gd name="T29" fmla="*/ 2147483647 h 184"/>
                  <a:gd name="T30" fmla="*/ 2147483647 w 156"/>
                  <a:gd name="T31" fmla="*/ 2147483647 h 184"/>
                  <a:gd name="T32" fmla="*/ 0 w 156"/>
                  <a:gd name="T33" fmla="*/ 2147483647 h 184"/>
                  <a:gd name="T34" fmla="*/ 2147483647 w 156"/>
                  <a:gd name="T35" fmla="*/ 2147483647 h 184"/>
                  <a:gd name="T36" fmla="*/ 2147483647 w 156"/>
                  <a:gd name="T37" fmla="*/ 2147483647 h 184"/>
                  <a:gd name="T38" fmla="*/ 2147483647 w 156"/>
                  <a:gd name="T39" fmla="*/ 0 h 184"/>
                  <a:gd name="T40" fmla="*/ 2147483647 w 156"/>
                  <a:gd name="T41" fmla="*/ 2147483647 h 184"/>
                  <a:gd name="T42" fmla="*/ 2147483647 w 156"/>
                  <a:gd name="T43" fmla="*/ 2147483647 h 184"/>
                  <a:gd name="T44" fmla="*/ 2147483647 w 156"/>
                  <a:gd name="T45" fmla="*/ 2147483647 h 184"/>
                  <a:gd name="T46" fmla="*/ 2147483647 w 156"/>
                  <a:gd name="T47" fmla="*/ 2147483647 h 184"/>
                  <a:gd name="T48" fmla="*/ 2147483647 w 156"/>
                  <a:gd name="T49" fmla="*/ 2147483647 h 184"/>
                  <a:gd name="T50" fmla="*/ 2147483647 w 156"/>
                  <a:gd name="T51" fmla="*/ 2147483647 h 184"/>
                  <a:gd name="T52" fmla="*/ 2147483647 w 156"/>
                  <a:gd name="T53" fmla="*/ 2147483647 h 184"/>
                  <a:gd name="T54" fmla="*/ 2147483647 w 156"/>
                  <a:gd name="T55" fmla="*/ 2147483647 h 184"/>
                  <a:gd name="T56" fmla="*/ 2147483647 w 156"/>
                  <a:gd name="T57" fmla="*/ 2147483647 h 184"/>
                  <a:gd name="T58" fmla="*/ 2147483647 w 156"/>
                  <a:gd name="T59" fmla="*/ 2147483647 h 184"/>
                  <a:gd name="T60" fmla="*/ 2147483647 w 156"/>
                  <a:gd name="T61" fmla="*/ 2147483647 h 184"/>
                  <a:gd name="T62" fmla="*/ 2147483647 w 156"/>
                  <a:gd name="T63" fmla="*/ 2147483647 h 184"/>
                  <a:gd name="T64" fmla="*/ 2147483647 w 156"/>
                  <a:gd name="T65" fmla="*/ 2147483647 h 184"/>
                  <a:gd name="T66" fmla="*/ 2147483647 w 156"/>
                  <a:gd name="T67" fmla="*/ 2147483647 h 184"/>
                  <a:gd name="T68" fmla="*/ 2147483647 w 156"/>
                  <a:gd name="T69" fmla="*/ 2147483647 h 184"/>
                  <a:gd name="T70" fmla="*/ 2147483647 w 156"/>
                  <a:gd name="T71" fmla="*/ 2147483647 h 184"/>
                  <a:gd name="T72" fmla="*/ 2147483647 w 156"/>
                  <a:gd name="T73" fmla="*/ 2147483647 h 184"/>
                  <a:gd name="T74" fmla="*/ 2147483647 w 156"/>
                  <a:gd name="T75" fmla="*/ 2147483647 h 184"/>
                  <a:gd name="T76" fmla="*/ 2147483647 w 156"/>
                  <a:gd name="T77" fmla="*/ 2147483647 h 184"/>
                  <a:gd name="T78" fmla="*/ 2147483647 w 156"/>
                  <a:gd name="T79" fmla="*/ 2147483647 h 184"/>
                  <a:gd name="T80" fmla="*/ 2147483647 w 156"/>
                  <a:gd name="T81" fmla="*/ 2147483647 h 184"/>
                  <a:gd name="T82" fmla="*/ 2147483647 w 156"/>
                  <a:gd name="T83" fmla="*/ 2147483647 h 184"/>
                  <a:gd name="T84" fmla="*/ 2147483647 w 156"/>
                  <a:gd name="T85" fmla="*/ 2147483647 h 184"/>
                  <a:gd name="T86" fmla="*/ 2147483647 w 156"/>
                  <a:gd name="T87" fmla="*/ 2147483647 h 184"/>
                  <a:gd name="T88" fmla="*/ 2147483647 w 156"/>
                  <a:gd name="T89" fmla="*/ 2147483647 h 184"/>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56"/>
                  <a:gd name="T136" fmla="*/ 0 h 184"/>
                  <a:gd name="T137" fmla="*/ 156 w 156"/>
                  <a:gd name="T138" fmla="*/ 184 h 184"/>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56" h="184">
                    <a:moveTo>
                      <a:pt x="64" y="184"/>
                    </a:moveTo>
                    <a:lnTo>
                      <a:pt x="62" y="182"/>
                    </a:lnTo>
                    <a:lnTo>
                      <a:pt x="60" y="178"/>
                    </a:lnTo>
                    <a:lnTo>
                      <a:pt x="56" y="172"/>
                    </a:lnTo>
                    <a:lnTo>
                      <a:pt x="54" y="165"/>
                    </a:lnTo>
                    <a:lnTo>
                      <a:pt x="52" y="163"/>
                    </a:lnTo>
                    <a:lnTo>
                      <a:pt x="50" y="159"/>
                    </a:lnTo>
                    <a:lnTo>
                      <a:pt x="47" y="157"/>
                    </a:lnTo>
                    <a:lnTo>
                      <a:pt x="45" y="155"/>
                    </a:lnTo>
                    <a:lnTo>
                      <a:pt x="43" y="151"/>
                    </a:lnTo>
                    <a:lnTo>
                      <a:pt x="41" y="149"/>
                    </a:lnTo>
                    <a:lnTo>
                      <a:pt x="37" y="147"/>
                    </a:lnTo>
                    <a:lnTo>
                      <a:pt x="35" y="145"/>
                    </a:lnTo>
                    <a:lnTo>
                      <a:pt x="33" y="143"/>
                    </a:lnTo>
                    <a:lnTo>
                      <a:pt x="31" y="140"/>
                    </a:lnTo>
                    <a:lnTo>
                      <a:pt x="25" y="130"/>
                    </a:lnTo>
                    <a:lnTo>
                      <a:pt x="22" y="120"/>
                    </a:lnTo>
                    <a:lnTo>
                      <a:pt x="23" y="118"/>
                    </a:lnTo>
                    <a:lnTo>
                      <a:pt x="25" y="117"/>
                    </a:lnTo>
                    <a:lnTo>
                      <a:pt x="29" y="111"/>
                    </a:lnTo>
                    <a:lnTo>
                      <a:pt x="29" y="97"/>
                    </a:lnTo>
                    <a:lnTo>
                      <a:pt x="29" y="84"/>
                    </a:lnTo>
                    <a:lnTo>
                      <a:pt x="25" y="78"/>
                    </a:lnTo>
                    <a:lnTo>
                      <a:pt x="23" y="74"/>
                    </a:lnTo>
                    <a:lnTo>
                      <a:pt x="22" y="72"/>
                    </a:lnTo>
                    <a:lnTo>
                      <a:pt x="18" y="65"/>
                    </a:lnTo>
                    <a:lnTo>
                      <a:pt x="16" y="57"/>
                    </a:lnTo>
                    <a:lnTo>
                      <a:pt x="14" y="55"/>
                    </a:lnTo>
                    <a:lnTo>
                      <a:pt x="10" y="53"/>
                    </a:lnTo>
                    <a:lnTo>
                      <a:pt x="8" y="46"/>
                    </a:lnTo>
                    <a:lnTo>
                      <a:pt x="6" y="38"/>
                    </a:lnTo>
                    <a:lnTo>
                      <a:pt x="4" y="36"/>
                    </a:lnTo>
                    <a:lnTo>
                      <a:pt x="0" y="34"/>
                    </a:lnTo>
                    <a:lnTo>
                      <a:pt x="0" y="28"/>
                    </a:lnTo>
                    <a:lnTo>
                      <a:pt x="0" y="24"/>
                    </a:lnTo>
                    <a:lnTo>
                      <a:pt x="4" y="23"/>
                    </a:lnTo>
                    <a:lnTo>
                      <a:pt x="6" y="19"/>
                    </a:lnTo>
                    <a:lnTo>
                      <a:pt x="8" y="9"/>
                    </a:lnTo>
                    <a:lnTo>
                      <a:pt x="10" y="0"/>
                    </a:lnTo>
                    <a:lnTo>
                      <a:pt x="20" y="0"/>
                    </a:lnTo>
                    <a:lnTo>
                      <a:pt x="31" y="0"/>
                    </a:lnTo>
                    <a:lnTo>
                      <a:pt x="33" y="9"/>
                    </a:lnTo>
                    <a:lnTo>
                      <a:pt x="35" y="19"/>
                    </a:lnTo>
                    <a:lnTo>
                      <a:pt x="37" y="23"/>
                    </a:lnTo>
                    <a:lnTo>
                      <a:pt x="41" y="24"/>
                    </a:lnTo>
                    <a:lnTo>
                      <a:pt x="50" y="24"/>
                    </a:lnTo>
                    <a:lnTo>
                      <a:pt x="60" y="24"/>
                    </a:lnTo>
                    <a:lnTo>
                      <a:pt x="62" y="23"/>
                    </a:lnTo>
                    <a:lnTo>
                      <a:pt x="64" y="19"/>
                    </a:lnTo>
                    <a:lnTo>
                      <a:pt x="70" y="38"/>
                    </a:lnTo>
                    <a:lnTo>
                      <a:pt x="73" y="57"/>
                    </a:lnTo>
                    <a:lnTo>
                      <a:pt x="77" y="61"/>
                    </a:lnTo>
                    <a:lnTo>
                      <a:pt x="79" y="63"/>
                    </a:lnTo>
                    <a:lnTo>
                      <a:pt x="91" y="65"/>
                    </a:lnTo>
                    <a:lnTo>
                      <a:pt x="104" y="67"/>
                    </a:lnTo>
                    <a:lnTo>
                      <a:pt x="106" y="71"/>
                    </a:lnTo>
                    <a:lnTo>
                      <a:pt x="108" y="72"/>
                    </a:lnTo>
                    <a:lnTo>
                      <a:pt x="110" y="80"/>
                    </a:lnTo>
                    <a:lnTo>
                      <a:pt x="112" y="88"/>
                    </a:lnTo>
                    <a:lnTo>
                      <a:pt x="116" y="90"/>
                    </a:lnTo>
                    <a:lnTo>
                      <a:pt x="118" y="92"/>
                    </a:lnTo>
                    <a:lnTo>
                      <a:pt x="119" y="99"/>
                    </a:lnTo>
                    <a:lnTo>
                      <a:pt x="121" y="107"/>
                    </a:lnTo>
                    <a:lnTo>
                      <a:pt x="125" y="109"/>
                    </a:lnTo>
                    <a:lnTo>
                      <a:pt x="127" y="111"/>
                    </a:lnTo>
                    <a:lnTo>
                      <a:pt x="129" y="113"/>
                    </a:lnTo>
                    <a:lnTo>
                      <a:pt x="133" y="117"/>
                    </a:lnTo>
                    <a:lnTo>
                      <a:pt x="135" y="118"/>
                    </a:lnTo>
                    <a:lnTo>
                      <a:pt x="137" y="120"/>
                    </a:lnTo>
                    <a:lnTo>
                      <a:pt x="139" y="122"/>
                    </a:lnTo>
                    <a:lnTo>
                      <a:pt x="142" y="126"/>
                    </a:lnTo>
                    <a:lnTo>
                      <a:pt x="144" y="128"/>
                    </a:lnTo>
                    <a:lnTo>
                      <a:pt x="146" y="130"/>
                    </a:lnTo>
                    <a:lnTo>
                      <a:pt x="150" y="140"/>
                    </a:lnTo>
                    <a:lnTo>
                      <a:pt x="156" y="149"/>
                    </a:lnTo>
                    <a:lnTo>
                      <a:pt x="154" y="151"/>
                    </a:lnTo>
                    <a:lnTo>
                      <a:pt x="152" y="155"/>
                    </a:lnTo>
                    <a:lnTo>
                      <a:pt x="139" y="157"/>
                    </a:lnTo>
                    <a:lnTo>
                      <a:pt x="127" y="159"/>
                    </a:lnTo>
                    <a:lnTo>
                      <a:pt x="125" y="163"/>
                    </a:lnTo>
                    <a:lnTo>
                      <a:pt x="121" y="165"/>
                    </a:lnTo>
                    <a:lnTo>
                      <a:pt x="110" y="166"/>
                    </a:lnTo>
                    <a:lnTo>
                      <a:pt x="98" y="168"/>
                    </a:lnTo>
                    <a:lnTo>
                      <a:pt x="94" y="172"/>
                    </a:lnTo>
                    <a:lnTo>
                      <a:pt x="93" y="174"/>
                    </a:lnTo>
                    <a:lnTo>
                      <a:pt x="87" y="176"/>
                    </a:lnTo>
                    <a:lnTo>
                      <a:pt x="79" y="178"/>
                    </a:lnTo>
                    <a:lnTo>
                      <a:pt x="77" y="182"/>
                    </a:lnTo>
                    <a:lnTo>
                      <a:pt x="73" y="184"/>
                    </a:lnTo>
                    <a:lnTo>
                      <a:pt x="70" y="184"/>
                    </a:lnTo>
                    <a:lnTo>
                      <a:pt x="64" y="184"/>
                    </a:lnTo>
                  </a:path>
                </a:pathLst>
              </a:custGeom>
              <a:grpFill/>
              <a:ln w="3175">
                <a:solidFill>
                  <a:srgbClr val="FF8300"/>
                </a:solidFill>
                <a:round/>
                <a:headEnd/>
                <a:tailEnd/>
              </a:ln>
            </p:spPr>
            <p:txBody>
              <a:bodyPr/>
              <a:lstStyle/>
              <a:p>
                <a:pPr>
                  <a:defRPr/>
                </a:pPr>
                <a:endParaRPr lang="en-GB" sz="1400">
                  <a:solidFill>
                    <a:schemeClr val="tx2"/>
                  </a:solidFill>
                </a:endParaRPr>
              </a:p>
            </p:txBody>
          </p:sp>
          <p:sp>
            <p:nvSpPr>
              <p:cNvPr id="403" name="Freeform 339"/>
              <p:cNvSpPr>
                <a:spLocks/>
              </p:cNvSpPr>
              <p:nvPr>
                <p:custDataLst>
                  <p:tags r:id="rId52"/>
                </p:custDataLst>
              </p:nvPr>
            </p:nvSpPr>
            <p:spPr bwMode="gray">
              <a:xfrm>
                <a:off x="1240822" y="4358090"/>
                <a:ext cx="253618" cy="157466"/>
              </a:xfrm>
              <a:custGeom>
                <a:avLst/>
                <a:gdLst>
                  <a:gd name="T0" fmla="*/ 2147483647 w 186"/>
                  <a:gd name="T1" fmla="*/ 2147483647 h 121"/>
                  <a:gd name="T2" fmla="*/ 2147483647 w 186"/>
                  <a:gd name="T3" fmla="*/ 2147483647 h 121"/>
                  <a:gd name="T4" fmla="*/ 2147483647 w 186"/>
                  <a:gd name="T5" fmla="*/ 2147483647 h 121"/>
                  <a:gd name="T6" fmla="*/ 2147483647 w 186"/>
                  <a:gd name="T7" fmla="*/ 2147483647 h 121"/>
                  <a:gd name="T8" fmla="*/ 2147483647 w 186"/>
                  <a:gd name="T9" fmla="*/ 2147483647 h 121"/>
                  <a:gd name="T10" fmla="*/ 2147483647 w 186"/>
                  <a:gd name="T11" fmla="*/ 2147483647 h 121"/>
                  <a:gd name="T12" fmla="*/ 2147483647 w 186"/>
                  <a:gd name="T13" fmla="*/ 2147483647 h 121"/>
                  <a:gd name="T14" fmla="*/ 2147483647 w 186"/>
                  <a:gd name="T15" fmla="*/ 2147483647 h 121"/>
                  <a:gd name="T16" fmla="*/ 2147483647 w 186"/>
                  <a:gd name="T17" fmla="*/ 2147483647 h 121"/>
                  <a:gd name="T18" fmla="*/ 2147483647 w 186"/>
                  <a:gd name="T19" fmla="*/ 2147483647 h 121"/>
                  <a:gd name="T20" fmla="*/ 2147483647 w 186"/>
                  <a:gd name="T21" fmla="*/ 2147483647 h 121"/>
                  <a:gd name="T22" fmla="*/ 2147483647 w 186"/>
                  <a:gd name="T23" fmla="*/ 2147483647 h 121"/>
                  <a:gd name="T24" fmla="*/ 2147483647 w 186"/>
                  <a:gd name="T25" fmla="*/ 2147483647 h 121"/>
                  <a:gd name="T26" fmla="*/ 2147483647 w 186"/>
                  <a:gd name="T27" fmla="*/ 2147483647 h 121"/>
                  <a:gd name="T28" fmla="*/ 2147483647 w 186"/>
                  <a:gd name="T29" fmla="*/ 2147483647 h 121"/>
                  <a:gd name="T30" fmla="*/ 2147483647 w 186"/>
                  <a:gd name="T31" fmla="*/ 2147483647 h 121"/>
                  <a:gd name="T32" fmla="*/ 2147483647 w 186"/>
                  <a:gd name="T33" fmla="*/ 2147483647 h 121"/>
                  <a:gd name="T34" fmla="*/ 2147483647 w 186"/>
                  <a:gd name="T35" fmla="*/ 2147483647 h 121"/>
                  <a:gd name="T36" fmla="*/ 2147483647 w 186"/>
                  <a:gd name="T37" fmla="*/ 2147483647 h 121"/>
                  <a:gd name="T38" fmla="*/ 2147483647 w 186"/>
                  <a:gd name="T39" fmla="*/ 2147483647 h 121"/>
                  <a:gd name="T40" fmla="*/ 2147483647 w 186"/>
                  <a:gd name="T41" fmla="*/ 2147483647 h 121"/>
                  <a:gd name="T42" fmla="*/ 2147483647 w 186"/>
                  <a:gd name="T43" fmla="*/ 0 h 121"/>
                  <a:gd name="T44" fmla="*/ 2147483647 w 186"/>
                  <a:gd name="T45" fmla="*/ 2147483647 h 121"/>
                  <a:gd name="T46" fmla="*/ 2147483647 w 186"/>
                  <a:gd name="T47" fmla="*/ 2147483647 h 121"/>
                  <a:gd name="T48" fmla="*/ 2147483647 w 186"/>
                  <a:gd name="T49" fmla="*/ 2147483647 h 121"/>
                  <a:gd name="T50" fmla="*/ 2147483647 w 186"/>
                  <a:gd name="T51" fmla="*/ 2147483647 h 121"/>
                  <a:gd name="T52" fmla="*/ 2147483647 w 186"/>
                  <a:gd name="T53" fmla="*/ 2147483647 h 121"/>
                  <a:gd name="T54" fmla="*/ 2147483647 w 186"/>
                  <a:gd name="T55" fmla="*/ 2147483647 h 121"/>
                  <a:gd name="T56" fmla="*/ 2147483647 w 186"/>
                  <a:gd name="T57" fmla="*/ 2147483647 h 121"/>
                  <a:gd name="T58" fmla="*/ 2147483647 w 186"/>
                  <a:gd name="T59" fmla="*/ 2147483647 h 121"/>
                  <a:gd name="T60" fmla="*/ 2147483647 w 186"/>
                  <a:gd name="T61" fmla="*/ 2147483647 h 121"/>
                  <a:gd name="T62" fmla="*/ 2147483647 w 186"/>
                  <a:gd name="T63" fmla="*/ 2147483647 h 121"/>
                  <a:gd name="T64" fmla="*/ 2147483647 w 186"/>
                  <a:gd name="T65" fmla="*/ 2147483647 h 121"/>
                  <a:gd name="T66" fmla="*/ 2147483647 w 186"/>
                  <a:gd name="T67" fmla="*/ 2147483647 h 121"/>
                  <a:gd name="T68" fmla="*/ 2147483647 w 186"/>
                  <a:gd name="T69" fmla="*/ 2147483647 h 121"/>
                  <a:gd name="T70" fmla="*/ 2147483647 w 186"/>
                  <a:gd name="T71" fmla="*/ 2147483647 h 121"/>
                  <a:gd name="T72" fmla="*/ 2147483647 w 186"/>
                  <a:gd name="T73" fmla="*/ 2147483647 h 121"/>
                  <a:gd name="T74" fmla="*/ 2147483647 w 186"/>
                  <a:gd name="T75" fmla="*/ 2147483647 h 121"/>
                  <a:gd name="T76" fmla="*/ 2147483647 w 186"/>
                  <a:gd name="T77" fmla="*/ 2147483647 h 121"/>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186"/>
                  <a:gd name="T118" fmla="*/ 0 h 121"/>
                  <a:gd name="T119" fmla="*/ 186 w 186"/>
                  <a:gd name="T120" fmla="*/ 121 h 121"/>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186" h="121">
                    <a:moveTo>
                      <a:pt x="184" y="57"/>
                    </a:moveTo>
                    <a:lnTo>
                      <a:pt x="184" y="75"/>
                    </a:lnTo>
                    <a:lnTo>
                      <a:pt x="184" y="92"/>
                    </a:lnTo>
                    <a:lnTo>
                      <a:pt x="182" y="94"/>
                    </a:lnTo>
                    <a:lnTo>
                      <a:pt x="179" y="96"/>
                    </a:lnTo>
                    <a:lnTo>
                      <a:pt x="159" y="98"/>
                    </a:lnTo>
                    <a:lnTo>
                      <a:pt x="138" y="100"/>
                    </a:lnTo>
                    <a:lnTo>
                      <a:pt x="117" y="100"/>
                    </a:lnTo>
                    <a:lnTo>
                      <a:pt x="98" y="101"/>
                    </a:lnTo>
                    <a:lnTo>
                      <a:pt x="94" y="103"/>
                    </a:lnTo>
                    <a:lnTo>
                      <a:pt x="92" y="107"/>
                    </a:lnTo>
                    <a:lnTo>
                      <a:pt x="90" y="109"/>
                    </a:lnTo>
                    <a:lnTo>
                      <a:pt x="88" y="111"/>
                    </a:lnTo>
                    <a:lnTo>
                      <a:pt x="85" y="113"/>
                    </a:lnTo>
                    <a:lnTo>
                      <a:pt x="83" y="117"/>
                    </a:lnTo>
                    <a:lnTo>
                      <a:pt x="81" y="119"/>
                    </a:lnTo>
                    <a:lnTo>
                      <a:pt x="79" y="121"/>
                    </a:lnTo>
                    <a:lnTo>
                      <a:pt x="56" y="119"/>
                    </a:lnTo>
                    <a:lnTo>
                      <a:pt x="35" y="117"/>
                    </a:lnTo>
                    <a:lnTo>
                      <a:pt x="33" y="113"/>
                    </a:lnTo>
                    <a:lnTo>
                      <a:pt x="29" y="111"/>
                    </a:lnTo>
                    <a:lnTo>
                      <a:pt x="25" y="92"/>
                    </a:lnTo>
                    <a:lnTo>
                      <a:pt x="19" y="73"/>
                    </a:lnTo>
                    <a:lnTo>
                      <a:pt x="23" y="71"/>
                    </a:lnTo>
                    <a:lnTo>
                      <a:pt x="25" y="67"/>
                    </a:lnTo>
                    <a:lnTo>
                      <a:pt x="25" y="57"/>
                    </a:lnTo>
                    <a:lnTo>
                      <a:pt x="25" y="48"/>
                    </a:lnTo>
                    <a:lnTo>
                      <a:pt x="23" y="46"/>
                    </a:lnTo>
                    <a:lnTo>
                      <a:pt x="19" y="44"/>
                    </a:lnTo>
                    <a:lnTo>
                      <a:pt x="17" y="40"/>
                    </a:lnTo>
                    <a:lnTo>
                      <a:pt x="16" y="38"/>
                    </a:lnTo>
                    <a:lnTo>
                      <a:pt x="12" y="36"/>
                    </a:lnTo>
                    <a:lnTo>
                      <a:pt x="10" y="34"/>
                    </a:lnTo>
                    <a:lnTo>
                      <a:pt x="8" y="27"/>
                    </a:lnTo>
                    <a:lnTo>
                      <a:pt x="6" y="19"/>
                    </a:lnTo>
                    <a:lnTo>
                      <a:pt x="2" y="17"/>
                    </a:lnTo>
                    <a:lnTo>
                      <a:pt x="0" y="13"/>
                    </a:lnTo>
                    <a:lnTo>
                      <a:pt x="2" y="11"/>
                    </a:lnTo>
                    <a:lnTo>
                      <a:pt x="6" y="9"/>
                    </a:lnTo>
                    <a:lnTo>
                      <a:pt x="17" y="7"/>
                    </a:lnTo>
                    <a:lnTo>
                      <a:pt x="29" y="5"/>
                    </a:lnTo>
                    <a:lnTo>
                      <a:pt x="33" y="2"/>
                    </a:lnTo>
                    <a:lnTo>
                      <a:pt x="35" y="0"/>
                    </a:lnTo>
                    <a:lnTo>
                      <a:pt x="44" y="0"/>
                    </a:lnTo>
                    <a:lnTo>
                      <a:pt x="54" y="0"/>
                    </a:lnTo>
                    <a:lnTo>
                      <a:pt x="56" y="2"/>
                    </a:lnTo>
                    <a:lnTo>
                      <a:pt x="60" y="5"/>
                    </a:lnTo>
                    <a:lnTo>
                      <a:pt x="65" y="7"/>
                    </a:lnTo>
                    <a:lnTo>
                      <a:pt x="73" y="9"/>
                    </a:lnTo>
                    <a:lnTo>
                      <a:pt x="75" y="11"/>
                    </a:lnTo>
                    <a:lnTo>
                      <a:pt x="79" y="13"/>
                    </a:lnTo>
                    <a:lnTo>
                      <a:pt x="81" y="17"/>
                    </a:lnTo>
                    <a:lnTo>
                      <a:pt x="83" y="19"/>
                    </a:lnTo>
                    <a:lnTo>
                      <a:pt x="85" y="21"/>
                    </a:lnTo>
                    <a:lnTo>
                      <a:pt x="88" y="25"/>
                    </a:lnTo>
                    <a:lnTo>
                      <a:pt x="92" y="25"/>
                    </a:lnTo>
                    <a:lnTo>
                      <a:pt x="98" y="25"/>
                    </a:lnTo>
                    <a:lnTo>
                      <a:pt x="100" y="21"/>
                    </a:lnTo>
                    <a:lnTo>
                      <a:pt x="102" y="19"/>
                    </a:lnTo>
                    <a:lnTo>
                      <a:pt x="110" y="17"/>
                    </a:lnTo>
                    <a:lnTo>
                      <a:pt x="117" y="13"/>
                    </a:lnTo>
                    <a:lnTo>
                      <a:pt x="119" y="11"/>
                    </a:lnTo>
                    <a:lnTo>
                      <a:pt x="121" y="9"/>
                    </a:lnTo>
                    <a:lnTo>
                      <a:pt x="127" y="9"/>
                    </a:lnTo>
                    <a:lnTo>
                      <a:pt x="131" y="9"/>
                    </a:lnTo>
                    <a:lnTo>
                      <a:pt x="134" y="11"/>
                    </a:lnTo>
                    <a:lnTo>
                      <a:pt x="136" y="13"/>
                    </a:lnTo>
                    <a:lnTo>
                      <a:pt x="142" y="17"/>
                    </a:lnTo>
                    <a:lnTo>
                      <a:pt x="150" y="19"/>
                    </a:lnTo>
                    <a:lnTo>
                      <a:pt x="154" y="21"/>
                    </a:lnTo>
                    <a:lnTo>
                      <a:pt x="156" y="25"/>
                    </a:lnTo>
                    <a:lnTo>
                      <a:pt x="157" y="30"/>
                    </a:lnTo>
                    <a:lnTo>
                      <a:pt x="159" y="38"/>
                    </a:lnTo>
                    <a:lnTo>
                      <a:pt x="163" y="40"/>
                    </a:lnTo>
                    <a:lnTo>
                      <a:pt x="165" y="44"/>
                    </a:lnTo>
                    <a:lnTo>
                      <a:pt x="175" y="46"/>
                    </a:lnTo>
                    <a:lnTo>
                      <a:pt x="186" y="48"/>
                    </a:lnTo>
                    <a:lnTo>
                      <a:pt x="184" y="53"/>
                    </a:lnTo>
                    <a:lnTo>
                      <a:pt x="184" y="57"/>
                    </a:lnTo>
                  </a:path>
                </a:pathLst>
              </a:custGeom>
              <a:grpFill/>
              <a:ln w="3175">
                <a:solidFill>
                  <a:srgbClr val="FF8300"/>
                </a:solidFill>
                <a:round/>
                <a:headEnd/>
                <a:tailEnd/>
              </a:ln>
            </p:spPr>
            <p:txBody>
              <a:bodyPr/>
              <a:lstStyle/>
              <a:p>
                <a:pPr>
                  <a:defRPr/>
                </a:pPr>
                <a:endParaRPr lang="en-GB" sz="1400">
                  <a:solidFill>
                    <a:schemeClr val="tx2"/>
                  </a:solidFill>
                </a:endParaRPr>
              </a:p>
            </p:txBody>
          </p:sp>
          <p:sp>
            <p:nvSpPr>
              <p:cNvPr id="404" name="Freeform 340"/>
              <p:cNvSpPr>
                <a:spLocks/>
              </p:cNvSpPr>
              <p:nvPr>
                <p:custDataLst>
                  <p:tags r:id="rId53"/>
                </p:custDataLst>
              </p:nvPr>
            </p:nvSpPr>
            <p:spPr bwMode="gray">
              <a:xfrm>
                <a:off x="1427552" y="4296776"/>
                <a:ext cx="252224" cy="277307"/>
              </a:xfrm>
              <a:custGeom>
                <a:avLst/>
                <a:gdLst>
                  <a:gd name="T0" fmla="*/ 2147483647 w 185"/>
                  <a:gd name="T1" fmla="*/ 2147483647 h 213"/>
                  <a:gd name="T2" fmla="*/ 2147483647 w 185"/>
                  <a:gd name="T3" fmla="*/ 2147483647 h 213"/>
                  <a:gd name="T4" fmla="*/ 2147483647 w 185"/>
                  <a:gd name="T5" fmla="*/ 2147483647 h 213"/>
                  <a:gd name="T6" fmla="*/ 2147483647 w 185"/>
                  <a:gd name="T7" fmla="*/ 2147483647 h 213"/>
                  <a:gd name="T8" fmla="*/ 2147483647 w 185"/>
                  <a:gd name="T9" fmla="*/ 2147483647 h 213"/>
                  <a:gd name="T10" fmla="*/ 2147483647 w 185"/>
                  <a:gd name="T11" fmla="*/ 2147483647 h 213"/>
                  <a:gd name="T12" fmla="*/ 2147483647 w 185"/>
                  <a:gd name="T13" fmla="*/ 2147483647 h 213"/>
                  <a:gd name="T14" fmla="*/ 2147483647 w 185"/>
                  <a:gd name="T15" fmla="*/ 2147483647 h 213"/>
                  <a:gd name="T16" fmla="*/ 2147483647 w 185"/>
                  <a:gd name="T17" fmla="*/ 2147483647 h 213"/>
                  <a:gd name="T18" fmla="*/ 2147483647 w 185"/>
                  <a:gd name="T19" fmla="*/ 2147483647 h 213"/>
                  <a:gd name="T20" fmla="*/ 2147483647 w 185"/>
                  <a:gd name="T21" fmla="*/ 2147483647 h 213"/>
                  <a:gd name="T22" fmla="*/ 2147483647 w 185"/>
                  <a:gd name="T23" fmla="*/ 2147483647 h 213"/>
                  <a:gd name="T24" fmla="*/ 2147483647 w 185"/>
                  <a:gd name="T25" fmla="*/ 2147483647 h 213"/>
                  <a:gd name="T26" fmla="*/ 2147483647 w 185"/>
                  <a:gd name="T27" fmla="*/ 2147483647 h 213"/>
                  <a:gd name="T28" fmla="*/ 2147483647 w 185"/>
                  <a:gd name="T29" fmla="*/ 2147483647 h 213"/>
                  <a:gd name="T30" fmla="*/ 2147483647 w 185"/>
                  <a:gd name="T31" fmla="*/ 2147483647 h 213"/>
                  <a:gd name="T32" fmla="*/ 2147483647 w 185"/>
                  <a:gd name="T33" fmla="*/ 0 h 213"/>
                  <a:gd name="T34" fmla="*/ 2147483647 w 185"/>
                  <a:gd name="T35" fmla="*/ 2147483647 h 213"/>
                  <a:gd name="T36" fmla="*/ 2147483647 w 185"/>
                  <a:gd name="T37" fmla="*/ 2147483647 h 213"/>
                  <a:gd name="T38" fmla="*/ 2147483647 w 185"/>
                  <a:gd name="T39" fmla="*/ 2147483647 h 213"/>
                  <a:gd name="T40" fmla="*/ 2147483647 w 185"/>
                  <a:gd name="T41" fmla="*/ 2147483647 h 213"/>
                  <a:gd name="T42" fmla="*/ 2147483647 w 185"/>
                  <a:gd name="T43" fmla="*/ 2147483647 h 213"/>
                  <a:gd name="T44" fmla="*/ 2147483647 w 185"/>
                  <a:gd name="T45" fmla="*/ 2147483647 h 213"/>
                  <a:gd name="T46" fmla="*/ 2147483647 w 185"/>
                  <a:gd name="T47" fmla="*/ 2147483647 h 213"/>
                  <a:gd name="T48" fmla="*/ 2147483647 w 185"/>
                  <a:gd name="T49" fmla="*/ 2147483647 h 213"/>
                  <a:gd name="T50" fmla="*/ 2147483647 w 185"/>
                  <a:gd name="T51" fmla="*/ 2147483647 h 213"/>
                  <a:gd name="T52" fmla="*/ 2147483647 w 185"/>
                  <a:gd name="T53" fmla="*/ 2147483647 h 213"/>
                  <a:gd name="T54" fmla="*/ 2147483647 w 185"/>
                  <a:gd name="T55" fmla="*/ 2147483647 h 213"/>
                  <a:gd name="T56" fmla="*/ 2147483647 w 185"/>
                  <a:gd name="T57" fmla="*/ 2147483647 h 213"/>
                  <a:gd name="T58" fmla="*/ 2147483647 w 185"/>
                  <a:gd name="T59" fmla="*/ 2147483647 h 213"/>
                  <a:gd name="T60" fmla="*/ 2147483647 w 185"/>
                  <a:gd name="T61" fmla="*/ 2147483647 h 213"/>
                  <a:gd name="T62" fmla="*/ 2147483647 w 185"/>
                  <a:gd name="T63" fmla="*/ 2147483647 h 213"/>
                  <a:gd name="T64" fmla="*/ 2147483647 w 185"/>
                  <a:gd name="T65" fmla="*/ 2147483647 h 213"/>
                  <a:gd name="T66" fmla="*/ 2147483647 w 185"/>
                  <a:gd name="T67" fmla="*/ 2147483647 h 213"/>
                  <a:gd name="T68" fmla="*/ 2147483647 w 185"/>
                  <a:gd name="T69" fmla="*/ 2147483647 h 213"/>
                  <a:gd name="T70" fmla="*/ 2147483647 w 185"/>
                  <a:gd name="T71" fmla="*/ 2147483647 h 213"/>
                  <a:gd name="T72" fmla="*/ 2147483647 w 185"/>
                  <a:gd name="T73" fmla="*/ 2147483647 h 213"/>
                  <a:gd name="T74" fmla="*/ 2147483647 w 185"/>
                  <a:gd name="T75" fmla="*/ 2147483647 h 213"/>
                  <a:gd name="T76" fmla="*/ 2147483647 w 185"/>
                  <a:gd name="T77" fmla="*/ 2147483647 h 213"/>
                  <a:gd name="T78" fmla="*/ 2147483647 w 185"/>
                  <a:gd name="T79" fmla="*/ 2147483647 h 213"/>
                  <a:gd name="T80" fmla="*/ 2147483647 w 185"/>
                  <a:gd name="T81" fmla="*/ 2147483647 h 213"/>
                  <a:gd name="T82" fmla="*/ 2147483647 w 185"/>
                  <a:gd name="T83" fmla="*/ 2147483647 h 213"/>
                  <a:gd name="T84" fmla="*/ 2147483647 w 185"/>
                  <a:gd name="T85" fmla="*/ 2147483647 h 213"/>
                  <a:gd name="T86" fmla="*/ 2147483647 w 185"/>
                  <a:gd name="T87" fmla="*/ 2147483647 h 213"/>
                  <a:gd name="T88" fmla="*/ 2147483647 w 185"/>
                  <a:gd name="T89" fmla="*/ 2147483647 h 213"/>
                  <a:gd name="T90" fmla="*/ 2147483647 w 185"/>
                  <a:gd name="T91" fmla="*/ 2147483647 h 213"/>
                  <a:gd name="T92" fmla="*/ 2147483647 w 185"/>
                  <a:gd name="T93" fmla="*/ 2147483647 h 213"/>
                  <a:gd name="T94" fmla="*/ 2147483647 w 185"/>
                  <a:gd name="T95" fmla="*/ 2147483647 h 213"/>
                  <a:gd name="T96" fmla="*/ 2147483647 w 185"/>
                  <a:gd name="T97" fmla="*/ 2147483647 h 213"/>
                  <a:gd name="T98" fmla="*/ 2147483647 w 185"/>
                  <a:gd name="T99" fmla="*/ 2147483647 h 213"/>
                  <a:gd name="T100" fmla="*/ 2147483647 w 185"/>
                  <a:gd name="T101" fmla="*/ 2147483647 h 213"/>
                  <a:gd name="T102" fmla="*/ 2147483647 w 185"/>
                  <a:gd name="T103" fmla="*/ 2147483647 h 213"/>
                  <a:gd name="T104" fmla="*/ 2147483647 w 185"/>
                  <a:gd name="T105" fmla="*/ 2147483647 h 213"/>
                  <a:gd name="T106" fmla="*/ 2147483647 w 185"/>
                  <a:gd name="T107" fmla="*/ 2147483647 h 213"/>
                  <a:gd name="T108" fmla="*/ 2147483647 w 185"/>
                  <a:gd name="T109" fmla="*/ 2147483647 h 213"/>
                  <a:gd name="T110" fmla="*/ 2147483647 w 185"/>
                  <a:gd name="T111" fmla="*/ 2147483647 h 213"/>
                  <a:gd name="T112" fmla="*/ 2147483647 w 185"/>
                  <a:gd name="T113" fmla="*/ 2147483647 h 213"/>
                  <a:gd name="T114" fmla="*/ 2147483647 w 185"/>
                  <a:gd name="T115" fmla="*/ 2147483647 h 213"/>
                  <a:gd name="T116" fmla="*/ 2147483647 w 185"/>
                  <a:gd name="T117" fmla="*/ 2147483647 h 213"/>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85"/>
                  <a:gd name="T178" fmla="*/ 0 h 213"/>
                  <a:gd name="T179" fmla="*/ 185 w 185"/>
                  <a:gd name="T180" fmla="*/ 213 h 213"/>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85" h="213">
                    <a:moveTo>
                      <a:pt x="58" y="96"/>
                    </a:moveTo>
                    <a:lnTo>
                      <a:pt x="56" y="92"/>
                    </a:lnTo>
                    <a:lnTo>
                      <a:pt x="56" y="90"/>
                    </a:lnTo>
                    <a:lnTo>
                      <a:pt x="54" y="88"/>
                    </a:lnTo>
                    <a:lnTo>
                      <a:pt x="50" y="88"/>
                    </a:lnTo>
                    <a:lnTo>
                      <a:pt x="45" y="86"/>
                    </a:lnTo>
                    <a:lnTo>
                      <a:pt x="35" y="86"/>
                    </a:lnTo>
                    <a:lnTo>
                      <a:pt x="31" y="84"/>
                    </a:lnTo>
                    <a:lnTo>
                      <a:pt x="29" y="82"/>
                    </a:lnTo>
                    <a:lnTo>
                      <a:pt x="27" y="75"/>
                    </a:lnTo>
                    <a:lnTo>
                      <a:pt x="23" y="67"/>
                    </a:lnTo>
                    <a:lnTo>
                      <a:pt x="21" y="65"/>
                    </a:lnTo>
                    <a:lnTo>
                      <a:pt x="20" y="61"/>
                    </a:lnTo>
                    <a:lnTo>
                      <a:pt x="12" y="59"/>
                    </a:lnTo>
                    <a:lnTo>
                      <a:pt x="4" y="57"/>
                    </a:lnTo>
                    <a:lnTo>
                      <a:pt x="2" y="55"/>
                    </a:lnTo>
                    <a:lnTo>
                      <a:pt x="0" y="53"/>
                    </a:lnTo>
                    <a:lnTo>
                      <a:pt x="2" y="50"/>
                    </a:lnTo>
                    <a:lnTo>
                      <a:pt x="4" y="48"/>
                    </a:lnTo>
                    <a:lnTo>
                      <a:pt x="8" y="46"/>
                    </a:lnTo>
                    <a:lnTo>
                      <a:pt x="10" y="44"/>
                    </a:lnTo>
                    <a:lnTo>
                      <a:pt x="12" y="40"/>
                    </a:lnTo>
                    <a:lnTo>
                      <a:pt x="14" y="38"/>
                    </a:lnTo>
                    <a:lnTo>
                      <a:pt x="18" y="30"/>
                    </a:lnTo>
                    <a:lnTo>
                      <a:pt x="20" y="23"/>
                    </a:lnTo>
                    <a:lnTo>
                      <a:pt x="21" y="21"/>
                    </a:lnTo>
                    <a:lnTo>
                      <a:pt x="23" y="19"/>
                    </a:lnTo>
                    <a:lnTo>
                      <a:pt x="31" y="19"/>
                    </a:lnTo>
                    <a:lnTo>
                      <a:pt x="39" y="19"/>
                    </a:lnTo>
                    <a:lnTo>
                      <a:pt x="39" y="11"/>
                    </a:lnTo>
                    <a:lnTo>
                      <a:pt x="39" y="4"/>
                    </a:lnTo>
                    <a:lnTo>
                      <a:pt x="41" y="2"/>
                    </a:lnTo>
                    <a:lnTo>
                      <a:pt x="43" y="0"/>
                    </a:lnTo>
                    <a:lnTo>
                      <a:pt x="62" y="0"/>
                    </a:lnTo>
                    <a:lnTo>
                      <a:pt x="83" y="0"/>
                    </a:lnTo>
                    <a:lnTo>
                      <a:pt x="85" y="2"/>
                    </a:lnTo>
                    <a:lnTo>
                      <a:pt x="87" y="4"/>
                    </a:lnTo>
                    <a:lnTo>
                      <a:pt x="89" y="7"/>
                    </a:lnTo>
                    <a:lnTo>
                      <a:pt x="92" y="9"/>
                    </a:lnTo>
                    <a:lnTo>
                      <a:pt x="94" y="11"/>
                    </a:lnTo>
                    <a:lnTo>
                      <a:pt x="96" y="15"/>
                    </a:lnTo>
                    <a:lnTo>
                      <a:pt x="110" y="17"/>
                    </a:lnTo>
                    <a:lnTo>
                      <a:pt x="121" y="19"/>
                    </a:lnTo>
                    <a:lnTo>
                      <a:pt x="123" y="21"/>
                    </a:lnTo>
                    <a:lnTo>
                      <a:pt x="125" y="23"/>
                    </a:lnTo>
                    <a:lnTo>
                      <a:pt x="131" y="21"/>
                    </a:lnTo>
                    <a:lnTo>
                      <a:pt x="135" y="19"/>
                    </a:lnTo>
                    <a:lnTo>
                      <a:pt x="144" y="19"/>
                    </a:lnTo>
                    <a:lnTo>
                      <a:pt x="156" y="19"/>
                    </a:lnTo>
                    <a:lnTo>
                      <a:pt x="156" y="21"/>
                    </a:lnTo>
                    <a:lnTo>
                      <a:pt x="156" y="23"/>
                    </a:lnTo>
                    <a:lnTo>
                      <a:pt x="152" y="27"/>
                    </a:lnTo>
                    <a:lnTo>
                      <a:pt x="150" y="29"/>
                    </a:lnTo>
                    <a:lnTo>
                      <a:pt x="152" y="30"/>
                    </a:lnTo>
                    <a:lnTo>
                      <a:pt x="156" y="32"/>
                    </a:lnTo>
                    <a:lnTo>
                      <a:pt x="158" y="30"/>
                    </a:lnTo>
                    <a:lnTo>
                      <a:pt x="160" y="29"/>
                    </a:lnTo>
                    <a:lnTo>
                      <a:pt x="162" y="30"/>
                    </a:lnTo>
                    <a:lnTo>
                      <a:pt x="163" y="32"/>
                    </a:lnTo>
                    <a:lnTo>
                      <a:pt x="171" y="36"/>
                    </a:lnTo>
                    <a:lnTo>
                      <a:pt x="179" y="38"/>
                    </a:lnTo>
                    <a:lnTo>
                      <a:pt x="181" y="40"/>
                    </a:lnTo>
                    <a:lnTo>
                      <a:pt x="185" y="44"/>
                    </a:lnTo>
                    <a:lnTo>
                      <a:pt x="185" y="55"/>
                    </a:lnTo>
                    <a:lnTo>
                      <a:pt x="185" y="67"/>
                    </a:lnTo>
                    <a:lnTo>
                      <a:pt x="173" y="67"/>
                    </a:lnTo>
                    <a:lnTo>
                      <a:pt x="163" y="67"/>
                    </a:lnTo>
                    <a:lnTo>
                      <a:pt x="163" y="80"/>
                    </a:lnTo>
                    <a:lnTo>
                      <a:pt x="163" y="92"/>
                    </a:lnTo>
                    <a:lnTo>
                      <a:pt x="162" y="94"/>
                    </a:lnTo>
                    <a:lnTo>
                      <a:pt x="160" y="96"/>
                    </a:lnTo>
                    <a:lnTo>
                      <a:pt x="160" y="105"/>
                    </a:lnTo>
                    <a:lnTo>
                      <a:pt x="160" y="115"/>
                    </a:lnTo>
                    <a:lnTo>
                      <a:pt x="162" y="119"/>
                    </a:lnTo>
                    <a:lnTo>
                      <a:pt x="163" y="121"/>
                    </a:lnTo>
                    <a:lnTo>
                      <a:pt x="167" y="126"/>
                    </a:lnTo>
                    <a:lnTo>
                      <a:pt x="169" y="134"/>
                    </a:lnTo>
                    <a:lnTo>
                      <a:pt x="171" y="138"/>
                    </a:lnTo>
                    <a:lnTo>
                      <a:pt x="173" y="140"/>
                    </a:lnTo>
                    <a:lnTo>
                      <a:pt x="177" y="148"/>
                    </a:lnTo>
                    <a:lnTo>
                      <a:pt x="179" y="155"/>
                    </a:lnTo>
                    <a:lnTo>
                      <a:pt x="181" y="157"/>
                    </a:lnTo>
                    <a:lnTo>
                      <a:pt x="185" y="159"/>
                    </a:lnTo>
                    <a:lnTo>
                      <a:pt x="185" y="174"/>
                    </a:lnTo>
                    <a:lnTo>
                      <a:pt x="185" y="188"/>
                    </a:lnTo>
                    <a:lnTo>
                      <a:pt x="181" y="190"/>
                    </a:lnTo>
                    <a:lnTo>
                      <a:pt x="179" y="194"/>
                    </a:lnTo>
                    <a:lnTo>
                      <a:pt x="171" y="199"/>
                    </a:lnTo>
                    <a:lnTo>
                      <a:pt x="163" y="207"/>
                    </a:lnTo>
                    <a:lnTo>
                      <a:pt x="162" y="209"/>
                    </a:lnTo>
                    <a:lnTo>
                      <a:pt x="160" y="213"/>
                    </a:lnTo>
                    <a:lnTo>
                      <a:pt x="154" y="213"/>
                    </a:lnTo>
                    <a:lnTo>
                      <a:pt x="150" y="213"/>
                    </a:lnTo>
                    <a:lnTo>
                      <a:pt x="148" y="209"/>
                    </a:lnTo>
                    <a:lnTo>
                      <a:pt x="144" y="207"/>
                    </a:lnTo>
                    <a:lnTo>
                      <a:pt x="135" y="207"/>
                    </a:lnTo>
                    <a:lnTo>
                      <a:pt x="125" y="207"/>
                    </a:lnTo>
                    <a:lnTo>
                      <a:pt x="123" y="209"/>
                    </a:lnTo>
                    <a:lnTo>
                      <a:pt x="121" y="213"/>
                    </a:lnTo>
                    <a:lnTo>
                      <a:pt x="98" y="213"/>
                    </a:lnTo>
                    <a:lnTo>
                      <a:pt x="77" y="213"/>
                    </a:lnTo>
                    <a:lnTo>
                      <a:pt x="75" y="194"/>
                    </a:lnTo>
                    <a:lnTo>
                      <a:pt x="73" y="174"/>
                    </a:lnTo>
                    <a:lnTo>
                      <a:pt x="69" y="171"/>
                    </a:lnTo>
                    <a:lnTo>
                      <a:pt x="68" y="169"/>
                    </a:lnTo>
                    <a:lnTo>
                      <a:pt x="66" y="167"/>
                    </a:lnTo>
                    <a:lnTo>
                      <a:pt x="64" y="165"/>
                    </a:lnTo>
                    <a:lnTo>
                      <a:pt x="60" y="161"/>
                    </a:lnTo>
                    <a:lnTo>
                      <a:pt x="58" y="159"/>
                    </a:lnTo>
                    <a:lnTo>
                      <a:pt x="56" y="157"/>
                    </a:lnTo>
                    <a:lnTo>
                      <a:pt x="52" y="155"/>
                    </a:lnTo>
                    <a:lnTo>
                      <a:pt x="50" y="151"/>
                    </a:lnTo>
                    <a:lnTo>
                      <a:pt x="48" y="149"/>
                    </a:lnTo>
                    <a:lnTo>
                      <a:pt x="50" y="148"/>
                    </a:lnTo>
                    <a:lnTo>
                      <a:pt x="52" y="144"/>
                    </a:lnTo>
                    <a:lnTo>
                      <a:pt x="56" y="124"/>
                    </a:lnTo>
                    <a:lnTo>
                      <a:pt x="58" y="105"/>
                    </a:lnTo>
                    <a:lnTo>
                      <a:pt x="58" y="101"/>
                    </a:lnTo>
                    <a:lnTo>
                      <a:pt x="58" y="96"/>
                    </a:lnTo>
                  </a:path>
                </a:pathLst>
              </a:custGeom>
              <a:grpFill/>
              <a:ln w="3175">
                <a:solidFill>
                  <a:srgbClr val="FF8300"/>
                </a:solidFill>
                <a:round/>
                <a:headEnd/>
                <a:tailEnd/>
              </a:ln>
            </p:spPr>
            <p:txBody>
              <a:bodyPr/>
              <a:lstStyle/>
              <a:p>
                <a:pPr>
                  <a:defRPr/>
                </a:pPr>
                <a:endParaRPr lang="en-GB" sz="1400">
                  <a:solidFill>
                    <a:schemeClr val="tx2"/>
                  </a:solidFill>
                </a:endParaRPr>
              </a:p>
            </p:txBody>
          </p:sp>
          <p:sp>
            <p:nvSpPr>
              <p:cNvPr id="405" name="Freeform 345"/>
              <p:cNvSpPr>
                <a:spLocks/>
              </p:cNvSpPr>
              <p:nvPr>
                <p:custDataLst>
                  <p:tags r:id="rId54"/>
                </p:custDataLst>
              </p:nvPr>
            </p:nvSpPr>
            <p:spPr bwMode="gray">
              <a:xfrm>
                <a:off x="1161392" y="4143490"/>
                <a:ext cx="316327" cy="239683"/>
              </a:xfrm>
              <a:custGeom>
                <a:avLst/>
                <a:gdLst>
                  <a:gd name="T0" fmla="*/ 2147483647 w 232"/>
                  <a:gd name="T1" fmla="*/ 2147483647 h 184"/>
                  <a:gd name="T2" fmla="*/ 0 w 232"/>
                  <a:gd name="T3" fmla="*/ 2147483647 h 184"/>
                  <a:gd name="T4" fmla="*/ 2147483647 w 232"/>
                  <a:gd name="T5" fmla="*/ 2147483647 h 184"/>
                  <a:gd name="T6" fmla="*/ 2147483647 w 232"/>
                  <a:gd name="T7" fmla="*/ 2147483647 h 184"/>
                  <a:gd name="T8" fmla="*/ 2147483647 w 232"/>
                  <a:gd name="T9" fmla="*/ 2147483647 h 184"/>
                  <a:gd name="T10" fmla="*/ 2147483647 w 232"/>
                  <a:gd name="T11" fmla="*/ 2147483647 h 184"/>
                  <a:gd name="T12" fmla="*/ 2147483647 w 232"/>
                  <a:gd name="T13" fmla="*/ 2147483647 h 184"/>
                  <a:gd name="T14" fmla="*/ 2147483647 w 232"/>
                  <a:gd name="T15" fmla="*/ 2147483647 h 184"/>
                  <a:gd name="T16" fmla="*/ 2147483647 w 232"/>
                  <a:gd name="T17" fmla="*/ 2147483647 h 184"/>
                  <a:gd name="T18" fmla="*/ 2147483647 w 232"/>
                  <a:gd name="T19" fmla="*/ 2147483647 h 184"/>
                  <a:gd name="T20" fmla="*/ 2147483647 w 232"/>
                  <a:gd name="T21" fmla="*/ 2147483647 h 184"/>
                  <a:gd name="T22" fmla="*/ 2147483647 w 232"/>
                  <a:gd name="T23" fmla="*/ 2147483647 h 184"/>
                  <a:gd name="T24" fmla="*/ 2147483647 w 232"/>
                  <a:gd name="T25" fmla="*/ 2147483647 h 184"/>
                  <a:gd name="T26" fmla="*/ 2147483647 w 232"/>
                  <a:gd name="T27" fmla="*/ 0 h 184"/>
                  <a:gd name="T28" fmla="*/ 2147483647 w 232"/>
                  <a:gd name="T29" fmla="*/ 0 h 184"/>
                  <a:gd name="T30" fmla="*/ 2147483647 w 232"/>
                  <a:gd name="T31" fmla="*/ 2147483647 h 184"/>
                  <a:gd name="T32" fmla="*/ 2147483647 w 232"/>
                  <a:gd name="T33" fmla="*/ 2147483647 h 184"/>
                  <a:gd name="T34" fmla="*/ 2147483647 w 232"/>
                  <a:gd name="T35" fmla="*/ 2147483647 h 184"/>
                  <a:gd name="T36" fmla="*/ 2147483647 w 232"/>
                  <a:gd name="T37" fmla="*/ 2147483647 h 184"/>
                  <a:gd name="T38" fmla="*/ 2147483647 w 232"/>
                  <a:gd name="T39" fmla="*/ 2147483647 h 184"/>
                  <a:gd name="T40" fmla="*/ 2147483647 w 232"/>
                  <a:gd name="T41" fmla="*/ 2147483647 h 184"/>
                  <a:gd name="T42" fmla="*/ 2147483647 w 232"/>
                  <a:gd name="T43" fmla="*/ 2147483647 h 184"/>
                  <a:gd name="T44" fmla="*/ 2147483647 w 232"/>
                  <a:gd name="T45" fmla="*/ 2147483647 h 184"/>
                  <a:gd name="T46" fmla="*/ 2147483647 w 232"/>
                  <a:gd name="T47" fmla="*/ 2147483647 h 184"/>
                  <a:gd name="T48" fmla="*/ 2147483647 w 232"/>
                  <a:gd name="T49" fmla="*/ 2147483647 h 184"/>
                  <a:gd name="T50" fmla="*/ 2147483647 w 232"/>
                  <a:gd name="T51" fmla="*/ 2147483647 h 184"/>
                  <a:gd name="T52" fmla="*/ 2147483647 w 232"/>
                  <a:gd name="T53" fmla="*/ 2147483647 h 184"/>
                  <a:gd name="T54" fmla="*/ 2147483647 w 232"/>
                  <a:gd name="T55" fmla="*/ 2147483647 h 184"/>
                  <a:gd name="T56" fmla="*/ 2147483647 w 232"/>
                  <a:gd name="T57" fmla="*/ 2147483647 h 184"/>
                  <a:gd name="T58" fmla="*/ 2147483647 w 232"/>
                  <a:gd name="T59" fmla="*/ 2147483647 h 184"/>
                  <a:gd name="T60" fmla="*/ 2147483647 w 232"/>
                  <a:gd name="T61" fmla="*/ 2147483647 h 184"/>
                  <a:gd name="T62" fmla="*/ 2147483647 w 232"/>
                  <a:gd name="T63" fmla="*/ 2147483647 h 184"/>
                  <a:gd name="T64" fmla="*/ 2147483647 w 232"/>
                  <a:gd name="T65" fmla="*/ 2147483647 h 184"/>
                  <a:gd name="T66" fmla="*/ 2147483647 w 232"/>
                  <a:gd name="T67" fmla="*/ 2147483647 h 184"/>
                  <a:gd name="T68" fmla="*/ 2147483647 w 232"/>
                  <a:gd name="T69" fmla="*/ 2147483647 h 184"/>
                  <a:gd name="T70" fmla="*/ 2147483647 w 232"/>
                  <a:gd name="T71" fmla="*/ 2147483647 h 184"/>
                  <a:gd name="T72" fmla="*/ 2147483647 w 232"/>
                  <a:gd name="T73" fmla="*/ 2147483647 h 184"/>
                  <a:gd name="T74" fmla="*/ 2147483647 w 232"/>
                  <a:gd name="T75" fmla="*/ 2147483647 h 184"/>
                  <a:gd name="T76" fmla="*/ 2147483647 w 232"/>
                  <a:gd name="T77" fmla="*/ 2147483647 h 184"/>
                  <a:gd name="T78" fmla="*/ 2147483647 w 232"/>
                  <a:gd name="T79" fmla="*/ 2147483647 h 184"/>
                  <a:gd name="T80" fmla="*/ 2147483647 w 232"/>
                  <a:gd name="T81" fmla="*/ 2147483647 h 184"/>
                  <a:gd name="T82" fmla="*/ 2147483647 w 232"/>
                  <a:gd name="T83" fmla="*/ 2147483647 h 184"/>
                  <a:gd name="T84" fmla="*/ 2147483647 w 232"/>
                  <a:gd name="T85" fmla="*/ 2147483647 h 184"/>
                  <a:gd name="T86" fmla="*/ 2147483647 w 232"/>
                  <a:gd name="T87" fmla="*/ 2147483647 h 184"/>
                  <a:gd name="T88" fmla="*/ 2147483647 w 232"/>
                  <a:gd name="T89" fmla="*/ 2147483647 h 184"/>
                  <a:gd name="T90" fmla="*/ 2147483647 w 232"/>
                  <a:gd name="T91" fmla="*/ 2147483647 h 184"/>
                  <a:gd name="T92" fmla="*/ 2147483647 w 232"/>
                  <a:gd name="T93" fmla="*/ 2147483647 h 184"/>
                  <a:gd name="T94" fmla="*/ 2147483647 w 232"/>
                  <a:gd name="T95" fmla="*/ 2147483647 h 184"/>
                  <a:gd name="T96" fmla="*/ 2147483647 w 232"/>
                  <a:gd name="T97" fmla="*/ 2147483647 h 184"/>
                  <a:gd name="T98" fmla="*/ 2147483647 w 232"/>
                  <a:gd name="T99" fmla="*/ 2147483647 h 184"/>
                  <a:gd name="T100" fmla="*/ 2147483647 w 232"/>
                  <a:gd name="T101" fmla="*/ 2147483647 h 184"/>
                  <a:gd name="T102" fmla="*/ 2147483647 w 232"/>
                  <a:gd name="T103" fmla="*/ 2147483647 h 184"/>
                  <a:gd name="T104" fmla="*/ 2147483647 w 232"/>
                  <a:gd name="T105" fmla="*/ 2147483647 h 184"/>
                  <a:gd name="T106" fmla="*/ 2147483647 w 232"/>
                  <a:gd name="T107" fmla="*/ 2147483647 h 184"/>
                  <a:gd name="T108" fmla="*/ 2147483647 w 232"/>
                  <a:gd name="T109" fmla="*/ 2147483647 h 18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232"/>
                  <a:gd name="T166" fmla="*/ 0 h 184"/>
                  <a:gd name="T167" fmla="*/ 232 w 232"/>
                  <a:gd name="T168" fmla="*/ 184 h 184"/>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232" h="184">
                    <a:moveTo>
                      <a:pt x="9" y="184"/>
                    </a:moveTo>
                    <a:lnTo>
                      <a:pt x="3" y="180"/>
                    </a:lnTo>
                    <a:lnTo>
                      <a:pt x="0" y="174"/>
                    </a:lnTo>
                    <a:lnTo>
                      <a:pt x="0" y="169"/>
                    </a:lnTo>
                    <a:lnTo>
                      <a:pt x="0" y="165"/>
                    </a:lnTo>
                    <a:lnTo>
                      <a:pt x="2" y="149"/>
                    </a:lnTo>
                    <a:lnTo>
                      <a:pt x="3" y="136"/>
                    </a:lnTo>
                    <a:lnTo>
                      <a:pt x="7" y="121"/>
                    </a:lnTo>
                    <a:lnTo>
                      <a:pt x="9" y="107"/>
                    </a:lnTo>
                    <a:lnTo>
                      <a:pt x="9" y="101"/>
                    </a:lnTo>
                    <a:lnTo>
                      <a:pt x="9" y="98"/>
                    </a:lnTo>
                    <a:lnTo>
                      <a:pt x="9" y="82"/>
                    </a:lnTo>
                    <a:lnTo>
                      <a:pt x="9" y="69"/>
                    </a:lnTo>
                    <a:lnTo>
                      <a:pt x="9" y="59"/>
                    </a:lnTo>
                    <a:lnTo>
                      <a:pt x="9" y="50"/>
                    </a:lnTo>
                    <a:lnTo>
                      <a:pt x="19" y="44"/>
                    </a:lnTo>
                    <a:lnTo>
                      <a:pt x="28" y="40"/>
                    </a:lnTo>
                    <a:lnTo>
                      <a:pt x="32" y="40"/>
                    </a:lnTo>
                    <a:lnTo>
                      <a:pt x="38" y="40"/>
                    </a:lnTo>
                    <a:lnTo>
                      <a:pt x="44" y="28"/>
                    </a:lnTo>
                    <a:lnTo>
                      <a:pt x="48" y="19"/>
                    </a:lnTo>
                    <a:lnTo>
                      <a:pt x="53" y="19"/>
                    </a:lnTo>
                    <a:lnTo>
                      <a:pt x="57" y="19"/>
                    </a:lnTo>
                    <a:lnTo>
                      <a:pt x="57" y="15"/>
                    </a:lnTo>
                    <a:lnTo>
                      <a:pt x="57" y="11"/>
                    </a:lnTo>
                    <a:lnTo>
                      <a:pt x="63" y="5"/>
                    </a:lnTo>
                    <a:lnTo>
                      <a:pt x="67" y="0"/>
                    </a:lnTo>
                    <a:lnTo>
                      <a:pt x="76" y="0"/>
                    </a:lnTo>
                    <a:lnTo>
                      <a:pt x="86" y="0"/>
                    </a:lnTo>
                    <a:lnTo>
                      <a:pt x="94" y="0"/>
                    </a:lnTo>
                    <a:lnTo>
                      <a:pt x="101" y="0"/>
                    </a:lnTo>
                    <a:lnTo>
                      <a:pt x="103" y="4"/>
                    </a:lnTo>
                    <a:lnTo>
                      <a:pt x="105" y="5"/>
                    </a:lnTo>
                    <a:lnTo>
                      <a:pt x="109" y="11"/>
                    </a:lnTo>
                    <a:lnTo>
                      <a:pt x="111" y="19"/>
                    </a:lnTo>
                    <a:lnTo>
                      <a:pt x="113" y="23"/>
                    </a:lnTo>
                    <a:lnTo>
                      <a:pt x="117" y="25"/>
                    </a:lnTo>
                    <a:lnTo>
                      <a:pt x="119" y="27"/>
                    </a:lnTo>
                    <a:lnTo>
                      <a:pt x="120" y="28"/>
                    </a:lnTo>
                    <a:lnTo>
                      <a:pt x="122" y="32"/>
                    </a:lnTo>
                    <a:lnTo>
                      <a:pt x="124" y="34"/>
                    </a:lnTo>
                    <a:lnTo>
                      <a:pt x="128" y="36"/>
                    </a:lnTo>
                    <a:lnTo>
                      <a:pt x="130" y="40"/>
                    </a:lnTo>
                    <a:lnTo>
                      <a:pt x="132" y="42"/>
                    </a:lnTo>
                    <a:lnTo>
                      <a:pt x="136" y="44"/>
                    </a:lnTo>
                    <a:lnTo>
                      <a:pt x="138" y="52"/>
                    </a:lnTo>
                    <a:lnTo>
                      <a:pt x="140" y="59"/>
                    </a:lnTo>
                    <a:lnTo>
                      <a:pt x="142" y="61"/>
                    </a:lnTo>
                    <a:lnTo>
                      <a:pt x="145" y="63"/>
                    </a:lnTo>
                    <a:lnTo>
                      <a:pt x="149" y="67"/>
                    </a:lnTo>
                    <a:lnTo>
                      <a:pt x="157" y="71"/>
                    </a:lnTo>
                    <a:lnTo>
                      <a:pt x="174" y="73"/>
                    </a:lnTo>
                    <a:lnTo>
                      <a:pt x="207" y="78"/>
                    </a:lnTo>
                    <a:lnTo>
                      <a:pt x="211" y="80"/>
                    </a:lnTo>
                    <a:lnTo>
                      <a:pt x="213" y="82"/>
                    </a:lnTo>
                    <a:lnTo>
                      <a:pt x="214" y="90"/>
                    </a:lnTo>
                    <a:lnTo>
                      <a:pt x="216" y="98"/>
                    </a:lnTo>
                    <a:lnTo>
                      <a:pt x="220" y="99"/>
                    </a:lnTo>
                    <a:lnTo>
                      <a:pt x="222" y="101"/>
                    </a:lnTo>
                    <a:lnTo>
                      <a:pt x="224" y="105"/>
                    </a:lnTo>
                    <a:lnTo>
                      <a:pt x="228" y="107"/>
                    </a:lnTo>
                    <a:lnTo>
                      <a:pt x="230" y="109"/>
                    </a:lnTo>
                    <a:lnTo>
                      <a:pt x="232" y="111"/>
                    </a:lnTo>
                    <a:lnTo>
                      <a:pt x="230" y="113"/>
                    </a:lnTo>
                    <a:lnTo>
                      <a:pt x="228" y="117"/>
                    </a:lnTo>
                    <a:lnTo>
                      <a:pt x="220" y="124"/>
                    </a:lnTo>
                    <a:lnTo>
                      <a:pt x="213" y="132"/>
                    </a:lnTo>
                    <a:lnTo>
                      <a:pt x="211" y="134"/>
                    </a:lnTo>
                    <a:lnTo>
                      <a:pt x="207" y="136"/>
                    </a:lnTo>
                    <a:lnTo>
                      <a:pt x="205" y="144"/>
                    </a:lnTo>
                    <a:lnTo>
                      <a:pt x="203" y="149"/>
                    </a:lnTo>
                    <a:lnTo>
                      <a:pt x="201" y="153"/>
                    </a:lnTo>
                    <a:lnTo>
                      <a:pt x="197" y="155"/>
                    </a:lnTo>
                    <a:lnTo>
                      <a:pt x="195" y="157"/>
                    </a:lnTo>
                    <a:lnTo>
                      <a:pt x="193" y="161"/>
                    </a:lnTo>
                    <a:lnTo>
                      <a:pt x="191" y="163"/>
                    </a:lnTo>
                    <a:lnTo>
                      <a:pt x="188" y="165"/>
                    </a:lnTo>
                    <a:lnTo>
                      <a:pt x="180" y="167"/>
                    </a:lnTo>
                    <a:lnTo>
                      <a:pt x="174" y="170"/>
                    </a:lnTo>
                    <a:lnTo>
                      <a:pt x="170" y="172"/>
                    </a:lnTo>
                    <a:lnTo>
                      <a:pt x="168" y="174"/>
                    </a:lnTo>
                    <a:lnTo>
                      <a:pt x="161" y="176"/>
                    </a:lnTo>
                    <a:lnTo>
                      <a:pt x="155" y="178"/>
                    </a:lnTo>
                    <a:lnTo>
                      <a:pt x="151" y="182"/>
                    </a:lnTo>
                    <a:lnTo>
                      <a:pt x="149" y="184"/>
                    </a:lnTo>
                    <a:lnTo>
                      <a:pt x="147" y="182"/>
                    </a:lnTo>
                    <a:lnTo>
                      <a:pt x="145" y="178"/>
                    </a:lnTo>
                    <a:lnTo>
                      <a:pt x="142" y="176"/>
                    </a:lnTo>
                    <a:lnTo>
                      <a:pt x="140" y="174"/>
                    </a:lnTo>
                    <a:lnTo>
                      <a:pt x="138" y="172"/>
                    </a:lnTo>
                    <a:lnTo>
                      <a:pt x="136" y="170"/>
                    </a:lnTo>
                    <a:lnTo>
                      <a:pt x="128" y="167"/>
                    </a:lnTo>
                    <a:lnTo>
                      <a:pt x="120" y="165"/>
                    </a:lnTo>
                    <a:lnTo>
                      <a:pt x="119" y="163"/>
                    </a:lnTo>
                    <a:lnTo>
                      <a:pt x="117" y="161"/>
                    </a:lnTo>
                    <a:lnTo>
                      <a:pt x="111" y="157"/>
                    </a:lnTo>
                    <a:lnTo>
                      <a:pt x="101" y="157"/>
                    </a:lnTo>
                    <a:lnTo>
                      <a:pt x="92" y="157"/>
                    </a:lnTo>
                    <a:lnTo>
                      <a:pt x="86" y="161"/>
                    </a:lnTo>
                    <a:lnTo>
                      <a:pt x="84" y="163"/>
                    </a:lnTo>
                    <a:lnTo>
                      <a:pt x="82" y="165"/>
                    </a:lnTo>
                    <a:lnTo>
                      <a:pt x="71" y="167"/>
                    </a:lnTo>
                    <a:lnTo>
                      <a:pt x="57" y="170"/>
                    </a:lnTo>
                    <a:lnTo>
                      <a:pt x="55" y="172"/>
                    </a:lnTo>
                    <a:lnTo>
                      <a:pt x="53" y="174"/>
                    </a:lnTo>
                    <a:lnTo>
                      <a:pt x="46" y="176"/>
                    </a:lnTo>
                    <a:lnTo>
                      <a:pt x="38" y="178"/>
                    </a:lnTo>
                    <a:lnTo>
                      <a:pt x="36" y="182"/>
                    </a:lnTo>
                    <a:lnTo>
                      <a:pt x="34" y="184"/>
                    </a:lnTo>
                    <a:lnTo>
                      <a:pt x="21" y="184"/>
                    </a:lnTo>
                    <a:lnTo>
                      <a:pt x="9" y="184"/>
                    </a:lnTo>
                  </a:path>
                </a:pathLst>
              </a:custGeom>
              <a:grpFill/>
              <a:ln w="3175">
                <a:solidFill>
                  <a:srgbClr val="FF8300"/>
                </a:solidFill>
                <a:round/>
                <a:headEnd/>
                <a:tailEnd/>
              </a:ln>
            </p:spPr>
            <p:txBody>
              <a:bodyPr/>
              <a:lstStyle/>
              <a:p>
                <a:pPr>
                  <a:defRPr/>
                </a:pPr>
                <a:endParaRPr lang="en-GB" sz="1400">
                  <a:solidFill>
                    <a:schemeClr val="tx2"/>
                  </a:solidFill>
                </a:endParaRPr>
              </a:p>
            </p:txBody>
          </p:sp>
          <p:sp>
            <p:nvSpPr>
              <p:cNvPr id="406" name="Freeform 40"/>
              <p:cNvSpPr>
                <a:spLocks/>
              </p:cNvSpPr>
              <p:nvPr>
                <p:custDataLst>
                  <p:tags r:id="rId55"/>
                </p:custDataLst>
              </p:nvPr>
            </p:nvSpPr>
            <p:spPr bwMode="gray">
              <a:xfrm>
                <a:off x="1519524" y="4954511"/>
                <a:ext cx="475185" cy="405510"/>
              </a:xfrm>
              <a:custGeom>
                <a:avLst/>
                <a:gdLst>
                  <a:gd name="T0" fmla="*/ 2147483647 w 349"/>
                  <a:gd name="T1" fmla="*/ 2147483647 h 309"/>
                  <a:gd name="T2" fmla="*/ 2147483647 w 349"/>
                  <a:gd name="T3" fmla="*/ 2147483647 h 309"/>
                  <a:gd name="T4" fmla="*/ 2147483647 w 349"/>
                  <a:gd name="T5" fmla="*/ 2147483647 h 309"/>
                  <a:gd name="T6" fmla="*/ 2147483647 w 349"/>
                  <a:gd name="T7" fmla="*/ 2147483647 h 309"/>
                  <a:gd name="T8" fmla="*/ 2147483647 w 349"/>
                  <a:gd name="T9" fmla="*/ 2147483647 h 309"/>
                  <a:gd name="T10" fmla="*/ 2147483647 w 349"/>
                  <a:gd name="T11" fmla="*/ 2147483647 h 309"/>
                  <a:gd name="T12" fmla="*/ 2147483647 w 349"/>
                  <a:gd name="T13" fmla="*/ 2147483647 h 309"/>
                  <a:gd name="T14" fmla="*/ 2147483647 w 349"/>
                  <a:gd name="T15" fmla="*/ 2147483647 h 309"/>
                  <a:gd name="T16" fmla="*/ 2147483647 w 349"/>
                  <a:gd name="T17" fmla="*/ 2147483647 h 309"/>
                  <a:gd name="T18" fmla="*/ 2147483647 w 349"/>
                  <a:gd name="T19" fmla="*/ 2147483647 h 309"/>
                  <a:gd name="T20" fmla="*/ 2147483647 w 349"/>
                  <a:gd name="T21" fmla="*/ 2147483647 h 309"/>
                  <a:gd name="T22" fmla="*/ 2147483647 w 349"/>
                  <a:gd name="T23" fmla="*/ 2147483647 h 309"/>
                  <a:gd name="T24" fmla="*/ 2147483647 w 349"/>
                  <a:gd name="T25" fmla="*/ 2147483647 h 309"/>
                  <a:gd name="T26" fmla="*/ 2147483647 w 349"/>
                  <a:gd name="T27" fmla="*/ 2147483647 h 309"/>
                  <a:gd name="T28" fmla="*/ 2147483647 w 349"/>
                  <a:gd name="T29" fmla="*/ 2147483647 h 309"/>
                  <a:gd name="T30" fmla="*/ 2147483647 w 349"/>
                  <a:gd name="T31" fmla="*/ 2147483647 h 309"/>
                  <a:gd name="T32" fmla="*/ 2147483647 w 349"/>
                  <a:gd name="T33" fmla="*/ 2147483647 h 309"/>
                  <a:gd name="T34" fmla="*/ 2147483647 w 349"/>
                  <a:gd name="T35" fmla="*/ 2147483647 h 309"/>
                  <a:gd name="T36" fmla="*/ 2147483647 w 349"/>
                  <a:gd name="T37" fmla="*/ 2147483647 h 309"/>
                  <a:gd name="T38" fmla="*/ 2147483647 w 349"/>
                  <a:gd name="T39" fmla="*/ 2147483647 h 309"/>
                  <a:gd name="T40" fmla="*/ 0 w 349"/>
                  <a:gd name="T41" fmla="*/ 2147483647 h 309"/>
                  <a:gd name="T42" fmla="*/ 2147483647 w 349"/>
                  <a:gd name="T43" fmla="*/ 2147483647 h 309"/>
                  <a:gd name="T44" fmla="*/ 2147483647 w 349"/>
                  <a:gd name="T45" fmla="*/ 2147483647 h 309"/>
                  <a:gd name="T46" fmla="*/ 2147483647 w 349"/>
                  <a:gd name="T47" fmla="*/ 2147483647 h 309"/>
                  <a:gd name="T48" fmla="*/ 2147483647 w 349"/>
                  <a:gd name="T49" fmla="*/ 2147483647 h 309"/>
                  <a:gd name="T50" fmla="*/ 2147483647 w 349"/>
                  <a:gd name="T51" fmla="*/ 0 h 309"/>
                  <a:gd name="T52" fmla="*/ 2147483647 w 349"/>
                  <a:gd name="T53" fmla="*/ 2147483647 h 309"/>
                  <a:gd name="T54" fmla="*/ 2147483647 w 349"/>
                  <a:gd name="T55" fmla="*/ 2147483647 h 309"/>
                  <a:gd name="T56" fmla="*/ 2147483647 w 349"/>
                  <a:gd name="T57" fmla="*/ 2147483647 h 309"/>
                  <a:gd name="T58" fmla="*/ 2147483647 w 349"/>
                  <a:gd name="T59" fmla="*/ 2147483647 h 309"/>
                  <a:gd name="T60" fmla="*/ 2147483647 w 349"/>
                  <a:gd name="T61" fmla="*/ 2147483647 h 309"/>
                  <a:gd name="T62" fmla="*/ 2147483647 w 349"/>
                  <a:gd name="T63" fmla="*/ 2147483647 h 309"/>
                  <a:gd name="T64" fmla="*/ 2147483647 w 349"/>
                  <a:gd name="T65" fmla="*/ 2147483647 h 309"/>
                  <a:gd name="T66" fmla="*/ 2147483647 w 349"/>
                  <a:gd name="T67" fmla="*/ 2147483647 h 309"/>
                  <a:gd name="T68" fmla="*/ 2147483647 w 349"/>
                  <a:gd name="T69" fmla="*/ 2147483647 h 309"/>
                  <a:gd name="T70" fmla="*/ 2147483647 w 349"/>
                  <a:gd name="T71" fmla="*/ 2147483647 h 309"/>
                  <a:gd name="T72" fmla="*/ 2147483647 w 349"/>
                  <a:gd name="T73" fmla="*/ 2147483647 h 309"/>
                  <a:gd name="T74" fmla="*/ 2147483647 w 349"/>
                  <a:gd name="T75" fmla="*/ 2147483647 h 309"/>
                  <a:gd name="T76" fmla="*/ 2147483647 w 349"/>
                  <a:gd name="T77" fmla="*/ 2147483647 h 309"/>
                  <a:gd name="T78" fmla="*/ 2147483647 w 349"/>
                  <a:gd name="T79" fmla="*/ 2147483647 h 309"/>
                  <a:gd name="T80" fmla="*/ 2147483647 w 349"/>
                  <a:gd name="T81" fmla="*/ 2147483647 h 309"/>
                  <a:gd name="T82" fmla="*/ 2147483647 w 349"/>
                  <a:gd name="T83" fmla="*/ 2147483647 h 309"/>
                  <a:gd name="T84" fmla="*/ 2147483647 w 349"/>
                  <a:gd name="T85" fmla="*/ 2147483647 h 309"/>
                  <a:gd name="T86" fmla="*/ 2147483647 w 349"/>
                  <a:gd name="T87" fmla="*/ 2147483647 h 309"/>
                  <a:gd name="T88" fmla="*/ 2147483647 w 349"/>
                  <a:gd name="T89" fmla="*/ 2147483647 h 309"/>
                  <a:gd name="T90" fmla="*/ 2147483647 w 349"/>
                  <a:gd name="T91" fmla="*/ 2147483647 h 309"/>
                  <a:gd name="T92" fmla="*/ 2147483647 w 349"/>
                  <a:gd name="T93" fmla="*/ 2147483647 h 309"/>
                  <a:gd name="T94" fmla="*/ 2147483647 w 349"/>
                  <a:gd name="T95" fmla="*/ 2147483647 h 309"/>
                  <a:gd name="T96" fmla="*/ 2147483647 w 349"/>
                  <a:gd name="T97" fmla="*/ 2147483647 h 309"/>
                  <a:gd name="T98" fmla="*/ 2147483647 w 349"/>
                  <a:gd name="T99" fmla="*/ 2147483647 h 309"/>
                  <a:gd name="T100" fmla="*/ 2147483647 w 349"/>
                  <a:gd name="T101" fmla="*/ 2147483647 h 309"/>
                  <a:gd name="T102" fmla="*/ 2147483647 w 349"/>
                  <a:gd name="T103" fmla="*/ 2147483647 h 309"/>
                  <a:gd name="T104" fmla="*/ 2147483647 w 349"/>
                  <a:gd name="T105" fmla="*/ 2147483647 h 309"/>
                  <a:gd name="T106" fmla="*/ 2147483647 w 349"/>
                  <a:gd name="T107" fmla="*/ 2147483647 h 309"/>
                  <a:gd name="T108" fmla="*/ 2147483647 w 349"/>
                  <a:gd name="T109" fmla="*/ 2147483647 h 309"/>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349"/>
                  <a:gd name="T166" fmla="*/ 0 h 309"/>
                  <a:gd name="T167" fmla="*/ 349 w 349"/>
                  <a:gd name="T168" fmla="*/ 309 h 309"/>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349" h="309">
                    <a:moveTo>
                      <a:pt x="165" y="309"/>
                    </a:moveTo>
                    <a:lnTo>
                      <a:pt x="165" y="290"/>
                    </a:lnTo>
                    <a:lnTo>
                      <a:pt x="165" y="271"/>
                    </a:lnTo>
                    <a:lnTo>
                      <a:pt x="165" y="267"/>
                    </a:lnTo>
                    <a:lnTo>
                      <a:pt x="165" y="261"/>
                    </a:lnTo>
                    <a:lnTo>
                      <a:pt x="159" y="256"/>
                    </a:lnTo>
                    <a:lnTo>
                      <a:pt x="155" y="252"/>
                    </a:lnTo>
                    <a:lnTo>
                      <a:pt x="151" y="246"/>
                    </a:lnTo>
                    <a:lnTo>
                      <a:pt x="149" y="242"/>
                    </a:lnTo>
                    <a:lnTo>
                      <a:pt x="147" y="240"/>
                    </a:lnTo>
                    <a:lnTo>
                      <a:pt x="145" y="238"/>
                    </a:lnTo>
                    <a:lnTo>
                      <a:pt x="142" y="235"/>
                    </a:lnTo>
                    <a:lnTo>
                      <a:pt x="140" y="233"/>
                    </a:lnTo>
                    <a:lnTo>
                      <a:pt x="138" y="231"/>
                    </a:lnTo>
                    <a:lnTo>
                      <a:pt x="136" y="227"/>
                    </a:lnTo>
                    <a:lnTo>
                      <a:pt x="128" y="225"/>
                    </a:lnTo>
                    <a:lnTo>
                      <a:pt x="120" y="223"/>
                    </a:lnTo>
                    <a:lnTo>
                      <a:pt x="118" y="221"/>
                    </a:lnTo>
                    <a:lnTo>
                      <a:pt x="117" y="217"/>
                    </a:lnTo>
                    <a:lnTo>
                      <a:pt x="109" y="206"/>
                    </a:lnTo>
                    <a:lnTo>
                      <a:pt x="101" y="194"/>
                    </a:lnTo>
                    <a:lnTo>
                      <a:pt x="99" y="190"/>
                    </a:lnTo>
                    <a:lnTo>
                      <a:pt x="95" y="189"/>
                    </a:lnTo>
                    <a:lnTo>
                      <a:pt x="84" y="187"/>
                    </a:lnTo>
                    <a:lnTo>
                      <a:pt x="72" y="185"/>
                    </a:lnTo>
                    <a:lnTo>
                      <a:pt x="69" y="181"/>
                    </a:lnTo>
                    <a:lnTo>
                      <a:pt x="67" y="179"/>
                    </a:lnTo>
                    <a:lnTo>
                      <a:pt x="69" y="177"/>
                    </a:lnTo>
                    <a:lnTo>
                      <a:pt x="72" y="175"/>
                    </a:lnTo>
                    <a:lnTo>
                      <a:pt x="74" y="171"/>
                    </a:lnTo>
                    <a:lnTo>
                      <a:pt x="76" y="169"/>
                    </a:lnTo>
                    <a:lnTo>
                      <a:pt x="80" y="167"/>
                    </a:lnTo>
                    <a:lnTo>
                      <a:pt x="82" y="165"/>
                    </a:lnTo>
                    <a:lnTo>
                      <a:pt x="84" y="160"/>
                    </a:lnTo>
                    <a:lnTo>
                      <a:pt x="86" y="150"/>
                    </a:lnTo>
                    <a:lnTo>
                      <a:pt x="84" y="141"/>
                    </a:lnTo>
                    <a:lnTo>
                      <a:pt x="82" y="137"/>
                    </a:lnTo>
                    <a:lnTo>
                      <a:pt x="80" y="133"/>
                    </a:lnTo>
                    <a:lnTo>
                      <a:pt x="76" y="131"/>
                    </a:lnTo>
                    <a:lnTo>
                      <a:pt x="74" y="129"/>
                    </a:lnTo>
                    <a:lnTo>
                      <a:pt x="72" y="127"/>
                    </a:lnTo>
                    <a:lnTo>
                      <a:pt x="69" y="123"/>
                    </a:lnTo>
                    <a:lnTo>
                      <a:pt x="67" y="121"/>
                    </a:lnTo>
                    <a:lnTo>
                      <a:pt x="65" y="119"/>
                    </a:lnTo>
                    <a:lnTo>
                      <a:pt x="63" y="116"/>
                    </a:lnTo>
                    <a:lnTo>
                      <a:pt x="61" y="114"/>
                    </a:lnTo>
                    <a:lnTo>
                      <a:pt x="57" y="112"/>
                    </a:lnTo>
                    <a:lnTo>
                      <a:pt x="49" y="110"/>
                    </a:lnTo>
                    <a:lnTo>
                      <a:pt x="44" y="106"/>
                    </a:lnTo>
                    <a:lnTo>
                      <a:pt x="40" y="104"/>
                    </a:lnTo>
                    <a:lnTo>
                      <a:pt x="38" y="102"/>
                    </a:lnTo>
                    <a:lnTo>
                      <a:pt x="30" y="100"/>
                    </a:lnTo>
                    <a:lnTo>
                      <a:pt x="24" y="96"/>
                    </a:lnTo>
                    <a:lnTo>
                      <a:pt x="21" y="94"/>
                    </a:lnTo>
                    <a:lnTo>
                      <a:pt x="19" y="93"/>
                    </a:lnTo>
                    <a:lnTo>
                      <a:pt x="17" y="91"/>
                    </a:lnTo>
                    <a:lnTo>
                      <a:pt x="15" y="87"/>
                    </a:lnTo>
                    <a:lnTo>
                      <a:pt x="11" y="85"/>
                    </a:lnTo>
                    <a:lnTo>
                      <a:pt x="9" y="83"/>
                    </a:lnTo>
                    <a:lnTo>
                      <a:pt x="7" y="79"/>
                    </a:lnTo>
                    <a:lnTo>
                      <a:pt x="5" y="77"/>
                    </a:lnTo>
                    <a:lnTo>
                      <a:pt x="1" y="75"/>
                    </a:lnTo>
                    <a:lnTo>
                      <a:pt x="0" y="73"/>
                    </a:lnTo>
                    <a:lnTo>
                      <a:pt x="0" y="64"/>
                    </a:lnTo>
                    <a:lnTo>
                      <a:pt x="0" y="54"/>
                    </a:lnTo>
                    <a:lnTo>
                      <a:pt x="1" y="50"/>
                    </a:lnTo>
                    <a:lnTo>
                      <a:pt x="5" y="48"/>
                    </a:lnTo>
                    <a:lnTo>
                      <a:pt x="7" y="33"/>
                    </a:lnTo>
                    <a:lnTo>
                      <a:pt x="9" y="20"/>
                    </a:lnTo>
                    <a:lnTo>
                      <a:pt x="19" y="18"/>
                    </a:lnTo>
                    <a:lnTo>
                      <a:pt x="28" y="16"/>
                    </a:lnTo>
                    <a:lnTo>
                      <a:pt x="30" y="12"/>
                    </a:lnTo>
                    <a:lnTo>
                      <a:pt x="34" y="10"/>
                    </a:lnTo>
                    <a:lnTo>
                      <a:pt x="36" y="8"/>
                    </a:lnTo>
                    <a:lnTo>
                      <a:pt x="38" y="6"/>
                    </a:lnTo>
                    <a:lnTo>
                      <a:pt x="40" y="2"/>
                    </a:lnTo>
                    <a:lnTo>
                      <a:pt x="44" y="0"/>
                    </a:lnTo>
                    <a:lnTo>
                      <a:pt x="57" y="0"/>
                    </a:lnTo>
                    <a:lnTo>
                      <a:pt x="72" y="0"/>
                    </a:lnTo>
                    <a:lnTo>
                      <a:pt x="74" y="2"/>
                    </a:lnTo>
                    <a:lnTo>
                      <a:pt x="76" y="6"/>
                    </a:lnTo>
                    <a:lnTo>
                      <a:pt x="80" y="8"/>
                    </a:lnTo>
                    <a:lnTo>
                      <a:pt x="82" y="10"/>
                    </a:lnTo>
                    <a:lnTo>
                      <a:pt x="84" y="12"/>
                    </a:lnTo>
                    <a:lnTo>
                      <a:pt x="88" y="16"/>
                    </a:lnTo>
                    <a:lnTo>
                      <a:pt x="94" y="18"/>
                    </a:lnTo>
                    <a:lnTo>
                      <a:pt x="101" y="20"/>
                    </a:lnTo>
                    <a:lnTo>
                      <a:pt x="103" y="22"/>
                    </a:lnTo>
                    <a:lnTo>
                      <a:pt x="105" y="23"/>
                    </a:lnTo>
                    <a:lnTo>
                      <a:pt x="113" y="27"/>
                    </a:lnTo>
                    <a:lnTo>
                      <a:pt x="120" y="29"/>
                    </a:lnTo>
                    <a:lnTo>
                      <a:pt x="122" y="31"/>
                    </a:lnTo>
                    <a:lnTo>
                      <a:pt x="126" y="35"/>
                    </a:lnTo>
                    <a:lnTo>
                      <a:pt x="128" y="37"/>
                    </a:lnTo>
                    <a:lnTo>
                      <a:pt x="130" y="39"/>
                    </a:lnTo>
                    <a:lnTo>
                      <a:pt x="132" y="41"/>
                    </a:lnTo>
                    <a:lnTo>
                      <a:pt x="136" y="45"/>
                    </a:lnTo>
                    <a:lnTo>
                      <a:pt x="138" y="47"/>
                    </a:lnTo>
                    <a:lnTo>
                      <a:pt x="140" y="48"/>
                    </a:lnTo>
                    <a:lnTo>
                      <a:pt x="142" y="50"/>
                    </a:lnTo>
                    <a:lnTo>
                      <a:pt x="145" y="54"/>
                    </a:lnTo>
                    <a:lnTo>
                      <a:pt x="147" y="56"/>
                    </a:lnTo>
                    <a:lnTo>
                      <a:pt x="149" y="58"/>
                    </a:lnTo>
                    <a:lnTo>
                      <a:pt x="151" y="62"/>
                    </a:lnTo>
                    <a:lnTo>
                      <a:pt x="155" y="64"/>
                    </a:lnTo>
                    <a:lnTo>
                      <a:pt x="161" y="66"/>
                    </a:lnTo>
                    <a:lnTo>
                      <a:pt x="168" y="68"/>
                    </a:lnTo>
                    <a:lnTo>
                      <a:pt x="172" y="70"/>
                    </a:lnTo>
                    <a:lnTo>
                      <a:pt x="174" y="73"/>
                    </a:lnTo>
                    <a:lnTo>
                      <a:pt x="189" y="75"/>
                    </a:lnTo>
                    <a:lnTo>
                      <a:pt x="207" y="77"/>
                    </a:lnTo>
                    <a:lnTo>
                      <a:pt x="211" y="79"/>
                    </a:lnTo>
                    <a:lnTo>
                      <a:pt x="213" y="83"/>
                    </a:lnTo>
                    <a:lnTo>
                      <a:pt x="214" y="85"/>
                    </a:lnTo>
                    <a:lnTo>
                      <a:pt x="216" y="87"/>
                    </a:lnTo>
                    <a:lnTo>
                      <a:pt x="220" y="91"/>
                    </a:lnTo>
                    <a:lnTo>
                      <a:pt x="222" y="93"/>
                    </a:lnTo>
                    <a:lnTo>
                      <a:pt x="224" y="94"/>
                    </a:lnTo>
                    <a:lnTo>
                      <a:pt x="228" y="96"/>
                    </a:lnTo>
                    <a:lnTo>
                      <a:pt x="230" y="100"/>
                    </a:lnTo>
                    <a:lnTo>
                      <a:pt x="232" y="102"/>
                    </a:lnTo>
                    <a:lnTo>
                      <a:pt x="234" y="104"/>
                    </a:lnTo>
                    <a:lnTo>
                      <a:pt x="237" y="106"/>
                    </a:lnTo>
                    <a:lnTo>
                      <a:pt x="239" y="110"/>
                    </a:lnTo>
                    <a:lnTo>
                      <a:pt x="241" y="112"/>
                    </a:lnTo>
                    <a:lnTo>
                      <a:pt x="249" y="114"/>
                    </a:lnTo>
                    <a:lnTo>
                      <a:pt x="257" y="116"/>
                    </a:lnTo>
                    <a:lnTo>
                      <a:pt x="259" y="119"/>
                    </a:lnTo>
                    <a:lnTo>
                      <a:pt x="260" y="121"/>
                    </a:lnTo>
                    <a:lnTo>
                      <a:pt x="262" y="123"/>
                    </a:lnTo>
                    <a:lnTo>
                      <a:pt x="266" y="125"/>
                    </a:lnTo>
                    <a:lnTo>
                      <a:pt x="278" y="127"/>
                    </a:lnTo>
                    <a:lnTo>
                      <a:pt x="299" y="127"/>
                    </a:lnTo>
                    <a:lnTo>
                      <a:pt x="301" y="141"/>
                    </a:lnTo>
                    <a:lnTo>
                      <a:pt x="305" y="156"/>
                    </a:lnTo>
                    <a:lnTo>
                      <a:pt x="307" y="158"/>
                    </a:lnTo>
                    <a:lnTo>
                      <a:pt x="308" y="160"/>
                    </a:lnTo>
                    <a:lnTo>
                      <a:pt x="312" y="167"/>
                    </a:lnTo>
                    <a:lnTo>
                      <a:pt x="314" y="175"/>
                    </a:lnTo>
                    <a:lnTo>
                      <a:pt x="316" y="177"/>
                    </a:lnTo>
                    <a:lnTo>
                      <a:pt x="320" y="179"/>
                    </a:lnTo>
                    <a:lnTo>
                      <a:pt x="326" y="181"/>
                    </a:lnTo>
                    <a:lnTo>
                      <a:pt x="333" y="185"/>
                    </a:lnTo>
                    <a:lnTo>
                      <a:pt x="335" y="187"/>
                    </a:lnTo>
                    <a:lnTo>
                      <a:pt x="337" y="189"/>
                    </a:lnTo>
                    <a:lnTo>
                      <a:pt x="341" y="202"/>
                    </a:lnTo>
                    <a:lnTo>
                      <a:pt x="343" y="213"/>
                    </a:lnTo>
                    <a:lnTo>
                      <a:pt x="345" y="215"/>
                    </a:lnTo>
                    <a:lnTo>
                      <a:pt x="349" y="217"/>
                    </a:lnTo>
                    <a:lnTo>
                      <a:pt x="349" y="235"/>
                    </a:lnTo>
                    <a:lnTo>
                      <a:pt x="349" y="252"/>
                    </a:lnTo>
                    <a:lnTo>
                      <a:pt x="326" y="248"/>
                    </a:lnTo>
                    <a:lnTo>
                      <a:pt x="303" y="246"/>
                    </a:lnTo>
                    <a:lnTo>
                      <a:pt x="278" y="248"/>
                    </a:lnTo>
                    <a:lnTo>
                      <a:pt x="253" y="250"/>
                    </a:lnTo>
                    <a:lnTo>
                      <a:pt x="241" y="252"/>
                    </a:lnTo>
                    <a:lnTo>
                      <a:pt x="230" y="256"/>
                    </a:lnTo>
                    <a:lnTo>
                      <a:pt x="218" y="260"/>
                    </a:lnTo>
                    <a:lnTo>
                      <a:pt x="209" y="265"/>
                    </a:lnTo>
                    <a:lnTo>
                      <a:pt x="201" y="273"/>
                    </a:lnTo>
                    <a:lnTo>
                      <a:pt x="193" y="281"/>
                    </a:lnTo>
                    <a:lnTo>
                      <a:pt x="188" y="290"/>
                    </a:lnTo>
                    <a:lnTo>
                      <a:pt x="184" y="300"/>
                    </a:lnTo>
                    <a:lnTo>
                      <a:pt x="174" y="306"/>
                    </a:lnTo>
                    <a:lnTo>
                      <a:pt x="165" y="309"/>
                    </a:lnTo>
                  </a:path>
                </a:pathLst>
              </a:custGeom>
              <a:grpFill/>
              <a:ln w="3175">
                <a:solidFill>
                  <a:srgbClr val="FF8300"/>
                </a:solidFill>
                <a:round/>
                <a:headEnd/>
                <a:tailEnd/>
              </a:ln>
            </p:spPr>
            <p:txBody>
              <a:bodyPr/>
              <a:lstStyle/>
              <a:p>
                <a:pPr>
                  <a:defRPr/>
                </a:pPr>
                <a:endParaRPr lang="en-GB" sz="1400">
                  <a:solidFill>
                    <a:schemeClr val="tx2"/>
                  </a:solidFill>
                </a:endParaRPr>
              </a:p>
            </p:txBody>
          </p:sp>
          <p:sp>
            <p:nvSpPr>
              <p:cNvPr id="407" name="Freeform 320"/>
              <p:cNvSpPr>
                <a:spLocks/>
              </p:cNvSpPr>
              <p:nvPr>
                <p:custDataLst>
                  <p:tags r:id="rId56"/>
                </p:custDataLst>
              </p:nvPr>
            </p:nvSpPr>
            <p:spPr bwMode="gray">
              <a:xfrm>
                <a:off x="1622643" y="4790077"/>
                <a:ext cx="252224" cy="280094"/>
              </a:xfrm>
              <a:custGeom>
                <a:avLst/>
                <a:gdLst>
                  <a:gd name="T0" fmla="*/ 2147483647 w 184"/>
                  <a:gd name="T1" fmla="*/ 2147483647 h 213"/>
                  <a:gd name="T2" fmla="*/ 2147483647 w 184"/>
                  <a:gd name="T3" fmla="*/ 2147483647 h 213"/>
                  <a:gd name="T4" fmla="*/ 2147483647 w 184"/>
                  <a:gd name="T5" fmla="*/ 2147483647 h 213"/>
                  <a:gd name="T6" fmla="*/ 2147483647 w 184"/>
                  <a:gd name="T7" fmla="*/ 2147483647 h 213"/>
                  <a:gd name="T8" fmla="*/ 2147483647 w 184"/>
                  <a:gd name="T9" fmla="*/ 2147483647 h 213"/>
                  <a:gd name="T10" fmla="*/ 2147483647 w 184"/>
                  <a:gd name="T11" fmla="*/ 2147483647 h 213"/>
                  <a:gd name="T12" fmla="*/ 2147483647 w 184"/>
                  <a:gd name="T13" fmla="*/ 2147483647 h 213"/>
                  <a:gd name="T14" fmla="*/ 2147483647 w 184"/>
                  <a:gd name="T15" fmla="*/ 2147483647 h 213"/>
                  <a:gd name="T16" fmla="*/ 2147483647 w 184"/>
                  <a:gd name="T17" fmla="*/ 2147483647 h 213"/>
                  <a:gd name="T18" fmla="*/ 2147483647 w 184"/>
                  <a:gd name="T19" fmla="*/ 2147483647 h 213"/>
                  <a:gd name="T20" fmla="*/ 2147483647 w 184"/>
                  <a:gd name="T21" fmla="*/ 2147483647 h 213"/>
                  <a:gd name="T22" fmla="*/ 2147483647 w 184"/>
                  <a:gd name="T23" fmla="*/ 2147483647 h 213"/>
                  <a:gd name="T24" fmla="*/ 2147483647 w 184"/>
                  <a:gd name="T25" fmla="*/ 2147483647 h 213"/>
                  <a:gd name="T26" fmla="*/ 2147483647 w 184"/>
                  <a:gd name="T27" fmla="*/ 2147483647 h 213"/>
                  <a:gd name="T28" fmla="*/ 2147483647 w 184"/>
                  <a:gd name="T29" fmla="*/ 2147483647 h 213"/>
                  <a:gd name="T30" fmla="*/ 2147483647 w 184"/>
                  <a:gd name="T31" fmla="*/ 2147483647 h 213"/>
                  <a:gd name="T32" fmla="*/ 2147483647 w 184"/>
                  <a:gd name="T33" fmla="*/ 2147483647 h 213"/>
                  <a:gd name="T34" fmla="*/ 2147483647 w 184"/>
                  <a:gd name="T35" fmla="*/ 2147483647 h 213"/>
                  <a:gd name="T36" fmla="*/ 2147483647 w 184"/>
                  <a:gd name="T37" fmla="*/ 2147483647 h 213"/>
                  <a:gd name="T38" fmla="*/ 2147483647 w 184"/>
                  <a:gd name="T39" fmla="*/ 2147483647 h 213"/>
                  <a:gd name="T40" fmla="*/ 2147483647 w 184"/>
                  <a:gd name="T41" fmla="*/ 2147483647 h 213"/>
                  <a:gd name="T42" fmla="*/ 2147483647 w 184"/>
                  <a:gd name="T43" fmla="*/ 2147483647 h 213"/>
                  <a:gd name="T44" fmla="*/ 2147483647 w 184"/>
                  <a:gd name="T45" fmla="*/ 2147483647 h 213"/>
                  <a:gd name="T46" fmla="*/ 2147483647 w 184"/>
                  <a:gd name="T47" fmla="*/ 2147483647 h 213"/>
                  <a:gd name="T48" fmla="*/ 2147483647 w 184"/>
                  <a:gd name="T49" fmla="*/ 2147483647 h 213"/>
                  <a:gd name="T50" fmla="*/ 2147483647 w 184"/>
                  <a:gd name="T51" fmla="*/ 2147483647 h 213"/>
                  <a:gd name="T52" fmla="*/ 2147483647 w 184"/>
                  <a:gd name="T53" fmla="*/ 2147483647 h 213"/>
                  <a:gd name="T54" fmla="*/ 2147483647 w 184"/>
                  <a:gd name="T55" fmla="*/ 2147483647 h 213"/>
                  <a:gd name="T56" fmla="*/ 2147483647 w 184"/>
                  <a:gd name="T57" fmla="*/ 2147483647 h 213"/>
                  <a:gd name="T58" fmla="*/ 2147483647 w 184"/>
                  <a:gd name="T59" fmla="*/ 2147483647 h 213"/>
                  <a:gd name="T60" fmla="*/ 2147483647 w 184"/>
                  <a:gd name="T61" fmla="*/ 2147483647 h 213"/>
                  <a:gd name="T62" fmla="*/ 2147483647 w 184"/>
                  <a:gd name="T63" fmla="*/ 2147483647 h 213"/>
                  <a:gd name="T64" fmla="*/ 0 w 184"/>
                  <a:gd name="T65" fmla="*/ 2147483647 h 213"/>
                  <a:gd name="T66" fmla="*/ 2147483647 w 184"/>
                  <a:gd name="T67" fmla="*/ 2147483647 h 213"/>
                  <a:gd name="T68" fmla="*/ 2147483647 w 184"/>
                  <a:gd name="T69" fmla="*/ 2147483647 h 213"/>
                  <a:gd name="T70" fmla="*/ 2147483647 w 184"/>
                  <a:gd name="T71" fmla="*/ 2147483647 h 213"/>
                  <a:gd name="T72" fmla="*/ 2147483647 w 184"/>
                  <a:gd name="T73" fmla="*/ 2147483647 h 213"/>
                  <a:gd name="T74" fmla="*/ 2147483647 w 184"/>
                  <a:gd name="T75" fmla="*/ 2147483647 h 213"/>
                  <a:gd name="T76" fmla="*/ 2147483647 w 184"/>
                  <a:gd name="T77" fmla="*/ 2147483647 h 213"/>
                  <a:gd name="T78" fmla="*/ 2147483647 w 184"/>
                  <a:gd name="T79" fmla="*/ 0 h 213"/>
                  <a:gd name="T80" fmla="*/ 2147483647 w 184"/>
                  <a:gd name="T81" fmla="*/ 2147483647 h 213"/>
                  <a:gd name="T82" fmla="*/ 2147483647 w 184"/>
                  <a:gd name="T83" fmla="*/ 2147483647 h 213"/>
                  <a:gd name="T84" fmla="*/ 2147483647 w 184"/>
                  <a:gd name="T85" fmla="*/ 2147483647 h 213"/>
                  <a:gd name="T86" fmla="*/ 2147483647 w 184"/>
                  <a:gd name="T87" fmla="*/ 2147483647 h 213"/>
                  <a:gd name="T88" fmla="*/ 2147483647 w 184"/>
                  <a:gd name="T89" fmla="*/ 2147483647 h 213"/>
                  <a:gd name="T90" fmla="*/ 2147483647 w 184"/>
                  <a:gd name="T91" fmla="*/ 2147483647 h 213"/>
                  <a:gd name="T92" fmla="*/ 2147483647 w 184"/>
                  <a:gd name="T93" fmla="*/ 2147483647 h 213"/>
                  <a:gd name="T94" fmla="*/ 2147483647 w 184"/>
                  <a:gd name="T95" fmla="*/ 2147483647 h 213"/>
                  <a:gd name="T96" fmla="*/ 2147483647 w 184"/>
                  <a:gd name="T97" fmla="*/ 2147483647 h 213"/>
                  <a:gd name="T98" fmla="*/ 2147483647 w 184"/>
                  <a:gd name="T99" fmla="*/ 2147483647 h 213"/>
                  <a:gd name="T100" fmla="*/ 2147483647 w 184"/>
                  <a:gd name="T101" fmla="*/ 2147483647 h 213"/>
                  <a:gd name="T102" fmla="*/ 2147483647 w 184"/>
                  <a:gd name="T103" fmla="*/ 2147483647 h 213"/>
                  <a:gd name="T104" fmla="*/ 2147483647 w 184"/>
                  <a:gd name="T105" fmla="*/ 2147483647 h 213"/>
                  <a:gd name="T106" fmla="*/ 2147483647 w 184"/>
                  <a:gd name="T107" fmla="*/ 2147483647 h 213"/>
                  <a:gd name="T108" fmla="*/ 2147483647 w 184"/>
                  <a:gd name="T109" fmla="*/ 2147483647 h 213"/>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84"/>
                  <a:gd name="T166" fmla="*/ 0 h 213"/>
                  <a:gd name="T167" fmla="*/ 184 w 184"/>
                  <a:gd name="T168" fmla="*/ 213 h 213"/>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84" h="213">
                    <a:moveTo>
                      <a:pt x="148" y="75"/>
                    </a:moveTo>
                    <a:lnTo>
                      <a:pt x="160" y="80"/>
                    </a:lnTo>
                    <a:lnTo>
                      <a:pt x="171" y="88"/>
                    </a:lnTo>
                    <a:lnTo>
                      <a:pt x="173" y="90"/>
                    </a:lnTo>
                    <a:lnTo>
                      <a:pt x="175" y="92"/>
                    </a:lnTo>
                    <a:lnTo>
                      <a:pt x="177" y="100"/>
                    </a:lnTo>
                    <a:lnTo>
                      <a:pt x="181" y="107"/>
                    </a:lnTo>
                    <a:lnTo>
                      <a:pt x="183" y="109"/>
                    </a:lnTo>
                    <a:lnTo>
                      <a:pt x="184" y="111"/>
                    </a:lnTo>
                    <a:lnTo>
                      <a:pt x="184" y="128"/>
                    </a:lnTo>
                    <a:lnTo>
                      <a:pt x="184" y="146"/>
                    </a:lnTo>
                    <a:lnTo>
                      <a:pt x="184" y="163"/>
                    </a:lnTo>
                    <a:lnTo>
                      <a:pt x="184" y="180"/>
                    </a:lnTo>
                    <a:lnTo>
                      <a:pt x="183" y="182"/>
                    </a:lnTo>
                    <a:lnTo>
                      <a:pt x="181" y="184"/>
                    </a:lnTo>
                    <a:lnTo>
                      <a:pt x="177" y="188"/>
                    </a:lnTo>
                    <a:lnTo>
                      <a:pt x="175" y="190"/>
                    </a:lnTo>
                    <a:lnTo>
                      <a:pt x="173" y="192"/>
                    </a:lnTo>
                    <a:lnTo>
                      <a:pt x="171" y="194"/>
                    </a:lnTo>
                    <a:lnTo>
                      <a:pt x="167" y="196"/>
                    </a:lnTo>
                    <a:lnTo>
                      <a:pt x="165" y="199"/>
                    </a:lnTo>
                    <a:lnTo>
                      <a:pt x="163" y="201"/>
                    </a:lnTo>
                    <a:lnTo>
                      <a:pt x="161" y="203"/>
                    </a:lnTo>
                    <a:lnTo>
                      <a:pt x="158" y="205"/>
                    </a:lnTo>
                    <a:lnTo>
                      <a:pt x="156" y="209"/>
                    </a:lnTo>
                    <a:lnTo>
                      <a:pt x="154" y="211"/>
                    </a:lnTo>
                    <a:lnTo>
                      <a:pt x="152" y="213"/>
                    </a:lnTo>
                    <a:lnTo>
                      <a:pt x="148" y="211"/>
                    </a:lnTo>
                    <a:lnTo>
                      <a:pt x="146" y="209"/>
                    </a:lnTo>
                    <a:lnTo>
                      <a:pt x="144" y="205"/>
                    </a:lnTo>
                    <a:lnTo>
                      <a:pt x="140" y="203"/>
                    </a:lnTo>
                    <a:lnTo>
                      <a:pt x="138" y="201"/>
                    </a:lnTo>
                    <a:lnTo>
                      <a:pt x="137" y="199"/>
                    </a:lnTo>
                    <a:lnTo>
                      <a:pt x="119" y="196"/>
                    </a:lnTo>
                    <a:lnTo>
                      <a:pt x="102" y="194"/>
                    </a:lnTo>
                    <a:lnTo>
                      <a:pt x="100" y="192"/>
                    </a:lnTo>
                    <a:lnTo>
                      <a:pt x="98" y="190"/>
                    </a:lnTo>
                    <a:lnTo>
                      <a:pt x="90" y="188"/>
                    </a:lnTo>
                    <a:lnTo>
                      <a:pt x="83" y="184"/>
                    </a:lnTo>
                    <a:lnTo>
                      <a:pt x="81" y="182"/>
                    </a:lnTo>
                    <a:lnTo>
                      <a:pt x="79" y="180"/>
                    </a:lnTo>
                    <a:lnTo>
                      <a:pt x="75" y="176"/>
                    </a:lnTo>
                    <a:lnTo>
                      <a:pt x="73" y="174"/>
                    </a:lnTo>
                    <a:lnTo>
                      <a:pt x="71" y="173"/>
                    </a:lnTo>
                    <a:lnTo>
                      <a:pt x="69" y="171"/>
                    </a:lnTo>
                    <a:lnTo>
                      <a:pt x="66" y="167"/>
                    </a:lnTo>
                    <a:lnTo>
                      <a:pt x="64" y="165"/>
                    </a:lnTo>
                    <a:lnTo>
                      <a:pt x="62" y="163"/>
                    </a:lnTo>
                    <a:lnTo>
                      <a:pt x="60" y="161"/>
                    </a:lnTo>
                    <a:lnTo>
                      <a:pt x="56" y="157"/>
                    </a:lnTo>
                    <a:lnTo>
                      <a:pt x="54" y="155"/>
                    </a:lnTo>
                    <a:lnTo>
                      <a:pt x="52" y="153"/>
                    </a:lnTo>
                    <a:lnTo>
                      <a:pt x="50" y="149"/>
                    </a:lnTo>
                    <a:lnTo>
                      <a:pt x="42" y="148"/>
                    </a:lnTo>
                    <a:lnTo>
                      <a:pt x="35" y="146"/>
                    </a:lnTo>
                    <a:lnTo>
                      <a:pt x="33" y="144"/>
                    </a:lnTo>
                    <a:lnTo>
                      <a:pt x="29" y="142"/>
                    </a:lnTo>
                    <a:lnTo>
                      <a:pt x="23" y="138"/>
                    </a:lnTo>
                    <a:lnTo>
                      <a:pt x="16" y="136"/>
                    </a:lnTo>
                    <a:lnTo>
                      <a:pt x="14" y="134"/>
                    </a:lnTo>
                    <a:lnTo>
                      <a:pt x="12" y="132"/>
                    </a:lnTo>
                    <a:lnTo>
                      <a:pt x="8" y="128"/>
                    </a:lnTo>
                    <a:lnTo>
                      <a:pt x="6" y="126"/>
                    </a:lnTo>
                    <a:lnTo>
                      <a:pt x="4" y="125"/>
                    </a:lnTo>
                    <a:lnTo>
                      <a:pt x="0" y="121"/>
                    </a:lnTo>
                    <a:lnTo>
                      <a:pt x="0" y="117"/>
                    </a:lnTo>
                    <a:lnTo>
                      <a:pt x="0" y="111"/>
                    </a:lnTo>
                    <a:lnTo>
                      <a:pt x="4" y="109"/>
                    </a:lnTo>
                    <a:lnTo>
                      <a:pt x="6" y="107"/>
                    </a:lnTo>
                    <a:lnTo>
                      <a:pt x="8" y="96"/>
                    </a:lnTo>
                    <a:lnTo>
                      <a:pt x="12" y="82"/>
                    </a:lnTo>
                    <a:lnTo>
                      <a:pt x="14" y="80"/>
                    </a:lnTo>
                    <a:lnTo>
                      <a:pt x="16" y="79"/>
                    </a:lnTo>
                    <a:lnTo>
                      <a:pt x="16" y="59"/>
                    </a:lnTo>
                    <a:lnTo>
                      <a:pt x="18" y="42"/>
                    </a:lnTo>
                    <a:lnTo>
                      <a:pt x="19" y="23"/>
                    </a:lnTo>
                    <a:lnTo>
                      <a:pt x="19" y="6"/>
                    </a:lnTo>
                    <a:lnTo>
                      <a:pt x="23" y="4"/>
                    </a:lnTo>
                    <a:lnTo>
                      <a:pt x="25" y="0"/>
                    </a:lnTo>
                    <a:lnTo>
                      <a:pt x="31" y="0"/>
                    </a:lnTo>
                    <a:lnTo>
                      <a:pt x="35" y="0"/>
                    </a:lnTo>
                    <a:lnTo>
                      <a:pt x="37" y="4"/>
                    </a:lnTo>
                    <a:lnTo>
                      <a:pt x="41" y="6"/>
                    </a:lnTo>
                    <a:lnTo>
                      <a:pt x="41" y="13"/>
                    </a:lnTo>
                    <a:lnTo>
                      <a:pt x="41" y="21"/>
                    </a:lnTo>
                    <a:lnTo>
                      <a:pt x="46" y="21"/>
                    </a:lnTo>
                    <a:lnTo>
                      <a:pt x="54" y="21"/>
                    </a:lnTo>
                    <a:lnTo>
                      <a:pt x="56" y="23"/>
                    </a:lnTo>
                    <a:lnTo>
                      <a:pt x="60" y="25"/>
                    </a:lnTo>
                    <a:lnTo>
                      <a:pt x="62" y="29"/>
                    </a:lnTo>
                    <a:lnTo>
                      <a:pt x="69" y="29"/>
                    </a:lnTo>
                    <a:lnTo>
                      <a:pt x="75" y="29"/>
                    </a:lnTo>
                    <a:lnTo>
                      <a:pt x="79" y="25"/>
                    </a:lnTo>
                    <a:lnTo>
                      <a:pt x="81" y="23"/>
                    </a:lnTo>
                    <a:lnTo>
                      <a:pt x="83" y="21"/>
                    </a:lnTo>
                    <a:lnTo>
                      <a:pt x="89" y="21"/>
                    </a:lnTo>
                    <a:lnTo>
                      <a:pt x="92" y="21"/>
                    </a:lnTo>
                    <a:lnTo>
                      <a:pt x="96" y="23"/>
                    </a:lnTo>
                    <a:lnTo>
                      <a:pt x="98" y="25"/>
                    </a:lnTo>
                    <a:lnTo>
                      <a:pt x="100" y="46"/>
                    </a:lnTo>
                    <a:lnTo>
                      <a:pt x="102" y="69"/>
                    </a:lnTo>
                    <a:lnTo>
                      <a:pt x="104" y="71"/>
                    </a:lnTo>
                    <a:lnTo>
                      <a:pt x="108" y="73"/>
                    </a:lnTo>
                    <a:lnTo>
                      <a:pt x="110" y="75"/>
                    </a:lnTo>
                    <a:lnTo>
                      <a:pt x="112" y="79"/>
                    </a:lnTo>
                    <a:lnTo>
                      <a:pt x="113" y="80"/>
                    </a:lnTo>
                    <a:lnTo>
                      <a:pt x="117" y="82"/>
                    </a:lnTo>
                    <a:lnTo>
                      <a:pt x="121" y="82"/>
                    </a:lnTo>
                    <a:lnTo>
                      <a:pt x="127" y="82"/>
                    </a:lnTo>
                    <a:lnTo>
                      <a:pt x="137" y="79"/>
                    </a:lnTo>
                    <a:lnTo>
                      <a:pt x="148" y="75"/>
                    </a:lnTo>
                  </a:path>
                </a:pathLst>
              </a:custGeom>
              <a:grpFill/>
              <a:ln w="3175">
                <a:solidFill>
                  <a:srgbClr val="FF8300"/>
                </a:solidFill>
                <a:round/>
                <a:headEnd/>
                <a:tailEnd/>
              </a:ln>
            </p:spPr>
            <p:txBody>
              <a:bodyPr/>
              <a:lstStyle/>
              <a:p>
                <a:pPr>
                  <a:defRPr/>
                </a:pPr>
                <a:endParaRPr lang="en-GB" sz="1400">
                  <a:solidFill>
                    <a:schemeClr val="tx2"/>
                  </a:solidFill>
                </a:endParaRPr>
              </a:p>
            </p:txBody>
          </p:sp>
          <p:sp>
            <p:nvSpPr>
              <p:cNvPr id="408" name="Freeform 326"/>
              <p:cNvSpPr>
                <a:spLocks/>
              </p:cNvSpPr>
              <p:nvPr>
                <p:custDataLst>
                  <p:tags r:id="rId57"/>
                </p:custDataLst>
              </p:nvPr>
            </p:nvSpPr>
            <p:spPr bwMode="gray">
              <a:xfrm>
                <a:off x="1215739" y="4776142"/>
                <a:ext cx="303785" cy="294030"/>
              </a:xfrm>
              <a:custGeom>
                <a:avLst/>
                <a:gdLst>
                  <a:gd name="T0" fmla="*/ 2147483647 w 223"/>
                  <a:gd name="T1" fmla="*/ 2147483647 h 223"/>
                  <a:gd name="T2" fmla="*/ 2147483647 w 223"/>
                  <a:gd name="T3" fmla="*/ 2147483647 h 223"/>
                  <a:gd name="T4" fmla="*/ 2147483647 w 223"/>
                  <a:gd name="T5" fmla="*/ 2147483647 h 223"/>
                  <a:gd name="T6" fmla="*/ 2147483647 w 223"/>
                  <a:gd name="T7" fmla="*/ 2147483647 h 223"/>
                  <a:gd name="T8" fmla="*/ 2147483647 w 223"/>
                  <a:gd name="T9" fmla="*/ 2147483647 h 223"/>
                  <a:gd name="T10" fmla="*/ 2147483647 w 223"/>
                  <a:gd name="T11" fmla="*/ 2147483647 h 223"/>
                  <a:gd name="T12" fmla="*/ 2147483647 w 223"/>
                  <a:gd name="T13" fmla="*/ 2147483647 h 223"/>
                  <a:gd name="T14" fmla="*/ 2147483647 w 223"/>
                  <a:gd name="T15" fmla="*/ 2147483647 h 223"/>
                  <a:gd name="T16" fmla="*/ 2147483647 w 223"/>
                  <a:gd name="T17" fmla="*/ 2147483647 h 223"/>
                  <a:gd name="T18" fmla="*/ 2147483647 w 223"/>
                  <a:gd name="T19" fmla="*/ 2147483647 h 223"/>
                  <a:gd name="T20" fmla="*/ 2147483647 w 223"/>
                  <a:gd name="T21" fmla="*/ 2147483647 h 223"/>
                  <a:gd name="T22" fmla="*/ 2147483647 w 223"/>
                  <a:gd name="T23" fmla="*/ 2147483647 h 223"/>
                  <a:gd name="T24" fmla="*/ 2147483647 w 223"/>
                  <a:gd name="T25" fmla="*/ 2147483647 h 223"/>
                  <a:gd name="T26" fmla="*/ 2147483647 w 223"/>
                  <a:gd name="T27" fmla="*/ 2147483647 h 223"/>
                  <a:gd name="T28" fmla="*/ 2147483647 w 223"/>
                  <a:gd name="T29" fmla="*/ 2147483647 h 223"/>
                  <a:gd name="T30" fmla="*/ 2147483647 w 223"/>
                  <a:gd name="T31" fmla="*/ 2147483647 h 223"/>
                  <a:gd name="T32" fmla="*/ 2147483647 w 223"/>
                  <a:gd name="T33" fmla="*/ 2147483647 h 223"/>
                  <a:gd name="T34" fmla="*/ 2147483647 w 223"/>
                  <a:gd name="T35" fmla="*/ 2147483647 h 223"/>
                  <a:gd name="T36" fmla="*/ 2147483647 w 223"/>
                  <a:gd name="T37" fmla="*/ 2147483647 h 223"/>
                  <a:gd name="T38" fmla="*/ 2147483647 w 223"/>
                  <a:gd name="T39" fmla="*/ 2147483647 h 223"/>
                  <a:gd name="T40" fmla="*/ 2147483647 w 223"/>
                  <a:gd name="T41" fmla="*/ 2147483647 h 223"/>
                  <a:gd name="T42" fmla="*/ 2147483647 w 223"/>
                  <a:gd name="T43" fmla="*/ 2147483647 h 223"/>
                  <a:gd name="T44" fmla="*/ 2147483647 w 223"/>
                  <a:gd name="T45" fmla="*/ 2147483647 h 223"/>
                  <a:gd name="T46" fmla="*/ 2147483647 w 223"/>
                  <a:gd name="T47" fmla="*/ 2147483647 h 223"/>
                  <a:gd name="T48" fmla="*/ 2147483647 w 223"/>
                  <a:gd name="T49" fmla="*/ 0 h 223"/>
                  <a:gd name="T50" fmla="*/ 2147483647 w 223"/>
                  <a:gd name="T51" fmla="*/ 2147483647 h 223"/>
                  <a:gd name="T52" fmla="*/ 2147483647 w 223"/>
                  <a:gd name="T53" fmla="*/ 2147483647 h 223"/>
                  <a:gd name="T54" fmla="*/ 2147483647 w 223"/>
                  <a:gd name="T55" fmla="*/ 2147483647 h 223"/>
                  <a:gd name="T56" fmla="*/ 2147483647 w 223"/>
                  <a:gd name="T57" fmla="*/ 2147483647 h 223"/>
                  <a:gd name="T58" fmla="*/ 2147483647 w 223"/>
                  <a:gd name="T59" fmla="*/ 2147483647 h 223"/>
                  <a:gd name="T60" fmla="*/ 2147483647 w 223"/>
                  <a:gd name="T61" fmla="*/ 2147483647 h 223"/>
                  <a:gd name="T62" fmla="*/ 2147483647 w 223"/>
                  <a:gd name="T63" fmla="*/ 2147483647 h 223"/>
                  <a:gd name="T64" fmla="*/ 2147483647 w 223"/>
                  <a:gd name="T65" fmla="*/ 2147483647 h 223"/>
                  <a:gd name="T66" fmla="*/ 2147483647 w 223"/>
                  <a:gd name="T67" fmla="*/ 2147483647 h 223"/>
                  <a:gd name="T68" fmla="*/ 2147483647 w 223"/>
                  <a:gd name="T69" fmla="*/ 2147483647 h 223"/>
                  <a:gd name="T70" fmla="*/ 2147483647 w 223"/>
                  <a:gd name="T71" fmla="*/ 2147483647 h 223"/>
                  <a:gd name="T72" fmla="*/ 2147483647 w 223"/>
                  <a:gd name="T73" fmla="*/ 2147483647 h 223"/>
                  <a:gd name="T74" fmla="*/ 2147483647 w 223"/>
                  <a:gd name="T75" fmla="*/ 2147483647 h 223"/>
                  <a:gd name="T76" fmla="*/ 2147483647 w 223"/>
                  <a:gd name="T77" fmla="*/ 2147483647 h 223"/>
                  <a:gd name="T78" fmla="*/ 2147483647 w 223"/>
                  <a:gd name="T79" fmla="*/ 2147483647 h 223"/>
                  <a:gd name="T80" fmla="*/ 2147483647 w 223"/>
                  <a:gd name="T81" fmla="*/ 2147483647 h 223"/>
                  <a:gd name="T82" fmla="*/ 2147483647 w 223"/>
                  <a:gd name="T83" fmla="*/ 2147483647 h 223"/>
                  <a:gd name="T84" fmla="*/ 2147483647 w 223"/>
                  <a:gd name="T85" fmla="*/ 2147483647 h 223"/>
                  <a:gd name="T86" fmla="*/ 2147483647 w 223"/>
                  <a:gd name="T87" fmla="*/ 2147483647 h 223"/>
                  <a:gd name="T88" fmla="*/ 2147483647 w 223"/>
                  <a:gd name="T89" fmla="*/ 2147483647 h 223"/>
                  <a:gd name="T90" fmla="*/ 2147483647 w 223"/>
                  <a:gd name="T91" fmla="*/ 2147483647 h 223"/>
                  <a:gd name="T92" fmla="*/ 2147483647 w 223"/>
                  <a:gd name="T93" fmla="*/ 2147483647 h 223"/>
                  <a:gd name="T94" fmla="*/ 2147483647 w 223"/>
                  <a:gd name="T95" fmla="*/ 2147483647 h 223"/>
                  <a:gd name="T96" fmla="*/ 2147483647 w 223"/>
                  <a:gd name="T97" fmla="*/ 2147483647 h 223"/>
                  <a:gd name="T98" fmla="*/ 2147483647 w 223"/>
                  <a:gd name="T99" fmla="*/ 2147483647 h 223"/>
                  <a:gd name="T100" fmla="*/ 2147483647 w 223"/>
                  <a:gd name="T101" fmla="*/ 2147483647 h 223"/>
                  <a:gd name="T102" fmla="*/ 2147483647 w 223"/>
                  <a:gd name="T103" fmla="*/ 2147483647 h 223"/>
                  <a:gd name="T104" fmla="*/ 2147483647 w 223"/>
                  <a:gd name="T105" fmla="*/ 2147483647 h 223"/>
                  <a:gd name="T106" fmla="*/ 2147483647 w 223"/>
                  <a:gd name="T107" fmla="*/ 2147483647 h 223"/>
                  <a:gd name="T108" fmla="*/ 2147483647 w 223"/>
                  <a:gd name="T109" fmla="*/ 2147483647 h 223"/>
                  <a:gd name="T110" fmla="*/ 2147483647 w 223"/>
                  <a:gd name="T111" fmla="*/ 2147483647 h 223"/>
                  <a:gd name="T112" fmla="*/ 2147483647 w 223"/>
                  <a:gd name="T113" fmla="*/ 2147483647 h 223"/>
                  <a:gd name="T114" fmla="*/ 2147483647 w 223"/>
                  <a:gd name="T115" fmla="*/ 2147483647 h 223"/>
                  <a:gd name="T116" fmla="*/ 2147483647 w 223"/>
                  <a:gd name="T117" fmla="*/ 2147483647 h 223"/>
                  <a:gd name="T118" fmla="*/ 2147483647 w 223"/>
                  <a:gd name="T119" fmla="*/ 2147483647 h 223"/>
                  <a:gd name="T120" fmla="*/ 2147483647 w 223"/>
                  <a:gd name="T121" fmla="*/ 2147483647 h 22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223"/>
                  <a:gd name="T184" fmla="*/ 0 h 223"/>
                  <a:gd name="T185" fmla="*/ 223 w 223"/>
                  <a:gd name="T186" fmla="*/ 223 h 22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223" h="223">
                    <a:moveTo>
                      <a:pt x="54" y="223"/>
                    </a:moveTo>
                    <a:lnTo>
                      <a:pt x="52" y="221"/>
                    </a:lnTo>
                    <a:lnTo>
                      <a:pt x="48" y="219"/>
                    </a:lnTo>
                    <a:lnTo>
                      <a:pt x="40" y="215"/>
                    </a:lnTo>
                    <a:lnTo>
                      <a:pt x="35" y="213"/>
                    </a:lnTo>
                    <a:lnTo>
                      <a:pt x="31" y="211"/>
                    </a:lnTo>
                    <a:lnTo>
                      <a:pt x="29" y="209"/>
                    </a:lnTo>
                    <a:lnTo>
                      <a:pt x="25" y="206"/>
                    </a:lnTo>
                    <a:lnTo>
                      <a:pt x="19" y="204"/>
                    </a:lnTo>
                    <a:lnTo>
                      <a:pt x="10" y="181"/>
                    </a:lnTo>
                    <a:lnTo>
                      <a:pt x="0" y="156"/>
                    </a:lnTo>
                    <a:lnTo>
                      <a:pt x="6" y="154"/>
                    </a:lnTo>
                    <a:lnTo>
                      <a:pt x="10" y="152"/>
                    </a:lnTo>
                    <a:lnTo>
                      <a:pt x="11" y="148"/>
                    </a:lnTo>
                    <a:lnTo>
                      <a:pt x="15" y="146"/>
                    </a:lnTo>
                    <a:lnTo>
                      <a:pt x="17" y="144"/>
                    </a:lnTo>
                    <a:lnTo>
                      <a:pt x="19" y="142"/>
                    </a:lnTo>
                    <a:lnTo>
                      <a:pt x="21" y="138"/>
                    </a:lnTo>
                    <a:lnTo>
                      <a:pt x="25" y="136"/>
                    </a:lnTo>
                    <a:lnTo>
                      <a:pt x="27" y="135"/>
                    </a:lnTo>
                    <a:lnTo>
                      <a:pt x="29" y="131"/>
                    </a:lnTo>
                    <a:lnTo>
                      <a:pt x="31" y="129"/>
                    </a:lnTo>
                    <a:lnTo>
                      <a:pt x="35" y="127"/>
                    </a:lnTo>
                    <a:lnTo>
                      <a:pt x="36" y="119"/>
                    </a:lnTo>
                    <a:lnTo>
                      <a:pt x="38" y="112"/>
                    </a:lnTo>
                    <a:lnTo>
                      <a:pt x="42" y="110"/>
                    </a:lnTo>
                    <a:lnTo>
                      <a:pt x="44" y="108"/>
                    </a:lnTo>
                    <a:lnTo>
                      <a:pt x="44" y="98"/>
                    </a:lnTo>
                    <a:lnTo>
                      <a:pt x="44" y="89"/>
                    </a:lnTo>
                    <a:lnTo>
                      <a:pt x="42" y="85"/>
                    </a:lnTo>
                    <a:lnTo>
                      <a:pt x="38" y="83"/>
                    </a:lnTo>
                    <a:lnTo>
                      <a:pt x="42" y="81"/>
                    </a:lnTo>
                    <a:lnTo>
                      <a:pt x="44" y="79"/>
                    </a:lnTo>
                    <a:lnTo>
                      <a:pt x="44" y="69"/>
                    </a:lnTo>
                    <a:lnTo>
                      <a:pt x="44" y="60"/>
                    </a:lnTo>
                    <a:lnTo>
                      <a:pt x="42" y="56"/>
                    </a:lnTo>
                    <a:lnTo>
                      <a:pt x="38" y="54"/>
                    </a:lnTo>
                    <a:lnTo>
                      <a:pt x="42" y="52"/>
                    </a:lnTo>
                    <a:lnTo>
                      <a:pt x="44" y="50"/>
                    </a:lnTo>
                    <a:lnTo>
                      <a:pt x="46" y="37"/>
                    </a:lnTo>
                    <a:lnTo>
                      <a:pt x="48" y="25"/>
                    </a:lnTo>
                    <a:lnTo>
                      <a:pt x="52" y="23"/>
                    </a:lnTo>
                    <a:lnTo>
                      <a:pt x="54" y="21"/>
                    </a:lnTo>
                    <a:lnTo>
                      <a:pt x="61" y="21"/>
                    </a:lnTo>
                    <a:lnTo>
                      <a:pt x="67" y="21"/>
                    </a:lnTo>
                    <a:lnTo>
                      <a:pt x="67" y="14"/>
                    </a:lnTo>
                    <a:lnTo>
                      <a:pt x="67" y="6"/>
                    </a:lnTo>
                    <a:lnTo>
                      <a:pt x="71" y="4"/>
                    </a:lnTo>
                    <a:lnTo>
                      <a:pt x="73" y="0"/>
                    </a:lnTo>
                    <a:lnTo>
                      <a:pt x="82" y="0"/>
                    </a:lnTo>
                    <a:lnTo>
                      <a:pt x="92" y="0"/>
                    </a:lnTo>
                    <a:lnTo>
                      <a:pt x="94" y="4"/>
                    </a:lnTo>
                    <a:lnTo>
                      <a:pt x="98" y="6"/>
                    </a:lnTo>
                    <a:lnTo>
                      <a:pt x="104" y="8"/>
                    </a:lnTo>
                    <a:lnTo>
                      <a:pt x="111" y="10"/>
                    </a:lnTo>
                    <a:lnTo>
                      <a:pt x="113" y="14"/>
                    </a:lnTo>
                    <a:lnTo>
                      <a:pt x="117" y="16"/>
                    </a:lnTo>
                    <a:lnTo>
                      <a:pt x="119" y="18"/>
                    </a:lnTo>
                    <a:lnTo>
                      <a:pt x="121" y="21"/>
                    </a:lnTo>
                    <a:lnTo>
                      <a:pt x="123" y="23"/>
                    </a:lnTo>
                    <a:lnTo>
                      <a:pt x="127" y="25"/>
                    </a:lnTo>
                    <a:lnTo>
                      <a:pt x="129" y="33"/>
                    </a:lnTo>
                    <a:lnTo>
                      <a:pt x="130" y="41"/>
                    </a:lnTo>
                    <a:lnTo>
                      <a:pt x="132" y="42"/>
                    </a:lnTo>
                    <a:lnTo>
                      <a:pt x="136" y="44"/>
                    </a:lnTo>
                    <a:lnTo>
                      <a:pt x="136" y="52"/>
                    </a:lnTo>
                    <a:lnTo>
                      <a:pt x="136" y="60"/>
                    </a:lnTo>
                    <a:lnTo>
                      <a:pt x="142" y="60"/>
                    </a:lnTo>
                    <a:lnTo>
                      <a:pt x="150" y="60"/>
                    </a:lnTo>
                    <a:lnTo>
                      <a:pt x="153" y="62"/>
                    </a:lnTo>
                    <a:lnTo>
                      <a:pt x="155" y="64"/>
                    </a:lnTo>
                    <a:lnTo>
                      <a:pt x="161" y="65"/>
                    </a:lnTo>
                    <a:lnTo>
                      <a:pt x="169" y="69"/>
                    </a:lnTo>
                    <a:lnTo>
                      <a:pt x="173" y="71"/>
                    </a:lnTo>
                    <a:lnTo>
                      <a:pt x="175" y="73"/>
                    </a:lnTo>
                    <a:lnTo>
                      <a:pt x="176" y="81"/>
                    </a:lnTo>
                    <a:lnTo>
                      <a:pt x="178" y="89"/>
                    </a:lnTo>
                    <a:lnTo>
                      <a:pt x="182" y="90"/>
                    </a:lnTo>
                    <a:lnTo>
                      <a:pt x="184" y="92"/>
                    </a:lnTo>
                    <a:lnTo>
                      <a:pt x="186" y="100"/>
                    </a:lnTo>
                    <a:lnTo>
                      <a:pt x="190" y="108"/>
                    </a:lnTo>
                    <a:lnTo>
                      <a:pt x="192" y="110"/>
                    </a:lnTo>
                    <a:lnTo>
                      <a:pt x="194" y="112"/>
                    </a:lnTo>
                    <a:lnTo>
                      <a:pt x="196" y="119"/>
                    </a:lnTo>
                    <a:lnTo>
                      <a:pt x="198" y="127"/>
                    </a:lnTo>
                    <a:lnTo>
                      <a:pt x="201" y="129"/>
                    </a:lnTo>
                    <a:lnTo>
                      <a:pt x="203" y="131"/>
                    </a:lnTo>
                    <a:lnTo>
                      <a:pt x="203" y="138"/>
                    </a:lnTo>
                    <a:lnTo>
                      <a:pt x="203" y="146"/>
                    </a:lnTo>
                    <a:lnTo>
                      <a:pt x="211" y="146"/>
                    </a:lnTo>
                    <a:lnTo>
                      <a:pt x="219" y="146"/>
                    </a:lnTo>
                    <a:lnTo>
                      <a:pt x="221" y="148"/>
                    </a:lnTo>
                    <a:lnTo>
                      <a:pt x="223" y="152"/>
                    </a:lnTo>
                    <a:lnTo>
                      <a:pt x="223" y="165"/>
                    </a:lnTo>
                    <a:lnTo>
                      <a:pt x="223" y="181"/>
                    </a:lnTo>
                    <a:lnTo>
                      <a:pt x="221" y="183"/>
                    </a:lnTo>
                    <a:lnTo>
                      <a:pt x="219" y="184"/>
                    </a:lnTo>
                    <a:lnTo>
                      <a:pt x="207" y="184"/>
                    </a:lnTo>
                    <a:lnTo>
                      <a:pt x="198" y="184"/>
                    </a:lnTo>
                    <a:lnTo>
                      <a:pt x="196" y="183"/>
                    </a:lnTo>
                    <a:lnTo>
                      <a:pt x="194" y="181"/>
                    </a:lnTo>
                    <a:lnTo>
                      <a:pt x="192" y="177"/>
                    </a:lnTo>
                    <a:lnTo>
                      <a:pt x="190" y="175"/>
                    </a:lnTo>
                    <a:lnTo>
                      <a:pt x="186" y="173"/>
                    </a:lnTo>
                    <a:lnTo>
                      <a:pt x="184" y="171"/>
                    </a:lnTo>
                    <a:lnTo>
                      <a:pt x="159" y="171"/>
                    </a:lnTo>
                    <a:lnTo>
                      <a:pt x="136" y="171"/>
                    </a:lnTo>
                    <a:lnTo>
                      <a:pt x="132" y="173"/>
                    </a:lnTo>
                    <a:lnTo>
                      <a:pt x="130" y="175"/>
                    </a:lnTo>
                    <a:lnTo>
                      <a:pt x="129" y="177"/>
                    </a:lnTo>
                    <a:lnTo>
                      <a:pt x="127" y="181"/>
                    </a:lnTo>
                    <a:lnTo>
                      <a:pt x="123" y="183"/>
                    </a:lnTo>
                    <a:lnTo>
                      <a:pt x="121" y="184"/>
                    </a:lnTo>
                    <a:lnTo>
                      <a:pt x="119" y="192"/>
                    </a:lnTo>
                    <a:lnTo>
                      <a:pt x="117" y="200"/>
                    </a:lnTo>
                    <a:lnTo>
                      <a:pt x="113" y="202"/>
                    </a:lnTo>
                    <a:lnTo>
                      <a:pt x="111" y="204"/>
                    </a:lnTo>
                    <a:lnTo>
                      <a:pt x="109" y="211"/>
                    </a:lnTo>
                    <a:lnTo>
                      <a:pt x="107" y="219"/>
                    </a:lnTo>
                    <a:lnTo>
                      <a:pt x="104" y="221"/>
                    </a:lnTo>
                    <a:lnTo>
                      <a:pt x="102" y="223"/>
                    </a:lnTo>
                    <a:lnTo>
                      <a:pt x="79" y="223"/>
                    </a:lnTo>
                    <a:lnTo>
                      <a:pt x="54" y="223"/>
                    </a:lnTo>
                  </a:path>
                </a:pathLst>
              </a:custGeom>
              <a:grpFill/>
              <a:ln w="3175">
                <a:solidFill>
                  <a:srgbClr val="FF8300"/>
                </a:solidFill>
                <a:round/>
                <a:headEnd/>
                <a:tailEnd/>
              </a:ln>
            </p:spPr>
            <p:txBody>
              <a:bodyPr/>
              <a:lstStyle/>
              <a:p>
                <a:pPr>
                  <a:defRPr/>
                </a:pPr>
                <a:endParaRPr lang="en-GB" sz="1400">
                  <a:solidFill>
                    <a:schemeClr val="tx2"/>
                  </a:solidFill>
                </a:endParaRPr>
              </a:p>
            </p:txBody>
          </p:sp>
          <p:sp>
            <p:nvSpPr>
              <p:cNvPr id="409" name="Freeform 327"/>
              <p:cNvSpPr>
                <a:spLocks/>
              </p:cNvSpPr>
              <p:nvPr>
                <p:custDataLst>
                  <p:tags r:id="rId58"/>
                </p:custDataLst>
              </p:nvPr>
            </p:nvSpPr>
            <p:spPr bwMode="gray">
              <a:xfrm>
                <a:off x="1086142" y="4713434"/>
                <a:ext cx="179763" cy="267553"/>
              </a:xfrm>
              <a:custGeom>
                <a:avLst/>
                <a:gdLst>
                  <a:gd name="T0" fmla="*/ 2147483647 w 134"/>
                  <a:gd name="T1" fmla="*/ 2147483647 h 204"/>
                  <a:gd name="T2" fmla="*/ 2147483647 w 134"/>
                  <a:gd name="T3" fmla="*/ 2147483647 h 204"/>
                  <a:gd name="T4" fmla="*/ 2147483647 w 134"/>
                  <a:gd name="T5" fmla="*/ 2147483647 h 204"/>
                  <a:gd name="T6" fmla="*/ 2147483647 w 134"/>
                  <a:gd name="T7" fmla="*/ 2147483647 h 204"/>
                  <a:gd name="T8" fmla="*/ 2147483647 w 134"/>
                  <a:gd name="T9" fmla="*/ 2147483647 h 204"/>
                  <a:gd name="T10" fmla="*/ 2147483647 w 134"/>
                  <a:gd name="T11" fmla="*/ 2147483647 h 204"/>
                  <a:gd name="T12" fmla="*/ 2147483647 w 134"/>
                  <a:gd name="T13" fmla="*/ 2147483647 h 204"/>
                  <a:gd name="T14" fmla="*/ 2147483647 w 134"/>
                  <a:gd name="T15" fmla="*/ 2147483647 h 204"/>
                  <a:gd name="T16" fmla="*/ 2147483647 w 134"/>
                  <a:gd name="T17" fmla="*/ 2147483647 h 204"/>
                  <a:gd name="T18" fmla="*/ 2147483647 w 134"/>
                  <a:gd name="T19" fmla="*/ 2147483647 h 204"/>
                  <a:gd name="T20" fmla="*/ 2147483647 w 134"/>
                  <a:gd name="T21" fmla="*/ 2147483647 h 204"/>
                  <a:gd name="T22" fmla="*/ 0 w 134"/>
                  <a:gd name="T23" fmla="*/ 2147483647 h 204"/>
                  <a:gd name="T24" fmla="*/ 0 w 134"/>
                  <a:gd name="T25" fmla="*/ 2147483647 h 204"/>
                  <a:gd name="T26" fmla="*/ 2147483647 w 134"/>
                  <a:gd name="T27" fmla="*/ 2147483647 h 204"/>
                  <a:gd name="T28" fmla="*/ 2147483647 w 134"/>
                  <a:gd name="T29" fmla="*/ 0 h 204"/>
                  <a:gd name="T30" fmla="*/ 2147483647 w 134"/>
                  <a:gd name="T31" fmla="*/ 2147483647 h 204"/>
                  <a:gd name="T32" fmla="*/ 2147483647 w 134"/>
                  <a:gd name="T33" fmla="*/ 2147483647 h 204"/>
                  <a:gd name="T34" fmla="*/ 2147483647 w 134"/>
                  <a:gd name="T35" fmla="*/ 2147483647 h 204"/>
                  <a:gd name="T36" fmla="*/ 2147483647 w 134"/>
                  <a:gd name="T37" fmla="*/ 2147483647 h 204"/>
                  <a:gd name="T38" fmla="*/ 2147483647 w 134"/>
                  <a:gd name="T39" fmla="*/ 2147483647 h 204"/>
                  <a:gd name="T40" fmla="*/ 2147483647 w 134"/>
                  <a:gd name="T41" fmla="*/ 2147483647 h 204"/>
                  <a:gd name="T42" fmla="*/ 2147483647 w 134"/>
                  <a:gd name="T43" fmla="*/ 2147483647 h 204"/>
                  <a:gd name="T44" fmla="*/ 2147483647 w 134"/>
                  <a:gd name="T45" fmla="*/ 2147483647 h 204"/>
                  <a:gd name="T46" fmla="*/ 2147483647 w 134"/>
                  <a:gd name="T47" fmla="*/ 2147483647 h 204"/>
                  <a:gd name="T48" fmla="*/ 2147483647 w 134"/>
                  <a:gd name="T49" fmla="*/ 2147483647 h 204"/>
                  <a:gd name="T50" fmla="*/ 2147483647 w 134"/>
                  <a:gd name="T51" fmla="*/ 2147483647 h 204"/>
                  <a:gd name="T52" fmla="*/ 2147483647 w 134"/>
                  <a:gd name="T53" fmla="*/ 2147483647 h 204"/>
                  <a:gd name="T54" fmla="*/ 2147483647 w 134"/>
                  <a:gd name="T55" fmla="*/ 2147483647 h 204"/>
                  <a:gd name="T56" fmla="*/ 2147483647 w 134"/>
                  <a:gd name="T57" fmla="*/ 2147483647 h 204"/>
                  <a:gd name="T58" fmla="*/ 2147483647 w 134"/>
                  <a:gd name="T59" fmla="*/ 2147483647 h 204"/>
                  <a:gd name="T60" fmla="*/ 2147483647 w 134"/>
                  <a:gd name="T61" fmla="*/ 2147483647 h 204"/>
                  <a:gd name="T62" fmla="*/ 2147483647 w 134"/>
                  <a:gd name="T63" fmla="*/ 2147483647 h 204"/>
                  <a:gd name="T64" fmla="*/ 2147483647 w 134"/>
                  <a:gd name="T65" fmla="*/ 2147483647 h 204"/>
                  <a:gd name="T66" fmla="*/ 2147483647 w 134"/>
                  <a:gd name="T67" fmla="*/ 2147483647 h 204"/>
                  <a:gd name="T68" fmla="*/ 2147483647 w 134"/>
                  <a:gd name="T69" fmla="*/ 2147483647 h 204"/>
                  <a:gd name="T70" fmla="*/ 2147483647 w 134"/>
                  <a:gd name="T71" fmla="*/ 2147483647 h 204"/>
                  <a:gd name="T72" fmla="*/ 2147483647 w 134"/>
                  <a:gd name="T73" fmla="*/ 2147483647 h 204"/>
                  <a:gd name="T74" fmla="*/ 2147483647 w 134"/>
                  <a:gd name="T75" fmla="*/ 2147483647 h 204"/>
                  <a:gd name="T76" fmla="*/ 2147483647 w 134"/>
                  <a:gd name="T77" fmla="*/ 2147483647 h 204"/>
                  <a:gd name="T78" fmla="*/ 2147483647 w 134"/>
                  <a:gd name="T79" fmla="*/ 2147483647 h 204"/>
                  <a:gd name="T80" fmla="*/ 2147483647 w 134"/>
                  <a:gd name="T81" fmla="*/ 2147483647 h 204"/>
                  <a:gd name="T82" fmla="*/ 2147483647 w 134"/>
                  <a:gd name="T83" fmla="*/ 2147483647 h 204"/>
                  <a:gd name="T84" fmla="*/ 2147483647 w 134"/>
                  <a:gd name="T85" fmla="*/ 2147483647 h 204"/>
                  <a:gd name="T86" fmla="*/ 2147483647 w 134"/>
                  <a:gd name="T87" fmla="*/ 2147483647 h 204"/>
                  <a:gd name="T88" fmla="*/ 2147483647 w 134"/>
                  <a:gd name="T89" fmla="*/ 2147483647 h 204"/>
                  <a:gd name="T90" fmla="*/ 2147483647 w 134"/>
                  <a:gd name="T91" fmla="*/ 2147483647 h 204"/>
                  <a:gd name="T92" fmla="*/ 2147483647 w 134"/>
                  <a:gd name="T93" fmla="*/ 2147483647 h 204"/>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34"/>
                  <a:gd name="T142" fmla="*/ 0 h 204"/>
                  <a:gd name="T143" fmla="*/ 134 w 134"/>
                  <a:gd name="T144" fmla="*/ 204 h 204"/>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34" h="204">
                    <a:moveTo>
                      <a:pt x="86" y="204"/>
                    </a:moveTo>
                    <a:lnTo>
                      <a:pt x="86" y="194"/>
                    </a:lnTo>
                    <a:lnTo>
                      <a:pt x="86" y="184"/>
                    </a:lnTo>
                    <a:lnTo>
                      <a:pt x="86" y="179"/>
                    </a:lnTo>
                    <a:lnTo>
                      <a:pt x="86" y="175"/>
                    </a:lnTo>
                    <a:lnTo>
                      <a:pt x="86" y="165"/>
                    </a:lnTo>
                    <a:lnTo>
                      <a:pt x="86" y="156"/>
                    </a:lnTo>
                    <a:lnTo>
                      <a:pt x="77" y="156"/>
                    </a:lnTo>
                    <a:lnTo>
                      <a:pt x="67" y="156"/>
                    </a:lnTo>
                    <a:lnTo>
                      <a:pt x="58" y="156"/>
                    </a:lnTo>
                    <a:lnTo>
                      <a:pt x="48" y="156"/>
                    </a:lnTo>
                    <a:lnTo>
                      <a:pt x="48" y="140"/>
                    </a:lnTo>
                    <a:lnTo>
                      <a:pt x="48" y="127"/>
                    </a:lnTo>
                    <a:lnTo>
                      <a:pt x="48" y="112"/>
                    </a:lnTo>
                    <a:lnTo>
                      <a:pt x="48" y="98"/>
                    </a:lnTo>
                    <a:lnTo>
                      <a:pt x="48" y="87"/>
                    </a:lnTo>
                    <a:lnTo>
                      <a:pt x="50" y="75"/>
                    </a:lnTo>
                    <a:lnTo>
                      <a:pt x="35" y="67"/>
                    </a:lnTo>
                    <a:lnTo>
                      <a:pt x="19" y="58"/>
                    </a:lnTo>
                    <a:lnTo>
                      <a:pt x="13" y="54"/>
                    </a:lnTo>
                    <a:lnTo>
                      <a:pt x="10" y="48"/>
                    </a:lnTo>
                    <a:lnTo>
                      <a:pt x="4" y="44"/>
                    </a:lnTo>
                    <a:lnTo>
                      <a:pt x="0" y="41"/>
                    </a:lnTo>
                    <a:lnTo>
                      <a:pt x="0" y="29"/>
                    </a:lnTo>
                    <a:lnTo>
                      <a:pt x="0" y="19"/>
                    </a:lnTo>
                    <a:lnTo>
                      <a:pt x="0" y="16"/>
                    </a:lnTo>
                    <a:lnTo>
                      <a:pt x="0" y="10"/>
                    </a:lnTo>
                    <a:lnTo>
                      <a:pt x="4" y="6"/>
                    </a:lnTo>
                    <a:lnTo>
                      <a:pt x="10" y="0"/>
                    </a:lnTo>
                    <a:lnTo>
                      <a:pt x="13" y="0"/>
                    </a:lnTo>
                    <a:lnTo>
                      <a:pt x="19" y="0"/>
                    </a:lnTo>
                    <a:lnTo>
                      <a:pt x="25" y="6"/>
                    </a:lnTo>
                    <a:lnTo>
                      <a:pt x="33" y="10"/>
                    </a:lnTo>
                    <a:lnTo>
                      <a:pt x="36" y="14"/>
                    </a:lnTo>
                    <a:lnTo>
                      <a:pt x="38" y="16"/>
                    </a:lnTo>
                    <a:lnTo>
                      <a:pt x="40" y="18"/>
                    </a:lnTo>
                    <a:lnTo>
                      <a:pt x="42" y="19"/>
                    </a:lnTo>
                    <a:lnTo>
                      <a:pt x="46" y="21"/>
                    </a:lnTo>
                    <a:lnTo>
                      <a:pt x="48" y="25"/>
                    </a:lnTo>
                    <a:lnTo>
                      <a:pt x="56" y="27"/>
                    </a:lnTo>
                    <a:lnTo>
                      <a:pt x="63" y="29"/>
                    </a:lnTo>
                    <a:lnTo>
                      <a:pt x="65" y="31"/>
                    </a:lnTo>
                    <a:lnTo>
                      <a:pt x="67" y="35"/>
                    </a:lnTo>
                    <a:lnTo>
                      <a:pt x="69" y="37"/>
                    </a:lnTo>
                    <a:lnTo>
                      <a:pt x="71" y="41"/>
                    </a:lnTo>
                    <a:lnTo>
                      <a:pt x="75" y="42"/>
                    </a:lnTo>
                    <a:lnTo>
                      <a:pt x="77" y="44"/>
                    </a:lnTo>
                    <a:lnTo>
                      <a:pt x="88" y="46"/>
                    </a:lnTo>
                    <a:lnTo>
                      <a:pt x="102" y="48"/>
                    </a:lnTo>
                    <a:lnTo>
                      <a:pt x="104" y="52"/>
                    </a:lnTo>
                    <a:lnTo>
                      <a:pt x="106" y="54"/>
                    </a:lnTo>
                    <a:lnTo>
                      <a:pt x="113" y="56"/>
                    </a:lnTo>
                    <a:lnTo>
                      <a:pt x="121" y="58"/>
                    </a:lnTo>
                    <a:lnTo>
                      <a:pt x="123" y="62"/>
                    </a:lnTo>
                    <a:lnTo>
                      <a:pt x="125" y="64"/>
                    </a:lnTo>
                    <a:lnTo>
                      <a:pt x="127" y="66"/>
                    </a:lnTo>
                    <a:lnTo>
                      <a:pt x="131" y="69"/>
                    </a:lnTo>
                    <a:lnTo>
                      <a:pt x="132" y="71"/>
                    </a:lnTo>
                    <a:lnTo>
                      <a:pt x="134" y="73"/>
                    </a:lnTo>
                    <a:lnTo>
                      <a:pt x="134" y="83"/>
                    </a:lnTo>
                    <a:lnTo>
                      <a:pt x="134" y="92"/>
                    </a:lnTo>
                    <a:lnTo>
                      <a:pt x="132" y="94"/>
                    </a:lnTo>
                    <a:lnTo>
                      <a:pt x="131" y="98"/>
                    </a:lnTo>
                    <a:lnTo>
                      <a:pt x="131" y="102"/>
                    </a:lnTo>
                    <a:lnTo>
                      <a:pt x="131" y="108"/>
                    </a:lnTo>
                    <a:lnTo>
                      <a:pt x="132" y="110"/>
                    </a:lnTo>
                    <a:lnTo>
                      <a:pt x="134" y="112"/>
                    </a:lnTo>
                    <a:lnTo>
                      <a:pt x="134" y="117"/>
                    </a:lnTo>
                    <a:lnTo>
                      <a:pt x="134" y="121"/>
                    </a:lnTo>
                    <a:lnTo>
                      <a:pt x="132" y="123"/>
                    </a:lnTo>
                    <a:lnTo>
                      <a:pt x="131" y="127"/>
                    </a:lnTo>
                    <a:lnTo>
                      <a:pt x="131" y="131"/>
                    </a:lnTo>
                    <a:lnTo>
                      <a:pt x="131" y="137"/>
                    </a:lnTo>
                    <a:lnTo>
                      <a:pt x="132" y="138"/>
                    </a:lnTo>
                    <a:lnTo>
                      <a:pt x="134" y="140"/>
                    </a:lnTo>
                    <a:lnTo>
                      <a:pt x="134" y="146"/>
                    </a:lnTo>
                    <a:lnTo>
                      <a:pt x="134" y="150"/>
                    </a:lnTo>
                    <a:lnTo>
                      <a:pt x="132" y="154"/>
                    </a:lnTo>
                    <a:lnTo>
                      <a:pt x="131" y="156"/>
                    </a:lnTo>
                    <a:lnTo>
                      <a:pt x="127" y="161"/>
                    </a:lnTo>
                    <a:lnTo>
                      <a:pt x="125" y="169"/>
                    </a:lnTo>
                    <a:lnTo>
                      <a:pt x="123" y="173"/>
                    </a:lnTo>
                    <a:lnTo>
                      <a:pt x="121" y="175"/>
                    </a:lnTo>
                    <a:lnTo>
                      <a:pt x="117" y="177"/>
                    </a:lnTo>
                    <a:lnTo>
                      <a:pt x="115" y="179"/>
                    </a:lnTo>
                    <a:lnTo>
                      <a:pt x="113" y="183"/>
                    </a:lnTo>
                    <a:lnTo>
                      <a:pt x="111" y="184"/>
                    </a:lnTo>
                    <a:lnTo>
                      <a:pt x="107" y="186"/>
                    </a:lnTo>
                    <a:lnTo>
                      <a:pt x="106" y="190"/>
                    </a:lnTo>
                    <a:lnTo>
                      <a:pt x="104" y="192"/>
                    </a:lnTo>
                    <a:lnTo>
                      <a:pt x="102" y="194"/>
                    </a:lnTo>
                    <a:lnTo>
                      <a:pt x="98" y="198"/>
                    </a:lnTo>
                    <a:lnTo>
                      <a:pt x="96" y="204"/>
                    </a:lnTo>
                    <a:lnTo>
                      <a:pt x="90" y="204"/>
                    </a:lnTo>
                    <a:lnTo>
                      <a:pt x="86" y="204"/>
                    </a:lnTo>
                  </a:path>
                </a:pathLst>
              </a:custGeom>
              <a:grpFill/>
              <a:ln w="3175">
                <a:solidFill>
                  <a:srgbClr val="FF8300"/>
                </a:solidFill>
                <a:round/>
                <a:headEnd/>
                <a:tailEnd/>
              </a:ln>
            </p:spPr>
            <p:txBody>
              <a:bodyPr/>
              <a:lstStyle/>
              <a:p>
                <a:pPr>
                  <a:defRPr/>
                </a:pPr>
                <a:endParaRPr lang="en-GB" sz="1400">
                  <a:solidFill>
                    <a:schemeClr val="tx2"/>
                  </a:solidFill>
                </a:endParaRPr>
              </a:p>
            </p:txBody>
          </p:sp>
          <p:sp>
            <p:nvSpPr>
              <p:cNvPr id="410" name="Freeform 328"/>
              <p:cNvSpPr>
                <a:spLocks/>
              </p:cNvSpPr>
              <p:nvPr>
                <p:custDataLst>
                  <p:tags r:id="rId59"/>
                </p:custDataLst>
              </p:nvPr>
            </p:nvSpPr>
            <p:spPr bwMode="gray">
              <a:xfrm>
                <a:off x="1454028" y="4737124"/>
                <a:ext cx="196485" cy="231322"/>
              </a:xfrm>
              <a:custGeom>
                <a:avLst/>
                <a:gdLst>
                  <a:gd name="T0" fmla="*/ 2147483647 w 143"/>
                  <a:gd name="T1" fmla="*/ 2147483647 h 175"/>
                  <a:gd name="T2" fmla="*/ 2147483647 w 143"/>
                  <a:gd name="T3" fmla="*/ 2147483647 h 175"/>
                  <a:gd name="T4" fmla="*/ 2147483647 w 143"/>
                  <a:gd name="T5" fmla="*/ 2147483647 h 175"/>
                  <a:gd name="T6" fmla="*/ 2147483647 w 143"/>
                  <a:gd name="T7" fmla="*/ 2147483647 h 175"/>
                  <a:gd name="T8" fmla="*/ 2147483647 w 143"/>
                  <a:gd name="T9" fmla="*/ 2147483647 h 175"/>
                  <a:gd name="T10" fmla="*/ 2147483647 w 143"/>
                  <a:gd name="T11" fmla="*/ 2147483647 h 175"/>
                  <a:gd name="T12" fmla="*/ 2147483647 w 143"/>
                  <a:gd name="T13" fmla="*/ 2147483647 h 175"/>
                  <a:gd name="T14" fmla="*/ 2147483647 w 143"/>
                  <a:gd name="T15" fmla="*/ 2147483647 h 175"/>
                  <a:gd name="T16" fmla="*/ 2147483647 w 143"/>
                  <a:gd name="T17" fmla="*/ 2147483647 h 175"/>
                  <a:gd name="T18" fmla="*/ 2147483647 w 143"/>
                  <a:gd name="T19" fmla="*/ 2147483647 h 175"/>
                  <a:gd name="T20" fmla="*/ 2147483647 w 143"/>
                  <a:gd name="T21" fmla="*/ 2147483647 h 175"/>
                  <a:gd name="T22" fmla="*/ 2147483647 w 143"/>
                  <a:gd name="T23" fmla="*/ 2147483647 h 175"/>
                  <a:gd name="T24" fmla="*/ 2147483647 w 143"/>
                  <a:gd name="T25" fmla="*/ 2147483647 h 175"/>
                  <a:gd name="T26" fmla="*/ 2147483647 w 143"/>
                  <a:gd name="T27" fmla="*/ 2147483647 h 175"/>
                  <a:gd name="T28" fmla="*/ 2147483647 w 143"/>
                  <a:gd name="T29" fmla="*/ 2147483647 h 175"/>
                  <a:gd name="T30" fmla="*/ 2147483647 w 143"/>
                  <a:gd name="T31" fmla="*/ 2147483647 h 175"/>
                  <a:gd name="T32" fmla="*/ 2147483647 w 143"/>
                  <a:gd name="T33" fmla="*/ 2147483647 h 175"/>
                  <a:gd name="T34" fmla="*/ 2147483647 w 143"/>
                  <a:gd name="T35" fmla="*/ 2147483647 h 175"/>
                  <a:gd name="T36" fmla="*/ 2147483647 w 143"/>
                  <a:gd name="T37" fmla="*/ 2147483647 h 175"/>
                  <a:gd name="T38" fmla="*/ 2147483647 w 143"/>
                  <a:gd name="T39" fmla="*/ 2147483647 h 175"/>
                  <a:gd name="T40" fmla="*/ 2147483647 w 143"/>
                  <a:gd name="T41" fmla="*/ 2147483647 h 175"/>
                  <a:gd name="T42" fmla="*/ 2147483647 w 143"/>
                  <a:gd name="T43" fmla="*/ 2147483647 h 175"/>
                  <a:gd name="T44" fmla="*/ 2147483647 w 143"/>
                  <a:gd name="T45" fmla="*/ 2147483647 h 175"/>
                  <a:gd name="T46" fmla="*/ 2147483647 w 143"/>
                  <a:gd name="T47" fmla="*/ 2147483647 h 175"/>
                  <a:gd name="T48" fmla="*/ 2147483647 w 143"/>
                  <a:gd name="T49" fmla="*/ 2147483647 h 175"/>
                  <a:gd name="T50" fmla="*/ 2147483647 w 143"/>
                  <a:gd name="T51" fmla="*/ 2147483647 h 175"/>
                  <a:gd name="T52" fmla="*/ 2147483647 w 143"/>
                  <a:gd name="T53" fmla="*/ 2147483647 h 175"/>
                  <a:gd name="T54" fmla="*/ 2147483647 w 143"/>
                  <a:gd name="T55" fmla="*/ 2147483647 h 175"/>
                  <a:gd name="T56" fmla="*/ 2147483647 w 143"/>
                  <a:gd name="T57" fmla="*/ 2147483647 h 175"/>
                  <a:gd name="T58" fmla="*/ 2147483647 w 143"/>
                  <a:gd name="T59" fmla="*/ 2147483647 h 175"/>
                  <a:gd name="T60" fmla="*/ 2147483647 w 143"/>
                  <a:gd name="T61" fmla="*/ 2147483647 h 175"/>
                  <a:gd name="T62" fmla="*/ 2147483647 w 143"/>
                  <a:gd name="T63" fmla="*/ 2147483647 h 175"/>
                  <a:gd name="T64" fmla="*/ 2147483647 w 143"/>
                  <a:gd name="T65" fmla="*/ 2147483647 h 175"/>
                  <a:gd name="T66" fmla="*/ 2147483647 w 143"/>
                  <a:gd name="T67" fmla="*/ 2147483647 h 175"/>
                  <a:gd name="T68" fmla="*/ 2147483647 w 143"/>
                  <a:gd name="T69" fmla="*/ 2147483647 h 175"/>
                  <a:gd name="T70" fmla="*/ 2147483647 w 143"/>
                  <a:gd name="T71" fmla="*/ 2147483647 h 175"/>
                  <a:gd name="T72" fmla="*/ 2147483647 w 143"/>
                  <a:gd name="T73" fmla="*/ 2147483647 h 175"/>
                  <a:gd name="T74" fmla="*/ 2147483647 w 143"/>
                  <a:gd name="T75" fmla="*/ 2147483647 h 175"/>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43"/>
                  <a:gd name="T115" fmla="*/ 0 h 175"/>
                  <a:gd name="T116" fmla="*/ 143 w 143"/>
                  <a:gd name="T117" fmla="*/ 175 h 175"/>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43" h="175">
                    <a:moveTo>
                      <a:pt x="53" y="175"/>
                    </a:moveTo>
                    <a:lnTo>
                      <a:pt x="49" y="173"/>
                    </a:lnTo>
                    <a:lnTo>
                      <a:pt x="48" y="171"/>
                    </a:lnTo>
                    <a:lnTo>
                      <a:pt x="40" y="164"/>
                    </a:lnTo>
                    <a:lnTo>
                      <a:pt x="32" y="156"/>
                    </a:lnTo>
                    <a:lnTo>
                      <a:pt x="30" y="154"/>
                    </a:lnTo>
                    <a:lnTo>
                      <a:pt x="28" y="150"/>
                    </a:lnTo>
                    <a:lnTo>
                      <a:pt x="26" y="142"/>
                    </a:lnTo>
                    <a:lnTo>
                      <a:pt x="23" y="137"/>
                    </a:lnTo>
                    <a:lnTo>
                      <a:pt x="21" y="135"/>
                    </a:lnTo>
                    <a:lnTo>
                      <a:pt x="19" y="131"/>
                    </a:lnTo>
                    <a:lnTo>
                      <a:pt x="17" y="123"/>
                    </a:lnTo>
                    <a:lnTo>
                      <a:pt x="15" y="118"/>
                    </a:lnTo>
                    <a:lnTo>
                      <a:pt x="11" y="114"/>
                    </a:lnTo>
                    <a:lnTo>
                      <a:pt x="9" y="112"/>
                    </a:lnTo>
                    <a:lnTo>
                      <a:pt x="7" y="104"/>
                    </a:lnTo>
                    <a:lnTo>
                      <a:pt x="3" y="98"/>
                    </a:lnTo>
                    <a:lnTo>
                      <a:pt x="1" y="94"/>
                    </a:lnTo>
                    <a:lnTo>
                      <a:pt x="0" y="93"/>
                    </a:lnTo>
                    <a:lnTo>
                      <a:pt x="1" y="91"/>
                    </a:lnTo>
                    <a:lnTo>
                      <a:pt x="3" y="89"/>
                    </a:lnTo>
                    <a:lnTo>
                      <a:pt x="7" y="85"/>
                    </a:lnTo>
                    <a:lnTo>
                      <a:pt x="9" y="83"/>
                    </a:lnTo>
                    <a:lnTo>
                      <a:pt x="11" y="81"/>
                    </a:lnTo>
                    <a:lnTo>
                      <a:pt x="15" y="79"/>
                    </a:lnTo>
                    <a:lnTo>
                      <a:pt x="17" y="52"/>
                    </a:lnTo>
                    <a:lnTo>
                      <a:pt x="19" y="25"/>
                    </a:lnTo>
                    <a:lnTo>
                      <a:pt x="21" y="23"/>
                    </a:lnTo>
                    <a:lnTo>
                      <a:pt x="23" y="22"/>
                    </a:lnTo>
                    <a:lnTo>
                      <a:pt x="30" y="18"/>
                    </a:lnTo>
                    <a:lnTo>
                      <a:pt x="38" y="16"/>
                    </a:lnTo>
                    <a:lnTo>
                      <a:pt x="40" y="12"/>
                    </a:lnTo>
                    <a:lnTo>
                      <a:pt x="44" y="10"/>
                    </a:lnTo>
                    <a:lnTo>
                      <a:pt x="46" y="8"/>
                    </a:lnTo>
                    <a:lnTo>
                      <a:pt x="48" y="6"/>
                    </a:lnTo>
                    <a:lnTo>
                      <a:pt x="49" y="2"/>
                    </a:lnTo>
                    <a:lnTo>
                      <a:pt x="53" y="0"/>
                    </a:lnTo>
                    <a:lnTo>
                      <a:pt x="55" y="2"/>
                    </a:lnTo>
                    <a:lnTo>
                      <a:pt x="57" y="6"/>
                    </a:lnTo>
                    <a:lnTo>
                      <a:pt x="69" y="8"/>
                    </a:lnTo>
                    <a:lnTo>
                      <a:pt x="82" y="10"/>
                    </a:lnTo>
                    <a:lnTo>
                      <a:pt x="84" y="12"/>
                    </a:lnTo>
                    <a:lnTo>
                      <a:pt x="86" y="16"/>
                    </a:lnTo>
                    <a:lnTo>
                      <a:pt x="88" y="18"/>
                    </a:lnTo>
                    <a:lnTo>
                      <a:pt x="92" y="22"/>
                    </a:lnTo>
                    <a:lnTo>
                      <a:pt x="94" y="23"/>
                    </a:lnTo>
                    <a:lnTo>
                      <a:pt x="96" y="25"/>
                    </a:lnTo>
                    <a:lnTo>
                      <a:pt x="101" y="25"/>
                    </a:lnTo>
                    <a:lnTo>
                      <a:pt x="105" y="25"/>
                    </a:lnTo>
                    <a:lnTo>
                      <a:pt x="109" y="23"/>
                    </a:lnTo>
                    <a:lnTo>
                      <a:pt x="111" y="22"/>
                    </a:lnTo>
                    <a:lnTo>
                      <a:pt x="124" y="25"/>
                    </a:lnTo>
                    <a:lnTo>
                      <a:pt x="140" y="29"/>
                    </a:lnTo>
                    <a:lnTo>
                      <a:pt x="142" y="33"/>
                    </a:lnTo>
                    <a:lnTo>
                      <a:pt x="143" y="35"/>
                    </a:lnTo>
                    <a:lnTo>
                      <a:pt x="142" y="37"/>
                    </a:lnTo>
                    <a:lnTo>
                      <a:pt x="140" y="39"/>
                    </a:lnTo>
                    <a:lnTo>
                      <a:pt x="138" y="58"/>
                    </a:lnTo>
                    <a:lnTo>
                      <a:pt x="138" y="75"/>
                    </a:lnTo>
                    <a:lnTo>
                      <a:pt x="136" y="94"/>
                    </a:lnTo>
                    <a:lnTo>
                      <a:pt x="136" y="112"/>
                    </a:lnTo>
                    <a:lnTo>
                      <a:pt x="132" y="114"/>
                    </a:lnTo>
                    <a:lnTo>
                      <a:pt x="130" y="118"/>
                    </a:lnTo>
                    <a:lnTo>
                      <a:pt x="128" y="129"/>
                    </a:lnTo>
                    <a:lnTo>
                      <a:pt x="124" y="141"/>
                    </a:lnTo>
                    <a:lnTo>
                      <a:pt x="122" y="144"/>
                    </a:lnTo>
                    <a:lnTo>
                      <a:pt x="120" y="146"/>
                    </a:lnTo>
                    <a:lnTo>
                      <a:pt x="103" y="154"/>
                    </a:lnTo>
                    <a:lnTo>
                      <a:pt x="86" y="160"/>
                    </a:lnTo>
                    <a:lnTo>
                      <a:pt x="84" y="164"/>
                    </a:lnTo>
                    <a:lnTo>
                      <a:pt x="82" y="165"/>
                    </a:lnTo>
                    <a:lnTo>
                      <a:pt x="78" y="167"/>
                    </a:lnTo>
                    <a:lnTo>
                      <a:pt x="76" y="171"/>
                    </a:lnTo>
                    <a:lnTo>
                      <a:pt x="74" y="173"/>
                    </a:lnTo>
                    <a:lnTo>
                      <a:pt x="72" y="175"/>
                    </a:lnTo>
                    <a:lnTo>
                      <a:pt x="63" y="175"/>
                    </a:lnTo>
                    <a:lnTo>
                      <a:pt x="53" y="175"/>
                    </a:lnTo>
                  </a:path>
                </a:pathLst>
              </a:custGeom>
              <a:grpFill/>
              <a:ln w="3175">
                <a:solidFill>
                  <a:srgbClr val="FF8300"/>
                </a:solidFill>
                <a:round/>
                <a:headEnd/>
                <a:tailEnd/>
              </a:ln>
            </p:spPr>
            <p:txBody>
              <a:bodyPr/>
              <a:lstStyle/>
              <a:p>
                <a:pPr>
                  <a:defRPr/>
                </a:pPr>
                <a:endParaRPr lang="en-GB" sz="1400">
                  <a:solidFill>
                    <a:schemeClr val="tx2"/>
                  </a:solidFill>
                </a:endParaRPr>
              </a:p>
            </p:txBody>
          </p:sp>
          <p:sp>
            <p:nvSpPr>
              <p:cNvPr id="411" name="Freeform 329"/>
              <p:cNvSpPr>
                <a:spLocks/>
              </p:cNvSpPr>
              <p:nvPr>
                <p:custDataLst>
                  <p:tags r:id="rId60"/>
                </p:custDataLst>
              </p:nvPr>
            </p:nvSpPr>
            <p:spPr bwMode="gray">
              <a:xfrm>
                <a:off x="1306317" y="4663268"/>
                <a:ext cx="213207" cy="192304"/>
              </a:xfrm>
              <a:custGeom>
                <a:avLst/>
                <a:gdLst>
                  <a:gd name="T0" fmla="*/ 2147483647 w 156"/>
                  <a:gd name="T1" fmla="*/ 2147483647 h 146"/>
                  <a:gd name="T2" fmla="*/ 2147483647 w 156"/>
                  <a:gd name="T3" fmla="*/ 2147483647 h 146"/>
                  <a:gd name="T4" fmla="*/ 2147483647 w 156"/>
                  <a:gd name="T5" fmla="*/ 2147483647 h 146"/>
                  <a:gd name="T6" fmla="*/ 2147483647 w 156"/>
                  <a:gd name="T7" fmla="*/ 2147483647 h 146"/>
                  <a:gd name="T8" fmla="*/ 2147483647 w 156"/>
                  <a:gd name="T9" fmla="*/ 2147483647 h 146"/>
                  <a:gd name="T10" fmla="*/ 2147483647 w 156"/>
                  <a:gd name="T11" fmla="*/ 2147483647 h 146"/>
                  <a:gd name="T12" fmla="*/ 2147483647 w 156"/>
                  <a:gd name="T13" fmla="*/ 2147483647 h 146"/>
                  <a:gd name="T14" fmla="*/ 2147483647 w 156"/>
                  <a:gd name="T15" fmla="*/ 2147483647 h 146"/>
                  <a:gd name="T16" fmla="*/ 2147483647 w 156"/>
                  <a:gd name="T17" fmla="*/ 2147483647 h 146"/>
                  <a:gd name="T18" fmla="*/ 2147483647 w 156"/>
                  <a:gd name="T19" fmla="*/ 2147483647 h 146"/>
                  <a:gd name="T20" fmla="*/ 2147483647 w 156"/>
                  <a:gd name="T21" fmla="*/ 2147483647 h 146"/>
                  <a:gd name="T22" fmla="*/ 0 w 156"/>
                  <a:gd name="T23" fmla="*/ 2147483647 h 146"/>
                  <a:gd name="T24" fmla="*/ 2147483647 w 156"/>
                  <a:gd name="T25" fmla="*/ 2147483647 h 146"/>
                  <a:gd name="T26" fmla="*/ 2147483647 w 156"/>
                  <a:gd name="T27" fmla="*/ 2147483647 h 146"/>
                  <a:gd name="T28" fmla="*/ 2147483647 w 156"/>
                  <a:gd name="T29" fmla="*/ 2147483647 h 146"/>
                  <a:gd name="T30" fmla="*/ 2147483647 w 156"/>
                  <a:gd name="T31" fmla="*/ 2147483647 h 146"/>
                  <a:gd name="T32" fmla="*/ 2147483647 w 156"/>
                  <a:gd name="T33" fmla="*/ 2147483647 h 146"/>
                  <a:gd name="T34" fmla="*/ 2147483647 w 156"/>
                  <a:gd name="T35" fmla="*/ 2147483647 h 146"/>
                  <a:gd name="T36" fmla="*/ 2147483647 w 156"/>
                  <a:gd name="T37" fmla="*/ 2147483647 h 146"/>
                  <a:gd name="T38" fmla="*/ 2147483647 w 156"/>
                  <a:gd name="T39" fmla="*/ 2147483647 h 146"/>
                  <a:gd name="T40" fmla="*/ 2147483647 w 156"/>
                  <a:gd name="T41" fmla="*/ 2147483647 h 146"/>
                  <a:gd name="T42" fmla="*/ 2147483647 w 156"/>
                  <a:gd name="T43" fmla="*/ 2147483647 h 146"/>
                  <a:gd name="T44" fmla="*/ 2147483647 w 156"/>
                  <a:gd name="T45" fmla="*/ 2147483647 h 146"/>
                  <a:gd name="T46" fmla="*/ 2147483647 w 156"/>
                  <a:gd name="T47" fmla="*/ 2147483647 h 146"/>
                  <a:gd name="T48" fmla="*/ 2147483647 w 156"/>
                  <a:gd name="T49" fmla="*/ 0 h 146"/>
                  <a:gd name="T50" fmla="*/ 2147483647 w 156"/>
                  <a:gd name="T51" fmla="*/ 2147483647 h 146"/>
                  <a:gd name="T52" fmla="*/ 2147483647 w 156"/>
                  <a:gd name="T53" fmla="*/ 2147483647 h 146"/>
                  <a:gd name="T54" fmla="*/ 2147483647 w 156"/>
                  <a:gd name="T55" fmla="*/ 2147483647 h 146"/>
                  <a:gd name="T56" fmla="*/ 2147483647 w 156"/>
                  <a:gd name="T57" fmla="*/ 2147483647 h 146"/>
                  <a:gd name="T58" fmla="*/ 2147483647 w 156"/>
                  <a:gd name="T59" fmla="*/ 2147483647 h 146"/>
                  <a:gd name="T60" fmla="*/ 2147483647 w 156"/>
                  <a:gd name="T61" fmla="*/ 2147483647 h 146"/>
                  <a:gd name="T62" fmla="*/ 2147483647 w 156"/>
                  <a:gd name="T63" fmla="*/ 2147483647 h 146"/>
                  <a:gd name="T64" fmla="*/ 2147483647 w 156"/>
                  <a:gd name="T65" fmla="*/ 2147483647 h 146"/>
                  <a:gd name="T66" fmla="*/ 2147483647 w 156"/>
                  <a:gd name="T67" fmla="*/ 2147483647 h 146"/>
                  <a:gd name="T68" fmla="*/ 2147483647 w 156"/>
                  <a:gd name="T69" fmla="*/ 2147483647 h 146"/>
                  <a:gd name="T70" fmla="*/ 2147483647 w 156"/>
                  <a:gd name="T71" fmla="*/ 2147483647 h 146"/>
                  <a:gd name="T72" fmla="*/ 2147483647 w 156"/>
                  <a:gd name="T73" fmla="*/ 2147483647 h 146"/>
                  <a:gd name="T74" fmla="*/ 2147483647 w 156"/>
                  <a:gd name="T75" fmla="*/ 2147483647 h 146"/>
                  <a:gd name="T76" fmla="*/ 2147483647 w 156"/>
                  <a:gd name="T77" fmla="*/ 2147483647 h 14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156"/>
                  <a:gd name="T118" fmla="*/ 0 h 146"/>
                  <a:gd name="T119" fmla="*/ 156 w 156"/>
                  <a:gd name="T120" fmla="*/ 146 h 14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156" h="146">
                    <a:moveTo>
                      <a:pt x="92" y="146"/>
                    </a:moveTo>
                    <a:lnTo>
                      <a:pt x="90" y="142"/>
                    </a:lnTo>
                    <a:lnTo>
                      <a:pt x="88" y="140"/>
                    </a:lnTo>
                    <a:lnTo>
                      <a:pt x="81" y="132"/>
                    </a:lnTo>
                    <a:lnTo>
                      <a:pt x="73" y="127"/>
                    </a:lnTo>
                    <a:lnTo>
                      <a:pt x="71" y="123"/>
                    </a:lnTo>
                    <a:lnTo>
                      <a:pt x="69" y="121"/>
                    </a:lnTo>
                    <a:lnTo>
                      <a:pt x="65" y="113"/>
                    </a:lnTo>
                    <a:lnTo>
                      <a:pt x="63" y="107"/>
                    </a:lnTo>
                    <a:lnTo>
                      <a:pt x="62" y="104"/>
                    </a:lnTo>
                    <a:lnTo>
                      <a:pt x="60" y="102"/>
                    </a:lnTo>
                    <a:lnTo>
                      <a:pt x="56" y="100"/>
                    </a:lnTo>
                    <a:lnTo>
                      <a:pt x="54" y="96"/>
                    </a:lnTo>
                    <a:lnTo>
                      <a:pt x="52" y="94"/>
                    </a:lnTo>
                    <a:lnTo>
                      <a:pt x="50" y="92"/>
                    </a:lnTo>
                    <a:lnTo>
                      <a:pt x="42" y="90"/>
                    </a:lnTo>
                    <a:lnTo>
                      <a:pt x="35" y="86"/>
                    </a:lnTo>
                    <a:lnTo>
                      <a:pt x="33" y="84"/>
                    </a:lnTo>
                    <a:lnTo>
                      <a:pt x="31" y="82"/>
                    </a:lnTo>
                    <a:lnTo>
                      <a:pt x="17" y="75"/>
                    </a:lnTo>
                    <a:lnTo>
                      <a:pt x="6" y="67"/>
                    </a:lnTo>
                    <a:lnTo>
                      <a:pt x="4" y="65"/>
                    </a:lnTo>
                    <a:lnTo>
                      <a:pt x="0" y="63"/>
                    </a:lnTo>
                    <a:lnTo>
                      <a:pt x="0" y="57"/>
                    </a:lnTo>
                    <a:lnTo>
                      <a:pt x="0" y="54"/>
                    </a:lnTo>
                    <a:lnTo>
                      <a:pt x="4" y="52"/>
                    </a:lnTo>
                    <a:lnTo>
                      <a:pt x="6" y="48"/>
                    </a:lnTo>
                    <a:lnTo>
                      <a:pt x="17" y="46"/>
                    </a:lnTo>
                    <a:lnTo>
                      <a:pt x="31" y="44"/>
                    </a:lnTo>
                    <a:lnTo>
                      <a:pt x="33" y="40"/>
                    </a:lnTo>
                    <a:lnTo>
                      <a:pt x="35" y="38"/>
                    </a:lnTo>
                    <a:lnTo>
                      <a:pt x="37" y="31"/>
                    </a:lnTo>
                    <a:lnTo>
                      <a:pt x="40" y="25"/>
                    </a:lnTo>
                    <a:lnTo>
                      <a:pt x="42" y="21"/>
                    </a:lnTo>
                    <a:lnTo>
                      <a:pt x="44" y="19"/>
                    </a:lnTo>
                    <a:lnTo>
                      <a:pt x="46" y="11"/>
                    </a:lnTo>
                    <a:lnTo>
                      <a:pt x="50" y="6"/>
                    </a:lnTo>
                    <a:lnTo>
                      <a:pt x="52" y="2"/>
                    </a:lnTo>
                    <a:lnTo>
                      <a:pt x="54" y="0"/>
                    </a:lnTo>
                    <a:lnTo>
                      <a:pt x="56" y="2"/>
                    </a:lnTo>
                    <a:lnTo>
                      <a:pt x="60" y="6"/>
                    </a:lnTo>
                    <a:lnTo>
                      <a:pt x="79" y="9"/>
                    </a:lnTo>
                    <a:lnTo>
                      <a:pt x="98" y="13"/>
                    </a:lnTo>
                    <a:lnTo>
                      <a:pt x="100" y="11"/>
                    </a:lnTo>
                    <a:lnTo>
                      <a:pt x="102" y="9"/>
                    </a:lnTo>
                    <a:lnTo>
                      <a:pt x="106" y="8"/>
                    </a:lnTo>
                    <a:lnTo>
                      <a:pt x="108" y="6"/>
                    </a:lnTo>
                    <a:lnTo>
                      <a:pt x="109" y="2"/>
                    </a:lnTo>
                    <a:lnTo>
                      <a:pt x="111" y="0"/>
                    </a:lnTo>
                    <a:lnTo>
                      <a:pt x="119" y="0"/>
                    </a:lnTo>
                    <a:lnTo>
                      <a:pt x="127" y="0"/>
                    </a:lnTo>
                    <a:lnTo>
                      <a:pt x="129" y="15"/>
                    </a:lnTo>
                    <a:lnTo>
                      <a:pt x="131" y="29"/>
                    </a:lnTo>
                    <a:lnTo>
                      <a:pt x="134" y="31"/>
                    </a:lnTo>
                    <a:lnTo>
                      <a:pt x="136" y="34"/>
                    </a:lnTo>
                    <a:lnTo>
                      <a:pt x="146" y="36"/>
                    </a:lnTo>
                    <a:lnTo>
                      <a:pt x="156" y="38"/>
                    </a:lnTo>
                    <a:lnTo>
                      <a:pt x="156" y="46"/>
                    </a:lnTo>
                    <a:lnTo>
                      <a:pt x="156" y="54"/>
                    </a:lnTo>
                    <a:lnTo>
                      <a:pt x="154" y="56"/>
                    </a:lnTo>
                    <a:lnTo>
                      <a:pt x="152" y="57"/>
                    </a:lnTo>
                    <a:lnTo>
                      <a:pt x="148" y="59"/>
                    </a:lnTo>
                    <a:lnTo>
                      <a:pt x="146" y="63"/>
                    </a:lnTo>
                    <a:lnTo>
                      <a:pt x="144" y="65"/>
                    </a:lnTo>
                    <a:lnTo>
                      <a:pt x="140" y="67"/>
                    </a:lnTo>
                    <a:lnTo>
                      <a:pt x="134" y="69"/>
                    </a:lnTo>
                    <a:lnTo>
                      <a:pt x="127" y="73"/>
                    </a:lnTo>
                    <a:lnTo>
                      <a:pt x="125" y="75"/>
                    </a:lnTo>
                    <a:lnTo>
                      <a:pt x="123" y="79"/>
                    </a:lnTo>
                    <a:lnTo>
                      <a:pt x="119" y="104"/>
                    </a:lnTo>
                    <a:lnTo>
                      <a:pt x="117" y="130"/>
                    </a:lnTo>
                    <a:lnTo>
                      <a:pt x="115" y="132"/>
                    </a:lnTo>
                    <a:lnTo>
                      <a:pt x="111" y="136"/>
                    </a:lnTo>
                    <a:lnTo>
                      <a:pt x="109" y="138"/>
                    </a:lnTo>
                    <a:lnTo>
                      <a:pt x="108" y="140"/>
                    </a:lnTo>
                    <a:lnTo>
                      <a:pt x="106" y="142"/>
                    </a:lnTo>
                    <a:lnTo>
                      <a:pt x="102" y="146"/>
                    </a:lnTo>
                    <a:lnTo>
                      <a:pt x="98" y="146"/>
                    </a:lnTo>
                    <a:lnTo>
                      <a:pt x="92" y="146"/>
                    </a:lnTo>
                  </a:path>
                </a:pathLst>
              </a:custGeom>
              <a:grpFill/>
              <a:ln w="3175">
                <a:solidFill>
                  <a:srgbClr val="FF8300"/>
                </a:solidFill>
                <a:round/>
                <a:headEnd/>
                <a:tailEnd/>
              </a:ln>
            </p:spPr>
            <p:txBody>
              <a:bodyPr/>
              <a:lstStyle/>
              <a:p>
                <a:pPr>
                  <a:defRPr/>
                </a:pPr>
                <a:endParaRPr lang="en-GB" sz="1400">
                  <a:solidFill>
                    <a:schemeClr val="tx2"/>
                  </a:solidFill>
                </a:endParaRPr>
              </a:p>
            </p:txBody>
          </p:sp>
          <p:sp>
            <p:nvSpPr>
              <p:cNvPr id="412" name="Freeform 330"/>
              <p:cNvSpPr>
                <a:spLocks/>
              </p:cNvSpPr>
              <p:nvPr>
                <p:custDataLst>
                  <p:tags r:id="rId61"/>
                </p:custDataLst>
              </p:nvPr>
            </p:nvSpPr>
            <p:spPr bwMode="gray">
              <a:xfrm>
                <a:off x="1069420" y="4586625"/>
                <a:ext cx="236896" cy="217387"/>
              </a:xfrm>
              <a:custGeom>
                <a:avLst/>
                <a:gdLst>
                  <a:gd name="T0" fmla="*/ 2147483647 w 173"/>
                  <a:gd name="T1" fmla="*/ 2147483647 h 165"/>
                  <a:gd name="T2" fmla="*/ 2147483647 w 173"/>
                  <a:gd name="T3" fmla="*/ 2147483647 h 165"/>
                  <a:gd name="T4" fmla="*/ 2147483647 w 173"/>
                  <a:gd name="T5" fmla="*/ 2147483647 h 165"/>
                  <a:gd name="T6" fmla="*/ 2147483647 w 173"/>
                  <a:gd name="T7" fmla="*/ 2147483647 h 165"/>
                  <a:gd name="T8" fmla="*/ 2147483647 w 173"/>
                  <a:gd name="T9" fmla="*/ 2147483647 h 165"/>
                  <a:gd name="T10" fmla="*/ 2147483647 w 173"/>
                  <a:gd name="T11" fmla="*/ 2147483647 h 165"/>
                  <a:gd name="T12" fmla="*/ 2147483647 w 173"/>
                  <a:gd name="T13" fmla="*/ 2147483647 h 165"/>
                  <a:gd name="T14" fmla="*/ 2147483647 w 173"/>
                  <a:gd name="T15" fmla="*/ 2147483647 h 165"/>
                  <a:gd name="T16" fmla="*/ 2147483647 w 173"/>
                  <a:gd name="T17" fmla="*/ 2147483647 h 165"/>
                  <a:gd name="T18" fmla="*/ 2147483647 w 173"/>
                  <a:gd name="T19" fmla="*/ 2147483647 h 165"/>
                  <a:gd name="T20" fmla="*/ 2147483647 w 173"/>
                  <a:gd name="T21" fmla="*/ 2147483647 h 165"/>
                  <a:gd name="T22" fmla="*/ 2147483647 w 173"/>
                  <a:gd name="T23" fmla="*/ 2147483647 h 165"/>
                  <a:gd name="T24" fmla="*/ 2147483647 w 173"/>
                  <a:gd name="T25" fmla="*/ 2147483647 h 165"/>
                  <a:gd name="T26" fmla="*/ 2147483647 w 173"/>
                  <a:gd name="T27" fmla="*/ 2147483647 h 165"/>
                  <a:gd name="T28" fmla="*/ 2147483647 w 173"/>
                  <a:gd name="T29" fmla="*/ 2147483647 h 165"/>
                  <a:gd name="T30" fmla="*/ 2147483647 w 173"/>
                  <a:gd name="T31" fmla="*/ 2147483647 h 165"/>
                  <a:gd name="T32" fmla="*/ 2147483647 w 173"/>
                  <a:gd name="T33" fmla="*/ 2147483647 h 165"/>
                  <a:gd name="T34" fmla="*/ 2147483647 w 173"/>
                  <a:gd name="T35" fmla="*/ 2147483647 h 165"/>
                  <a:gd name="T36" fmla="*/ 2147483647 w 173"/>
                  <a:gd name="T37" fmla="*/ 2147483647 h 165"/>
                  <a:gd name="T38" fmla="*/ 2147483647 w 173"/>
                  <a:gd name="T39" fmla="*/ 2147483647 h 165"/>
                  <a:gd name="T40" fmla="*/ 2147483647 w 173"/>
                  <a:gd name="T41" fmla="*/ 2147483647 h 165"/>
                  <a:gd name="T42" fmla="*/ 2147483647 w 173"/>
                  <a:gd name="T43" fmla="*/ 2147483647 h 165"/>
                  <a:gd name="T44" fmla="*/ 2147483647 w 173"/>
                  <a:gd name="T45" fmla="*/ 2147483647 h 165"/>
                  <a:gd name="T46" fmla="*/ 2147483647 w 173"/>
                  <a:gd name="T47" fmla="*/ 0 h 165"/>
                  <a:gd name="T48" fmla="*/ 2147483647 w 173"/>
                  <a:gd name="T49" fmla="*/ 0 h 165"/>
                  <a:gd name="T50" fmla="*/ 2147483647 w 173"/>
                  <a:gd name="T51" fmla="*/ 2147483647 h 165"/>
                  <a:gd name="T52" fmla="*/ 2147483647 w 173"/>
                  <a:gd name="T53" fmla="*/ 2147483647 h 165"/>
                  <a:gd name="T54" fmla="*/ 2147483647 w 173"/>
                  <a:gd name="T55" fmla="*/ 2147483647 h 165"/>
                  <a:gd name="T56" fmla="*/ 2147483647 w 173"/>
                  <a:gd name="T57" fmla="*/ 2147483647 h 165"/>
                  <a:gd name="T58" fmla="*/ 2147483647 w 173"/>
                  <a:gd name="T59" fmla="*/ 2147483647 h 165"/>
                  <a:gd name="T60" fmla="*/ 2147483647 w 173"/>
                  <a:gd name="T61" fmla="*/ 2147483647 h 165"/>
                  <a:gd name="T62" fmla="*/ 2147483647 w 173"/>
                  <a:gd name="T63" fmla="*/ 2147483647 h 165"/>
                  <a:gd name="T64" fmla="*/ 2147483647 w 173"/>
                  <a:gd name="T65" fmla="*/ 2147483647 h 165"/>
                  <a:gd name="T66" fmla="*/ 2147483647 w 173"/>
                  <a:gd name="T67" fmla="*/ 2147483647 h 165"/>
                  <a:gd name="T68" fmla="*/ 2147483647 w 173"/>
                  <a:gd name="T69" fmla="*/ 2147483647 h 165"/>
                  <a:gd name="T70" fmla="*/ 2147483647 w 173"/>
                  <a:gd name="T71" fmla="*/ 2147483647 h 165"/>
                  <a:gd name="T72" fmla="*/ 2147483647 w 173"/>
                  <a:gd name="T73" fmla="*/ 2147483647 h 165"/>
                  <a:gd name="T74" fmla="*/ 2147483647 w 173"/>
                  <a:gd name="T75" fmla="*/ 2147483647 h 165"/>
                  <a:gd name="T76" fmla="*/ 2147483647 w 173"/>
                  <a:gd name="T77" fmla="*/ 2147483647 h 165"/>
                  <a:gd name="T78" fmla="*/ 2147483647 w 173"/>
                  <a:gd name="T79" fmla="*/ 2147483647 h 165"/>
                  <a:gd name="T80" fmla="*/ 2147483647 w 173"/>
                  <a:gd name="T81" fmla="*/ 2147483647 h 165"/>
                  <a:gd name="T82" fmla="*/ 2147483647 w 173"/>
                  <a:gd name="T83" fmla="*/ 2147483647 h 165"/>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173"/>
                  <a:gd name="T127" fmla="*/ 0 h 165"/>
                  <a:gd name="T128" fmla="*/ 173 w 173"/>
                  <a:gd name="T129" fmla="*/ 165 h 165"/>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173" h="165">
                    <a:moveTo>
                      <a:pt x="150" y="165"/>
                    </a:moveTo>
                    <a:lnTo>
                      <a:pt x="148" y="162"/>
                    </a:lnTo>
                    <a:lnTo>
                      <a:pt x="144" y="160"/>
                    </a:lnTo>
                    <a:lnTo>
                      <a:pt x="142" y="158"/>
                    </a:lnTo>
                    <a:lnTo>
                      <a:pt x="141" y="154"/>
                    </a:lnTo>
                    <a:lnTo>
                      <a:pt x="137" y="152"/>
                    </a:lnTo>
                    <a:lnTo>
                      <a:pt x="135" y="150"/>
                    </a:lnTo>
                    <a:lnTo>
                      <a:pt x="127" y="148"/>
                    </a:lnTo>
                    <a:lnTo>
                      <a:pt x="121" y="144"/>
                    </a:lnTo>
                    <a:lnTo>
                      <a:pt x="117" y="142"/>
                    </a:lnTo>
                    <a:lnTo>
                      <a:pt x="116" y="140"/>
                    </a:lnTo>
                    <a:lnTo>
                      <a:pt x="104" y="138"/>
                    </a:lnTo>
                    <a:lnTo>
                      <a:pt x="93" y="137"/>
                    </a:lnTo>
                    <a:lnTo>
                      <a:pt x="89" y="133"/>
                    </a:lnTo>
                    <a:lnTo>
                      <a:pt x="87" y="131"/>
                    </a:lnTo>
                    <a:lnTo>
                      <a:pt x="85" y="127"/>
                    </a:lnTo>
                    <a:lnTo>
                      <a:pt x="81" y="125"/>
                    </a:lnTo>
                    <a:lnTo>
                      <a:pt x="79" y="123"/>
                    </a:lnTo>
                    <a:lnTo>
                      <a:pt x="77" y="121"/>
                    </a:lnTo>
                    <a:lnTo>
                      <a:pt x="70" y="117"/>
                    </a:lnTo>
                    <a:lnTo>
                      <a:pt x="64" y="115"/>
                    </a:lnTo>
                    <a:lnTo>
                      <a:pt x="60" y="114"/>
                    </a:lnTo>
                    <a:lnTo>
                      <a:pt x="58" y="112"/>
                    </a:lnTo>
                    <a:lnTo>
                      <a:pt x="56" y="110"/>
                    </a:lnTo>
                    <a:lnTo>
                      <a:pt x="52" y="106"/>
                    </a:lnTo>
                    <a:lnTo>
                      <a:pt x="50" y="104"/>
                    </a:lnTo>
                    <a:lnTo>
                      <a:pt x="48" y="102"/>
                    </a:lnTo>
                    <a:lnTo>
                      <a:pt x="39" y="98"/>
                    </a:lnTo>
                    <a:lnTo>
                      <a:pt x="29" y="96"/>
                    </a:lnTo>
                    <a:lnTo>
                      <a:pt x="29" y="92"/>
                    </a:lnTo>
                    <a:lnTo>
                      <a:pt x="29" y="87"/>
                    </a:lnTo>
                    <a:lnTo>
                      <a:pt x="22" y="73"/>
                    </a:lnTo>
                    <a:lnTo>
                      <a:pt x="14" y="58"/>
                    </a:lnTo>
                    <a:lnTo>
                      <a:pt x="6" y="43"/>
                    </a:lnTo>
                    <a:lnTo>
                      <a:pt x="0" y="29"/>
                    </a:lnTo>
                    <a:lnTo>
                      <a:pt x="4" y="29"/>
                    </a:lnTo>
                    <a:lnTo>
                      <a:pt x="10" y="29"/>
                    </a:lnTo>
                    <a:lnTo>
                      <a:pt x="10" y="23"/>
                    </a:lnTo>
                    <a:lnTo>
                      <a:pt x="10" y="20"/>
                    </a:lnTo>
                    <a:lnTo>
                      <a:pt x="10" y="14"/>
                    </a:lnTo>
                    <a:lnTo>
                      <a:pt x="10" y="10"/>
                    </a:lnTo>
                    <a:lnTo>
                      <a:pt x="14" y="10"/>
                    </a:lnTo>
                    <a:lnTo>
                      <a:pt x="20" y="10"/>
                    </a:lnTo>
                    <a:lnTo>
                      <a:pt x="23" y="10"/>
                    </a:lnTo>
                    <a:lnTo>
                      <a:pt x="29" y="10"/>
                    </a:lnTo>
                    <a:lnTo>
                      <a:pt x="33" y="4"/>
                    </a:lnTo>
                    <a:lnTo>
                      <a:pt x="39" y="0"/>
                    </a:lnTo>
                    <a:lnTo>
                      <a:pt x="43" y="0"/>
                    </a:lnTo>
                    <a:lnTo>
                      <a:pt x="48" y="0"/>
                    </a:lnTo>
                    <a:lnTo>
                      <a:pt x="75" y="0"/>
                    </a:lnTo>
                    <a:lnTo>
                      <a:pt x="102" y="0"/>
                    </a:lnTo>
                    <a:lnTo>
                      <a:pt x="104" y="2"/>
                    </a:lnTo>
                    <a:lnTo>
                      <a:pt x="106" y="4"/>
                    </a:lnTo>
                    <a:lnTo>
                      <a:pt x="108" y="18"/>
                    </a:lnTo>
                    <a:lnTo>
                      <a:pt x="112" y="29"/>
                    </a:lnTo>
                    <a:lnTo>
                      <a:pt x="114" y="31"/>
                    </a:lnTo>
                    <a:lnTo>
                      <a:pt x="116" y="33"/>
                    </a:lnTo>
                    <a:lnTo>
                      <a:pt x="123" y="37"/>
                    </a:lnTo>
                    <a:lnTo>
                      <a:pt x="131" y="39"/>
                    </a:lnTo>
                    <a:lnTo>
                      <a:pt x="133" y="41"/>
                    </a:lnTo>
                    <a:lnTo>
                      <a:pt x="135" y="43"/>
                    </a:lnTo>
                    <a:lnTo>
                      <a:pt x="137" y="50"/>
                    </a:lnTo>
                    <a:lnTo>
                      <a:pt x="141" y="58"/>
                    </a:lnTo>
                    <a:lnTo>
                      <a:pt x="142" y="60"/>
                    </a:lnTo>
                    <a:lnTo>
                      <a:pt x="144" y="64"/>
                    </a:lnTo>
                    <a:lnTo>
                      <a:pt x="148" y="79"/>
                    </a:lnTo>
                    <a:lnTo>
                      <a:pt x="150" y="96"/>
                    </a:lnTo>
                    <a:lnTo>
                      <a:pt x="152" y="98"/>
                    </a:lnTo>
                    <a:lnTo>
                      <a:pt x="154" y="102"/>
                    </a:lnTo>
                    <a:lnTo>
                      <a:pt x="158" y="104"/>
                    </a:lnTo>
                    <a:lnTo>
                      <a:pt x="160" y="106"/>
                    </a:lnTo>
                    <a:lnTo>
                      <a:pt x="162" y="110"/>
                    </a:lnTo>
                    <a:lnTo>
                      <a:pt x="164" y="112"/>
                    </a:lnTo>
                    <a:lnTo>
                      <a:pt x="165" y="119"/>
                    </a:lnTo>
                    <a:lnTo>
                      <a:pt x="169" y="125"/>
                    </a:lnTo>
                    <a:lnTo>
                      <a:pt x="171" y="127"/>
                    </a:lnTo>
                    <a:lnTo>
                      <a:pt x="173" y="131"/>
                    </a:lnTo>
                    <a:lnTo>
                      <a:pt x="173" y="135"/>
                    </a:lnTo>
                    <a:lnTo>
                      <a:pt x="173" y="140"/>
                    </a:lnTo>
                    <a:lnTo>
                      <a:pt x="171" y="142"/>
                    </a:lnTo>
                    <a:lnTo>
                      <a:pt x="169" y="144"/>
                    </a:lnTo>
                    <a:lnTo>
                      <a:pt x="162" y="152"/>
                    </a:lnTo>
                    <a:lnTo>
                      <a:pt x="154" y="160"/>
                    </a:lnTo>
                    <a:lnTo>
                      <a:pt x="152" y="162"/>
                    </a:lnTo>
                    <a:lnTo>
                      <a:pt x="150" y="165"/>
                    </a:lnTo>
                  </a:path>
                </a:pathLst>
              </a:custGeom>
              <a:grpFill/>
              <a:ln w="3175">
                <a:solidFill>
                  <a:srgbClr val="FF8300"/>
                </a:solidFill>
                <a:round/>
                <a:headEnd/>
                <a:tailEnd/>
              </a:ln>
            </p:spPr>
            <p:txBody>
              <a:bodyPr/>
              <a:lstStyle/>
              <a:p>
                <a:pPr>
                  <a:defRPr/>
                </a:pPr>
                <a:endParaRPr lang="en-GB" sz="1400">
                  <a:solidFill>
                    <a:schemeClr val="tx2"/>
                  </a:solidFill>
                </a:endParaRPr>
              </a:p>
            </p:txBody>
          </p:sp>
          <p:sp>
            <p:nvSpPr>
              <p:cNvPr id="413" name="Freeform 338"/>
              <p:cNvSpPr>
                <a:spLocks/>
              </p:cNvSpPr>
              <p:nvPr>
                <p:custDataLst>
                  <p:tags r:id="rId62"/>
                </p:custDataLst>
              </p:nvPr>
            </p:nvSpPr>
            <p:spPr bwMode="gray">
              <a:xfrm>
                <a:off x="1215739" y="4511376"/>
                <a:ext cx="160253" cy="215993"/>
              </a:xfrm>
              <a:custGeom>
                <a:avLst/>
                <a:gdLst>
                  <a:gd name="T0" fmla="*/ 2147483647 w 117"/>
                  <a:gd name="T1" fmla="*/ 2147483647 h 163"/>
                  <a:gd name="T2" fmla="*/ 2147483647 w 117"/>
                  <a:gd name="T3" fmla="*/ 2147483647 h 163"/>
                  <a:gd name="T4" fmla="*/ 2147483647 w 117"/>
                  <a:gd name="T5" fmla="*/ 2147483647 h 163"/>
                  <a:gd name="T6" fmla="*/ 2147483647 w 117"/>
                  <a:gd name="T7" fmla="*/ 2147483647 h 163"/>
                  <a:gd name="T8" fmla="*/ 2147483647 w 117"/>
                  <a:gd name="T9" fmla="*/ 2147483647 h 163"/>
                  <a:gd name="T10" fmla="*/ 2147483647 w 117"/>
                  <a:gd name="T11" fmla="*/ 2147483647 h 163"/>
                  <a:gd name="T12" fmla="*/ 2147483647 w 117"/>
                  <a:gd name="T13" fmla="*/ 2147483647 h 163"/>
                  <a:gd name="T14" fmla="*/ 2147483647 w 117"/>
                  <a:gd name="T15" fmla="*/ 2147483647 h 163"/>
                  <a:gd name="T16" fmla="*/ 2147483647 w 117"/>
                  <a:gd name="T17" fmla="*/ 2147483647 h 163"/>
                  <a:gd name="T18" fmla="*/ 2147483647 w 117"/>
                  <a:gd name="T19" fmla="*/ 2147483647 h 163"/>
                  <a:gd name="T20" fmla="*/ 2147483647 w 117"/>
                  <a:gd name="T21" fmla="*/ 2147483647 h 163"/>
                  <a:gd name="T22" fmla="*/ 0 w 117"/>
                  <a:gd name="T23" fmla="*/ 2147483647 h 163"/>
                  <a:gd name="T24" fmla="*/ 2147483647 w 117"/>
                  <a:gd name="T25" fmla="*/ 2147483647 h 163"/>
                  <a:gd name="T26" fmla="*/ 2147483647 w 117"/>
                  <a:gd name="T27" fmla="*/ 2147483647 h 163"/>
                  <a:gd name="T28" fmla="*/ 2147483647 w 117"/>
                  <a:gd name="T29" fmla="*/ 2147483647 h 163"/>
                  <a:gd name="T30" fmla="*/ 2147483647 w 117"/>
                  <a:gd name="T31" fmla="*/ 2147483647 h 163"/>
                  <a:gd name="T32" fmla="*/ 2147483647 w 117"/>
                  <a:gd name="T33" fmla="*/ 2147483647 h 163"/>
                  <a:gd name="T34" fmla="*/ 2147483647 w 117"/>
                  <a:gd name="T35" fmla="*/ 2147483647 h 163"/>
                  <a:gd name="T36" fmla="*/ 2147483647 w 117"/>
                  <a:gd name="T37" fmla="*/ 2147483647 h 163"/>
                  <a:gd name="T38" fmla="*/ 2147483647 w 117"/>
                  <a:gd name="T39" fmla="*/ 2147483647 h 163"/>
                  <a:gd name="T40" fmla="*/ 2147483647 w 117"/>
                  <a:gd name="T41" fmla="*/ 2147483647 h 163"/>
                  <a:gd name="T42" fmla="*/ 2147483647 w 117"/>
                  <a:gd name="T43" fmla="*/ 2147483647 h 163"/>
                  <a:gd name="T44" fmla="*/ 2147483647 w 117"/>
                  <a:gd name="T45" fmla="*/ 2147483647 h 163"/>
                  <a:gd name="T46" fmla="*/ 2147483647 w 117"/>
                  <a:gd name="T47" fmla="*/ 2147483647 h 163"/>
                  <a:gd name="T48" fmla="*/ 2147483647 w 117"/>
                  <a:gd name="T49" fmla="*/ 2147483647 h 163"/>
                  <a:gd name="T50" fmla="*/ 2147483647 w 117"/>
                  <a:gd name="T51" fmla="*/ 2147483647 h 163"/>
                  <a:gd name="T52" fmla="*/ 2147483647 w 117"/>
                  <a:gd name="T53" fmla="*/ 2147483647 h 163"/>
                  <a:gd name="T54" fmla="*/ 2147483647 w 117"/>
                  <a:gd name="T55" fmla="*/ 2147483647 h 163"/>
                  <a:gd name="T56" fmla="*/ 2147483647 w 117"/>
                  <a:gd name="T57" fmla="*/ 2147483647 h 163"/>
                  <a:gd name="T58" fmla="*/ 2147483647 w 117"/>
                  <a:gd name="T59" fmla="*/ 2147483647 h 163"/>
                  <a:gd name="T60" fmla="*/ 2147483647 w 117"/>
                  <a:gd name="T61" fmla="*/ 2147483647 h 163"/>
                  <a:gd name="T62" fmla="*/ 2147483647 w 117"/>
                  <a:gd name="T63" fmla="*/ 2147483647 h 163"/>
                  <a:gd name="T64" fmla="*/ 2147483647 w 117"/>
                  <a:gd name="T65" fmla="*/ 2147483647 h 163"/>
                  <a:gd name="T66" fmla="*/ 2147483647 w 117"/>
                  <a:gd name="T67" fmla="*/ 2147483647 h 163"/>
                  <a:gd name="T68" fmla="*/ 2147483647 w 117"/>
                  <a:gd name="T69" fmla="*/ 2147483647 h 163"/>
                  <a:gd name="T70" fmla="*/ 2147483647 w 117"/>
                  <a:gd name="T71" fmla="*/ 2147483647 h 163"/>
                  <a:gd name="T72" fmla="*/ 2147483647 w 117"/>
                  <a:gd name="T73" fmla="*/ 2147483647 h 163"/>
                  <a:gd name="T74" fmla="*/ 2147483647 w 117"/>
                  <a:gd name="T75" fmla="*/ 2147483647 h 16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17"/>
                  <a:gd name="T115" fmla="*/ 0 h 163"/>
                  <a:gd name="T116" fmla="*/ 117 w 117"/>
                  <a:gd name="T117" fmla="*/ 163 h 163"/>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17" h="163">
                    <a:moveTo>
                      <a:pt x="63" y="163"/>
                    </a:moveTo>
                    <a:lnTo>
                      <a:pt x="59" y="161"/>
                    </a:lnTo>
                    <a:lnTo>
                      <a:pt x="58" y="159"/>
                    </a:lnTo>
                    <a:lnTo>
                      <a:pt x="56" y="155"/>
                    </a:lnTo>
                    <a:lnTo>
                      <a:pt x="54" y="153"/>
                    </a:lnTo>
                    <a:lnTo>
                      <a:pt x="52" y="151"/>
                    </a:lnTo>
                    <a:lnTo>
                      <a:pt x="48" y="149"/>
                    </a:lnTo>
                    <a:lnTo>
                      <a:pt x="46" y="132"/>
                    </a:lnTo>
                    <a:lnTo>
                      <a:pt x="44" y="115"/>
                    </a:lnTo>
                    <a:lnTo>
                      <a:pt x="42" y="113"/>
                    </a:lnTo>
                    <a:lnTo>
                      <a:pt x="38" y="111"/>
                    </a:lnTo>
                    <a:lnTo>
                      <a:pt x="36" y="103"/>
                    </a:lnTo>
                    <a:lnTo>
                      <a:pt x="35" y="96"/>
                    </a:lnTo>
                    <a:lnTo>
                      <a:pt x="31" y="94"/>
                    </a:lnTo>
                    <a:lnTo>
                      <a:pt x="29" y="90"/>
                    </a:lnTo>
                    <a:lnTo>
                      <a:pt x="21" y="88"/>
                    </a:lnTo>
                    <a:lnTo>
                      <a:pt x="15" y="86"/>
                    </a:lnTo>
                    <a:lnTo>
                      <a:pt x="11" y="84"/>
                    </a:lnTo>
                    <a:lnTo>
                      <a:pt x="10" y="80"/>
                    </a:lnTo>
                    <a:lnTo>
                      <a:pt x="8" y="69"/>
                    </a:lnTo>
                    <a:lnTo>
                      <a:pt x="6" y="57"/>
                    </a:lnTo>
                    <a:lnTo>
                      <a:pt x="2" y="55"/>
                    </a:lnTo>
                    <a:lnTo>
                      <a:pt x="0" y="52"/>
                    </a:lnTo>
                    <a:lnTo>
                      <a:pt x="0" y="42"/>
                    </a:lnTo>
                    <a:lnTo>
                      <a:pt x="0" y="32"/>
                    </a:lnTo>
                    <a:lnTo>
                      <a:pt x="2" y="30"/>
                    </a:lnTo>
                    <a:lnTo>
                      <a:pt x="6" y="29"/>
                    </a:lnTo>
                    <a:lnTo>
                      <a:pt x="8" y="25"/>
                    </a:lnTo>
                    <a:lnTo>
                      <a:pt x="10" y="23"/>
                    </a:lnTo>
                    <a:lnTo>
                      <a:pt x="11" y="21"/>
                    </a:lnTo>
                    <a:lnTo>
                      <a:pt x="15" y="19"/>
                    </a:lnTo>
                    <a:lnTo>
                      <a:pt x="21" y="15"/>
                    </a:lnTo>
                    <a:lnTo>
                      <a:pt x="29" y="13"/>
                    </a:lnTo>
                    <a:lnTo>
                      <a:pt x="31" y="11"/>
                    </a:lnTo>
                    <a:lnTo>
                      <a:pt x="35" y="9"/>
                    </a:lnTo>
                    <a:lnTo>
                      <a:pt x="36" y="6"/>
                    </a:lnTo>
                    <a:lnTo>
                      <a:pt x="38" y="4"/>
                    </a:lnTo>
                    <a:lnTo>
                      <a:pt x="42" y="2"/>
                    </a:lnTo>
                    <a:lnTo>
                      <a:pt x="44" y="0"/>
                    </a:lnTo>
                    <a:lnTo>
                      <a:pt x="46" y="2"/>
                    </a:lnTo>
                    <a:lnTo>
                      <a:pt x="48" y="4"/>
                    </a:lnTo>
                    <a:lnTo>
                      <a:pt x="50" y="7"/>
                    </a:lnTo>
                    <a:lnTo>
                      <a:pt x="54" y="7"/>
                    </a:lnTo>
                    <a:lnTo>
                      <a:pt x="65" y="9"/>
                    </a:lnTo>
                    <a:lnTo>
                      <a:pt x="86" y="9"/>
                    </a:lnTo>
                    <a:lnTo>
                      <a:pt x="90" y="11"/>
                    </a:lnTo>
                    <a:lnTo>
                      <a:pt x="94" y="15"/>
                    </a:lnTo>
                    <a:lnTo>
                      <a:pt x="92" y="19"/>
                    </a:lnTo>
                    <a:lnTo>
                      <a:pt x="90" y="23"/>
                    </a:lnTo>
                    <a:lnTo>
                      <a:pt x="90" y="27"/>
                    </a:lnTo>
                    <a:lnTo>
                      <a:pt x="92" y="29"/>
                    </a:lnTo>
                    <a:lnTo>
                      <a:pt x="94" y="30"/>
                    </a:lnTo>
                    <a:lnTo>
                      <a:pt x="98" y="32"/>
                    </a:lnTo>
                    <a:lnTo>
                      <a:pt x="100" y="40"/>
                    </a:lnTo>
                    <a:lnTo>
                      <a:pt x="102" y="48"/>
                    </a:lnTo>
                    <a:lnTo>
                      <a:pt x="104" y="50"/>
                    </a:lnTo>
                    <a:lnTo>
                      <a:pt x="107" y="52"/>
                    </a:lnTo>
                    <a:lnTo>
                      <a:pt x="109" y="65"/>
                    </a:lnTo>
                    <a:lnTo>
                      <a:pt x="111" y="77"/>
                    </a:lnTo>
                    <a:lnTo>
                      <a:pt x="113" y="78"/>
                    </a:lnTo>
                    <a:lnTo>
                      <a:pt x="117" y="80"/>
                    </a:lnTo>
                    <a:lnTo>
                      <a:pt x="117" y="96"/>
                    </a:lnTo>
                    <a:lnTo>
                      <a:pt x="117" y="111"/>
                    </a:lnTo>
                    <a:lnTo>
                      <a:pt x="113" y="113"/>
                    </a:lnTo>
                    <a:lnTo>
                      <a:pt x="111" y="115"/>
                    </a:lnTo>
                    <a:lnTo>
                      <a:pt x="109" y="123"/>
                    </a:lnTo>
                    <a:lnTo>
                      <a:pt x="107" y="128"/>
                    </a:lnTo>
                    <a:lnTo>
                      <a:pt x="104" y="132"/>
                    </a:lnTo>
                    <a:lnTo>
                      <a:pt x="102" y="134"/>
                    </a:lnTo>
                    <a:lnTo>
                      <a:pt x="100" y="142"/>
                    </a:lnTo>
                    <a:lnTo>
                      <a:pt x="98" y="149"/>
                    </a:lnTo>
                    <a:lnTo>
                      <a:pt x="94" y="151"/>
                    </a:lnTo>
                    <a:lnTo>
                      <a:pt x="92" y="153"/>
                    </a:lnTo>
                    <a:lnTo>
                      <a:pt x="81" y="155"/>
                    </a:lnTo>
                    <a:lnTo>
                      <a:pt x="67" y="159"/>
                    </a:lnTo>
                    <a:lnTo>
                      <a:pt x="65" y="161"/>
                    </a:lnTo>
                    <a:lnTo>
                      <a:pt x="63" y="163"/>
                    </a:lnTo>
                  </a:path>
                </a:pathLst>
              </a:custGeom>
              <a:grpFill/>
              <a:ln w="3175">
                <a:solidFill>
                  <a:srgbClr val="FF8300"/>
                </a:solidFill>
                <a:round/>
                <a:headEnd/>
                <a:tailEnd/>
              </a:ln>
            </p:spPr>
            <p:txBody>
              <a:bodyPr/>
              <a:lstStyle/>
              <a:p>
                <a:pPr>
                  <a:defRPr/>
                </a:pPr>
                <a:endParaRPr lang="en-GB" sz="1400">
                  <a:solidFill>
                    <a:schemeClr val="tx2"/>
                  </a:solidFill>
                </a:endParaRPr>
              </a:p>
            </p:txBody>
          </p:sp>
          <p:sp>
            <p:nvSpPr>
              <p:cNvPr id="414" name="Freeform 341"/>
              <p:cNvSpPr>
                <a:spLocks/>
              </p:cNvSpPr>
              <p:nvPr>
                <p:custDataLst>
                  <p:tags r:id="rId63"/>
                </p:custDataLst>
              </p:nvPr>
            </p:nvSpPr>
            <p:spPr bwMode="gray">
              <a:xfrm>
                <a:off x="1031796" y="4358090"/>
                <a:ext cx="234109" cy="215993"/>
              </a:xfrm>
              <a:custGeom>
                <a:avLst/>
                <a:gdLst>
                  <a:gd name="T0" fmla="*/ 2147483647 w 172"/>
                  <a:gd name="T1" fmla="*/ 2147483647 h 165"/>
                  <a:gd name="T2" fmla="*/ 2147483647 w 172"/>
                  <a:gd name="T3" fmla="*/ 2147483647 h 165"/>
                  <a:gd name="T4" fmla="*/ 2147483647 w 172"/>
                  <a:gd name="T5" fmla="*/ 2147483647 h 165"/>
                  <a:gd name="T6" fmla="*/ 2147483647 w 172"/>
                  <a:gd name="T7" fmla="*/ 2147483647 h 165"/>
                  <a:gd name="T8" fmla="*/ 2147483647 w 172"/>
                  <a:gd name="T9" fmla="*/ 2147483647 h 165"/>
                  <a:gd name="T10" fmla="*/ 2147483647 w 172"/>
                  <a:gd name="T11" fmla="*/ 2147483647 h 165"/>
                  <a:gd name="T12" fmla="*/ 2147483647 w 172"/>
                  <a:gd name="T13" fmla="*/ 2147483647 h 165"/>
                  <a:gd name="T14" fmla="*/ 2147483647 w 172"/>
                  <a:gd name="T15" fmla="*/ 2147483647 h 165"/>
                  <a:gd name="T16" fmla="*/ 2147483647 w 172"/>
                  <a:gd name="T17" fmla="*/ 2147483647 h 165"/>
                  <a:gd name="T18" fmla="*/ 2147483647 w 172"/>
                  <a:gd name="T19" fmla="*/ 2147483647 h 165"/>
                  <a:gd name="T20" fmla="*/ 0 w 172"/>
                  <a:gd name="T21" fmla="*/ 2147483647 h 165"/>
                  <a:gd name="T22" fmla="*/ 0 w 172"/>
                  <a:gd name="T23" fmla="*/ 2147483647 h 165"/>
                  <a:gd name="T24" fmla="*/ 2147483647 w 172"/>
                  <a:gd name="T25" fmla="*/ 2147483647 h 165"/>
                  <a:gd name="T26" fmla="*/ 2147483647 w 172"/>
                  <a:gd name="T27" fmla="*/ 2147483647 h 165"/>
                  <a:gd name="T28" fmla="*/ 2147483647 w 172"/>
                  <a:gd name="T29" fmla="*/ 2147483647 h 165"/>
                  <a:gd name="T30" fmla="*/ 2147483647 w 172"/>
                  <a:gd name="T31" fmla="*/ 2147483647 h 165"/>
                  <a:gd name="T32" fmla="*/ 2147483647 w 172"/>
                  <a:gd name="T33" fmla="*/ 0 h 165"/>
                  <a:gd name="T34" fmla="*/ 2147483647 w 172"/>
                  <a:gd name="T35" fmla="*/ 2147483647 h 165"/>
                  <a:gd name="T36" fmla="*/ 2147483647 w 172"/>
                  <a:gd name="T37" fmla="*/ 2147483647 h 165"/>
                  <a:gd name="T38" fmla="*/ 2147483647 w 172"/>
                  <a:gd name="T39" fmla="*/ 2147483647 h 165"/>
                  <a:gd name="T40" fmla="*/ 2147483647 w 172"/>
                  <a:gd name="T41" fmla="*/ 2147483647 h 165"/>
                  <a:gd name="T42" fmla="*/ 2147483647 w 172"/>
                  <a:gd name="T43" fmla="*/ 2147483647 h 165"/>
                  <a:gd name="T44" fmla="*/ 2147483647 w 172"/>
                  <a:gd name="T45" fmla="*/ 2147483647 h 165"/>
                  <a:gd name="T46" fmla="*/ 2147483647 w 172"/>
                  <a:gd name="T47" fmla="*/ 2147483647 h 165"/>
                  <a:gd name="T48" fmla="*/ 2147483647 w 172"/>
                  <a:gd name="T49" fmla="*/ 2147483647 h 165"/>
                  <a:gd name="T50" fmla="*/ 2147483647 w 172"/>
                  <a:gd name="T51" fmla="*/ 2147483647 h 165"/>
                  <a:gd name="T52" fmla="*/ 2147483647 w 172"/>
                  <a:gd name="T53" fmla="*/ 2147483647 h 165"/>
                  <a:gd name="T54" fmla="*/ 2147483647 w 172"/>
                  <a:gd name="T55" fmla="*/ 2147483647 h 165"/>
                  <a:gd name="T56" fmla="*/ 2147483647 w 172"/>
                  <a:gd name="T57" fmla="*/ 2147483647 h 165"/>
                  <a:gd name="T58" fmla="*/ 2147483647 w 172"/>
                  <a:gd name="T59" fmla="*/ 2147483647 h 165"/>
                  <a:gd name="T60" fmla="*/ 2147483647 w 172"/>
                  <a:gd name="T61" fmla="*/ 2147483647 h 165"/>
                  <a:gd name="T62" fmla="*/ 2147483647 w 172"/>
                  <a:gd name="T63" fmla="*/ 2147483647 h 165"/>
                  <a:gd name="T64" fmla="*/ 2147483647 w 172"/>
                  <a:gd name="T65" fmla="*/ 2147483647 h 165"/>
                  <a:gd name="T66" fmla="*/ 2147483647 w 172"/>
                  <a:gd name="T67" fmla="*/ 2147483647 h 165"/>
                  <a:gd name="T68" fmla="*/ 2147483647 w 172"/>
                  <a:gd name="T69" fmla="*/ 2147483647 h 165"/>
                  <a:gd name="T70" fmla="*/ 2147483647 w 172"/>
                  <a:gd name="T71" fmla="*/ 2147483647 h 165"/>
                  <a:gd name="T72" fmla="*/ 2147483647 w 172"/>
                  <a:gd name="T73" fmla="*/ 2147483647 h 165"/>
                  <a:gd name="T74" fmla="*/ 2147483647 w 172"/>
                  <a:gd name="T75" fmla="*/ 2147483647 h 165"/>
                  <a:gd name="T76" fmla="*/ 2147483647 w 172"/>
                  <a:gd name="T77" fmla="*/ 2147483647 h 165"/>
                  <a:gd name="T78" fmla="*/ 2147483647 w 172"/>
                  <a:gd name="T79" fmla="*/ 2147483647 h 165"/>
                  <a:gd name="T80" fmla="*/ 2147483647 w 172"/>
                  <a:gd name="T81" fmla="*/ 2147483647 h 165"/>
                  <a:gd name="T82" fmla="*/ 2147483647 w 172"/>
                  <a:gd name="T83" fmla="*/ 2147483647 h 165"/>
                  <a:gd name="T84" fmla="*/ 2147483647 w 172"/>
                  <a:gd name="T85" fmla="*/ 2147483647 h 165"/>
                  <a:gd name="T86" fmla="*/ 2147483647 w 172"/>
                  <a:gd name="T87" fmla="*/ 2147483647 h 165"/>
                  <a:gd name="T88" fmla="*/ 2147483647 w 172"/>
                  <a:gd name="T89" fmla="*/ 2147483647 h 165"/>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72"/>
                  <a:gd name="T136" fmla="*/ 0 h 165"/>
                  <a:gd name="T137" fmla="*/ 172 w 172"/>
                  <a:gd name="T138" fmla="*/ 165 h 165"/>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72" h="165">
                    <a:moveTo>
                      <a:pt x="67" y="165"/>
                    </a:moveTo>
                    <a:lnTo>
                      <a:pt x="67" y="159"/>
                    </a:lnTo>
                    <a:lnTo>
                      <a:pt x="67" y="155"/>
                    </a:lnTo>
                    <a:lnTo>
                      <a:pt x="71" y="155"/>
                    </a:lnTo>
                    <a:lnTo>
                      <a:pt x="76" y="155"/>
                    </a:lnTo>
                    <a:lnTo>
                      <a:pt x="76" y="136"/>
                    </a:lnTo>
                    <a:lnTo>
                      <a:pt x="76" y="117"/>
                    </a:lnTo>
                    <a:lnTo>
                      <a:pt x="71" y="117"/>
                    </a:lnTo>
                    <a:lnTo>
                      <a:pt x="67" y="117"/>
                    </a:lnTo>
                    <a:lnTo>
                      <a:pt x="67" y="105"/>
                    </a:lnTo>
                    <a:lnTo>
                      <a:pt x="69" y="94"/>
                    </a:lnTo>
                    <a:lnTo>
                      <a:pt x="57" y="86"/>
                    </a:lnTo>
                    <a:lnTo>
                      <a:pt x="48" y="80"/>
                    </a:lnTo>
                    <a:lnTo>
                      <a:pt x="42" y="71"/>
                    </a:lnTo>
                    <a:lnTo>
                      <a:pt x="38" y="57"/>
                    </a:lnTo>
                    <a:lnTo>
                      <a:pt x="28" y="57"/>
                    </a:lnTo>
                    <a:lnTo>
                      <a:pt x="19" y="57"/>
                    </a:lnTo>
                    <a:lnTo>
                      <a:pt x="11" y="57"/>
                    </a:lnTo>
                    <a:lnTo>
                      <a:pt x="4" y="57"/>
                    </a:lnTo>
                    <a:lnTo>
                      <a:pt x="2" y="55"/>
                    </a:lnTo>
                    <a:lnTo>
                      <a:pt x="0" y="53"/>
                    </a:lnTo>
                    <a:lnTo>
                      <a:pt x="0" y="52"/>
                    </a:lnTo>
                    <a:lnTo>
                      <a:pt x="0" y="48"/>
                    </a:lnTo>
                    <a:lnTo>
                      <a:pt x="0" y="44"/>
                    </a:lnTo>
                    <a:lnTo>
                      <a:pt x="0" y="38"/>
                    </a:lnTo>
                    <a:lnTo>
                      <a:pt x="4" y="34"/>
                    </a:lnTo>
                    <a:lnTo>
                      <a:pt x="9" y="29"/>
                    </a:lnTo>
                    <a:lnTo>
                      <a:pt x="13" y="25"/>
                    </a:lnTo>
                    <a:lnTo>
                      <a:pt x="19" y="19"/>
                    </a:lnTo>
                    <a:lnTo>
                      <a:pt x="23" y="15"/>
                    </a:lnTo>
                    <a:lnTo>
                      <a:pt x="28" y="9"/>
                    </a:lnTo>
                    <a:lnTo>
                      <a:pt x="28" y="4"/>
                    </a:lnTo>
                    <a:lnTo>
                      <a:pt x="28" y="0"/>
                    </a:lnTo>
                    <a:lnTo>
                      <a:pt x="38" y="0"/>
                    </a:lnTo>
                    <a:lnTo>
                      <a:pt x="48" y="0"/>
                    </a:lnTo>
                    <a:lnTo>
                      <a:pt x="57" y="9"/>
                    </a:lnTo>
                    <a:lnTo>
                      <a:pt x="67" y="19"/>
                    </a:lnTo>
                    <a:lnTo>
                      <a:pt x="67" y="25"/>
                    </a:lnTo>
                    <a:lnTo>
                      <a:pt x="67" y="29"/>
                    </a:lnTo>
                    <a:lnTo>
                      <a:pt x="80" y="25"/>
                    </a:lnTo>
                    <a:lnTo>
                      <a:pt x="96" y="19"/>
                    </a:lnTo>
                    <a:lnTo>
                      <a:pt x="99" y="19"/>
                    </a:lnTo>
                    <a:lnTo>
                      <a:pt x="105" y="19"/>
                    </a:lnTo>
                    <a:lnTo>
                      <a:pt x="105" y="25"/>
                    </a:lnTo>
                    <a:lnTo>
                      <a:pt x="105" y="29"/>
                    </a:lnTo>
                    <a:lnTo>
                      <a:pt x="122" y="29"/>
                    </a:lnTo>
                    <a:lnTo>
                      <a:pt x="130" y="29"/>
                    </a:lnTo>
                    <a:lnTo>
                      <a:pt x="134" y="27"/>
                    </a:lnTo>
                    <a:lnTo>
                      <a:pt x="134" y="25"/>
                    </a:lnTo>
                    <a:lnTo>
                      <a:pt x="136" y="21"/>
                    </a:lnTo>
                    <a:lnTo>
                      <a:pt x="140" y="19"/>
                    </a:lnTo>
                    <a:lnTo>
                      <a:pt x="144" y="19"/>
                    </a:lnTo>
                    <a:lnTo>
                      <a:pt x="149" y="19"/>
                    </a:lnTo>
                    <a:lnTo>
                      <a:pt x="151" y="21"/>
                    </a:lnTo>
                    <a:lnTo>
                      <a:pt x="153" y="25"/>
                    </a:lnTo>
                    <a:lnTo>
                      <a:pt x="155" y="30"/>
                    </a:lnTo>
                    <a:lnTo>
                      <a:pt x="159" y="38"/>
                    </a:lnTo>
                    <a:lnTo>
                      <a:pt x="161" y="40"/>
                    </a:lnTo>
                    <a:lnTo>
                      <a:pt x="163" y="44"/>
                    </a:lnTo>
                    <a:lnTo>
                      <a:pt x="165" y="46"/>
                    </a:lnTo>
                    <a:lnTo>
                      <a:pt x="169" y="48"/>
                    </a:lnTo>
                    <a:lnTo>
                      <a:pt x="170" y="52"/>
                    </a:lnTo>
                    <a:lnTo>
                      <a:pt x="172" y="53"/>
                    </a:lnTo>
                    <a:lnTo>
                      <a:pt x="172" y="57"/>
                    </a:lnTo>
                    <a:lnTo>
                      <a:pt x="172" y="63"/>
                    </a:lnTo>
                    <a:lnTo>
                      <a:pt x="170" y="65"/>
                    </a:lnTo>
                    <a:lnTo>
                      <a:pt x="169" y="67"/>
                    </a:lnTo>
                    <a:lnTo>
                      <a:pt x="170" y="90"/>
                    </a:lnTo>
                    <a:lnTo>
                      <a:pt x="172" y="111"/>
                    </a:lnTo>
                    <a:lnTo>
                      <a:pt x="170" y="113"/>
                    </a:lnTo>
                    <a:lnTo>
                      <a:pt x="169" y="117"/>
                    </a:lnTo>
                    <a:lnTo>
                      <a:pt x="165" y="119"/>
                    </a:lnTo>
                    <a:lnTo>
                      <a:pt x="163" y="121"/>
                    </a:lnTo>
                    <a:lnTo>
                      <a:pt x="161" y="123"/>
                    </a:lnTo>
                    <a:lnTo>
                      <a:pt x="159" y="126"/>
                    </a:lnTo>
                    <a:lnTo>
                      <a:pt x="151" y="128"/>
                    </a:lnTo>
                    <a:lnTo>
                      <a:pt x="144" y="130"/>
                    </a:lnTo>
                    <a:lnTo>
                      <a:pt x="142" y="132"/>
                    </a:lnTo>
                    <a:lnTo>
                      <a:pt x="140" y="136"/>
                    </a:lnTo>
                    <a:lnTo>
                      <a:pt x="136" y="138"/>
                    </a:lnTo>
                    <a:lnTo>
                      <a:pt x="134" y="140"/>
                    </a:lnTo>
                    <a:lnTo>
                      <a:pt x="132" y="142"/>
                    </a:lnTo>
                    <a:lnTo>
                      <a:pt x="130" y="146"/>
                    </a:lnTo>
                    <a:lnTo>
                      <a:pt x="126" y="146"/>
                    </a:lnTo>
                    <a:lnTo>
                      <a:pt x="124" y="147"/>
                    </a:lnTo>
                    <a:lnTo>
                      <a:pt x="124" y="153"/>
                    </a:lnTo>
                    <a:lnTo>
                      <a:pt x="124" y="165"/>
                    </a:lnTo>
                    <a:lnTo>
                      <a:pt x="99" y="165"/>
                    </a:lnTo>
                    <a:lnTo>
                      <a:pt x="76" y="165"/>
                    </a:lnTo>
                    <a:lnTo>
                      <a:pt x="71" y="165"/>
                    </a:lnTo>
                    <a:lnTo>
                      <a:pt x="67" y="165"/>
                    </a:lnTo>
                  </a:path>
                </a:pathLst>
              </a:custGeom>
              <a:grpFill/>
              <a:ln w="3175">
                <a:solidFill>
                  <a:srgbClr val="FF8300"/>
                </a:solidFill>
                <a:round/>
                <a:headEnd/>
                <a:tailEnd/>
              </a:ln>
            </p:spPr>
            <p:txBody>
              <a:bodyPr/>
              <a:lstStyle/>
              <a:p>
                <a:pPr>
                  <a:defRPr/>
                </a:pPr>
                <a:endParaRPr lang="en-GB" sz="1400">
                  <a:solidFill>
                    <a:schemeClr val="tx2"/>
                  </a:solidFill>
                </a:endParaRPr>
              </a:p>
            </p:txBody>
          </p:sp>
          <p:sp>
            <p:nvSpPr>
              <p:cNvPr id="415" name="Freeform 34"/>
              <p:cNvSpPr>
                <a:spLocks/>
              </p:cNvSpPr>
              <p:nvPr/>
            </p:nvSpPr>
            <p:spPr bwMode="gray">
              <a:xfrm>
                <a:off x="1058272" y="5872832"/>
                <a:ext cx="39018" cy="37625"/>
              </a:xfrm>
              <a:custGeom>
                <a:avLst/>
                <a:gdLst/>
                <a:ahLst/>
                <a:cxnLst>
                  <a:cxn ang="0">
                    <a:pos x="9" y="19"/>
                  </a:cxn>
                  <a:cxn ang="0">
                    <a:pos x="4" y="10"/>
                  </a:cxn>
                  <a:cxn ang="0">
                    <a:pos x="0" y="0"/>
                  </a:cxn>
                  <a:cxn ang="0">
                    <a:pos x="4" y="0"/>
                  </a:cxn>
                  <a:cxn ang="0">
                    <a:pos x="9" y="0"/>
                  </a:cxn>
                  <a:cxn ang="0">
                    <a:pos x="19" y="0"/>
                  </a:cxn>
                  <a:cxn ang="0">
                    <a:pos x="29" y="0"/>
                  </a:cxn>
                  <a:cxn ang="0">
                    <a:pos x="29" y="13"/>
                  </a:cxn>
                  <a:cxn ang="0">
                    <a:pos x="29" y="29"/>
                  </a:cxn>
                  <a:cxn ang="0">
                    <a:pos x="19" y="23"/>
                  </a:cxn>
                  <a:cxn ang="0">
                    <a:pos x="9" y="19"/>
                  </a:cxn>
                </a:cxnLst>
                <a:rect l="0" t="0" r="r" b="b"/>
                <a:pathLst>
                  <a:path w="29" h="29">
                    <a:moveTo>
                      <a:pt x="9" y="19"/>
                    </a:moveTo>
                    <a:lnTo>
                      <a:pt x="4" y="10"/>
                    </a:lnTo>
                    <a:lnTo>
                      <a:pt x="0" y="0"/>
                    </a:lnTo>
                    <a:lnTo>
                      <a:pt x="4" y="0"/>
                    </a:lnTo>
                    <a:lnTo>
                      <a:pt x="9" y="0"/>
                    </a:lnTo>
                    <a:lnTo>
                      <a:pt x="19" y="0"/>
                    </a:lnTo>
                    <a:lnTo>
                      <a:pt x="29" y="0"/>
                    </a:lnTo>
                    <a:lnTo>
                      <a:pt x="29" y="13"/>
                    </a:lnTo>
                    <a:lnTo>
                      <a:pt x="29" y="29"/>
                    </a:lnTo>
                    <a:lnTo>
                      <a:pt x="19" y="23"/>
                    </a:lnTo>
                    <a:lnTo>
                      <a:pt x="9" y="19"/>
                    </a:lnTo>
                    <a:close/>
                  </a:path>
                </a:pathLst>
              </a:custGeom>
              <a:grpFill/>
              <a:ln w="3175">
                <a:solidFill>
                  <a:srgbClr val="FF8300"/>
                </a:solidFill>
                <a:round/>
                <a:headEnd/>
                <a:tailEnd/>
              </a:ln>
            </p:spPr>
            <p:txBody>
              <a:bodyPr/>
              <a:lstStyle/>
              <a:p>
                <a:pPr>
                  <a:defRPr/>
                </a:pPr>
                <a:endParaRPr lang="en-GB" sz="1400">
                  <a:solidFill>
                    <a:schemeClr val="tx2"/>
                  </a:solidFill>
                </a:endParaRPr>
              </a:p>
            </p:txBody>
          </p:sp>
          <p:sp>
            <p:nvSpPr>
              <p:cNvPr id="416" name="Freeform 303"/>
              <p:cNvSpPr>
                <a:spLocks/>
              </p:cNvSpPr>
              <p:nvPr>
                <p:custDataLst>
                  <p:tags r:id="rId64"/>
                </p:custDataLst>
              </p:nvPr>
            </p:nvSpPr>
            <p:spPr bwMode="gray">
              <a:xfrm>
                <a:off x="1144670" y="5808731"/>
                <a:ext cx="96152" cy="137958"/>
              </a:xfrm>
              <a:custGeom>
                <a:avLst/>
                <a:gdLst>
                  <a:gd name="T0" fmla="*/ 2147483647 w 71"/>
                  <a:gd name="T1" fmla="*/ 0 h 106"/>
                  <a:gd name="T2" fmla="*/ 2147483647 w 71"/>
                  <a:gd name="T3" fmla="*/ 2147483647 h 106"/>
                  <a:gd name="T4" fmla="*/ 2147483647 w 71"/>
                  <a:gd name="T5" fmla="*/ 2147483647 h 106"/>
                  <a:gd name="T6" fmla="*/ 2147483647 w 71"/>
                  <a:gd name="T7" fmla="*/ 2147483647 h 106"/>
                  <a:gd name="T8" fmla="*/ 2147483647 w 71"/>
                  <a:gd name="T9" fmla="*/ 2147483647 h 106"/>
                  <a:gd name="T10" fmla="*/ 2147483647 w 71"/>
                  <a:gd name="T11" fmla="*/ 2147483647 h 106"/>
                  <a:gd name="T12" fmla="*/ 2147483647 w 71"/>
                  <a:gd name="T13" fmla="*/ 2147483647 h 106"/>
                  <a:gd name="T14" fmla="*/ 2147483647 w 71"/>
                  <a:gd name="T15" fmla="*/ 2147483647 h 106"/>
                  <a:gd name="T16" fmla="*/ 2147483647 w 71"/>
                  <a:gd name="T17" fmla="*/ 2147483647 h 106"/>
                  <a:gd name="T18" fmla="*/ 2147483647 w 71"/>
                  <a:gd name="T19" fmla="*/ 2147483647 h 106"/>
                  <a:gd name="T20" fmla="*/ 2147483647 w 71"/>
                  <a:gd name="T21" fmla="*/ 2147483647 h 106"/>
                  <a:gd name="T22" fmla="*/ 2147483647 w 71"/>
                  <a:gd name="T23" fmla="*/ 2147483647 h 106"/>
                  <a:gd name="T24" fmla="*/ 2147483647 w 71"/>
                  <a:gd name="T25" fmla="*/ 2147483647 h 106"/>
                  <a:gd name="T26" fmla="*/ 2147483647 w 71"/>
                  <a:gd name="T27" fmla="*/ 2147483647 h 106"/>
                  <a:gd name="T28" fmla="*/ 2147483647 w 71"/>
                  <a:gd name="T29" fmla="*/ 2147483647 h 106"/>
                  <a:gd name="T30" fmla="*/ 2147483647 w 71"/>
                  <a:gd name="T31" fmla="*/ 2147483647 h 106"/>
                  <a:gd name="T32" fmla="*/ 2147483647 w 71"/>
                  <a:gd name="T33" fmla="*/ 2147483647 h 106"/>
                  <a:gd name="T34" fmla="*/ 2147483647 w 71"/>
                  <a:gd name="T35" fmla="*/ 2147483647 h 106"/>
                  <a:gd name="T36" fmla="*/ 2147483647 w 71"/>
                  <a:gd name="T37" fmla="*/ 2147483647 h 106"/>
                  <a:gd name="T38" fmla="*/ 2147483647 w 71"/>
                  <a:gd name="T39" fmla="*/ 2147483647 h 106"/>
                  <a:gd name="T40" fmla="*/ 2147483647 w 71"/>
                  <a:gd name="T41" fmla="*/ 2147483647 h 106"/>
                  <a:gd name="T42" fmla="*/ 2147483647 w 71"/>
                  <a:gd name="T43" fmla="*/ 2147483647 h 106"/>
                  <a:gd name="T44" fmla="*/ 2147483647 w 71"/>
                  <a:gd name="T45" fmla="*/ 2147483647 h 106"/>
                  <a:gd name="T46" fmla="*/ 2147483647 w 71"/>
                  <a:gd name="T47" fmla="*/ 2147483647 h 106"/>
                  <a:gd name="T48" fmla="*/ 2147483647 w 71"/>
                  <a:gd name="T49" fmla="*/ 2147483647 h 106"/>
                  <a:gd name="T50" fmla="*/ 2147483647 w 71"/>
                  <a:gd name="T51" fmla="*/ 2147483647 h 106"/>
                  <a:gd name="T52" fmla="*/ 2147483647 w 71"/>
                  <a:gd name="T53" fmla="*/ 2147483647 h 106"/>
                  <a:gd name="T54" fmla="*/ 2147483647 w 71"/>
                  <a:gd name="T55" fmla="*/ 2147483647 h 106"/>
                  <a:gd name="T56" fmla="*/ 2147483647 w 71"/>
                  <a:gd name="T57" fmla="*/ 2147483647 h 106"/>
                  <a:gd name="T58" fmla="*/ 2147483647 w 71"/>
                  <a:gd name="T59" fmla="*/ 2147483647 h 106"/>
                  <a:gd name="T60" fmla="*/ 2147483647 w 71"/>
                  <a:gd name="T61" fmla="*/ 2147483647 h 106"/>
                  <a:gd name="T62" fmla="*/ 2147483647 w 71"/>
                  <a:gd name="T63" fmla="*/ 2147483647 h 106"/>
                  <a:gd name="T64" fmla="*/ 2147483647 w 71"/>
                  <a:gd name="T65" fmla="*/ 2147483647 h 106"/>
                  <a:gd name="T66" fmla="*/ 2147483647 w 71"/>
                  <a:gd name="T67" fmla="*/ 2147483647 h 106"/>
                  <a:gd name="T68" fmla="*/ 2147483647 w 71"/>
                  <a:gd name="T69" fmla="*/ 2147483647 h 106"/>
                  <a:gd name="T70" fmla="*/ 0 w 71"/>
                  <a:gd name="T71" fmla="*/ 2147483647 h 106"/>
                  <a:gd name="T72" fmla="*/ 0 w 71"/>
                  <a:gd name="T73" fmla="*/ 2147483647 h 106"/>
                  <a:gd name="T74" fmla="*/ 2147483647 w 71"/>
                  <a:gd name="T75" fmla="*/ 2147483647 h 106"/>
                  <a:gd name="T76" fmla="*/ 2147483647 w 71"/>
                  <a:gd name="T77" fmla="*/ 0 h 106"/>
                  <a:gd name="T78" fmla="*/ 2147483647 w 71"/>
                  <a:gd name="T79" fmla="*/ 0 h 106"/>
                  <a:gd name="T80" fmla="*/ 2147483647 w 71"/>
                  <a:gd name="T81" fmla="*/ 0 h 10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71"/>
                  <a:gd name="T124" fmla="*/ 0 h 106"/>
                  <a:gd name="T125" fmla="*/ 71 w 71"/>
                  <a:gd name="T126" fmla="*/ 106 h 10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71" h="106">
                    <a:moveTo>
                      <a:pt x="27" y="0"/>
                    </a:moveTo>
                    <a:lnTo>
                      <a:pt x="31" y="2"/>
                    </a:lnTo>
                    <a:lnTo>
                      <a:pt x="33" y="4"/>
                    </a:lnTo>
                    <a:lnTo>
                      <a:pt x="35" y="6"/>
                    </a:lnTo>
                    <a:lnTo>
                      <a:pt x="39" y="10"/>
                    </a:lnTo>
                    <a:lnTo>
                      <a:pt x="40" y="12"/>
                    </a:lnTo>
                    <a:lnTo>
                      <a:pt x="42" y="13"/>
                    </a:lnTo>
                    <a:lnTo>
                      <a:pt x="44" y="21"/>
                    </a:lnTo>
                    <a:lnTo>
                      <a:pt x="48" y="29"/>
                    </a:lnTo>
                    <a:lnTo>
                      <a:pt x="50" y="31"/>
                    </a:lnTo>
                    <a:lnTo>
                      <a:pt x="52" y="33"/>
                    </a:lnTo>
                    <a:lnTo>
                      <a:pt x="62" y="38"/>
                    </a:lnTo>
                    <a:lnTo>
                      <a:pt x="71" y="42"/>
                    </a:lnTo>
                    <a:lnTo>
                      <a:pt x="69" y="44"/>
                    </a:lnTo>
                    <a:lnTo>
                      <a:pt x="67" y="48"/>
                    </a:lnTo>
                    <a:lnTo>
                      <a:pt x="63" y="50"/>
                    </a:lnTo>
                    <a:lnTo>
                      <a:pt x="62" y="54"/>
                    </a:lnTo>
                    <a:lnTo>
                      <a:pt x="60" y="56"/>
                    </a:lnTo>
                    <a:lnTo>
                      <a:pt x="58" y="58"/>
                    </a:lnTo>
                    <a:lnTo>
                      <a:pt x="54" y="59"/>
                    </a:lnTo>
                    <a:lnTo>
                      <a:pt x="52" y="63"/>
                    </a:lnTo>
                    <a:lnTo>
                      <a:pt x="50" y="65"/>
                    </a:lnTo>
                    <a:lnTo>
                      <a:pt x="48" y="67"/>
                    </a:lnTo>
                    <a:lnTo>
                      <a:pt x="40" y="67"/>
                    </a:lnTo>
                    <a:lnTo>
                      <a:pt x="33" y="67"/>
                    </a:lnTo>
                    <a:lnTo>
                      <a:pt x="33" y="75"/>
                    </a:lnTo>
                    <a:lnTo>
                      <a:pt x="33" y="83"/>
                    </a:lnTo>
                    <a:lnTo>
                      <a:pt x="31" y="84"/>
                    </a:lnTo>
                    <a:lnTo>
                      <a:pt x="27" y="86"/>
                    </a:lnTo>
                    <a:lnTo>
                      <a:pt x="25" y="94"/>
                    </a:lnTo>
                    <a:lnTo>
                      <a:pt x="23" y="102"/>
                    </a:lnTo>
                    <a:lnTo>
                      <a:pt x="21" y="104"/>
                    </a:lnTo>
                    <a:lnTo>
                      <a:pt x="19" y="106"/>
                    </a:lnTo>
                    <a:lnTo>
                      <a:pt x="10" y="94"/>
                    </a:lnTo>
                    <a:lnTo>
                      <a:pt x="4" y="81"/>
                    </a:lnTo>
                    <a:lnTo>
                      <a:pt x="0" y="69"/>
                    </a:lnTo>
                    <a:lnTo>
                      <a:pt x="0" y="56"/>
                    </a:lnTo>
                    <a:lnTo>
                      <a:pt x="2" y="29"/>
                    </a:lnTo>
                    <a:lnTo>
                      <a:pt x="4" y="0"/>
                    </a:lnTo>
                    <a:lnTo>
                      <a:pt x="16" y="0"/>
                    </a:lnTo>
                    <a:lnTo>
                      <a:pt x="27" y="0"/>
                    </a:lnTo>
                  </a:path>
                </a:pathLst>
              </a:custGeom>
              <a:grpFill/>
              <a:ln w="3175">
                <a:solidFill>
                  <a:srgbClr val="FF8300"/>
                </a:solidFill>
                <a:round/>
                <a:headEnd/>
                <a:tailEnd/>
              </a:ln>
            </p:spPr>
            <p:txBody>
              <a:bodyPr/>
              <a:lstStyle/>
              <a:p>
                <a:pPr>
                  <a:defRPr/>
                </a:pPr>
                <a:endParaRPr lang="en-GB" sz="1400">
                  <a:solidFill>
                    <a:schemeClr val="tx2"/>
                  </a:solidFill>
                </a:endParaRPr>
              </a:p>
            </p:txBody>
          </p:sp>
          <p:sp>
            <p:nvSpPr>
              <p:cNvPr id="417" name="Freeform 33"/>
              <p:cNvSpPr>
                <a:spLocks/>
              </p:cNvSpPr>
              <p:nvPr/>
            </p:nvSpPr>
            <p:spPr bwMode="gray">
              <a:xfrm>
                <a:off x="1069420" y="5808731"/>
                <a:ext cx="65495" cy="137958"/>
              </a:xfrm>
              <a:custGeom>
                <a:avLst/>
                <a:gdLst/>
                <a:ahLst/>
                <a:cxnLst>
                  <a:cxn ang="0">
                    <a:pos x="29" y="106"/>
                  </a:cxn>
                  <a:cxn ang="0">
                    <a:pos x="23" y="92"/>
                  </a:cxn>
                  <a:cxn ang="0">
                    <a:pos x="20" y="77"/>
                  </a:cxn>
                  <a:cxn ang="0">
                    <a:pos x="20" y="61"/>
                  </a:cxn>
                  <a:cxn ang="0">
                    <a:pos x="20" y="48"/>
                  </a:cxn>
                  <a:cxn ang="0">
                    <a:pos x="10" y="48"/>
                  </a:cxn>
                  <a:cxn ang="0">
                    <a:pos x="0" y="48"/>
                  </a:cxn>
                  <a:cxn ang="0">
                    <a:pos x="0" y="42"/>
                  </a:cxn>
                  <a:cxn ang="0">
                    <a:pos x="0" y="38"/>
                  </a:cxn>
                  <a:cxn ang="0">
                    <a:pos x="4" y="33"/>
                  </a:cxn>
                  <a:cxn ang="0">
                    <a:pos x="10" y="29"/>
                  </a:cxn>
                  <a:cxn ang="0">
                    <a:pos x="10" y="23"/>
                  </a:cxn>
                  <a:cxn ang="0">
                    <a:pos x="10" y="19"/>
                  </a:cxn>
                  <a:cxn ang="0">
                    <a:pos x="10" y="13"/>
                  </a:cxn>
                  <a:cxn ang="0">
                    <a:pos x="10" y="10"/>
                  </a:cxn>
                  <a:cxn ang="0">
                    <a:pos x="10" y="4"/>
                  </a:cxn>
                  <a:cxn ang="0">
                    <a:pos x="10" y="0"/>
                  </a:cxn>
                  <a:cxn ang="0">
                    <a:pos x="29" y="0"/>
                  </a:cxn>
                  <a:cxn ang="0">
                    <a:pos x="48" y="0"/>
                  </a:cxn>
                  <a:cxn ang="0">
                    <a:pos x="48" y="23"/>
                  </a:cxn>
                  <a:cxn ang="0">
                    <a:pos x="46" y="48"/>
                  </a:cxn>
                  <a:cxn ang="0">
                    <a:pos x="46" y="73"/>
                  </a:cxn>
                  <a:cxn ang="0">
                    <a:pos x="46" y="98"/>
                  </a:cxn>
                  <a:cxn ang="0">
                    <a:pos x="37" y="102"/>
                  </a:cxn>
                  <a:cxn ang="0">
                    <a:pos x="29" y="106"/>
                  </a:cxn>
                </a:cxnLst>
                <a:rect l="0" t="0" r="r" b="b"/>
                <a:pathLst>
                  <a:path w="48" h="106">
                    <a:moveTo>
                      <a:pt x="29" y="106"/>
                    </a:moveTo>
                    <a:lnTo>
                      <a:pt x="23" y="92"/>
                    </a:lnTo>
                    <a:lnTo>
                      <a:pt x="20" y="77"/>
                    </a:lnTo>
                    <a:lnTo>
                      <a:pt x="20" y="61"/>
                    </a:lnTo>
                    <a:lnTo>
                      <a:pt x="20" y="48"/>
                    </a:lnTo>
                    <a:lnTo>
                      <a:pt x="10" y="48"/>
                    </a:lnTo>
                    <a:lnTo>
                      <a:pt x="0" y="48"/>
                    </a:lnTo>
                    <a:lnTo>
                      <a:pt x="0" y="42"/>
                    </a:lnTo>
                    <a:lnTo>
                      <a:pt x="0" y="38"/>
                    </a:lnTo>
                    <a:lnTo>
                      <a:pt x="4" y="33"/>
                    </a:lnTo>
                    <a:lnTo>
                      <a:pt x="10" y="29"/>
                    </a:lnTo>
                    <a:lnTo>
                      <a:pt x="10" y="23"/>
                    </a:lnTo>
                    <a:lnTo>
                      <a:pt x="10" y="19"/>
                    </a:lnTo>
                    <a:lnTo>
                      <a:pt x="10" y="13"/>
                    </a:lnTo>
                    <a:lnTo>
                      <a:pt x="10" y="10"/>
                    </a:lnTo>
                    <a:lnTo>
                      <a:pt x="10" y="4"/>
                    </a:lnTo>
                    <a:lnTo>
                      <a:pt x="10" y="0"/>
                    </a:lnTo>
                    <a:lnTo>
                      <a:pt x="29" y="0"/>
                    </a:lnTo>
                    <a:lnTo>
                      <a:pt x="48" y="0"/>
                    </a:lnTo>
                    <a:lnTo>
                      <a:pt x="48" y="23"/>
                    </a:lnTo>
                    <a:lnTo>
                      <a:pt x="46" y="48"/>
                    </a:lnTo>
                    <a:lnTo>
                      <a:pt x="46" y="73"/>
                    </a:lnTo>
                    <a:lnTo>
                      <a:pt x="46" y="98"/>
                    </a:lnTo>
                    <a:lnTo>
                      <a:pt x="37" y="102"/>
                    </a:lnTo>
                    <a:lnTo>
                      <a:pt x="29" y="106"/>
                    </a:lnTo>
                  </a:path>
                </a:pathLst>
              </a:custGeom>
              <a:grpFill/>
              <a:ln w="3175">
                <a:solidFill>
                  <a:srgbClr val="FF8300"/>
                </a:solidFill>
                <a:round/>
                <a:headEnd/>
                <a:tailEnd/>
              </a:ln>
            </p:spPr>
            <p:txBody>
              <a:bodyPr/>
              <a:lstStyle/>
              <a:p>
                <a:pPr>
                  <a:defRPr/>
                </a:pPr>
                <a:endParaRPr lang="en-GB" sz="1400">
                  <a:solidFill>
                    <a:schemeClr val="tx2"/>
                  </a:solidFill>
                </a:endParaRPr>
              </a:p>
            </p:txBody>
          </p:sp>
          <p:sp>
            <p:nvSpPr>
              <p:cNvPr id="418" name="Freeform 305"/>
              <p:cNvSpPr>
                <a:spLocks/>
              </p:cNvSpPr>
              <p:nvPr>
                <p:custDataLst>
                  <p:tags r:id="rId65"/>
                </p:custDataLst>
              </p:nvPr>
            </p:nvSpPr>
            <p:spPr bwMode="gray">
              <a:xfrm>
                <a:off x="977449" y="5794796"/>
                <a:ext cx="91971" cy="65495"/>
              </a:xfrm>
              <a:custGeom>
                <a:avLst/>
                <a:gdLst>
                  <a:gd name="T0" fmla="*/ 2147483647 w 69"/>
                  <a:gd name="T1" fmla="*/ 2147483647 h 48"/>
                  <a:gd name="T2" fmla="*/ 2147483647 w 69"/>
                  <a:gd name="T3" fmla="*/ 2147483647 h 48"/>
                  <a:gd name="T4" fmla="*/ 2147483647 w 69"/>
                  <a:gd name="T5" fmla="*/ 2147483647 h 48"/>
                  <a:gd name="T6" fmla="*/ 2147483647 w 69"/>
                  <a:gd name="T7" fmla="*/ 2147483647 h 48"/>
                  <a:gd name="T8" fmla="*/ 0 w 69"/>
                  <a:gd name="T9" fmla="*/ 2147483647 h 48"/>
                  <a:gd name="T10" fmla="*/ 0 w 69"/>
                  <a:gd name="T11" fmla="*/ 2147483647 h 48"/>
                  <a:gd name="T12" fmla="*/ 0 w 69"/>
                  <a:gd name="T13" fmla="*/ 2147483647 h 48"/>
                  <a:gd name="T14" fmla="*/ 2147483647 w 69"/>
                  <a:gd name="T15" fmla="*/ 2147483647 h 48"/>
                  <a:gd name="T16" fmla="*/ 2147483647 w 69"/>
                  <a:gd name="T17" fmla="*/ 2147483647 h 48"/>
                  <a:gd name="T18" fmla="*/ 2147483647 w 69"/>
                  <a:gd name="T19" fmla="*/ 2147483647 h 48"/>
                  <a:gd name="T20" fmla="*/ 2147483647 w 69"/>
                  <a:gd name="T21" fmla="*/ 0 h 48"/>
                  <a:gd name="T22" fmla="*/ 2147483647 w 69"/>
                  <a:gd name="T23" fmla="*/ 0 h 48"/>
                  <a:gd name="T24" fmla="*/ 2147483647 w 69"/>
                  <a:gd name="T25" fmla="*/ 0 h 48"/>
                  <a:gd name="T26" fmla="*/ 2147483647 w 69"/>
                  <a:gd name="T27" fmla="*/ 2147483647 h 48"/>
                  <a:gd name="T28" fmla="*/ 2147483647 w 69"/>
                  <a:gd name="T29" fmla="*/ 2147483647 h 48"/>
                  <a:gd name="T30" fmla="*/ 2147483647 w 69"/>
                  <a:gd name="T31" fmla="*/ 2147483647 h 48"/>
                  <a:gd name="T32" fmla="*/ 2147483647 w 69"/>
                  <a:gd name="T33" fmla="*/ 2147483647 h 48"/>
                  <a:gd name="T34" fmla="*/ 2147483647 w 69"/>
                  <a:gd name="T35" fmla="*/ 2147483647 h 48"/>
                  <a:gd name="T36" fmla="*/ 2147483647 w 69"/>
                  <a:gd name="T37" fmla="*/ 0 h 48"/>
                  <a:gd name="T38" fmla="*/ 2147483647 w 69"/>
                  <a:gd name="T39" fmla="*/ 0 h 48"/>
                  <a:gd name="T40" fmla="*/ 2147483647 w 69"/>
                  <a:gd name="T41" fmla="*/ 0 h 48"/>
                  <a:gd name="T42" fmla="*/ 2147483647 w 69"/>
                  <a:gd name="T43" fmla="*/ 2147483647 h 48"/>
                  <a:gd name="T44" fmla="*/ 2147483647 w 69"/>
                  <a:gd name="T45" fmla="*/ 2147483647 h 48"/>
                  <a:gd name="T46" fmla="*/ 2147483647 w 69"/>
                  <a:gd name="T47" fmla="*/ 2147483647 h 48"/>
                  <a:gd name="T48" fmla="*/ 2147483647 w 69"/>
                  <a:gd name="T49" fmla="*/ 2147483647 h 48"/>
                  <a:gd name="T50" fmla="*/ 2147483647 w 69"/>
                  <a:gd name="T51" fmla="*/ 2147483647 h 48"/>
                  <a:gd name="T52" fmla="*/ 2147483647 w 69"/>
                  <a:gd name="T53" fmla="*/ 2147483647 h 48"/>
                  <a:gd name="T54" fmla="*/ 2147483647 w 69"/>
                  <a:gd name="T55" fmla="*/ 2147483647 h 48"/>
                  <a:gd name="T56" fmla="*/ 2147483647 w 69"/>
                  <a:gd name="T57" fmla="*/ 2147483647 h 48"/>
                  <a:gd name="T58" fmla="*/ 2147483647 w 69"/>
                  <a:gd name="T59" fmla="*/ 2147483647 h 48"/>
                  <a:gd name="T60" fmla="*/ 2147483647 w 69"/>
                  <a:gd name="T61" fmla="*/ 2147483647 h 48"/>
                  <a:gd name="T62" fmla="*/ 2147483647 w 69"/>
                  <a:gd name="T63" fmla="*/ 2147483647 h 48"/>
                  <a:gd name="T64" fmla="*/ 2147483647 w 69"/>
                  <a:gd name="T65" fmla="*/ 2147483647 h 48"/>
                  <a:gd name="T66" fmla="*/ 2147483647 w 69"/>
                  <a:gd name="T67" fmla="*/ 2147483647 h 48"/>
                  <a:gd name="T68" fmla="*/ 2147483647 w 69"/>
                  <a:gd name="T69" fmla="*/ 2147483647 h 48"/>
                  <a:gd name="T70" fmla="*/ 2147483647 w 69"/>
                  <a:gd name="T71" fmla="*/ 2147483647 h 48"/>
                  <a:gd name="T72" fmla="*/ 2147483647 w 69"/>
                  <a:gd name="T73" fmla="*/ 2147483647 h 48"/>
                  <a:gd name="T74" fmla="*/ 2147483647 w 69"/>
                  <a:gd name="T75" fmla="*/ 2147483647 h 48"/>
                  <a:gd name="T76" fmla="*/ 2147483647 w 69"/>
                  <a:gd name="T77" fmla="*/ 2147483647 h 48"/>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69"/>
                  <a:gd name="T118" fmla="*/ 0 h 48"/>
                  <a:gd name="T119" fmla="*/ 69 w 69"/>
                  <a:gd name="T120" fmla="*/ 48 h 48"/>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69" h="48">
                    <a:moveTo>
                      <a:pt x="21" y="48"/>
                    </a:moveTo>
                    <a:lnTo>
                      <a:pt x="16" y="43"/>
                    </a:lnTo>
                    <a:lnTo>
                      <a:pt x="12" y="39"/>
                    </a:lnTo>
                    <a:lnTo>
                      <a:pt x="6" y="33"/>
                    </a:lnTo>
                    <a:lnTo>
                      <a:pt x="0" y="29"/>
                    </a:lnTo>
                    <a:lnTo>
                      <a:pt x="0" y="20"/>
                    </a:lnTo>
                    <a:lnTo>
                      <a:pt x="0" y="10"/>
                    </a:lnTo>
                    <a:lnTo>
                      <a:pt x="6" y="10"/>
                    </a:lnTo>
                    <a:lnTo>
                      <a:pt x="12" y="10"/>
                    </a:lnTo>
                    <a:lnTo>
                      <a:pt x="16" y="4"/>
                    </a:lnTo>
                    <a:lnTo>
                      <a:pt x="21" y="0"/>
                    </a:lnTo>
                    <a:lnTo>
                      <a:pt x="25" y="0"/>
                    </a:lnTo>
                    <a:lnTo>
                      <a:pt x="29" y="0"/>
                    </a:lnTo>
                    <a:lnTo>
                      <a:pt x="31" y="6"/>
                    </a:lnTo>
                    <a:lnTo>
                      <a:pt x="33" y="8"/>
                    </a:lnTo>
                    <a:lnTo>
                      <a:pt x="39" y="10"/>
                    </a:lnTo>
                    <a:lnTo>
                      <a:pt x="50" y="10"/>
                    </a:lnTo>
                    <a:lnTo>
                      <a:pt x="50" y="4"/>
                    </a:lnTo>
                    <a:lnTo>
                      <a:pt x="50" y="0"/>
                    </a:lnTo>
                    <a:lnTo>
                      <a:pt x="54" y="0"/>
                    </a:lnTo>
                    <a:lnTo>
                      <a:pt x="60" y="0"/>
                    </a:lnTo>
                    <a:lnTo>
                      <a:pt x="64" y="4"/>
                    </a:lnTo>
                    <a:lnTo>
                      <a:pt x="69" y="10"/>
                    </a:lnTo>
                    <a:lnTo>
                      <a:pt x="69" y="14"/>
                    </a:lnTo>
                    <a:lnTo>
                      <a:pt x="69" y="20"/>
                    </a:lnTo>
                    <a:lnTo>
                      <a:pt x="69" y="23"/>
                    </a:lnTo>
                    <a:lnTo>
                      <a:pt x="69" y="29"/>
                    </a:lnTo>
                    <a:lnTo>
                      <a:pt x="69" y="33"/>
                    </a:lnTo>
                    <a:lnTo>
                      <a:pt x="69" y="39"/>
                    </a:lnTo>
                    <a:lnTo>
                      <a:pt x="69" y="43"/>
                    </a:lnTo>
                    <a:lnTo>
                      <a:pt x="69" y="48"/>
                    </a:lnTo>
                    <a:lnTo>
                      <a:pt x="64" y="48"/>
                    </a:lnTo>
                    <a:lnTo>
                      <a:pt x="60" y="48"/>
                    </a:lnTo>
                    <a:lnTo>
                      <a:pt x="54" y="48"/>
                    </a:lnTo>
                    <a:lnTo>
                      <a:pt x="50" y="48"/>
                    </a:lnTo>
                    <a:lnTo>
                      <a:pt x="39" y="48"/>
                    </a:lnTo>
                    <a:lnTo>
                      <a:pt x="29" y="48"/>
                    </a:lnTo>
                    <a:lnTo>
                      <a:pt x="25" y="48"/>
                    </a:lnTo>
                    <a:lnTo>
                      <a:pt x="21" y="48"/>
                    </a:lnTo>
                  </a:path>
                </a:pathLst>
              </a:custGeom>
              <a:grpFill/>
              <a:ln w="3175">
                <a:solidFill>
                  <a:srgbClr val="FF8300"/>
                </a:solidFill>
                <a:round/>
                <a:headEnd/>
                <a:tailEnd/>
              </a:ln>
            </p:spPr>
            <p:txBody>
              <a:bodyPr/>
              <a:lstStyle/>
              <a:p>
                <a:pPr>
                  <a:defRPr/>
                </a:pPr>
                <a:endParaRPr lang="en-GB" sz="1400">
                  <a:solidFill>
                    <a:schemeClr val="tx2"/>
                  </a:solidFill>
                </a:endParaRPr>
              </a:p>
            </p:txBody>
          </p:sp>
          <p:sp>
            <p:nvSpPr>
              <p:cNvPr id="419" name="Freeform 37"/>
              <p:cNvSpPr>
                <a:spLocks/>
              </p:cNvSpPr>
              <p:nvPr/>
            </p:nvSpPr>
            <p:spPr bwMode="gray">
              <a:xfrm>
                <a:off x="1086142" y="5860291"/>
                <a:ext cx="178369" cy="288455"/>
              </a:xfrm>
              <a:custGeom>
                <a:avLst/>
                <a:gdLst/>
                <a:ahLst/>
                <a:cxnLst>
                  <a:cxn ang="0">
                    <a:pos x="38" y="223"/>
                  </a:cxn>
                  <a:cxn ang="0">
                    <a:pos x="36" y="204"/>
                  </a:cxn>
                  <a:cxn ang="0">
                    <a:pos x="33" y="187"/>
                  </a:cxn>
                  <a:cxn ang="0">
                    <a:pos x="29" y="169"/>
                  </a:cxn>
                  <a:cxn ang="0">
                    <a:pos x="25" y="154"/>
                  </a:cxn>
                  <a:cxn ang="0">
                    <a:pos x="13" y="121"/>
                  </a:cxn>
                  <a:cxn ang="0">
                    <a:pos x="0" y="87"/>
                  </a:cxn>
                  <a:cxn ang="0">
                    <a:pos x="4" y="83"/>
                  </a:cxn>
                  <a:cxn ang="0">
                    <a:pos x="10" y="77"/>
                  </a:cxn>
                  <a:cxn ang="0">
                    <a:pos x="13" y="77"/>
                  </a:cxn>
                  <a:cxn ang="0">
                    <a:pos x="19" y="77"/>
                  </a:cxn>
                  <a:cxn ang="0">
                    <a:pos x="42" y="75"/>
                  </a:cxn>
                  <a:cxn ang="0">
                    <a:pos x="67" y="73"/>
                  </a:cxn>
                  <a:cxn ang="0">
                    <a:pos x="69" y="69"/>
                  </a:cxn>
                  <a:cxn ang="0">
                    <a:pos x="71" y="68"/>
                  </a:cxn>
                  <a:cxn ang="0">
                    <a:pos x="75" y="60"/>
                  </a:cxn>
                  <a:cxn ang="0">
                    <a:pos x="77" y="54"/>
                  </a:cxn>
                  <a:cxn ang="0">
                    <a:pos x="79" y="50"/>
                  </a:cxn>
                  <a:cxn ang="0">
                    <a:pos x="83" y="48"/>
                  </a:cxn>
                  <a:cxn ang="0">
                    <a:pos x="88" y="41"/>
                  </a:cxn>
                  <a:cxn ang="0">
                    <a:pos x="96" y="33"/>
                  </a:cxn>
                  <a:cxn ang="0">
                    <a:pos x="98" y="31"/>
                  </a:cxn>
                  <a:cxn ang="0">
                    <a:pos x="102" y="29"/>
                  </a:cxn>
                  <a:cxn ang="0">
                    <a:pos x="104" y="27"/>
                  </a:cxn>
                  <a:cxn ang="0">
                    <a:pos x="106" y="25"/>
                  </a:cxn>
                  <a:cxn ang="0">
                    <a:pos x="107" y="21"/>
                  </a:cxn>
                  <a:cxn ang="0">
                    <a:pos x="111" y="20"/>
                  </a:cxn>
                  <a:cxn ang="0">
                    <a:pos x="113" y="18"/>
                  </a:cxn>
                  <a:cxn ang="0">
                    <a:pos x="115" y="16"/>
                  </a:cxn>
                  <a:cxn ang="0">
                    <a:pos x="117" y="12"/>
                  </a:cxn>
                  <a:cxn ang="0">
                    <a:pos x="121" y="10"/>
                  </a:cxn>
                  <a:cxn ang="0">
                    <a:pos x="123" y="4"/>
                  </a:cxn>
                  <a:cxn ang="0">
                    <a:pos x="125" y="0"/>
                  </a:cxn>
                  <a:cxn ang="0">
                    <a:pos x="127" y="14"/>
                  </a:cxn>
                  <a:cxn ang="0">
                    <a:pos x="131" y="29"/>
                  </a:cxn>
                  <a:cxn ang="0">
                    <a:pos x="121" y="39"/>
                  </a:cxn>
                  <a:cxn ang="0">
                    <a:pos x="115" y="48"/>
                  </a:cxn>
                  <a:cxn ang="0">
                    <a:pos x="107" y="58"/>
                  </a:cxn>
                  <a:cxn ang="0">
                    <a:pos x="104" y="68"/>
                  </a:cxn>
                  <a:cxn ang="0">
                    <a:pos x="94" y="89"/>
                  </a:cxn>
                  <a:cxn ang="0">
                    <a:pos x="90" y="112"/>
                  </a:cxn>
                  <a:cxn ang="0">
                    <a:pos x="84" y="158"/>
                  </a:cxn>
                  <a:cxn ang="0">
                    <a:pos x="79" y="206"/>
                  </a:cxn>
                  <a:cxn ang="0">
                    <a:pos x="63" y="213"/>
                  </a:cxn>
                  <a:cxn ang="0">
                    <a:pos x="48" y="223"/>
                  </a:cxn>
                  <a:cxn ang="0">
                    <a:pos x="42" y="223"/>
                  </a:cxn>
                  <a:cxn ang="0">
                    <a:pos x="38" y="223"/>
                  </a:cxn>
                </a:cxnLst>
                <a:rect l="0" t="0" r="r" b="b"/>
                <a:pathLst>
                  <a:path w="131" h="223">
                    <a:moveTo>
                      <a:pt x="38" y="223"/>
                    </a:moveTo>
                    <a:lnTo>
                      <a:pt x="36" y="204"/>
                    </a:lnTo>
                    <a:lnTo>
                      <a:pt x="33" y="187"/>
                    </a:lnTo>
                    <a:lnTo>
                      <a:pt x="29" y="169"/>
                    </a:lnTo>
                    <a:lnTo>
                      <a:pt x="25" y="154"/>
                    </a:lnTo>
                    <a:lnTo>
                      <a:pt x="13" y="121"/>
                    </a:lnTo>
                    <a:lnTo>
                      <a:pt x="0" y="87"/>
                    </a:lnTo>
                    <a:lnTo>
                      <a:pt x="4" y="83"/>
                    </a:lnTo>
                    <a:lnTo>
                      <a:pt x="10" y="77"/>
                    </a:lnTo>
                    <a:lnTo>
                      <a:pt x="13" y="77"/>
                    </a:lnTo>
                    <a:lnTo>
                      <a:pt x="19" y="77"/>
                    </a:lnTo>
                    <a:lnTo>
                      <a:pt x="42" y="75"/>
                    </a:lnTo>
                    <a:lnTo>
                      <a:pt x="67" y="73"/>
                    </a:lnTo>
                    <a:lnTo>
                      <a:pt x="69" y="69"/>
                    </a:lnTo>
                    <a:lnTo>
                      <a:pt x="71" y="68"/>
                    </a:lnTo>
                    <a:lnTo>
                      <a:pt x="75" y="60"/>
                    </a:lnTo>
                    <a:lnTo>
                      <a:pt x="77" y="54"/>
                    </a:lnTo>
                    <a:lnTo>
                      <a:pt x="79" y="50"/>
                    </a:lnTo>
                    <a:lnTo>
                      <a:pt x="83" y="48"/>
                    </a:lnTo>
                    <a:lnTo>
                      <a:pt x="88" y="41"/>
                    </a:lnTo>
                    <a:lnTo>
                      <a:pt x="96" y="33"/>
                    </a:lnTo>
                    <a:lnTo>
                      <a:pt x="98" y="31"/>
                    </a:lnTo>
                    <a:lnTo>
                      <a:pt x="102" y="29"/>
                    </a:lnTo>
                    <a:lnTo>
                      <a:pt x="104" y="27"/>
                    </a:lnTo>
                    <a:lnTo>
                      <a:pt x="106" y="25"/>
                    </a:lnTo>
                    <a:lnTo>
                      <a:pt x="107" y="21"/>
                    </a:lnTo>
                    <a:lnTo>
                      <a:pt x="111" y="20"/>
                    </a:lnTo>
                    <a:lnTo>
                      <a:pt x="113" y="18"/>
                    </a:lnTo>
                    <a:lnTo>
                      <a:pt x="115" y="16"/>
                    </a:lnTo>
                    <a:lnTo>
                      <a:pt x="117" y="12"/>
                    </a:lnTo>
                    <a:lnTo>
                      <a:pt x="121" y="10"/>
                    </a:lnTo>
                    <a:lnTo>
                      <a:pt x="123" y="4"/>
                    </a:lnTo>
                    <a:lnTo>
                      <a:pt x="125" y="0"/>
                    </a:lnTo>
                    <a:lnTo>
                      <a:pt x="127" y="14"/>
                    </a:lnTo>
                    <a:lnTo>
                      <a:pt x="131" y="29"/>
                    </a:lnTo>
                    <a:lnTo>
                      <a:pt x="121" y="39"/>
                    </a:lnTo>
                    <a:lnTo>
                      <a:pt x="115" y="48"/>
                    </a:lnTo>
                    <a:lnTo>
                      <a:pt x="107" y="58"/>
                    </a:lnTo>
                    <a:lnTo>
                      <a:pt x="104" y="68"/>
                    </a:lnTo>
                    <a:lnTo>
                      <a:pt x="94" y="89"/>
                    </a:lnTo>
                    <a:lnTo>
                      <a:pt x="90" y="112"/>
                    </a:lnTo>
                    <a:lnTo>
                      <a:pt x="84" y="158"/>
                    </a:lnTo>
                    <a:lnTo>
                      <a:pt x="79" y="206"/>
                    </a:lnTo>
                    <a:lnTo>
                      <a:pt x="63" y="213"/>
                    </a:lnTo>
                    <a:lnTo>
                      <a:pt x="48" y="223"/>
                    </a:lnTo>
                    <a:lnTo>
                      <a:pt x="42" y="223"/>
                    </a:lnTo>
                    <a:lnTo>
                      <a:pt x="38" y="223"/>
                    </a:lnTo>
                  </a:path>
                </a:pathLst>
              </a:custGeom>
              <a:grpFill/>
              <a:ln w="3175">
                <a:solidFill>
                  <a:srgbClr val="FF8300"/>
                </a:solidFill>
                <a:round/>
                <a:headEnd/>
                <a:tailEnd/>
              </a:ln>
            </p:spPr>
            <p:txBody>
              <a:bodyPr/>
              <a:lstStyle/>
              <a:p>
                <a:pPr>
                  <a:defRPr/>
                </a:pPr>
                <a:endParaRPr lang="en-GB" sz="1400">
                  <a:solidFill>
                    <a:schemeClr val="tx2"/>
                  </a:solidFill>
                </a:endParaRPr>
              </a:p>
            </p:txBody>
          </p:sp>
          <p:sp>
            <p:nvSpPr>
              <p:cNvPr id="420" name="Freeform 38"/>
              <p:cNvSpPr>
                <a:spLocks/>
              </p:cNvSpPr>
              <p:nvPr/>
            </p:nvSpPr>
            <p:spPr bwMode="gray">
              <a:xfrm>
                <a:off x="1189261" y="5733481"/>
                <a:ext cx="117055" cy="111481"/>
              </a:xfrm>
              <a:custGeom>
                <a:avLst/>
                <a:gdLst/>
                <a:ahLst/>
                <a:cxnLst>
                  <a:cxn ang="0">
                    <a:pos x="25" y="87"/>
                  </a:cxn>
                  <a:cxn ang="0">
                    <a:pos x="21" y="85"/>
                  </a:cxn>
                  <a:cxn ang="0">
                    <a:pos x="19" y="81"/>
                  </a:cxn>
                  <a:cxn ang="0">
                    <a:pos x="17" y="73"/>
                  </a:cxn>
                  <a:cxn ang="0">
                    <a:pos x="15" y="68"/>
                  </a:cxn>
                  <a:cxn ang="0">
                    <a:pos x="11" y="64"/>
                  </a:cxn>
                  <a:cxn ang="0">
                    <a:pos x="9" y="62"/>
                  </a:cxn>
                  <a:cxn ang="0">
                    <a:pos x="7" y="60"/>
                  </a:cxn>
                  <a:cxn ang="0">
                    <a:pos x="6" y="58"/>
                  </a:cxn>
                  <a:cxn ang="0">
                    <a:pos x="2" y="54"/>
                  </a:cxn>
                  <a:cxn ang="0">
                    <a:pos x="0" y="52"/>
                  </a:cxn>
                  <a:cxn ang="0">
                    <a:pos x="4" y="43"/>
                  </a:cxn>
                  <a:cxn ang="0">
                    <a:pos x="9" y="33"/>
                  </a:cxn>
                  <a:cxn ang="0">
                    <a:pos x="11" y="31"/>
                  </a:cxn>
                  <a:cxn ang="0">
                    <a:pos x="15" y="29"/>
                  </a:cxn>
                  <a:cxn ang="0">
                    <a:pos x="15" y="23"/>
                  </a:cxn>
                  <a:cxn ang="0">
                    <a:pos x="15" y="18"/>
                  </a:cxn>
                  <a:cxn ang="0">
                    <a:pos x="11" y="16"/>
                  </a:cxn>
                  <a:cxn ang="0">
                    <a:pos x="9" y="14"/>
                  </a:cxn>
                  <a:cxn ang="0">
                    <a:pos x="9" y="10"/>
                  </a:cxn>
                  <a:cxn ang="0">
                    <a:pos x="15" y="8"/>
                  </a:cxn>
                  <a:cxn ang="0">
                    <a:pos x="27" y="6"/>
                  </a:cxn>
                  <a:cxn ang="0">
                    <a:pos x="48" y="4"/>
                  </a:cxn>
                  <a:cxn ang="0">
                    <a:pos x="50" y="2"/>
                  </a:cxn>
                  <a:cxn ang="0">
                    <a:pos x="54" y="0"/>
                  </a:cxn>
                  <a:cxn ang="0">
                    <a:pos x="55" y="2"/>
                  </a:cxn>
                  <a:cxn ang="0">
                    <a:pos x="57" y="4"/>
                  </a:cxn>
                  <a:cxn ang="0">
                    <a:pos x="61" y="6"/>
                  </a:cxn>
                  <a:cxn ang="0">
                    <a:pos x="63" y="8"/>
                  </a:cxn>
                  <a:cxn ang="0">
                    <a:pos x="65" y="12"/>
                  </a:cxn>
                  <a:cxn ang="0">
                    <a:pos x="67" y="14"/>
                  </a:cxn>
                  <a:cxn ang="0">
                    <a:pos x="75" y="16"/>
                  </a:cxn>
                  <a:cxn ang="0">
                    <a:pos x="82" y="18"/>
                  </a:cxn>
                  <a:cxn ang="0">
                    <a:pos x="84" y="22"/>
                  </a:cxn>
                  <a:cxn ang="0">
                    <a:pos x="86" y="23"/>
                  </a:cxn>
                  <a:cxn ang="0">
                    <a:pos x="86" y="25"/>
                  </a:cxn>
                  <a:cxn ang="0">
                    <a:pos x="86" y="29"/>
                  </a:cxn>
                  <a:cxn ang="0">
                    <a:pos x="77" y="33"/>
                  </a:cxn>
                  <a:cxn ang="0">
                    <a:pos x="67" y="37"/>
                  </a:cxn>
                  <a:cxn ang="0">
                    <a:pos x="61" y="41"/>
                  </a:cxn>
                  <a:cxn ang="0">
                    <a:pos x="55" y="46"/>
                  </a:cxn>
                  <a:cxn ang="0">
                    <a:pos x="52" y="64"/>
                  </a:cxn>
                  <a:cxn ang="0">
                    <a:pos x="48" y="87"/>
                  </a:cxn>
                  <a:cxn ang="0">
                    <a:pos x="36" y="87"/>
                  </a:cxn>
                  <a:cxn ang="0">
                    <a:pos x="25" y="87"/>
                  </a:cxn>
                </a:cxnLst>
                <a:rect l="0" t="0" r="r" b="b"/>
                <a:pathLst>
                  <a:path w="86" h="87">
                    <a:moveTo>
                      <a:pt x="25" y="87"/>
                    </a:moveTo>
                    <a:lnTo>
                      <a:pt x="21" y="85"/>
                    </a:lnTo>
                    <a:lnTo>
                      <a:pt x="19" y="81"/>
                    </a:lnTo>
                    <a:lnTo>
                      <a:pt x="17" y="73"/>
                    </a:lnTo>
                    <a:lnTo>
                      <a:pt x="15" y="68"/>
                    </a:lnTo>
                    <a:lnTo>
                      <a:pt x="11" y="64"/>
                    </a:lnTo>
                    <a:lnTo>
                      <a:pt x="9" y="62"/>
                    </a:lnTo>
                    <a:lnTo>
                      <a:pt x="7" y="60"/>
                    </a:lnTo>
                    <a:lnTo>
                      <a:pt x="6" y="58"/>
                    </a:lnTo>
                    <a:lnTo>
                      <a:pt x="2" y="54"/>
                    </a:lnTo>
                    <a:lnTo>
                      <a:pt x="0" y="52"/>
                    </a:lnTo>
                    <a:lnTo>
                      <a:pt x="4" y="43"/>
                    </a:lnTo>
                    <a:lnTo>
                      <a:pt x="9" y="33"/>
                    </a:lnTo>
                    <a:lnTo>
                      <a:pt x="11" y="31"/>
                    </a:lnTo>
                    <a:lnTo>
                      <a:pt x="15" y="29"/>
                    </a:lnTo>
                    <a:lnTo>
                      <a:pt x="15" y="23"/>
                    </a:lnTo>
                    <a:lnTo>
                      <a:pt x="15" y="18"/>
                    </a:lnTo>
                    <a:lnTo>
                      <a:pt x="11" y="16"/>
                    </a:lnTo>
                    <a:lnTo>
                      <a:pt x="9" y="14"/>
                    </a:lnTo>
                    <a:lnTo>
                      <a:pt x="9" y="10"/>
                    </a:lnTo>
                    <a:lnTo>
                      <a:pt x="15" y="8"/>
                    </a:lnTo>
                    <a:lnTo>
                      <a:pt x="27" y="6"/>
                    </a:lnTo>
                    <a:lnTo>
                      <a:pt x="48" y="4"/>
                    </a:lnTo>
                    <a:lnTo>
                      <a:pt x="50" y="2"/>
                    </a:lnTo>
                    <a:lnTo>
                      <a:pt x="54" y="0"/>
                    </a:lnTo>
                    <a:lnTo>
                      <a:pt x="55" y="2"/>
                    </a:lnTo>
                    <a:lnTo>
                      <a:pt x="57" y="4"/>
                    </a:lnTo>
                    <a:lnTo>
                      <a:pt x="61" y="6"/>
                    </a:lnTo>
                    <a:lnTo>
                      <a:pt x="63" y="8"/>
                    </a:lnTo>
                    <a:lnTo>
                      <a:pt x="65" y="12"/>
                    </a:lnTo>
                    <a:lnTo>
                      <a:pt x="67" y="14"/>
                    </a:lnTo>
                    <a:lnTo>
                      <a:pt x="75" y="16"/>
                    </a:lnTo>
                    <a:lnTo>
                      <a:pt x="82" y="18"/>
                    </a:lnTo>
                    <a:lnTo>
                      <a:pt x="84" y="22"/>
                    </a:lnTo>
                    <a:lnTo>
                      <a:pt x="86" y="23"/>
                    </a:lnTo>
                    <a:lnTo>
                      <a:pt x="86" y="25"/>
                    </a:lnTo>
                    <a:lnTo>
                      <a:pt x="86" y="29"/>
                    </a:lnTo>
                    <a:lnTo>
                      <a:pt x="77" y="33"/>
                    </a:lnTo>
                    <a:lnTo>
                      <a:pt x="67" y="37"/>
                    </a:lnTo>
                    <a:lnTo>
                      <a:pt x="61" y="41"/>
                    </a:lnTo>
                    <a:lnTo>
                      <a:pt x="55" y="46"/>
                    </a:lnTo>
                    <a:lnTo>
                      <a:pt x="52" y="64"/>
                    </a:lnTo>
                    <a:lnTo>
                      <a:pt x="48" y="87"/>
                    </a:lnTo>
                    <a:lnTo>
                      <a:pt x="36" y="87"/>
                    </a:lnTo>
                    <a:lnTo>
                      <a:pt x="25" y="87"/>
                    </a:lnTo>
                  </a:path>
                </a:pathLst>
              </a:custGeom>
              <a:grpFill/>
              <a:ln w="3175">
                <a:solidFill>
                  <a:srgbClr val="FF8300"/>
                </a:solidFill>
                <a:round/>
                <a:headEnd/>
                <a:tailEnd/>
              </a:ln>
            </p:spPr>
            <p:txBody>
              <a:bodyPr/>
              <a:lstStyle/>
              <a:p>
                <a:pPr>
                  <a:defRPr/>
                </a:pPr>
                <a:endParaRPr lang="en-GB" sz="1400">
                  <a:solidFill>
                    <a:schemeClr val="tx2"/>
                  </a:solidFill>
                </a:endParaRPr>
              </a:p>
            </p:txBody>
          </p:sp>
          <p:sp>
            <p:nvSpPr>
              <p:cNvPr id="421" name="Freeform 307"/>
              <p:cNvSpPr>
                <a:spLocks/>
              </p:cNvSpPr>
              <p:nvPr>
                <p:custDataLst>
                  <p:tags r:id="rId66"/>
                </p:custDataLst>
              </p:nvPr>
            </p:nvSpPr>
            <p:spPr bwMode="gray">
              <a:xfrm>
                <a:off x="925890" y="5693070"/>
                <a:ext cx="197878" cy="115661"/>
              </a:xfrm>
              <a:custGeom>
                <a:avLst/>
                <a:gdLst>
                  <a:gd name="T0" fmla="*/ 0 w 146"/>
                  <a:gd name="T1" fmla="*/ 2147483647 h 88"/>
                  <a:gd name="T2" fmla="*/ 2147483647 w 146"/>
                  <a:gd name="T3" fmla="*/ 2147483647 h 88"/>
                  <a:gd name="T4" fmla="*/ 2147483647 w 146"/>
                  <a:gd name="T5" fmla="*/ 2147483647 h 88"/>
                  <a:gd name="T6" fmla="*/ 2147483647 w 146"/>
                  <a:gd name="T7" fmla="*/ 2147483647 h 88"/>
                  <a:gd name="T8" fmla="*/ 2147483647 w 146"/>
                  <a:gd name="T9" fmla="*/ 0 h 88"/>
                  <a:gd name="T10" fmla="*/ 2147483647 w 146"/>
                  <a:gd name="T11" fmla="*/ 2147483647 h 88"/>
                  <a:gd name="T12" fmla="*/ 2147483647 w 146"/>
                  <a:gd name="T13" fmla="*/ 2147483647 h 88"/>
                  <a:gd name="T14" fmla="*/ 2147483647 w 146"/>
                  <a:gd name="T15" fmla="*/ 2147483647 h 88"/>
                  <a:gd name="T16" fmla="*/ 2147483647 w 146"/>
                  <a:gd name="T17" fmla="*/ 2147483647 h 88"/>
                  <a:gd name="T18" fmla="*/ 2147483647 w 146"/>
                  <a:gd name="T19" fmla="*/ 2147483647 h 88"/>
                  <a:gd name="T20" fmla="*/ 2147483647 w 146"/>
                  <a:gd name="T21" fmla="*/ 2147483647 h 88"/>
                  <a:gd name="T22" fmla="*/ 2147483647 w 146"/>
                  <a:gd name="T23" fmla="*/ 2147483647 h 88"/>
                  <a:gd name="T24" fmla="*/ 2147483647 w 146"/>
                  <a:gd name="T25" fmla="*/ 2147483647 h 88"/>
                  <a:gd name="T26" fmla="*/ 2147483647 w 146"/>
                  <a:gd name="T27" fmla="*/ 2147483647 h 88"/>
                  <a:gd name="T28" fmla="*/ 2147483647 w 146"/>
                  <a:gd name="T29" fmla="*/ 2147483647 h 88"/>
                  <a:gd name="T30" fmla="*/ 2147483647 w 146"/>
                  <a:gd name="T31" fmla="*/ 2147483647 h 88"/>
                  <a:gd name="T32" fmla="*/ 2147483647 w 146"/>
                  <a:gd name="T33" fmla="*/ 2147483647 h 88"/>
                  <a:gd name="T34" fmla="*/ 2147483647 w 146"/>
                  <a:gd name="T35" fmla="*/ 2147483647 h 88"/>
                  <a:gd name="T36" fmla="*/ 2147483647 w 146"/>
                  <a:gd name="T37" fmla="*/ 2147483647 h 88"/>
                  <a:gd name="T38" fmla="*/ 2147483647 w 146"/>
                  <a:gd name="T39" fmla="*/ 2147483647 h 88"/>
                  <a:gd name="T40" fmla="*/ 2147483647 w 146"/>
                  <a:gd name="T41" fmla="*/ 2147483647 h 88"/>
                  <a:gd name="T42" fmla="*/ 2147483647 w 146"/>
                  <a:gd name="T43" fmla="*/ 2147483647 h 88"/>
                  <a:gd name="T44" fmla="*/ 2147483647 w 146"/>
                  <a:gd name="T45" fmla="*/ 2147483647 h 88"/>
                  <a:gd name="T46" fmla="*/ 2147483647 w 146"/>
                  <a:gd name="T47" fmla="*/ 2147483647 h 88"/>
                  <a:gd name="T48" fmla="*/ 2147483647 w 146"/>
                  <a:gd name="T49" fmla="*/ 2147483647 h 88"/>
                  <a:gd name="T50" fmla="*/ 2147483647 w 146"/>
                  <a:gd name="T51" fmla="*/ 2147483647 h 88"/>
                  <a:gd name="T52" fmla="*/ 2147483647 w 146"/>
                  <a:gd name="T53" fmla="*/ 2147483647 h 88"/>
                  <a:gd name="T54" fmla="*/ 2147483647 w 146"/>
                  <a:gd name="T55" fmla="*/ 2147483647 h 88"/>
                  <a:gd name="T56" fmla="*/ 2147483647 w 146"/>
                  <a:gd name="T57" fmla="*/ 2147483647 h 88"/>
                  <a:gd name="T58" fmla="*/ 2147483647 w 146"/>
                  <a:gd name="T59" fmla="*/ 2147483647 h 88"/>
                  <a:gd name="T60" fmla="*/ 2147483647 w 146"/>
                  <a:gd name="T61" fmla="*/ 2147483647 h 88"/>
                  <a:gd name="T62" fmla="*/ 2147483647 w 146"/>
                  <a:gd name="T63" fmla="*/ 2147483647 h 88"/>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46"/>
                  <a:gd name="T97" fmla="*/ 0 h 88"/>
                  <a:gd name="T98" fmla="*/ 146 w 146"/>
                  <a:gd name="T99" fmla="*/ 88 h 88"/>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46" h="88">
                    <a:moveTo>
                      <a:pt x="0" y="30"/>
                    </a:moveTo>
                    <a:lnTo>
                      <a:pt x="0" y="25"/>
                    </a:lnTo>
                    <a:lnTo>
                      <a:pt x="0" y="19"/>
                    </a:lnTo>
                    <a:lnTo>
                      <a:pt x="6" y="15"/>
                    </a:lnTo>
                    <a:lnTo>
                      <a:pt x="10" y="9"/>
                    </a:lnTo>
                    <a:lnTo>
                      <a:pt x="19" y="7"/>
                    </a:lnTo>
                    <a:lnTo>
                      <a:pt x="29" y="6"/>
                    </a:lnTo>
                    <a:lnTo>
                      <a:pt x="33" y="4"/>
                    </a:lnTo>
                    <a:lnTo>
                      <a:pt x="35" y="0"/>
                    </a:lnTo>
                    <a:lnTo>
                      <a:pt x="38" y="0"/>
                    </a:lnTo>
                    <a:lnTo>
                      <a:pt x="44" y="0"/>
                    </a:lnTo>
                    <a:lnTo>
                      <a:pt x="46" y="4"/>
                    </a:lnTo>
                    <a:lnTo>
                      <a:pt x="50" y="6"/>
                    </a:lnTo>
                    <a:lnTo>
                      <a:pt x="56" y="7"/>
                    </a:lnTo>
                    <a:lnTo>
                      <a:pt x="63" y="9"/>
                    </a:lnTo>
                    <a:lnTo>
                      <a:pt x="65" y="13"/>
                    </a:lnTo>
                    <a:lnTo>
                      <a:pt x="67" y="15"/>
                    </a:lnTo>
                    <a:lnTo>
                      <a:pt x="71" y="17"/>
                    </a:lnTo>
                    <a:lnTo>
                      <a:pt x="73" y="19"/>
                    </a:lnTo>
                    <a:lnTo>
                      <a:pt x="75" y="23"/>
                    </a:lnTo>
                    <a:lnTo>
                      <a:pt x="79" y="25"/>
                    </a:lnTo>
                    <a:lnTo>
                      <a:pt x="94" y="27"/>
                    </a:lnTo>
                    <a:lnTo>
                      <a:pt x="111" y="30"/>
                    </a:lnTo>
                    <a:lnTo>
                      <a:pt x="113" y="32"/>
                    </a:lnTo>
                    <a:lnTo>
                      <a:pt x="117" y="34"/>
                    </a:lnTo>
                    <a:lnTo>
                      <a:pt x="119" y="36"/>
                    </a:lnTo>
                    <a:lnTo>
                      <a:pt x="121" y="38"/>
                    </a:lnTo>
                    <a:lnTo>
                      <a:pt x="123" y="42"/>
                    </a:lnTo>
                    <a:lnTo>
                      <a:pt x="127" y="44"/>
                    </a:lnTo>
                    <a:lnTo>
                      <a:pt x="123" y="46"/>
                    </a:lnTo>
                    <a:lnTo>
                      <a:pt x="121" y="48"/>
                    </a:lnTo>
                    <a:lnTo>
                      <a:pt x="121" y="53"/>
                    </a:lnTo>
                    <a:lnTo>
                      <a:pt x="121" y="59"/>
                    </a:lnTo>
                    <a:lnTo>
                      <a:pt x="123" y="61"/>
                    </a:lnTo>
                    <a:lnTo>
                      <a:pt x="127" y="63"/>
                    </a:lnTo>
                    <a:lnTo>
                      <a:pt x="132" y="65"/>
                    </a:lnTo>
                    <a:lnTo>
                      <a:pt x="140" y="69"/>
                    </a:lnTo>
                    <a:lnTo>
                      <a:pt x="144" y="71"/>
                    </a:lnTo>
                    <a:lnTo>
                      <a:pt x="146" y="73"/>
                    </a:lnTo>
                    <a:lnTo>
                      <a:pt x="134" y="75"/>
                    </a:lnTo>
                    <a:lnTo>
                      <a:pt x="121" y="78"/>
                    </a:lnTo>
                    <a:lnTo>
                      <a:pt x="119" y="75"/>
                    </a:lnTo>
                    <a:lnTo>
                      <a:pt x="117" y="73"/>
                    </a:lnTo>
                    <a:lnTo>
                      <a:pt x="111" y="75"/>
                    </a:lnTo>
                    <a:lnTo>
                      <a:pt x="107" y="78"/>
                    </a:lnTo>
                    <a:lnTo>
                      <a:pt x="102" y="78"/>
                    </a:lnTo>
                    <a:lnTo>
                      <a:pt x="98" y="78"/>
                    </a:lnTo>
                    <a:lnTo>
                      <a:pt x="92" y="75"/>
                    </a:lnTo>
                    <a:lnTo>
                      <a:pt x="90" y="75"/>
                    </a:lnTo>
                    <a:lnTo>
                      <a:pt x="88" y="75"/>
                    </a:lnTo>
                    <a:lnTo>
                      <a:pt x="88" y="78"/>
                    </a:lnTo>
                    <a:lnTo>
                      <a:pt x="77" y="78"/>
                    </a:lnTo>
                    <a:lnTo>
                      <a:pt x="67" y="78"/>
                    </a:lnTo>
                    <a:lnTo>
                      <a:pt x="63" y="75"/>
                    </a:lnTo>
                    <a:lnTo>
                      <a:pt x="61" y="75"/>
                    </a:lnTo>
                    <a:lnTo>
                      <a:pt x="59" y="75"/>
                    </a:lnTo>
                    <a:lnTo>
                      <a:pt x="59" y="78"/>
                    </a:lnTo>
                    <a:lnTo>
                      <a:pt x="54" y="78"/>
                    </a:lnTo>
                    <a:lnTo>
                      <a:pt x="50" y="78"/>
                    </a:lnTo>
                    <a:lnTo>
                      <a:pt x="44" y="82"/>
                    </a:lnTo>
                    <a:lnTo>
                      <a:pt x="38" y="88"/>
                    </a:lnTo>
                    <a:lnTo>
                      <a:pt x="23" y="57"/>
                    </a:lnTo>
                    <a:lnTo>
                      <a:pt x="15" y="42"/>
                    </a:lnTo>
                    <a:lnTo>
                      <a:pt x="8" y="34"/>
                    </a:lnTo>
                    <a:lnTo>
                      <a:pt x="0" y="30"/>
                    </a:lnTo>
                  </a:path>
                </a:pathLst>
              </a:custGeom>
              <a:grpFill/>
              <a:ln w="3175">
                <a:solidFill>
                  <a:srgbClr val="FF8300"/>
                </a:solidFill>
                <a:round/>
                <a:headEnd/>
                <a:tailEnd/>
              </a:ln>
            </p:spPr>
            <p:txBody>
              <a:bodyPr/>
              <a:lstStyle/>
              <a:p>
                <a:pPr>
                  <a:defRPr/>
                </a:pPr>
                <a:endParaRPr lang="en-GB" sz="1400">
                  <a:solidFill>
                    <a:schemeClr val="tx2"/>
                  </a:solidFill>
                </a:endParaRPr>
              </a:p>
            </p:txBody>
          </p:sp>
          <p:sp>
            <p:nvSpPr>
              <p:cNvPr id="422" name="Freeform 280"/>
              <p:cNvSpPr>
                <a:spLocks/>
              </p:cNvSpPr>
              <p:nvPr>
                <p:custDataLst>
                  <p:tags r:id="rId67"/>
                </p:custDataLst>
              </p:nvPr>
            </p:nvSpPr>
            <p:spPr bwMode="gray">
              <a:xfrm>
                <a:off x="716864" y="5185833"/>
                <a:ext cx="326081" cy="405510"/>
              </a:xfrm>
              <a:custGeom>
                <a:avLst/>
                <a:gdLst>
                  <a:gd name="T0" fmla="*/ 2147483647 w 241"/>
                  <a:gd name="T1" fmla="*/ 2147483647 h 309"/>
                  <a:gd name="T2" fmla="*/ 2147483647 w 241"/>
                  <a:gd name="T3" fmla="*/ 2147483647 h 309"/>
                  <a:gd name="T4" fmla="*/ 2147483647 w 241"/>
                  <a:gd name="T5" fmla="*/ 2147483647 h 309"/>
                  <a:gd name="T6" fmla="*/ 2147483647 w 241"/>
                  <a:gd name="T7" fmla="*/ 2147483647 h 309"/>
                  <a:gd name="T8" fmla="*/ 2147483647 w 241"/>
                  <a:gd name="T9" fmla="*/ 2147483647 h 309"/>
                  <a:gd name="T10" fmla="*/ 2147483647 w 241"/>
                  <a:gd name="T11" fmla="*/ 2147483647 h 309"/>
                  <a:gd name="T12" fmla="*/ 2147483647 w 241"/>
                  <a:gd name="T13" fmla="*/ 2147483647 h 309"/>
                  <a:gd name="T14" fmla="*/ 2147483647 w 241"/>
                  <a:gd name="T15" fmla="*/ 2147483647 h 309"/>
                  <a:gd name="T16" fmla="*/ 2147483647 w 241"/>
                  <a:gd name="T17" fmla="*/ 2147483647 h 309"/>
                  <a:gd name="T18" fmla="*/ 2147483647 w 241"/>
                  <a:gd name="T19" fmla="*/ 2147483647 h 309"/>
                  <a:gd name="T20" fmla="*/ 0 w 241"/>
                  <a:gd name="T21" fmla="*/ 2147483647 h 309"/>
                  <a:gd name="T22" fmla="*/ 0 w 241"/>
                  <a:gd name="T23" fmla="*/ 2147483647 h 309"/>
                  <a:gd name="T24" fmla="*/ 2147483647 w 241"/>
                  <a:gd name="T25" fmla="*/ 2147483647 h 309"/>
                  <a:gd name="T26" fmla="*/ 2147483647 w 241"/>
                  <a:gd name="T27" fmla="*/ 2147483647 h 309"/>
                  <a:gd name="T28" fmla="*/ 2147483647 w 241"/>
                  <a:gd name="T29" fmla="*/ 2147483647 h 309"/>
                  <a:gd name="T30" fmla="*/ 2147483647 w 241"/>
                  <a:gd name="T31" fmla="*/ 2147483647 h 309"/>
                  <a:gd name="T32" fmla="*/ 2147483647 w 241"/>
                  <a:gd name="T33" fmla="*/ 2147483647 h 309"/>
                  <a:gd name="T34" fmla="*/ 2147483647 w 241"/>
                  <a:gd name="T35" fmla="*/ 2147483647 h 309"/>
                  <a:gd name="T36" fmla="*/ 2147483647 w 241"/>
                  <a:gd name="T37" fmla="*/ 2147483647 h 309"/>
                  <a:gd name="T38" fmla="*/ 2147483647 w 241"/>
                  <a:gd name="T39" fmla="*/ 2147483647 h 309"/>
                  <a:gd name="T40" fmla="*/ 2147483647 w 241"/>
                  <a:gd name="T41" fmla="*/ 2147483647 h 309"/>
                  <a:gd name="T42" fmla="*/ 2147483647 w 241"/>
                  <a:gd name="T43" fmla="*/ 2147483647 h 309"/>
                  <a:gd name="T44" fmla="*/ 2147483647 w 241"/>
                  <a:gd name="T45" fmla="*/ 2147483647 h 309"/>
                  <a:gd name="T46" fmla="*/ 2147483647 w 241"/>
                  <a:gd name="T47" fmla="*/ 2147483647 h 309"/>
                  <a:gd name="T48" fmla="*/ 2147483647 w 241"/>
                  <a:gd name="T49" fmla="*/ 0 h 309"/>
                  <a:gd name="T50" fmla="*/ 2147483647 w 241"/>
                  <a:gd name="T51" fmla="*/ 2147483647 h 309"/>
                  <a:gd name="T52" fmla="*/ 2147483647 w 241"/>
                  <a:gd name="T53" fmla="*/ 2147483647 h 309"/>
                  <a:gd name="T54" fmla="*/ 2147483647 w 241"/>
                  <a:gd name="T55" fmla="*/ 2147483647 h 309"/>
                  <a:gd name="T56" fmla="*/ 2147483647 w 241"/>
                  <a:gd name="T57" fmla="*/ 2147483647 h 309"/>
                  <a:gd name="T58" fmla="*/ 2147483647 w 241"/>
                  <a:gd name="T59" fmla="*/ 2147483647 h 309"/>
                  <a:gd name="T60" fmla="*/ 2147483647 w 241"/>
                  <a:gd name="T61" fmla="*/ 2147483647 h 309"/>
                  <a:gd name="T62" fmla="*/ 2147483647 w 241"/>
                  <a:gd name="T63" fmla="*/ 2147483647 h 309"/>
                  <a:gd name="T64" fmla="*/ 2147483647 w 241"/>
                  <a:gd name="T65" fmla="*/ 2147483647 h 309"/>
                  <a:gd name="T66" fmla="*/ 2147483647 w 241"/>
                  <a:gd name="T67" fmla="*/ 2147483647 h 309"/>
                  <a:gd name="T68" fmla="*/ 2147483647 w 241"/>
                  <a:gd name="T69" fmla="*/ 2147483647 h 309"/>
                  <a:gd name="T70" fmla="*/ 2147483647 w 241"/>
                  <a:gd name="T71" fmla="*/ 2147483647 h 309"/>
                  <a:gd name="T72" fmla="*/ 2147483647 w 241"/>
                  <a:gd name="T73" fmla="*/ 2147483647 h 309"/>
                  <a:gd name="T74" fmla="*/ 2147483647 w 241"/>
                  <a:gd name="T75" fmla="*/ 2147483647 h 309"/>
                  <a:gd name="T76" fmla="*/ 2147483647 w 241"/>
                  <a:gd name="T77" fmla="*/ 2147483647 h 309"/>
                  <a:gd name="T78" fmla="*/ 2147483647 w 241"/>
                  <a:gd name="T79" fmla="*/ 2147483647 h 309"/>
                  <a:gd name="T80" fmla="*/ 2147483647 w 241"/>
                  <a:gd name="T81" fmla="*/ 2147483647 h 309"/>
                  <a:gd name="T82" fmla="*/ 2147483647 w 241"/>
                  <a:gd name="T83" fmla="*/ 2147483647 h 309"/>
                  <a:gd name="T84" fmla="*/ 2147483647 w 241"/>
                  <a:gd name="T85" fmla="*/ 2147483647 h 309"/>
                  <a:gd name="T86" fmla="*/ 2147483647 w 241"/>
                  <a:gd name="T87" fmla="*/ 2147483647 h 309"/>
                  <a:gd name="T88" fmla="*/ 2147483647 w 241"/>
                  <a:gd name="T89" fmla="*/ 2147483647 h 309"/>
                  <a:gd name="T90" fmla="*/ 2147483647 w 241"/>
                  <a:gd name="T91" fmla="*/ 2147483647 h 309"/>
                  <a:gd name="T92" fmla="*/ 2147483647 w 241"/>
                  <a:gd name="T93" fmla="*/ 2147483647 h 309"/>
                  <a:gd name="T94" fmla="*/ 2147483647 w 241"/>
                  <a:gd name="T95" fmla="*/ 2147483647 h 309"/>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241"/>
                  <a:gd name="T145" fmla="*/ 0 h 309"/>
                  <a:gd name="T146" fmla="*/ 241 w 241"/>
                  <a:gd name="T147" fmla="*/ 309 h 309"/>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241" h="309">
                    <a:moveTo>
                      <a:pt x="159" y="309"/>
                    </a:moveTo>
                    <a:lnTo>
                      <a:pt x="155" y="307"/>
                    </a:lnTo>
                    <a:lnTo>
                      <a:pt x="153" y="305"/>
                    </a:lnTo>
                    <a:lnTo>
                      <a:pt x="145" y="301"/>
                    </a:lnTo>
                    <a:lnTo>
                      <a:pt x="140" y="299"/>
                    </a:lnTo>
                    <a:lnTo>
                      <a:pt x="136" y="297"/>
                    </a:lnTo>
                    <a:lnTo>
                      <a:pt x="134" y="296"/>
                    </a:lnTo>
                    <a:lnTo>
                      <a:pt x="128" y="292"/>
                    </a:lnTo>
                    <a:lnTo>
                      <a:pt x="115" y="292"/>
                    </a:lnTo>
                    <a:lnTo>
                      <a:pt x="101" y="292"/>
                    </a:lnTo>
                    <a:lnTo>
                      <a:pt x="95" y="296"/>
                    </a:lnTo>
                    <a:lnTo>
                      <a:pt x="94" y="297"/>
                    </a:lnTo>
                    <a:lnTo>
                      <a:pt x="92" y="299"/>
                    </a:lnTo>
                    <a:lnTo>
                      <a:pt x="88" y="299"/>
                    </a:lnTo>
                    <a:lnTo>
                      <a:pt x="86" y="299"/>
                    </a:lnTo>
                    <a:lnTo>
                      <a:pt x="82" y="294"/>
                    </a:lnTo>
                    <a:lnTo>
                      <a:pt x="78" y="290"/>
                    </a:lnTo>
                    <a:lnTo>
                      <a:pt x="71" y="290"/>
                    </a:lnTo>
                    <a:lnTo>
                      <a:pt x="57" y="290"/>
                    </a:lnTo>
                    <a:lnTo>
                      <a:pt x="51" y="290"/>
                    </a:lnTo>
                    <a:lnTo>
                      <a:pt x="47" y="290"/>
                    </a:lnTo>
                    <a:lnTo>
                      <a:pt x="42" y="271"/>
                    </a:lnTo>
                    <a:lnTo>
                      <a:pt x="38" y="251"/>
                    </a:lnTo>
                    <a:lnTo>
                      <a:pt x="32" y="226"/>
                    </a:lnTo>
                    <a:lnTo>
                      <a:pt x="28" y="202"/>
                    </a:lnTo>
                    <a:lnTo>
                      <a:pt x="23" y="188"/>
                    </a:lnTo>
                    <a:lnTo>
                      <a:pt x="19" y="173"/>
                    </a:lnTo>
                    <a:lnTo>
                      <a:pt x="13" y="150"/>
                    </a:lnTo>
                    <a:lnTo>
                      <a:pt x="9" y="125"/>
                    </a:lnTo>
                    <a:lnTo>
                      <a:pt x="3" y="102"/>
                    </a:lnTo>
                    <a:lnTo>
                      <a:pt x="0" y="77"/>
                    </a:lnTo>
                    <a:lnTo>
                      <a:pt x="0" y="71"/>
                    </a:lnTo>
                    <a:lnTo>
                      <a:pt x="0" y="67"/>
                    </a:lnTo>
                    <a:lnTo>
                      <a:pt x="0" y="61"/>
                    </a:lnTo>
                    <a:lnTo>
                      <a:pt x="0" y="58"/>
                    </a:lnTo>
                    <a:lnTo>
                      <a:pt x="0" y="48"/>
                    </a:lnTo>
                    <a:lnTo>
                      <a:pt x="0" y="38"/>
                    </a:lnTo>
                    <a:lnTo>
                      <a:pt x="9" y="38"/>
                    </a:lnTo>
                    <a:lnTo>
                      <a:pt x="19" y="38"/>
                    </a:lnTo>
                    <a:lnTo>
                      <a:pt x="19" y="42"/>
                    </a:lnTo>
                    <a:lnTo>
                      <a:pt x="19" y="48"/>
                    </a:lnTo>
                    <a:lnTo>
                      <a:pt x="23" y="48"/>
                    </a:lnTo>
                    <a:lnTo>
                      <a:pt x="28" y="48"/>
                    </a:lnTo>
                    <a:lnTo>
                      <a:pt x="32" y="58"/>
                    </a:lnTo>
                    <a:lnTo>
                      <a:pt x="38" y="67"/>
                    </a:lnTo>
                    <a:lnTo>
                      <a:pt x="42" y="71"/>
                    </a:lnTo>
                    <a:lnTo>
                      <a:pt x="47" y="77"/>
                    </a:lnTo>
                    <a:lnTo>
                      <a:pt x="47" y="71"/>
                    </a:lnTo>
                    <a:lnTo>
                      <a:pt x="47" y="67"/>
                    </a:lnTo>
                    <a:lnTo>
                      <a:pt x="57" y="67"/>
                    </a:lnTo>
                    <a:lnTo>
                      <a:pt x="67" y="67"/>
                    </a:lnTo>
                    <a:lnTo>
                      <a:pt x="71" y="61"/>
                    </a:lnTo>
                    <a:lnTo>
                      <a:pt x="76" y="58"/>
                    </a:lnTo>
                    <a:lnTo>
                      <a:pt x="76" y="52"/>
                    </a:lnTo>
                    <a:lnTo>
                      <a:pt x="76" y="48"/>
                    </a:lnTo>
                    <a:lnTo>
                      <a:pt x="80" y="48"/>
                    </a:lnTo>
                    <a:lnTo>
                      <a:pt x="86" y="48"/>
                    </a:lnTo>
                    <a:lnTo>
                      <a:pt x="90" y="48"/>
                    </a:lnTo>
                    <a:lnTo>
                      <a:pt x="95" y="48"/>
                    </a:lnTo>
                    <a:lnTo>
                      <a:pt x="99" y="48"/>
                    </a:lnTo>
                    <a:lnTo>
                      <a:pt x="105" y="48"/>
                    </a:lnTo>
                    <a:lnTo>
                      <a:pt x="115" y="52"/>
                    </a:lnTo>
                    <a:lnTo>
                      <a:pt x="124" y="58"/>
                    </a:lnTo>
                    <a:lnTo>
                      <a:pt x="130" y="52"/>
                    </a:lnTo>
                    <a:lnTo>
                      <a:pt x="134" y="48"/>
                    </a:lnTo>
                    <a:lnTo>
                      <a:pt x="134" y="42"/>
                    </a:lnTo>
                    <a:lnTo>
                      <a:pt x="134" y="38"/>
                    </a:lnTo>
                    <a:lnTo>
                      <a:pt x="134" y="33"/>
                    </a:lnTo>
                    <a:lnTo>
                      <a:pt x="134" y="29"/>
                    </a:lnTo>
                    <a:lnTo>
                      <a:pt x="130" y="29"/>
                    </a:lnTo>
                    <a:lnTo>
                      <a:pt x="124" y="29"/>
                    </a:lnTo>
                    <a:lnTo>
                      <a:pt x="124" y="14"/>
                    </a:lnTo>
                    <a:lnTo>
                      <a:pt x="124" y="0"/>
                    </a:lnTo>
                    <a:lnTo>
                      <a:pt x="130" y="0"/>
                    </a:lnTo>
                    <a:lnTo>
                      <a:pt x="134" y="0"/>
                    </a:lnTo>
                    <a:lnTo>
                      <a:pt x="140" y="4"/>
                    </a:lnTo>
                    <a:lnTo>
                      <a:pt x="143" y="10"/>
                    </a:lnTo>
                    <a:lnTo>
                      <a:pt x="153" y="14"/>
                    </a:lnTo>
                    <a:lnTo>
                      <a:pt x="163" y="19"/>
                    </a:lnTo>
                    <a:lnTo>
                      <a:pt x="168" y="23"/>
                    </a:lnTo>
                    <a:lnTo>
                      <a:pt x="172" y="29"/>
                    </a:lnTo>
                    <a:lnTo>
                      <a:pt x="178" y="29"/>
                    </a:lnTo>
                    <a:lnTo>
                      <a:pt x="182" y="29"/>
                    </a:lnTo>
                    <a:lnTo>
                      <a:pt x="182" y="33"/>
                    </a:lnTo>
                    <a:lnTo>
                      <a:pt x="182" y="38"/>
                    </a:lnTo>
                    <a:lnTo>
                      <a:pt x="186" y="42"/>
                    </a:lnTo>
                    <a:lnTo>
                      <a:pt x="188" y="48"/>
                    </a:lnTo>
                    <a:lnTo>
                      <a:pt x="189" y="50"/>
                    </a:lnTo>
                    <a:lnTo>
                      <a:pt x="191" y="52"/>
                    </a:lnTo>
                    <a:lnTo>
                      <a:pt x="205" y="56"/>
                    </a:lnTo>
                    <a:lnTo>
                      <a:pt x="216" y="58"/>
                    </a:lnTo>
                    <a:lnTo>
                      <a:pt x="218" y="60"/>
                    </a:lnTo>
                    <a:lnTo>
                      <a:pt x="220" y="63"/>
                    </a:lnTo>
                    <a:lnTo>
                      <a:pt x="224" y="65"/>
                    </a:lnTo>
                    <a:lnTo>
                      <a:pt x="226" y="67"/>
                    </a:lnTo>
                    <a:lnTo>
                      <a:pt x="228" y="69"/>
                    </a:lnTo>
                    <a:lnTo>
                      <a:pt x="232" y="73"/>
                    </a:lnTo>
                    <a:lnTo>
                      <a:pt x="232" y="86"/>
                    </a:lnTo>
                    <a:lnTo>
                      <a:pt x="232" y="102"/>
                    </a:lnTo>
                    <a:lnTo>
                      <a:pt x="228" y="104"/>
                    </a:lnTo>
                    <a:lnTo>
                      <a:pt x="226" y="106"/>
                    </a:lnTo>
                    <a:lnTo>
                      <a:pt x="224" y="109"/>
                    </a:lnTo>
                    <a:lnTo>
                      <a:pt x="222" y="115"/>
                    </a:lnTo>
                    <a:lnTo>
                      <a:pt x="224" y="123"/>
                    </a:lnTo>
                    <a:lnTo>
                      <a:pt x="226" y="125"/>
                    </a:lnTo>
                    <a:lnTo>
                      <a:pt x="228" y="127"/>
                    </a:lnTo>
                    <a:lnTo>
                      <a:pt x="232" y="131"/>
                    </a:lnTo>
                    <a:lnTo>
                      <a:pt x="234" y="136"/>
                    </a:lnTo>
                    <a:lnTo>
                      <a:pt x="236" y="144"/>
                    </a:lnTo>
                    <a:lnTo>
                      <a:pt x="237" y="148"/>
                    </a:lnTo>
                    <a:lnTo>
                      <a:pt x="241" y="150"/>
                    </a:lnTo>
                    <a:lnTo>
                      <a:pt x="241" y="154"/>
                    </a:lnTo>
                    <a:lnTo>
                      <a:pt x="241" y="159"/>
                    </a:lnTo>
                    <a:lnTo>
                      <a:pt x="237" y="161"/>
                    </a:lnTo>
                    <a:lnTo>
                      <a:pt x="236" y="163"/>
                    </a:lnTo>
                    <a:lnTo>
                      <a:pt x="232" y="173"/>
                    </a:lnTo>
                    <a:lnTo>
                      <a:pt x="226" y="184"/>
                    </a:lnTo>
                    <a:lnTo>
                      <a:pt x="224" y="180"/>
                    </a:lnTo>
                    <a:lnTo>
                      <a:pt x="220" y="179"/>
                    </a:lnTo>
                    <a:lnTo>
                      <a:pt x="216" y="179"/>
                    </a:lnTo>
                    <a:lnTo>
                      <a:pt x="212" y="179"/>
                    </a:lnTo>
                    <a:lnTo>
                      <a:pt x="209" y="180"/>
                    </a:lnTo>
                    <a:lnTo>
                      <a:pt x="207" y="184"/>
                    </a:lnTo>
                    <a:lnTo>
                      <a:pt x="205" y="186"/>
                    </a:lnTo>
                    <a:lnTo>
                      <a:pt x="203" y="188"/>
                    </a:lnTo>
                    <a:lnTo>
                      <a:pt x="199" y="190"/>
                    </a:lnTo>
                    <a:lnTo>
                      <a:pt x="197" y="194"/>
                    </a:lnTo>
                    <a:lnTo>
                      <a:pt x="197" y="207"/>
                    </a:lnTo>
                    <a:lnTo>
                      <a:pt x="197" y="223"/>
                    </a:lnTo>
                    <a:lnTo>
                      <a:pt x="199" y="225"/>
                    </a:lnTo>
                    <a:lnTo>
                      <a:pt x="203" y="226"/>
                    </a:lnTo>
                    <a:lnTo>
                      <a:pt x="203" y="246"/>
                    </a:lnTo>
                    <a:lnTo>
                      <a:pt x="203" y="265"/>
                    </a:lnTo>
                    <a:lnTo>
                      <a:pt x="199" y="269"/>
                    </a:lnTo>
                    <a:lnTo>
                      <a:pt x="197" y="271"/>
                    </a:lnTo>
                    <a:lnTo>
                      <a:pt x="189" y="273"/>
                    </a:lnTo>
                    <a:lnTo>
                      <a:pt x="182" y="274"/>
                    </a:lnTo>
                    <a:lnTo>
                      <a:pt x="180" y="278"/>
                    </a:lnTo>
                    <a:lnTo>
                      <a:pt x="178" y="280"/>
                    </a:lnTo>
                    <a:lnTo>
                      <a:pt x="176" y="292"/>
                    </a:lnTo>
                    <a:lnTo>
                      <a:pt x="172" y="305"/>
                    </a:lnTo>
                    <a:lnTo>
                      <a:pt x="170" y="307"/>
                    </a:lnTo>
                    <a:lnTo>
                      <a:pt x="168" y="309"/>
                    </a:lnTo>
                    <a:lnTo>
                      <a:pt x="163" y="309"/>
                    </a:lnTo>
                    <a:lnTo>
                      <a:pt x="159" y="309"/>
                    </a:lnTo>
                  </a:path>
                </a:pathLst>
              </a:custGeom>
              <a:grpFill/>
              <a:ln w="3175">
                <a:solidFill>
                  <a:srgbClr val="FF8300"/>
                </a:solidFill>
                <a:round/>
                <a:headEnd/>
                <a:tailEnd/>
              </a:ln>
            </p:spPr>
            <p:txBody>
              <a:bodyPr/>
              <a:lstStyle/>
              <a:p>
                <a:pPr>
                  <a:defRPr/>
                </a:pPr>
                <a:endParaRPr lang="en-GB" sz="1400">
                  <a:solidFill>
                    <a:schemeClr val="tx2"/>
                  </a:solidFill>
                </a:endParaRPr>
              </a:p>
            </p:txBody>
          </p:sp>
          <p:sp>
            <p:nvSpPr>
              <p:cNvPr id="423" name="Freeform 308"/>
              <p:cNvSpPr>
                <a:spLocks/>
              </p:cNvSpPr>
              <p:nvPr>
                <p:custDataLst>
                  <p:tags r:id="rId68"/>
                </p:custDataLst>
              </p:nvPr>
            </p:nvSpPr>
            <p:spPr bwMode="gray">
              <a:xfrm>
                <a:off x="1413617" y="5387892"/>
                <a:ext cx="158860" cy="326081"/>
              </a:xfrm>
              <a:custGeom>
                <a:avLst/>
                <a:gdLst>
                  <a:gd name="T0" fmla="*/ 0 w 115"/>
                  <a:gd name="T1" fmla="*/ 2147483647 h 251"/>
                  <a:gd name="T2" fmla="*/ 2147483647 w 115"/>
                  <a:gd name="T3" fmla="*/ 2147483647 h 251"/>
                  <a:gd name="T4" fmla="*/ 2147483647 w 115"/>
                  <a:gd name="T5" fmla="*/ 2147483647 h 251"/>
                  <a:gd name="T6" fmla="*/ 2147483647 w 115"/>
                  <a:gd name="T7" fmla="*/ 2147483647 h 251"/>
                  <a:gd name="T8" fmla="*/ 2147483647 w 115"/>
                  <a:gd name="T9" fmla="*/ 2147483647 h 251"/>
                  <a:gd name="T10" fmla="*/ 2147483647 w 115"/>
                  <a:gd name="T11" fmla="*/ 2147483647 h 251"/>
                  <a:gd name="T12" fmla="*/ 2147483647 w 115"/>
                  <a:gd name="T13" fmla="*/ 2147483647 h 251"/>
                  <a:gd name="T14" fmla="*/ 2147483647 w 115"/>
                  <a:gd name="T15" fmla="*/ 2147483647 h 251"/>
                  <a:gd name="T16" fmla="*/ 2147483647 w 115"/>
                  <a:gd name="T17" fmla="*/ 2147483647 h 251"/>
                  <a:gd name="T18" fmla="*/ 2147483647 w 115"/>
                  <a:gd name="T19" fmla="*/ 2147483647 h 251"/>
                  <a:gd name="T20" fmla="*/ 2147483647 w 115"/>
                  <a:gd name="T21" fmla="*/ 2147483647 h 251"/>
                  <a:gd name="T22" fmla="*/ 2147483647 w 115"/>
                  <a:gd name="T23" fmla="*/ 2147483647 h 251"/>
                  <a:gd name="T24" fmla="*/ 2147483647 w 115"/>
                  <a:gd name="T25" fmla="*/ 2147483647 h 251"/>
                  <a:gd name="T26" fmla="*/ 2147483647 w 115"/>
                  <a:gd name="T27" fmla="*/ 2147483647 h 251"/>
                  <a:gd name="T28" fmla="*/ 2147483647 w 115"/>
                  <a:gd name="T29" fmla="*/ 2147483647 h 251"/>
                  <a:gd name="T30" fmla="*/ 2147483647 w 115"/>
                  <a:gd name="T31" fmla="*/ 2147483647 h 251"/>
                  <a:gd name="T32" fmla="*/ 2147483647 w 115"/>
                  <a:gd name="T33" fmla="*/ 2147483647 h 251"/>
                  <a:gd name="T34" fmla="*/ 2147483647 w 115"/>
                  <a:gd name="T35" fmla="*/ 2147483647 h 251"/>
                  <a:gd name="T36" fmla="*/ 2147483647 w 115"/>
                  <a:gd name="T37" fmla="*/ 2147483647 h 251"/>
                  <a:gd name="T38" fmla="*/ 2147483647 w 115"/>
                  <a:gd name="T39" fmla="*/ 2147483647 h 251"/>
                  <a:gd name="T40" fmla="*/ 2147483647 w 115"/>
                  <a:gd name="T41" fmla="*/ 2147483647 h 251"/>
                  <a:gd name="T42" fmla="*/ 2147483647 w 115"/>
                  <a:gd name="T43" fmla="*/ 2147483647 h 251"/>
                  <a:gd name="T44" fmla="*/ 2147483647 w 115"/>
                  <a:gd name="T45" fmla="*/ 2147483647 h 251"/>
                  <a:gd name="T46" fmla="*/ 2147483647 w 115"/>
                  <a:gd name="T47" fmla="*/ 2147483647 h 251"/>
                  <a:gd name="T48" fmla="*/ 2147483647 w 115"/>
                  <a:gd name="T49" fmla="*/ 2147483647 h 251"/>
                  <a:gd name="T50" fmla="*/ 2147483647 w 115"/>
                  <a:gd name="T51" fmla="*/ 0 h 251"/>
                  <a:gd name="T52" fmla="*/ 2147483647 w 115"/>
                  <a:gd name="T53" fmla="*/ 2147483647 h 251"/>
                  <a:gd name="T54" fmla="*/ 2147483647 w 115"/>
                  <a:gd name="T55" fmla="*/ 2147483647 h 251"/>
                  <a:gd name="T56" fmla="*/ 2147483647 w 115"/>
                  <a:gd name="T57" fmla="*/ 2147483647 h 251"/>
                  <a:gd name="T58" fmla="*/ 2147483647 w 115"/>
                  <a:gd name="T59" fmla="*/ 2147483647 h 251"/>
                  <a:gd name="T60" fmla="*/ 2147483647 w 115"/>
                  <a:gd name="T61" fmla="*/ 2147483647 h 251"/>
                  <a:gd name="T62" fmla="*/ 2147483647 w 115"/>
                  <a:gd name="T63" fmla="*/ 2147483647 h 251"/>
                  <a:gd name="T64" fmla="*/ 2147483647 w 115"/>
                  <a:gd name="T65" fmla="*/ 2147483647 h 251"/>
                  <a:gd name="T66" fmla="*/ 2147483647 w 115"/>
                  <a:gd name="T67" fmla="*/ 2147483647 h 251"/>
                  <a:gd name="T68" fmla="*/ 2147483647 w 115"/>
                  <a:gd name="T69" fmla="*/ 2147483647 h 251"/>
                  <a:gd name="T70" fmla="*/ 2147483647 w 115"/>
                  <a:gd name="T71" fmla="*/ 2147483647 h 251"/>
                  <a:gd name="T72" fmla="*/ 2147483647 w 115"/>
                  <a:gd name="T73" fmla="*/ 2147483647 h 251"/>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15"/>
                  <a:gd name="T112" fmla="*/ 0 h 251"/>
                  <a:gd name="T113" fmla="*/ 115 w 115"/>
                  <a:gd name="T114" fmla="*/ 251 h 251"/>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15" h="251">
                    <a:moveTo>
                      <a:pt x="0" y="241"/>
                    </a:moveTo>
                    <a:lnTo>
                      <a:pt x="0" y="239"/>
                    </a:lnTo>
                    <a:lnTo>
                      <a:pt x="0" y="238"/>
                    </a:lnTo>
                    <a:lnTo>
                      <a:pt x="2" y="236"/>
                    </a:lnTo>
                    <a:lnTo>
                      <a:pt x="4" y="232"/>
                    </a:lnTo>
                    <a:lnTo>
                      <a:pt x="7" y="230"/>
                    </a:lnTo>
                    <a:lnTo>
                      <a:pt x="9" y="228"/>
                    </a:lnTo>
                    <a:lnTo>
                      <a:pt x="11" y="226"/>
                    </a:lnTo>
                    <a:lnTo>
                      <a:pt x="13" y="222"/>
                    </a:lnTo>
                    <a:lnTo>
                      <a:pt x="13" y="218"/>
                    </a:lnTo>
                    <a:lnTo>
                      <a:pt x="13" y="213"/>
                    </a:lnTo>
                    <a:lnTo>
                      <a:pt x="11" y="211"/>
                    </a:lnTo>
                    <a:lnTo>
                      <a:pt x="9" y="209"/>
                    </a:lnTo>
                    <a:lnTo>
                      <a:pt x="9" y="201"/>
                    </a:lnTo>
                    <a:lnTo>
                      <a:pt x="9" y="193"/>
                    </a:lnTo>
                    <a:lnTo>
                      <a:pt x="23" y="191"/>
                    </a:lnTo>
                    <a:lnTo>
                      <a:pt x="38" y="190"/>
                    </a:lnTo>
                    <a:lnTo>
                      <a:pt x="40" y="186"/>
                    </a:lnTo>
                    <a:lnTo>
                      <a:pt x="44" y="184"/>
                    </a:lnTo>
                    <a:lnTo>
                      <a:pt x="46" y="182"/>
                    </a:lnTo>
                    <a:lnTo>
                      <a:pt x="48" y="180"/>
                    </a:lnTo>
                    <a:lnTo>
                      <a:pt x="50" y="176"/>
                    </a:lnTo>
                    <a:lnTo>
                      <a:pt x="52" y="174"/>
                    </a:lnTo>
                    <a:lnTo>
                      <a:pt x="55" y="172"/>
                    </a:lnTo>
                    <a:lnTo>
                      <a:pt x="55" y="165"/>
                    </a:lnTo>
                    <a:lnTo>
                      <a:pt x="55" y="159"/>
                    </a:lnTo>
                    <a:lnTo>
                      <a:pt x="52" y="155"/>
                    </a:lnTo>
                    <a:lnTo>
                      <a:pt x="50" y="153"/>
                    </a:lnTo>
                    <a:lnTo>
                      <a:pt x="48" y="151"/>
                    </a:lnTo>
                    <a:lnTo>
                      <a:pt x="48" y="140"/>
                    </a:lnTo>
                    <a:lnTo>
                      <a:pt x="48" y="130"/>
                    </a:lnTo>
                    <a:lnTo>
                      <a:pt x="50" y="128"/>
                    </a:lnTo>
                    <a:lnTo>
                      <a:pt x="52" y="126"/>
                    </a:lnTo>
                    <a:lnTo>
                      <a:pt x="55" y="122"/>
                    </a:lnTo>
                    <a:lnTo>
                      <a:pt x="55" y="117"/>
                    </a:lnTo>
                    <a:lnTo>
                      <a:pt x="55" y="109"/>
                    </a:lnTo>
                    <a:lnTo>
                      <a:pt x="52" y="107"/>
                    </a:lnTo>
                    <a:lnTo>
                      <a:pt x="50" y="105"/>
                    </a:lnTo>
                    <a:lnTo>
                      <a:pt x="48" y="101"/>
                    </a:lnTo>
                    <a:lnTo>
                      <a:pt x="40" y="74"/>
                    </a:lnTo>
                    <a:lnTo>
                      <a:pt x="32" y="48"/>
                    </a:lnTo>
                    <a:lnTo>
                      <a:pt x="30" y="46"/>
                    </a:lnTo>
                    <a:lnTo>
                      <a:pt x="29" y="44"/>
                    </a:lnTo>
                    <a:lnTo>
                      <a:pt x="27" y="32"/>
                    </a:lnTo>
                    <a:lnTo>
                      <a:pt x="23" y="19"/>
                    </a:lnTo>
                    <a:lnTo>
                      <a:pt x="21" y="17"/>
                    </a:lnTo>
                    <a:lnTo>
                      <a:pt x="19" y="15"/>
                    </a:lnTo>
                    <a:lnTo>
                      <a:pt x="23" y="9"/>
                    </a:lnTo>
                    <a:lnTo>
                      <a:pt x="29" y="5"/>
                    </a:lnTo>
                    <a:lnTo>
                      <a:pt x="30" y="3"/>
                    </a:lnTo>
                    <a:lnTo>
                      <a:pt x="32" y="0"/>
                    </a:lnTo>
                    <a:lnTo>
                      <a:pt x="38" y="0"/>
                    </a:lnTo>
                    <a:lnTo>
                      <a:pt x="44" y="0"/>
                    </a:lnTo>
                    <a:lnTo>
                      <a:pt x="46" y="3"/>
                    </a:lnTo>
                    <a:lnTo>
                      <a:pt x="48" y="5"/>
                    </a:lnTo>
                    <a:lnTo>
                      <a:pt x="61" y="7"/>
                    </a:lnTo>
                    <a:lnTo>
                      <a:pt x="77" y="9"/>
                    </a:lnTo>
                    <a:lnTo>
                      <a:pt x="75" y="34"/>
                    </a:lnTo>
                    <a:lnTo>
                      <a:pt x="75" y="59"/>
                    </a:lnTo>
                    <a:lnTo>
                      <a:pt x="73" y="82"/>
                    </a:lnTo>
                    <a:lnTo>
                      <a:pt x="73" y="107"/>
                    </a:lnTo>
                    <a:lnTo>
                      <a:pt x="78" y="111"/>
                    </a:lnTo>
                    <a:lnTo>
                      <a:pt x="86" y="117"/>
                    </a:lnTo>
                    <a:lnTo>
                      <a:pt x="90" y="124"/>
                    </a:lnTo>
                    <a:lnTo>
                      <a:pt x="96" y="128"/>
                    </a:lnTo>
                    <a:lnTo>
                      <a:pt x="103" y="132"/>
                    </a:lnTo>
                    <a:lnTo>
                      <a:pt x="115" y="136"/>
                    </a:lnTo>
                    <a:lnTo>
                      <a:pt x="101" y="163"/>
                    </a:lnTo>
                    <a:lnTo>
                      <a:pt x="90" y="191"/>
                    </a:lnTo>
                    <a:lnTo>
                      <a:pt x="82" y="222"/>
                    </a:lnTo>
                    <a:lnTo>
                      <a:pt x="77" y="251"/>
                    </a:lnTo>
                    <a:lnTo>
                      <a:pt x="57" y="249"/>
                    </a:lnTo>
                    <a:lnTo>
                      <a:pt x="38" y="247"/>
                    </a:lnTo>
                    <a:lnTo>
                      <a:pt x="19" y="245"/>
                    </a:lnTo>
                    <a:lnTo>
                      <a:pt x="0" y="241"/>
                    </a:lnTo>
                  </a:path>
                </a:pathLst>
              </a:custGeom>
              <a:grpFill/>
              <a:ln w="3175">
                <a:solidFill>
                  <a:srgbClr val="FF8300"/>
                </a:solidFill>
                <a:round/>
                <a:headEnd/>
                <a:tailEnd/>
              </a:ln>
            </p:spPr>
            <p:txBody>
              <a:bodyPr/>
              <a:lstStyle/>
              <a:p>
                <a:pPr>
                  <a:defRPr/>
                </a:pPr>
                <a:endParaRPr lang="en-GB" sz="1400">
                  <a:solidFill>
                    <a:schemeClr val="tx2"/>
                  </a:solidFill>
                </a:endParaRPr>
              </a:p>
            </p:txBody>
          </p:sp>
          <p:sp>
            <p:nvSpPr>
              <p:cNvPr id="424" name="Freeform 309"/>
              <p:cNvSpPr>
                <a:spLocks/>
              </p:cNvSpPr>
              <p:nvPr>
                <p:custDataLst>
                  <p:tags r:id="rId69"/>
                </p:custDataLst>
              </p:nvPr>
            </p:nvSpPr>
            <p:spPr bwMode="gray">
              <a:xfrm>
                <a:off x="964908" y="5426910"/>
                <a:ext cx="288456" cy="367886"/>
              </a:xfrm>
              <a:custGeom>
                <a:avLst/>
                <a:gdLst>
                  <a:gd name="T0" fmla="*/ 2147483647 w 213"/>
                  <a:gd name="T1" fmla="*/ 2147483647 h 280"/>
                  <a:gd name="T2" fmla="*/ 2147483647 w 213"/>
                  <a:gd name="T3" fmla="*/ 2147483647 h 280"/>
                  <a:gd name="T4" fmla="*/ 2147483647 w 213"/>
                  <a:gd name="T5" fmla="*/ 2147483647 h 280"/>
                  <a:gd name="T6" fmla="*/ 2147483647 w 213"/>
                  <a:gd name="T7" fmla="*/ 2147483647 h 280"/>
                  <a:gd name="T8" fmla="*/ 2147483647 w 213"/>
                  <a:gd name="T9" fmla="*/ 2147483647 h 280"/>
                  <a:gd name="T10" fmla="*/ 2147483647 w 213"/>
                  <a:gd name="T11" fmla="*/ 2147483647 h 280"/>
                  <a:gd name="T12" fmla="*/ 2147483647 w 213"/>
                  <a:gd name="T13" fmla="*/ 2147483647 h 280"/>
                  <a:gd name="T14" fmla="*/ 2147483647 w 213"/>
                  <a:gd name="T15" fmla="*/ 2147483647 h 280"/>
                  <a:gd name="T16" fmla="*/ 2147483647 w 213"/>
                  <a:gd name="T17" fmla="*/ 2147483647 h 280"/>
                  <a:gd name="T18" fmla="*/ 2147483647 w 213"/>
                  <a:gd name="T19" fmla="*/ 2147483647 h 280"/>
                  <a:gd name="T20" fmla="*/ 2147483647 w 213"/>
                  <a:gd name="T21" fmla="*/ 2147483647 h 280"/>
                  <a:gd name="T22" fmla="*/ 2147483647 w 213"/>
                  <a:gd name="T23" fmla="*/ 2147483647 h 280"/>
                  <a:gd name="T24" fmla="*/ 2147483647 w 213"/>
                  <a:gd name="T25" fmla="*/ 2147483647 h 280"/>
                  <a:gd name="T26" fmla="*/ 2147483647 w 213"/>
                  <a:gd name="T27" fmla="*/ 2147483647 h 280"/>
                  <a:gd name="T28" fmla="*/ 0 w 213"/>
                  <a:gd name="T29" fmla="*/ 2147483647 h 280"/>
                  <a:gd name="T30" fmla="*/ 2147483647 w 213"/>
                  <a:gd name="T31" fmla="*/ 2147483647 h 280"/>
                  <a:gd name="T32" fmla="*/ 2147483647 w 213"/>
                  <a:gd name="T33" fmla="*/ 2147483647 h 280"/>
                  <a:gd name="T34" fmla="*/ 2147483647 w 213"/>
                  <a:gd name="T35" fmla="*/ 2147483647 h 280"/>
                  <a:gd name="T36" fmla="*/ 2147483647 w 213"/>
                  <a:gd name="T37" fmla="*/ 2147483647 h 280"/>
                  <a:gd name="T38" fmla="*/ 2147483647 w 213"/>
                  <a:gd name="T39" fmla="*/ 2147483647 h 280"/>
                  <a:gd name="T40" fmla="*/ 2147483647 w 213"/>
                  <a:gd name="T41" fmla="*/ 2147483647 h 280"/>
                  <a:gd name="T42" fmla="*/ 2147483647 w 213"/>
                  <a:gd name="T43" fmla="*/ 2147483647 h 280"/>
                  <a:gd name="T44" fmla="*/ 2147483647 w 213"/>
                  <a:gd name="T45" fmla="*/ 0 h 280"/>
                  <a:gd name="T46" fmla="*/ 2147483647 w 213"/>
                  <a:gd name="T47" fmla="*/ 2147483647 h 280"/>
                  <a:gd name="T48" fmla="*/ 2147483647 w 213"/>
                  <a:gd name="T49" fmla="*/ 2147483647 h 280"/>
                  <a:gd name="T50" fmla="*/ 2147483647 w 213"/>
                  <a:gd name="T51" fmla="*/ 2147483647 h 280"/>
                  <a:gd name="T52" fmla="*/ 2147483647 w 213"/>
                  <a:gd name="T53" fmla="*/ 2147483647 h 280"/>
                  <a:gd name="T54" fmla="*/ 2147483647 w 213"/>
                  <a:gd name="T55" fmla="*/ 2147483647 h 280"/>
                  <a:gd name="T56" fmla="*/ 2147483647 w 213"/>
                  <a:gd name="T57" fmla="*/ 2147483647 h 280"/>
                  <a:gd name="T58" fmla="*/ 2147483647 w 213"/>
                  <a:gd name="T59" fmla="*/ 2147483647 h 280"/>
                  <a:gd name="T60" fmla="*/ 2147483647 w 213"/>
                  <a:gd name="T61" fmla="*/ 2147483647 h 280"/>
                  <a:gd name="T62" fmla="*/ 2147483647 w 213"/>
                  <a:gd name="T63" fmla="*/ 2147483647 h 280"/>
                  <a:gd name="T64" fmla="*/ 2147483647 w 213"/>
                  <a:gd name="T65" fmla="*/ 2147483647 h 280"/>
                  <a:gd name="T66" fmla="*/ 2147483647 w 213"/>
                  <a:gd name="T67" fmla="*/ 2147483647 h 280"/>
                  <a:gd name="T68" fmla="*/ 2147483647 w 213"/>
                  <a:gd name="T69" fmla="*/ 2147483647 h 280"/>
                  <a:gd name="T70" fmla="*/ 2147483647 w 213"/>
                  <a:gd name="T71" fmla="*/ 2147483647 h 280"/>
                  <a:gd name="T72" fmla="*/ 2147483647 w 213"/>
                  <a:gd name="T73" fmla="*/ 2147483647 h 280"/>
                  <a:gd name="T74" fmla="*/ 2147483647 w 213"/>
                  <a:gd name="T75" fmla="*/ 2147483647 h 280"/>
                  <a:gd name="T76" fmla="*/ 2147483647 w 213"/>
                  <a:gd name="T77" fmla="*/ 2147483647 h 280"/>
                  <a:gd name="T78" fmla="*/ 2147483647 w 213"/>
                  <a:gd name="T79" fmla="*/ 2147483647 h 280"/>
                  <a:gd name="T80" fmla="*/ 2147483647 w 213"/>
                  <a:gd name="T81" fmla="*/ 2147483647 h 280"/>
                  <a:gd name="T82" fmla="*/ 2147483647 w 213"/>
                  <a:gd name="T83" fmla="*/ 2147483647 h 280"/>
                  <a:gd name="T84" fmla="*/ 2147483647 w 213"/>
                  <a:gd name="T85" fmla="*/ 2147483647 h 280"/>
                  <a:gd name="T86" fmla="*/ 2147483647 w 213"/>
                  <a:gd name="T87" fmla="*/ 2147483647 h 280"/>
                  <a:gd name="T88" fmla="*/ 2147483647 w 213"/>
                  <a:gd name="T89" fmla="*/ 2147483647 h 280"/>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213"/>
                  <a:gd name="T136" fmla="*/ 0 h 280"/>
                  <a:gd name="T137" fmla="*/ 213 w 213"/>
                  <a:gd name="T138" fmla="*/ 280 h 280"/>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213" h="280">
                    <a:moveTo>
                      <a:pt x="121" y="271"/>
                    </a:moveTo>
                    <a:lnTo>
                      <a:pt x="119" y="267"/>
                    </a:lnTo>
                    <a:lnTo>
                      <a:pt x="117" y="265"/>
                    </a:lnTo>
                    <a:lnTo>
                      <a:pt x="109" y="263"/>
                    </a:lnTo>
                    <a:lnTo>
                      <a:pt x="101" y="261"/>
                    </a:lnTo>
                    <a:lnTo>
                      <a:pt x="100" y="257"/>
                    </a:lnTo>
                    <a:lnTo>
                      <a:pt x="98" y="255"/>
                    </a:lnTo>
                    <a:lnTo>
                      <a:pt x="100" y="254"/>
                    </a:lnTo>
                    <a:lnTo>
                      <a:pt x="101" y="250"/>
                    </a:lnTo>
                    <a:lnTo>
                      <a:pt x="101" y="246"/>
                    </a:lnTo>
                    <a:lnTo>
                      <a:pt x="101" y="240"/>
                    </a:lnTo>
                    <a:lnTo>
                      <a:pt x="100" y="238"/>
                    </a:lnTo>
                    <a:lnTo>
                      <a:pt x="98" y="236"/>
                    </a:lnTo>
                    <a:lnTo>
                      <a:pt x="94" y="234"/>
                    </a:lnTo>
                    <a:lnTo>
                      <a:pt x="92" y="232"/>
                    </a:lnTo>
                    <a:lnTo>
                      <a:pt x="90" y="229"/>
                    </a:lnTo>
                    <a:lnTo>
                      <a:pt x="88" y="227"/>
                    </a:lnTo>
                    <a:lnTo>
                      <a:pt x="71" y="225"/>
                    </a:lnTo>
                    <a:lnTo>
                      <a:pt x="54" y="221"/>
                    </a:lnTo>
                    <a:lnTo>
                      <a:pt x="52" y="219"/>
                    </a:lnTo>
                    <a:lnTo>
                      <a:pt x="50" y="217"/>
                    </a:lnTo>
                    <a:lnTo>
                      <a:pt x="46" y="215"/>
                    </a:lnTo>
                    <a:lnTo>
                      <a:pt x="44" y="211"/>
                    </a:lnTo>
                    <a:lnTo>
                      <a:pt x="42" y="209"/>
                    </a:lnTo>
                    <a:lnTo>
                      <a:pt x="38" y="208"/>
                    </a:lnTo>
                    <a:lnTo>
                      <a:pt x="32" y="206"/>
                    </a:lnTo>
                    <a:lnTo>
                      <a:pt x="25" y="202"/>
                    </a:lnTo>
                    <a:lnTo>
                      <a:pt x="23" y="200"/>
                    </a:lnTo>
                    <a:lnTo>
                      <a:pt x="21" y="198"/>
                    </a:lnTo>
                    <a:lnTo>
                      <a:pt x="21" y="179"/>
                    </a:lnTo>
                    <a:lnTo>
                      <a:pt x="21" y="160"/>
                    </a:lnTo>
                    <a:lnTo>
                      <a:pt x="23" y="156"/>
                    </a:lnTo>
                    <a:lnTo>
                      <a:pt x="25" y="154"/>
                    </a:lnTo>
                    <a:lnTo>
                      <a:pt x="27" y="150"/>
                    </a:lnTo>
                    <a:lnTo>
                      <a:pt x="29" y="144"/>
                    </a:lnTo>
                    <a:lnTo>
                      <a:pt x="27" y="138"/>
                    </a:lnTo>
                    <a:lnTo>
                      <a:pt x="25" y="135"/>
                    </a:lnTo>
                    <a:lnTo>
                      <a:pt x="23" y="133"/>
                    </a:lnTo>
                    <a:lnTo>
                      <a:pt x="21" y="129"/>
                    </a:lnTo>
                    <a:lnTo>
                      <a:pt x="17" y="123"/>
                    </a:lnTo>
                    <a:lnTo>
                      <a:pt x="15" y="115"/>
                    </a:lnTo>
                    <a:lnTo>
                      <a:pt x="11" y="113"/>
                    </a:lnTo>
                    <a:lnTo>
                      <a:pt x="9" y="112"/>
                    </a:lnTo>
                    <a:lnTo>
                      <a:pt x="6" y="106"/>
                    </a:lnTo>
                    <a:lnTo>
                      <a:pt x="0" y="100"/>
                    </a:lnTo>
                    <a:lnTo>
                      <a:pt x="4" y="98"/>
                    </a:lnTo>
                    <a:lnTo>
                      <a:pt x="6" y="96"/>
                    </a:lnTo>
                    <a:lnTo>
                      <a:pt x="13" y="94"/>
                    </a:lnTo>
                    <a:lnTo>
                      <a:pt x="21" y="90"/>
                    </a:lnTo>
                    <a:lnTo>
                      <a:pt x="23" y="89"/>
                    </a:lnTo>
                    <a:lnTo>
                      <a:pt x="25" y="87"/>
                    </a:lnTo>
                    <a:lnTo>
                      <a:pt x="27" y="79"/>
                    </a:lnTo>
                    <a:lnTo>
                      <a:pt x="29" y="62"/>
                    </a:lnTo>
                    <a:lnTo>
                      <a:pt x="27" y="46"/>
                    </a:lnTo>
                    <a:lnTo>
                      <a:pt x="25" y="39"/>
                    </a:lnTo>
                    <a:lnTo>
                      <a:pt x="23" y="35"/>
                    </a:lnTo>
                    <a:lnTo>
                      <a:pt x="21" y="33"/>
                    </a:lnTo>
                    <a:lnTo>
                      <a:pt x="21" y="23"/>
                    </a:lnTo>
                    <a:lnTo>
                      <a:pt x="21" y="14"/>
                    </a:lnTo>
                    <a:lnTo>
                      <a:pt x="23" y="12"/>
                    </a:lnTo>
                    <a:lnTo>
                      <a:pt x="25" y="10"/>
                    </a:lnTo>
                    <a:lnTo>
                      <a:pt x="27" y="6"/>
                    </a:lnTo>
                    <a:lnTo>
                      <a:pt x="30" y="4"/>
                    </a:lnTo>
                    <a:lnTo>
                      <a:pt x="32" y="2"/>
                    </a:lnTo>
                    <a:lnTo>
                      <a:pt x="34" y="0"/>
                    </a:lnTo>
                    <a:lnTo>
                      <a:pt x="36" y="2"/>
                    </a:lnTo>
                    <a:lnTo>
                      <a:pt x="38" y="4"/>
                    </a:lnTo>
                    <a:lnTo>
                      <a:pt x="55" y="2"/>
                    </a:lnTo>
                    <a:lnTo>
                      <a:pt x="73" y="0"/>
                    </a:lnTo>
                    <a:lnTo>
                      <a:pt x="75" y="2"/>
                    </a:lnTo>
                    <a:lnTo>
                      <a:pt x="78" y="4"/>
                    </a:lnTo>
                    <a:lnTo>
                      <a:pt x="80" y="12"/>
                    </a:lnTo>
                    <a:lnTo>
                      <a:pt x="82" y="18"/>
                    </a:lnTo>
                    <a:lnTo>
                      <a:pt x="84" y="21"/>
                    </a:lnTo>
                    <a:lnTo>
                      <a:pt x="88" y="23"/>
                    </a:lnTo>
                    <a:lnTo>
                      <a:pt x="103" y="25"/>
                    </a:lnTo>
                    <a:lnTo>
                      <a:pt x="121" y="29"/>
                    </a:lnTo>
                    <a:lnTo>
                      <a:pt x="124" y="31"/>
                    </a:lnTo>
                    <a:lnTo>
                      <a:pt x="126" y="33"/>
                    </a:lnTo>
                    <a:lnTo>
                      <a:pt x="128" y="35"/>
                    </a:lnTo>
                    <a:lnTo>
                      <a:pt x="130" y="39"/>
                    </a:lnTo>
                    <a:lnTo>
                      <a:pt x="134" y="41"/>
                    </a:lnTo>
                    <a:lnTo>
                      <a:pt x="136" y="42"/>
                    </a:lnTo>
                    <a:lnTo>
                      <a:pt x="138" y="44"/>
                    </a:lnTo>
                    <a:lnTo>
                      <a:pt x="142" y="48"/>
                    </a:lnTo>
                    <a:lnTo>
                      <a:pt x="144" y="50"/>
                    </a:lnTo>
                    <a:lnTo>
                      <a:pt x="146" y="52"/>
                    </a:lnTo>
                    <a:lnTo>
                      <a:pt x="148" y="54"/>
                    </a:lnTo>
                    <a:lnTo>
                      <a:pt x="151" y="58"/>
                    </a:lnTo>
                    <a:lnTo>
                      <a:pt x="153" y="60"/>
                    </a:lnTo>
                    <a:lnTo>
                      <a:pt x="155" y="62"/>
                    </a:lnTo>
                    <a:lnTo>
                      <a:pt x="157" y="64"/>
                    </a:lnTo>
                    <a:lnTo>
                      <a:pt x="159" y="67"/>
                    </a:lnTo>
                    <a:lnTo>
                      <a:pt x="163" y="69"/>
                    </a:lnTo>
                    <a:lnTo>
                      <a:pt x="165" y="71"/>
                    </a:lnTo>
                    <a:lnTo>
                      <a:pt x="167" y="75"/>
                    </a:lnTo>
                    <a:lnTo>
                      <a:pt x="171" y="77"/>
                    </a:lnTo>
                    <a:lnTo>
                      <a:pt x="172" y="79"/>
                    </a:lnTo>
                    <a:lnTo>
                      <a:pt x="174" y="81"/>
                    </a:lnTo>
                    <a:lnTo>
                      <a:pt x="176" y="100"/>
                    </a:lnTo>
                    <a:lnTo>
                      <a:pt x="176" y="117"/>
                    </a:lnTo>
                    <a:lnTo>
                      <a:pt x="178" y="137"/>
                    </a:lnTo>
                    <a:lnTo>
                      <a:pt x="180" y="154"/>
                    </a:lnTo>
                    <a:lnTo>
                      <a:pt x="182" y="156"/>
                    </a:lnTo>
                    <a:lnTo>
                      <a:pt x="184" y="160"/>
                    </a:lnTo>
                    <a:lnTo>
                      <a:pt x="186" y="161"/>
                    </a:lnTo>
                    <a:lnTo>
                      <a:pt x="190" y="163"/>
                    </a:lnTo>
                    <a:lnTo>
                      <a:pt x="192" y="165"/>
                    </a:lnTo>
                    <a:lnTo>
                      <a:pt x="194" y="169"/>
                    </a:lnTo>
                    <a:lnTo>
                      <a:pt x="195" y="171"/>
                    </a:lnTo>
                    <a:lnTo>
                      <a:pt x="199" y="173"/>
                    </a:lnTo>
                    <a:lnTo>
                      <a:pt x="201" y="175"/>
                    </a:lnTo>
                    <a:lnTo>
                      <a:pt x="203" y="179"/>
                    </a:lnTo>
                    <a:lnTo>
                      <a:pt x="205" y="184"/>
                    </a:lnTo>
                    <a:lnTo>
                      <a:pt x="209" y="192"/>
                    </a:lnTo>
                    <a:lnTo>
                      <a:pt x="211" y="196"/>
                    </a:lnTo>
                    <a:lnTo>
                      <a:pt x="213" y="198"/>
                    </a:lnTo>
                    <a:lnTo>
                      <a:pt x="213" y="211"/>
                    </a:lnTo>
                    <a:lnTo>
                      <a:pt x="213" y="227"/>
                    </a:lnTo>
                    <a:lnTo>
                      <a:pt x="211" y="229"/>
                    </a:lnTo>
                    <a:lnTo>
                      <a:pt x="209" y="232"/>
                    </a:lnTo>
                    <a:lnTo>
                      <a:pt x="182" y="234"/>
                    </a:lnTo>
                    <a:lnTo>
                      <a:pt x="155" y="236"/>
                    </a:lnTo>
                    <a:lnTo>
                      <a:pt x="163" y="244"/>
                    </a:lnTo>
                    <a:lnTo>
                      <a:pt x="171" y="250"/>
                    </a:lnTo>
                    <a:lnTo>
                      <a:pt x="172" y="254"/>
                    </a:lnTo>
                    <a:lnTo>
                      <a:pt x="174" y="255"/>
                    </a:lnTo>
                    <a:lnTo>
                      <a:pt x="172" y="257"/>
                    </a:lnTo>
                    <a:lnTo>
                      <a:pt x="171" y="261"/>
                    </a:lnTo>
                    <a:lnTo>
                      <a:pt x="163" y="261"/>
                    </a:lnTo>
                    <a:lnTo>
                      <a:pt x="155" y="261"/>
                    </a:lnTo>
                    <a:lnTo>
                      <a:pt x="155" y="271"/>
                    </a:lnTo>
                    <a:lnTo>
                      <a:pt x="155" y="280"/>
                    </a:lnTo>
                    <a:lnTo>
                      <a:pt x="138" y="275"/>
                    </a:lnTo>
                    <a:lnTo>
                      <a:pt x="121" y="271"/>
                    </a:lnTo>
                  </a:path>
                </a:pathLst>
              </a:custGeom>
              <a:grpFill/>
              <a:ln w="3175">
                <a:solidFill>
                  <a:srgbClr val="FF8300"/>
                </a:solidFill>
                <a:round/>
                <a:headEnd/>
                <a:tailEnd/>
              </a:ln>
            </p:spPr>
            <p:txBody>
              <a:bodyPr/>
              <a:lstStyle/>
              <a:p>
                <a:pPr>
                  <a:defRPr/>
                </a:pPr>
                <a:endParaRPr lang="en-GB" sz="1400">
                  <a:solidFill>
                    <a:schemeClr val="tx2"/>
                  </a:solidFill>
                </a:endParaRPr>
              </a:p>
            </p:txBody>
          </p:sp>
          <p:sp>
            <p:nvSpPr>
              <p:cNvPr id="425" name="Freeform 310"/>
              <p:cNvSpPr>
                <a:spLocks/>
              </p:cNvSpPr>
              <p:nvPr>
                <p:custDataLst>
                  <p:tags r:id="rId70"/>
                </p:custDataLst>
              </p:nvPr>
            </p:nvSpPr>
            <p:spPr bwMode="gray">
              <a:xfrm>
                <a:off x="1201804" y="5375350"/>
                <a:ext cx="275914" cy="381821"/>
              </a:xfrm>
              <a:custGeom>
                <a:avLst/>
                <a:gdLst>
                  <a:gd name="T0" fmla="*/ 2147483647 w 204"/>
                  <a:gd name="T1" fmla="*/ 2147483647 h 290"/>
                  <a:gd name="T2" fmla="*/ 2147483647 w 204"/>
                  <a:gd name="T3" fmla="*/ 2147483647 h 290"/>
                  <a:gd name="T4" fmla="*/ 2147483647 w 204"/>
                  <a:gd name="T5" fmla="*/ 2147483647 h 290"/>
                  <a:gd name="T6" fmla="*/ 2147483647 w 204"/>
                  <a:gd name="T7" fmla="*/ 2147483647 h 290"/>
                  <a:gd name="T8" fmla="*/ 2147483647 w 204"/>
                  <a:gd name="T9" fmla="*/ 2147483647 h 290"/>
                  <a:gd name="T10" fmla="*/ 2147483647 w 204"/>
                  <a:gd name="T11" fmla="*/ 2147483647 h 290"/>
                  <a:gd name="T12" fmla="*/ 2147483647 w 204"/>
                  <a:gd name="T13" fmla="*/ 2147483647 h 290"/>
                  <a:gd name="T14" fmla="*/ 2147483647 w 204"/>
                  <a:gd name="T15" fmla="*/ 2147483647 h 290"/>
                  <a:gd name="T16" fmla="*/ 2147483647 w 204"/>
                  <a:gd name="T17" fmla="*/ 2147483647 h 290"/>
                  <a:gd name="T18" fmla="*/ 2147483647 w 204"/>
                  <a:gd name="T19" fmla="*/ 2147483647 h 290"/>
                  <a:gd name="T20" fmla="*/ 0 w 204"/>
                  <a:gd name="T21" fmla="*/ 2147483647 h 290"/>
                  <a:gd name="T22" fmla="*/ 2147483647 w 204"/>
                  <a:gd name="T23" fmla="*/ 2147483647 h 290"/>
                  <a:gd name="T24" fmla="*/ 2147483647 w 204"/>
                  <a:gd name="T25" fmla="*/ 2147483647 h 290"/>
                  <a:gd name="T26" fmla="*/ 2147483647 w 204"/>
                  <a:gd name="T27" fmla="*/ 2147483647 h 290"/>
                  <a:gd name="T28" fmla="*/ 2147483647 w 204"/>
                  <a:gd name="T29" fmla="*/ 2147483647 h 290"/>
                  <a:gd name="T30" fmla="*/ 2147483647 w 204"/>
                  <a:gd name="T31" fmla="*/ 2147483647 h 290"/>
                  <a:gd name="T32" fmla="*/ 2147483647 w 204"/>
                  <a:gd name="T33" fmla="*/ 2147483647 h 290"/>
                  <a:gd name="T34" fmla="*/ 2147483647 w 204"/>
                  <a:gd name="T35" fmla="*/ 2147483647 h 290"/>
                  <a:gd name="T36" fmla="*/ 2147483647 w 204"/>
                  <a:gd name="T37" fmla="*/ 2147483647 h 290"/>
                  <a:gd name="T38" fmla="*/ 2147483647 w 204"/>
                  <a:gd name="T39" fmla="*/ 2147483647 h 290"/>
                  <a:gd name="T40" fmla="*/ 2147483647 w 204"/>
                  <a:gd name="T41" fmla="*/ 2147483647 h 290"/>
                  <a:gd name="T42" fmla="*/ 2147483647 w 204"/>
                  <a:gd name="T43" fmla="*/ 2147483647 h 290"/>
                  <a:gd name="T44" fmla="*/ 2147483647 w 204"/>
                  <a:gd name="T45" fmla="*/ 2147483647 h 290"/>
                  <a:gd name="T46" fmla="*/ 2147483647 w 204"/>
                  <a:gd name="T47" fmla="*/ 2147483647 h 290"/>
                  <a:gd name="T48" fmla="*/ 2147483647 w 204"/>
                  <a:gd name="T49" fmla="*/ 0 h 290"/>
                  <a:gd name="T50" fmla="*/ 2147483647 w 204"/>
                  <a:gd name="T51" fmla="*/ 2147483647 h 290"/>
                  <a:gd name="T52" fmla="*/ 2147483647 w 204"/>
                  <a:gd name="T53" fmla="*/ 2147483647 h 290"/>
                  <a:gd name="T54" fmla="*/ 2147483647 w 204"/>
                  <a:gd name="T55" fmla="*/ 2147483647 h 290"/>
                  <a:gd name="T56" fmla="*/ 2147483647 w 204"/>
                  <a:gd name="T57" fmla="*/ 2147483647 h 290"/>
                  <a:gd name="T58" fmla="*/ 2147483647 w 204"/>
                  <a:gd name="T59" fmla="*/ 2147483647 h 290"/>
                  <a:gd name="T60" fmla="*/ 2147483647 w 204"/>
                  <a:gd name="T61" fmla="*/ 2147483647 h 290"/>
                  <a:gd name="T62" fmla="*/ 2147483647 w 204"/>
                  <a:gd name="T63" fmla="*/ 2147483647 h 290"/>
                  <a:gd name="T64" fmla="*/ 2147483647 w 204"/>
                  <a:gd name="T65" fmla="*/ 2147483647 h 290"/>
                  <a:gd name="T66" fmla="*/ 2147483647 w 204"/>
                  <a:gd name="T67" fmla="*/ 2147483647 h 290"/>
                  <a:gd name="T68" fmla="*/ 2147483647 w 204"/>
                  <a:gd name="T69" fmla="*/ 2147483647 h 290"/>
                  <a:gd name="T70" fmla="*/ 2147483647 w 204"/>
                  <a:gd name="T71" fmla="*/ 2147483647 h 290"/>
                  <a:gd name="T72" fmla="*/ 2147483647 w 204"/>
                  <a:gd name="T73" fmla="*/ 2147483647 h 290"/>
                  <a:gd name="T74" fmla="*/ 2147483647 w 204"/>
                  <a:gd name="T75" fmla="*/ 2147483647 h 290"/>
                  <a:gd name="T76" fmla="*/ 2147483647 w 204"/>
                  <a:gd name="T77" fmla="*/ 2147483647 h 290"/>
                  <a:gd name="T78" fmla="*/ 2147483647 w 204"/>
                  <a:gd name="T79" fmla="*/ 2147483647 h 290"/>
                  <a:gd name="T80" fmla="*/ 2147483647 w 204"/>
                  <a:gd name="T81" fmla="*/ 2147483647 h 290"/>
                  <a:gd name="T82" fmla="*/ 2147483647 w 204"/>
                  <a:gd name="T83" fmla="*/ 2147483647 h 290"/>
                  <a:gd name="T84" fmla="*/ 2147483647 w 204"/>
                  <a:gd name="T85" fmla="*/ 2147483647 h 290"/>
                  <a:gd name="T86" fmla="*/ 2147483647 w 204"/>
                  <a:gd name="T87" fmla="*/ 2147483647 h 290"/>
                  <a:gd name="T88" fmla="*/ 2147483647 w 204"/>
                  <a:gd name="T89" fmla="*/ 2147483647 h 290"/>
                  <a:gd name="T90" fmla="*/ 2147483647 w 204"/>
                  <a:gd name="T91" fmla="*/ 2147483647 h 290"/>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204"/>
                  <a:gd name="T139" fmla="*/ 0 h 290"/>
                  <a:gd name="T140" fmla="*/ 204 w 204"/>
                  <a:gd name="T141" fmla="*/ 290 h 290"/>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204" h="290">
                    <a:moveTo>
                      <a:pt x="83" y="290"/>
                    </a:moveTo>
                    <a:lnTo>
                      <a:pt x="81" y="288"/>
                    </a:lnTo>
                    <a:lnTo>
                      <a:pt x="77" y="286"/>
                    </a:lnTo>
                    <a:lnTo>
                      <a:pt x="71" y="284"/>
                    </a:lnTo>
                    <a:lnTo>
                      <a:pt x="64" y="280"/>
                    </a:lnTo>
                    <a:lnTo>
                      <a:pt x="62" y="278"/>
                    </a:lnTo>
                    <a:lnTo>
                      <a:pt x="58" y="276"/>
                    </a:lnTo>
                    <a:lnTo>
                      <a:pt x="56" y="274"/>
                    </a:lnTo>
                    <a:lnTo>
                      <a:pt x="54" y="272"/>
                    </a:lnTo>
                    <a:lnTo>
                      <a:pt x="52" y="269"/>
                    </a:lnTo>
                    <a:lnTo>
                      <a:pt x="48" y="267"/>
                    </a:lnTo>
                    <a:lnTo>
                      <a:pt x="46" y="249"/>
                    </a:lnTo>
                    <a:lnTo>
                      <a:pt x="45" y="232"/>
                    </a:lnTo>
                    <a:lnTo>
                      <a:pt x="41" y="230"/>
                    </a:lnTo>
                    <a:lnTo>
                      <a:pt x="39" y="228"/>
                    </a:lnTo>
                    <a:lnTo>
                      <a:pt x="37" y="221"/>
                    </a:lnTo>
                    <a:lnTo>
                      <a:pt x="35" y="213"/>
                    </a:lnTo>
                    <a:lnTo>
                      <a:pt x="31" y="211"/>
                    </a:lnTo>
                    <a:lnTo>
                      <a:pt x="29" y="209"/>
                    </a:lnTo>
                    <a:lnTo>
                      <a:pt x="27" y="205"/>
                    </a:lnTo>
                    <a:lnTo>
                      <a:pt x="25" y="203"/>
                    </a:lnTo>
                    <a:lnTo>
                      <a:pt x="21" y="201"/>
                    </a:lnTo>
                    <a:lnTo>
                      <a:pt x="20" y="200"/>
                    </a:lnTo>
                    <a:lnTo>
                      <a:pt x="18" y="196"/>
                    </a:lnTo>
                    <a:lnTo>
                      <a:pt x="16" y="194"/>
                    </a:lnTo>
                    <a:lnTo>
                      <a:pt x="12" y="192"/>
                    </a:lnTo>
                    <a:lnTo>
                      <a:pt x="10" y="190"/>
                    </a:lnTo>
                    <a:lnTo>
                      <a:pt x="8" y="171"/>
                    </a:lnTo>
                    <a:lnTo>
                      <a:pt x="8" y="153"/>
                    </a:lnTo>
                    <a:lnTo>
                      <a:pt x="6" y="134"/>
                    </a:lnTo>
                    <a:lnTo>
                      <a:pt x="6" y="117"/>
                    </a:lnTo>
                    <a:lnTo>
                      <a:pt x="2" y="115"/>
                    </a:lnTo>
                    <a:lnTo>
                      <a:pt x="0" y="111"/>
                    </a:lnTo>
                    <a:lnTo>
                      <a:pt x="2" y="109"/>
                    </a:lnTo>
                    <a:lnTo>
                      <a:pt x="6" y="107"/>
                    </a:lnTo>
                    <a:lnTo>
                      <a:pt x="10" y="107"/>
                    </a:lnTo>
                    <a:lnTo>
                      <a:pt x="16" y="107"/>
                    </a:lnTo>
                    <a:lnTo>
                      <a:pt x="18" y="109"/>
                    </a:lnTo>
                    <a:lnTo>
                      <a:pt x="20" y="111"/>
                    </a:lnTo>
                    <a:lnTo>
                      <a:pt x="25" y="111"/>
                    </a:lnTo>
                    <a:lnTo>
                      <a:pt x="29" y="111"/>
                    </a:lnTo>
                    <a:lnTo>
                      <a:pt x="31" y="109"/>
                    </a:lnTo>
                    <a:lnTo>
                      <a:pt x="35" y="107"/>
                    </a:lnTo>
                    <a:lnTo>
                      <a:pt x="37" y="104"/>
                    </a:lnTo>
                    <a:lnTo>
                      <a:pt x="39" y="102"/>
                    </a:lnTo>
                    <a:lnTo>
                      <a:pt x="41" y="100"/>
                    </a:lnTo>
                    <a:lnTo>
                      <a:pt x="45" y="98"/>
                    </a:lnTo>
                    <a:lnTo>
                      <a:pt x="50" y="90"/>
                    </a:lnTo>
                    <a:lnTo>
                      <a:pt x="58" y="82"/>
                    </a:lnTo>
                    <a:lnTo>
                      <a:pt x="62" y="81"/>
                    </a:lnTo>
                    <a:lnTo>
                      <a:pt x="64" y="79"/>
                    </a:lnTo>
                    <a:lnTo>
                      <a:pt x="75" y="75"/>
                    </a:lnTo>
                    <a:lnTo>
                      <a:pt x="89" y="73"/>
                    </a:lnTo>
                    <a:lnTo>
                      <a:pt x="91" y="71"/>
                    </a:lnTo>
                    <a:lnTo>
                      <a:pt x="92" y="69"/>
                    </a:lnTo>
                    <a:lnTo>
                      <a:pt x="94" y="61"/>
                    </a:lnTo>
                    <a:lnTo>
                      <a:pt x="96" y="54"/>
                    </a:lnTo>
                    <a:lnTo>
                      <a:pt x="100" y="52"/>
                    </a:lnTo>
                    <a:lnTo>
                      <a:pt x="102" y="50"/>
                    </a:lnTo>
                    <a:lnTo>
                      <a:pt x="104" y="38"/>
                    </a:lnTo>
                    <a:lnTo>
                      <a:pt x="108" y="29"/>
                    </a:lnTo>
                    <a:lnTo>
                      <a:pt x="94" y="29"/>
                    </a:lnTo>
                    <a:lnTo>
                      <a:pt x="83" y="29"/>
                    </a:lnTo>
                    <a:lnTo>
                      <a:pt x="81" y="27"/>
                    </a:lnTo>
                    <a:lnTo>
                      <a:pt x="77" y="25"/>
                    </a:lnTo>
                    <a:lnTo>
                      <a:pt x="81" y="23"/>
                    </a:lnTo>
                    <a:lnTo>
                      <a:pt x="83" y="19"/>
                    </a:lnTo>
                    <a:lnTo>
                      <a:pt x="104" y="17"/>
                    </a:lnTo>
                    <a:lnTo>
                      <a:pt x="127" y="15"/>
                    </a:lnTo>
                    <a:lnTo>
                      <a:pt x="129" y="13"/>
                    </a:lnTo>
                    <a:lnTo>
                      <a:pt x="131" y="10"/>
                    </a:lnTo>
                    <a:lnTo>
                      <a:pt x="133" y="8"/>
                    </a:lnTo>
                    <a:lnTo>
                      <a:pt x="137" y="6"/>
                    </a:lnTo>
                    <a:lnTo>
                      <a:pt x="139" y="4"/>
                    </a:lnTo>
                    <a:lnTo>
                      <a:pt x="140" y="0"/>
                    </a:lnTo>
                    <a:lnTo>
                      <a:pt x="142" y="4"/>
                    </a:lnTo>
                    <a:lnTo>
                      <a:pt x="146" y="6"/>
                    </a:lnTo>
                    <a:lnTo>
                      <a:pt x="148" y="8"/>
                    </a:lnTo>
                    <a:lnTo>
                      <a:pt x="150" y="10"/>
                    </a:lnTo>
                    <a:lnTo>
                      <a:pt x="152" y="13"/>
                    </a:lnTo>
                    <a:lnTo>
                      <a:pt x="156" y="15"/>
                    </a:lnTo>
                    <a:lnTo>
                      <a:pt x="162" y="23"/>
                    </a:lnTo>
                    <a:lnTo>
                      <a:pt x="169" y="29"/>
                    </a:lnTo>
                    <a:lnTo>
                      <a:pt x="173" y="33"/>
                    </a:lnTo>
                    <a:lnTo>
                      <a:pt x="175" y="35"/>
                    </a:lnTo>
                    <a:lnTo>
                      <a:pt x="177" y="46"/>
                    </a:lnTo>
                    <a:lnTo>
                      <a:pt x="179" y="58"/>
                    </a:lnTo>
                    <a:lnTo>
                      <a:pt x="183" y="61"/>
                    </a:lnTo>
                    <a:lnTo>
                      <a:pt x="185" y="63"/>
                    </a:lnTo>
                    <a:lnTo>
                      <a:pt x="185" y="90"/>
                    </a:lnTo>
                    <a:lnTo>
                      <a:pt x="185" y="117"/>
                    </a:lnTo>
                    <a:lnTo>
                      <a:pt x="192" y="117"/>
                    </a:lnTo>
                    <a:lnTo>
                      <a:pt x="200" y="117"/>
                    </a:lnTo>
                    <a:lnTo>
                      <a:pt x="202" y="119"/>
                    </a:lnTo>
                    <a:lnTo>
                      <a:pt x="204" y="121"/>
                    </a:lnTo>
                    <a:lnTo>
                      <a:pt x="204" y="127"/>
                    </a:lnTo>
                    <a:lnTo>
                      <a:pt x="204" y="130"/>
                    </a:lnTo>
                    <a:lnTo>
                      <a:pt x="202" y="134"/>
                    </a:lnTo>
                    <a:lnTo>
                      <a:pt x="200" y="136"/>
                    </a:lnTo>
                    <a:lnTo>
                      <a:pt x="196" y="140"/>
                    </a:lnTo>
                    <a:lnTo>
                      <a:pt x="196" y="152"/>
                    </a:lnTo>
                    <a:lnTo>
                      <a:pt x="196" y="161"/>
                    </a:lnTo>
                    <a:lnTo>
                      <a:pt x="200" y="165"/>
                    </a:lnTo>
                    <a:lnTo>
                      <a:pt x="202" y="167"/>
                    </a:lnTo>
                    <a:lnTo>
                      <a:pt x="204" y="169"/>
                    </a:lnTo>
                    <a:lnTo>
                      <a:pt x="204" y="175"/>
                    </a:lnTo>
                    <a:lnTo>
                      <a:pt x="204" y="180"/>
                    </a:lnTo>
                    <a:lnTo>
                      <a:pt x="202" y="182"/>
                    </a:lnTo>
                    <a:lnTo>
                      <a:pt x="200" y="184"/>
                    </a:lnTo>
                    <a:lnTo>
                      <a:pt x="196" y="186"/>
                    </a:lnTo>
                    <a:lnTo>
                      <a:pt x="194" y="190"/>
                    </a:lnTo>
                    <a:lnTo>
                      <a:pt x="192" y="192"/>
                    </a:lnTo>
                    <a:lnTo>
                      <a:pt x="188" y="194"/>
                    </a:lnTo>
                    <a:lnTo>
                      <a:pt x="169" y="198"/>
                    </a:lnTo>
                    <a:lnTo>
                      <a:pt x="158" y="200"/>
                    </a:lnTo>
                    <a:lnTo>
                      <a:pt x="152" y="203"/>
                    </a:lnTo>
                    <a:lnTo>
                      <a:pt x="146" y="209"/>
                    </a:lnTo>
                    <a:lnTo>
                      <a:pt x="152" y="215"/>
                    </a:lnTo>
                    <a:lnTo>
                      <a:pt x="160" y="223"/>
                    </a:lnTo>
                    <a:lnTo>
                      <a:pt x="163" y="224"/>
                    </a:lnTo>
                    <a:lnTo>
                      <a:pt x="165" y="228"/>
                    </a:lnTo>
                    <a:lnTo>
                      <a:pt x="163" y="230"/>
                    </a:lnTo>
                    <a:lnTo>
                      <a:pt x="160" y="232"/>
                    </a:lnTo>
                    <a:lnTo>
                      <a:pt x="158" y="236"/>
                    </a:lnTo>
                    <a:lnTo>
                      <a:pt x="156" y="238"/>
                    </a:lnTo>
                    <a:lnTo>
                      <a:pt x="152" y="240"/>
                    </a:lnTo>
                    <a:lnTo>
                      <a:pt x="150" y="242"/>
                    </a:lnTo>
                    <a:lnTo>
                      <a:pt x="148" y="246"/>
                    </a:lnTo>
                    <a:lnTo>
                      <a:pt x="146" y="248"/>
                    </a:lnTo>
                    <a:lnTo>
                      <a:pt x="142" y="249"/>
                    </a:lnTo>
                    <a:lnTo>
                      <a:pt x="140" y="251"/>
                    </a:lnTo>
                    <a:lnTo>
                      <a:pt x="139" y="257"/>
                    </a:lnTo>
                    <a:lnTo>
                      <a:pt x="137" y="261"/>
                    </a:lnTo>
                    <a:lnTo>
                      <a:pt x="131" y="267"/>
                    </a:lnTo>
                    <a:lnTo>
                      <a:pt x="127" y="272"/>
                    </a:lnTo>
                    <a:lnTo>
                      <a:pt x="108" y="282"/>
                    </a:lnTo>
                    <a:lnTo>
                      <a:pt x="89" y="290"/>
                    </a:lnTo>
                    <a:lnTo>
                      <a:pt x="85" y="290"/>
                    </a:lnTo>
                    <a:lnTo>
                      <a:pt x="83" y="290"/>
                    </a:lnTo>
                  </a:path>
                </a:pathLst>
              </a:custGeom>
              <a:grpFill/>
              <a:ln w="3175">
                <a:solidFill>
                  <a:srgbClr val="FF8300"/>
                </a:solidFill>
                <a:round/>
                <a:headEnd/>
                <a:tailEnd/>
              </a:ln>
            </p:spPr>
            <p:txBody>
              <a:bodyPr/>
              <a:lstStyle/>
              <a:p>
                <a:pPr>
                  <a:defRPr/>
                </a:pPr>
                <a:endParaRPr lang="en-GB" sz="1400">
                  <a:solidFill>
                    <a:schemeClr val="tx2"/>
                  </a:solidFill>
                </a:endParaRPr>
              </a:p>
            </p:txBody>
          </p:sp>
          <p:sp>
            <p:nvSpPr>
              <p:cNvPr id="426" name="Freeform 311"/>
              <p:cNvSpPr>
                <a:spLocks/>
              </p:cNvSpPr>
              <p:nvPr>
                <p:custDataLst>
                  <p:tags r:id="rId71"/>
                </p:custDataLst>
              </p:nvPr>
            </p:nvSpPr>
            <p:spPr bwMode="gray">
              <a:xfrm>
                <a:off x="845066" y="5580196"/>
                <a:ext cx="149105" cy="112875"/>
              </a:xfrm>
              <a:custGeom>
                <a:avLst/>
                <a:gdLst>
                  <a:gd name="T0" fmla="*/ 2147483647 w 108"/>
                  <a:gd name="T1" fmla="*/ 2147483647 h 87"/>
                  <a:gd name="T2" fmla="*/ 2147483647 w 108"/>
                  <a:gd name="T3" fmla="*/ 2147483647 h 87"/>
                  <a:gd name="T4" fmla="*/ 2147483647 w 108"/>
                  <a:gd name="T5" fmla="*/ 2147483647 h 87"/>
                  <a:gd name="T6" fmla="*/ 2147483647 w 108"/>
                  <a:gd name="T7" fmla="*/ 2147483647 h 87"/>
                  <a:gd name="T8" fmla="*/ 2147483647 w 108"/>
                  <a:gd name="T9" fmla="*/ 2147483647 h 87"/>
                  <a:gd name="T10" fmla="*/ 2147483647 w 108"/>
                  <a:gd name="T11" fmla="*/ 2147483647 h 87"/>
                  <a:gd name="T12" fmla="*/ 0 w 108"/>
                  <a:gd name="T13" fmla="*/ 2147483647 h 87"/>
                  <a:gd name="T14" fmla="*/ 0 w 108"/>
                  <a:gd name="T15" fmla="*/ 2147483647 h 87"/>
                  <a:gd name="T16" fmla="*/ 0 w 108"/>
                  <a:gd name="T17" fmla="*/ 2147483647 h 87"/>
                  <a:gd name="T18" fmla="*/ 0 w 108"/>
                  <a:gd name="T19" fmla="*/ 2147483647 h 87"/>
                  <a:gd name="T20" fmla="*/ 0 w 108"/>
                  <a:gd name="T21" fmla="*/ 2147483647 h 87"/>
                  <a:gd name="T22" fmla="*/ 2147483647 w 108"/>
                  <a:gd name="T23" fmla="*/ 2147483647 h 87"/>
                  <a:gd name="T24" fmla="*/ 2147483647 w 108"/>
                  <a:gd name="T25" fmla="*/ 0 h 87"/>
                  <a:gd name="T26" fmla="*/ 2147483647 w 108"/>
                  <a:gd name="T27" fmla="*/ 0 h 87"/>
                  <a:gd name="T28" fmla="*/ 2147483647 w 108"/>
                  <a:gd name="T29" fmla="*/ 0 h 87"/>
                  <a:gd name="T30" fmla="*/ 2147483647 w 108"/>
                  <a:gd name="T31" fmla="*/ 2147483647 h 87"/>
                  <a:gd name="T32" fmla="*/ 2147483647 w 108"/>
                  <a:gd name="T33" fmla="*/ 2147483647 h 87"/>
                  <a:gd name="T34" fmla="*/ 2147483647 w 108"/>
                  <a:gd name="T35" fmla="*/ 2147483647 h 87"/>
                  <a:gd name="T36" fmla="*/ 2147483647 w 108"/>
                  <a:gd name="T37" fmla="*/ 2147483647 h 87"/>
                  <a:gd name="T38" fmla="*/ 2147483647 w 108"/>
                  <a:gd name="T39" fmla="*/ 2147483647 h 87"/>
                  <a:gd name="T40" fmla="*/ 2147483647 w 108"/>
                  <a:gd name="T41" fmla="*/ 2147483647 h 87"/>
                  <a:gd name="T42" fmla="*/ 2147483647 w 108"/>
                  <a:gd name="T43" fmla="*/ 2147483647 h 87"/>
                  <a:gd name="T44" fmla="*/ 2147483647 w 108"/>
                  <a:gd name="T45" fmla="*/ 2147483647 h 87"/>
                  <a:gd name="T46" fmla="*/ 2147483647 w 108"/>
                  <a:gd name="T47" fmla="*/ 2147483647 h 87"/>
                  <a:gd name="T48" fmla="*/ 2147483647 w 108"/>
                  <a:gd name="T49" fmla="*/ 2147483647 h 87"/>
                  <a:gd name="T50" fmla="*/ 2147483647 w 108"/>
                  <a:gd name="T51" fmla="*/ 2147483647 h 87"/>
                  <a:gd name="T52" fmla="*/ 2147483647 w 108"/>
                  <a:gd name="T53" fmla="*/ 2147483647 h 87"/>
                  <a:gd name="T54" fmla="*/ 2147483647 w 108"/>
                  <a:gd name="T55" fmla="*/ 2147483647 h 87"/>
                  <a:gd name="T56" fmla="*/ 2147483647 w 108"/>
                  <a:gd name="T57" fmla="*/ 0 h 87"/>
                  <a:gd name="T58" fmla="*/ 2147483647 w 108"/>
                  <a:gd name="T59" fmla="*/ 2147483647 h 87"/>
                  <a:gd name="T60" fmla="*/ 2147483647 w 108"/>
                  <a:gd name="T61" fmla="*/ 2147483647 h 87"/>
                  <a:gd name="T62" fmla="*/ 2147483647 w 108"/>
                  <a:gd name="T63" fmla="*/ 2147483647 h 87"/>
                  <a:gd name="T64" fmla="*/ 2147483647 w 108"/>
                  <a:gd name="T65" fmla="*/ 2147483647 h 87"/>
                  <a:gd name="T66" fmla="*/ 2147483647 w 108"/>
                  <a:gd name="T67" fmla="*/ 2147483647 h 87"/>
                  <a:gd name="T68" fmla="*/ 2147483647 w 108"/>
                  <a:gd name="T69" fmla="*/ 2147483647 h 87"/>
                  <a:gd name="T70" fmla="*/ 2147483647 w 108"/>
                  <a:gd name="T71" fmla="*/ 2147483647 h 87"/>
                  <a:gd name="T72" fmla="*/ 2147483647 w 108"/>
                  <a:gd name="T73" fmla="*/ 2147483647 h 87"/>
                  <a:gd name="T74" fmla="*/ 2147483647 w 108"/>
                  <a:gd name="T75" fmla="*/ 2147483647 h 87"/>
                  <a:gd name="T76" fmla="*/ 2147483647 w 108"/>
                  <a:gd name="T77" fmla="*/ 2147483647 h 87"/>
                  <a:gd name="T78" fmla="*/ 2147483647 w 108"/>
                  <a:gd name="T79" fmla="*/ 2147483647 h 87"/>
                  <a:gd name="T80" fmla="*/ 2147483647 w 108"/>
                  <a:gd name="T81" fmla="*/ 2147483647 h 87"/>
                  <a:gd name="T82" fmla="*/ 2147483647 w 108"/>
                  <a:gd name="T83" fmla="*/ 2147483647 h 87"/>
                  <a:gd name="T84" fmla="*/ 2147483647 w 108"/>
                  <a:gd name="T85" fmla="*/ 2147483647 h 87"/>
                  <a:gd name="T86" fmla="*/ 2147483647 w 108"/>
                  <a:gd name="T87" fmla="*/ 2147483647 h 87"/>
                  <a:gd name="T88" fmla="*/ 2147483647 w 108"/>
                  <a:gd name="T89" fmla="*/ 2147483647 h 87"/>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08"/>
                  <a:gd name="T136" fmla="*/ 0 h 87"/>
                  <a:gd name="T137" fmla="*/ 108 w 108"/>
                  <a:gd name="T138" fmla="*/ 87 h 87"/>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08" h="87">
                    <a:moveTo>
                      <a:pt x="68" y="87"/>
                    </a:moveTo>
                    <a:lnTo>
                      <a:pt x="54" y="73"/>
                    </a:lnTo>
                    <a:lnTo>
                      <a:pt x="39" y="58"/>
                    </a:lnTo>
                    <a:lnTo>
                      <a:pt x="25" y="45"/>
                    </a:lnTo>
                    <a:lnTo>
                      <a:pt x="10" y="29"/>
                    </a:lnTo>
                    <a:lnTo>
                      <a:pt x="4" y="25"/>
                    </a:lnTo>
                    <a:lnTo>
                      <a:pt x="0" y="20"/>
                    </a:lnTo>
                    <a:lnTo>
                      <a:pt x="0" y="14"/>
                    </a:lnTo>
                    <a:lnTo>
                      <a:pt x="0" y="10"/>
                    </a:lnTo>
                    <a:lnTo>
                      <a:pt x="0" y="8"/>
                    </a:lnTo>
                    <a:lnTo>
                      <a:pt x="0" y="6"/>
                    </a:lnTo>
                    <a:lnTo>
                      <a:pt x="2" y="2"/>
                    </a:lnTo>
                    <a:lnTo>
                      <a:pt x="6" y="0"/>
                    </a:lnTo>
                    <a:lnTo>
                      <a:pt x="20" y="0"/>
                    </a:lnTo>
                    <a:lnTo>
                      <a:pt x="35" y="0"/>
                    </a:lnTo>
                    <a:lnTo>
                      <a:pt x="37" y="2"/>
                    </a:lnTo>
                    <a:lnTo>
                      <a:pt x="39" y="6"/>
                    </a:lnTo>
                    <a:lnTo>
                      <a:pt x="46" y="8"/>
                    </a:lnTo>
                    <a:lnTo>
                      <a:pt x="54" y="10"/>
                    </a:lnTo>
                    <a:lnTo>
                      <a:pt x="56" y="12"/>
                    </a:lnTo>
                    <a:lnTo>
                      <a:pt x="58" y="14"/>
                    </a:lnTo>
                    <a:lnTo>
                      <a:pt x="62" y="18"/>
                    </a:lnTo>
                    <a:lnTo>
                      <a:pt x="68" y="18"/>
                    </a:lnTo>
                    <a:lnTo>
                      <a:pt x="75" y="18"/>
                    </a:lnTo>
                    <a:lnTo>
                      <a:pt x="77" y="14"/>
                    </a:lnTo>
                    <a:lnTo>
                      <a:pt x="81" y="12"/>
                    </a:lnTo>
                    <a:lnTo>
                      <a:pt x="83" y="10"/>
                    </a:lnTo>
                    <a:lnTo>
                      <a:pt x="87" y="4"/>
                    </a:lnTo>
                    <a:lnTo>
                      <a:pt x="93" y="0"/>
                    </a:lnTo>
                    <a:lnTo>
                      <a:pt x="94" y="2"/>
                    </a:lnTo>
                    <a:lnTo>
                      <a:pt x="96" y="6"/>
                    </a:lnTo>
                    <a:lnTo>
                      <a:pt x="98" y="12"/>
                    </a:lnTo>
                    <a:lnTo>
                      <a:pt x="102" y="20"/>
                    </a:lnTo>
                    <a:lnTo>
                      <a:pt x="104" y="22"/>
                    </a:lnTo>
                    <a:lnTo>
                      <a:pt x="108" y="25"/>
                    </a:lnTo>
                    <a:lnTo>
                      <a:pt x="108" y="29"/>
                    </a:lnTo>
                    <a:lnTo>
                      <a:pt x="108" y="35"/>
                    </a:lnTo>
                    <a:lnTo>
                      <a:pt x="104" y="37"/>
                    </a:lnTo>
                    <a:lnTo>
                      <a:pt x="102" y="39"/>
                    </a:lnTo>
                    <a:lnTo>
                      <a:pt x="94" y="60"/>
                    </a:lnTo>
                    <a:lnTo>
                      <a:pt x="87" y="83"/>
                    </a:lnTo>
                    <a:lnTo>
                      <a:pt x="85" y="85"/>
                    </a:lnTo>
                    <a:lnTo>
                      <a:pt x="83" y="87"/>
                    </a:lnTo>
                    <a:lnTo>
                      <a:pt x="75" y="87"/>
                    </a:lnTo>
                    <a:lnTo>
                      <a:pt x="68" y="87"/>
                    </a:lnTo>
                  </a:path>
                </a:pathLst>
              </a:custGeom>
              <a:grpFill/>
              <a:ln w="3175">
                <a:solidFill>
                  <a:srgbClr val="FF8300"/>
                </a:solidFill>
                <a:round/>
                <a:headEnd/>
                <a:tailEnd/>
              </a:ln>
            </p:spPr>
            <p:txBody>
              <a:bodyPr/>
              <a:lstStyle/>
              <a:p>
                <a:pPr>
                  <a:defRPr/>
                </a:pPr>
                <a:endParaRPr lang="en-GB" sz="1400">
                  <a:solidFill>
                    <a:schemeClr val="tx2"/>
                  </a:solidFill>
                </a:endParaRPr>
              </a:p>
            </p:txBody>
          </p:sp>
          <p:sp>
            <p:nvSpPr>
              <p:cNvPr id="427" name="Freeform 38"/>
              <p:cNvSpPr>
                <a:spLocks/>
              </p:cNvSpPr>
              <p:nvPr>
                <p:custDataLst>
                  <p:tags r:id="rId72"/>
                </p:custDataLst>
              </p:nvPr>
            </p:nvSpPr>
            <p:spPr bwMode="gray">
              <a:xfrm>
                <a:off x="950973" y="5057631"/>
                <a:ext cx="425019" cy="455676"/>
              </a:xfrm>
              <a:custGeom>
                <a:avLst/>
                <a:gdLst>
                  <a:gd name="T0" fmla="*/ 2147483647 w 311"/>
                  <a:gd name="T1" fmla="*/ 2147483647 h 349"/>
                  <a:gd name="T2" fmla="*/ 2147483647 w 311"/>
                  <a:gd name="T3" fmla="*/ 2147483647 h 349"/>
                  <a:gd name="T4" fmla="*/ 2147483647 w 311"/>
                  <a:gd name="T5" fmla="*/ 2147483647 h 349"/>
                  <a:gd name="T6" fmla="*/ 2147483647 w 311"/>
                  <a:gd name="T7" fmla="*/ 2147483647 h 349"/>
                  <a:gd name="T8" fmla="*/ 2147483647 w 311"/>
                  <a:gd name="T9" fmla="*/ 2147483647 h 349"/>
                  <a:gd name="T10" fmla="*/ 2147483647 w 311"/>
                  <a:gd name="T11" fmla="*/ 2147483647 h 349"/>
                  <a:gd name="T12" fmla="*/ 2147483647 w 311"/>
                  <a:gd name="T13" fmla="*/ 2147483647 h 349"/>
                  <a:gd name="T14" fmla="*/ 2147483647 w 311"/>
                  <a:gd name="T15" fmla="*/ 2147483647 h 349"/>
                  <a:gd name="T16" fmla="*/ 2147483647 w 311"/>
                  <a:gd name="T17" fmla="*/ 2147483647 h 349"/>
                  <a:gd name="T18" fmla="*/ 2147483647 w 311"/>
                  <a:gd name="T19" fmla="*/ 2147483647 h 349"/>
                  <a:gd name="T20" fmla="*/ 2147483647 w 311"/>
                  <a:gd name="T21" fmla="*/ 2147483647 h 349"/>
                  <a:gd name="T22" fmla="*/ 2147483647 w 311"/>
                  <a:gd name="T23" fmla="*/ 2147483647 h 349"/>
                  <a:gd name="T24" fmla="*/ 2147483647 w 311"/>
                  <a:gd name="T25" fmla="*/ 2147483647 h 349"/>
                  <a:gd name="T26" fmla="*/ 2147483647 w 311"/>
                  <a:gd name="T27" fmla="*/ 2147483647 h 349"/>
                  <a:gd name="T28" fmla="*/ 2147483647 w 311"/>
                  <a:gd name="T29" fmla="*/ 2147483647 h 349"/>
                  <a:gd name="T30" fmla="*/ 2147483647 w 311"/>
                  <a:gd name="T31" fmla="*/ 2147483647 h 349"/>
                  <a:gd name="T32" fmla="*/ 2147483647 w 311"/>
                  <a:gd name="T33" fmla="*/ 2147483647 h 349"/>
                  <a:gd name="T34" fmla="*/ 2147483647 w 311"/>
                  <a:gd name="T35" fmla="*/ 2147483647 h 349"/>
                  <a:gd name="T36" fmla="*/ 2147483647 w 311"/>
                  <a:gd name="T37" fmla="*/ 2147483647 h 349"/>
                  <a:gd name="T38" fmla="*/ 2147483647 w 311"/>
                  <a:gd name="T39" fmla="*/ 2147483647 h 349"/>
                  <a:gd name="T40" fmla="*/ 2147483647 w 311"/>
                  <a:gd name="T41" fmla="*/ 2147483647 h 349"/>
                  <a:gd name="T42" fmla="*/ 2147483647 w 311"/>
                  <a:gd name="T43" fmla="*/ 2147483647 h 349"/>
                  <a:gd name="T44" fmla="*/ 2147483647 w 311"/>
                  <a:gd name="T45" fmla="*/ 2147483647 h 349"/>
                  <a:gd name="T46" fmla="*/ 2147483647 w 311"/>
                  <a:gd name="T47" fmla="*/ 2147483647 h 349"/>
                  <a:gd name="T48" fmla="*/ 2147483647 w 311"/>
                  <a:gd name="T49" fmla="*/ 2147483647 h 349"/>
                  <a:gd name="T50" fmla="*/ 2147483647 w 311"/>
                  <a:gd name="T51" fmla="*/ 2147483647 h 349"/>
                  <a:gd name="T52" fmla="*/ 2147483647 w 311"/>
                  <a:gd name="T53" fmla="*/ 2147483647 h 349"/>
                  <a:gd name="T54" fmla="*/ 2147483647 w 311"/>
                  <a:gd name="T55" fmla="*/ 2147483647 h 349"/>
                  <a:gd name="T56" fmla="*/ 2147483647 w 311"/>
                  <a:gd name="T57" fmla="*/ 2147483647 h 349"/>
                  <a:gd name="T58" fmla="*/ 2147483647 w 311"/>
                  <a:gd name="T59" fmla="*/ 0 h 349"/>
                  <a:gd name="T60" fmla="*/ 2147483647 w 311"/>
                  <a:gd name="T61" fmla="*/ 2147483647 h 349"/>
                  <a:gd name="T62" fmla="*/ 2147483647 w 311"/>
                  <a:gd name="T63" fmla="*/ 2147483647 h 349"/>
                  <a:gd name="T64" fmla="*/ 2147483647 w 311"/>
                  <a:gd name="T65" fmla="*/ 2147483647 h 349"/>
                  <a:gd name="T66" fmla="*/ 2147483647 w 311"/>
                  <a:gd name="T67" fmla="*/ 2147483647 h 349"/>
                  <a:gd name="T68" fmla="*/ 2147483647 w 311"/>
                  <a:gd name="T69" fmla="*/ 2147483647 h 349"/>
                  <a:gd name="T70" fmla="*/ 2147483647 w 311"/>
                  <a:gd name="T71" fmla="*/ 2147483647 h 349"/>
                  <a:gd name="T72" fmla="*/ 2147483647 w 311"/>
                  <a:gd name="T73" fmla="*/ 2147483647 h 349"/>
                  <a:gd name="T74" fmla="*/ 2147483647 w 311"/>
                  <a:gd name="T75" fmla="*/ 2147483647 h 349"/>
                  <a:gd name="T76" fmla="*/ 2147483647 w 311"/>
                  <a:gd name="T77" fmla="*/ 2147483647 h 349"/>
                  <a:gd name="T78" fmla="*/ 2147483647 w 311"/>
                  <a:gd name="T79" fmla="*/ 2147483647 h 349"/>
                  <a:gd name="T80" fmla="*/ 2147483647 w 311"/>
                  <a:gd name="T81" fmla="*/ 2147483647 h 349"/>
                  <a:gd name="T82" fmla="*/ 2147483647 w 311"/>
                  <a:gd name="T83" fmla="*/ 2147483647 h 349"/>
                  <a:gd name="T84" fmla="*/ 2147483647 w 311"/>
                  <a:gd name="T85" fmla="*/ 2147483647 h 349"/>
                  <a:gd name="T86" fmla="*/ 2147483647 w 311"/>
                  <a:gd name="T87" fmla="*/ 2147483647 h 349"/>
                  <a:gd name="T88" fmla="*/ 2147483647 w 311"/>
                  <a:gd name="T89" fmla="*/ 2147483647 h 349"/>
                  <a:gd name="T90" fmla="*/ 2147483647 w 311"/>
                  <a:gd name="T91" fmla="*/ 2147483647 h 349"/>
                  <a:gd name="T92" fmla="*/ 2147483647 w 311"/>
                  <a:gd name="T93" fmla="*/ 2147483647 h 349"/>
                  <a:gd name="T94" fmla="*/ 2147483647 w 311"/>
                  <a:gd name="T95" fmla="*/ 2147483647 h 349"/>
                  <a:gd name="T96" fmla="*/ 2147483647 w 311"/>
                  <a:gd name="T97" fmla="*/ 2147483647 h 349"/>
                  <a:gd name="T98" fmla="*/ 2147483647 w 311"/>
                  <a:gd name="T99" fmla="*/ 2147483647 h 349"/>
                  <a:gd name="T100" fmla="*/ 2147483647 w 311"/>
                  <a:gd name="T101" fmla="*/ 2147483647 h 34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311"/>
                  <a:gd name="T154" fmla="*/ 0 h 349"/>
                  <a:gd name="T155" fmla="*/ 311 w 311"/>
                  <a:gd name="T156" fmla="*/ 349 h 349"/>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311" h="349">
                    <a:moveTo>
                      <a:pt x="209" y="349"/>
                    </a:moveTo>
                    <a:lnTo>
                      <a:pt x="205" y="346"/>
                    </a:lnTo>
                    <a:lnTo>
                      <a:pt x="202" y="346"/>
                    </a:lnTo>
                    <a:lnTo>
                      <a:pt x="200" y="346"/>
                    </a:lnTo>
                    <a:lnTo>
                      <a:pt x="198" y="348"/>
                    </a:lnTo>
                    <a:lnTo>
                      <a:pt x="196" y="348"/>
                    </a:lnTo>
                    <a:lnTo>
                      <a:pt x="194" y="348"/>
                    </a:lnTo>
                    <a:lnTo>
                      <a:pt x="190" y="344"/>
                    </a:lnTo>
                    <a:lnTo>
                      <a:pt x="184" y="340"/>
                    </a:lnTo>
                    <a:lnTo>
                      <a:pt x="182" y="338"/>
                    </a:lnTo>
                    <a:lnTo>
                      <a:pt x="182" y="340"/>
                    </a:lnTo>
                    <a:lnTo>
                      <a:pt x="181" y="342"/>
                    </a:lnTo>
                    <a:lnTo>
                      <a:pt x="181" y="344"/>
                    </a:lnTo>
                    <a:lnTo>
                      <a:pt x="179" y="344"/>
                    </a:lnTo>
                    <a:lnTo>
                      <a:pt x="177" y="344"/>
                    </a:lnTo>
                    <a:lnTo>
                      <a:pt x="175" y="340"/>
                    </a:lnTo>
                    <a:lnTo>
                      <a:pt x="163" y="330"/>
                    </a:lnTo>
                    <a:lnTo>
                      <a:pt x="150" y="319"/>
                    </a:lnTo>
                    <a:lnTo>
                      <a:pt x="140" y="311"/>
                    </a:lnTo>
                    <a:lnTo>
                      <a:pt x="131" y="305"/>
                    </a:lnTo>
                    <a:lnTo>
                      <a:pt x="123" y="300"/>
                    </a:lnTo>
                    <a:lnTo>
                      <a:pt x="115" y="298"/>
                    </a:lnTo>
                    <a:lnTo>
                      <a:pt x="108" y="296"/>
                    </a:lnTo>
                    <a:lnTo>
                      <a:pt x="100" y="294"/>
                    </a:lnTo>
                    <a:lnTo>
                      <a:pt x="96" y="288"/>
                    </a:lnTo>
                    <a:lnTo>
                      <a:pt x="96" y="282"/>
                    </a:lnTo>
                    <a:lnTo>
                      <a:pt x="94" y="282"/>
                    </a:lnTo>
                    <a:lnTo>
                      <a:pt x="92" y="282"/>
                    </a:lnTo>
                    <a:lnTo>
                      <a:pt x="90" y="278"/>
                    </a:lnTo>
                    <a:lnTo>
                      <a:pt x="88" y="277"/>
                    </a:lnTo>
                    <a:lnTo>
                      <a:pt x="79" y="271"/>
                    </a:lnTo>
                    <a:lnTo>
                      <a:pt x="69" y="267"/>
                    </a:lnTo>
                    <a:lnTo>
                      <a:pt x="71" y="265"/>
                    </a:lnTo>
                    <a:lnTo>
                      <a:pt x="73" y="261"/>
                    </a:lnTo>
                    <a:lnTo>
                      <a:pt x="77" y="259"/>
                    </a:lnTo>
                    <a:lnTo>
                      <a:pt x="77" y="252"/>
                    </a:lnTo>
                    <a:lnTo>
                      <a:pt x="77" y="246"/>
                    </a:lnTo>
                    <a:lnTo>
                      <a:pt x="73" y="242"/>
                    </a:lnTo>
                    <a:lnTo>
                      <a:pt x="71" y="240"/>
                    </a:lnTo>
                    <a:lnTo>
                      <a:pt x="69" y="238"/>
                    </a:lnTo>
                    <a:lnTo>
                      <a:pt x="65" y="230"/>
                    </a:lnTo>
                    <a:lnTo>
                      <a:pt x="64" y="223"/>
                    </a:lnTo>
                    <a:lnTo>
                      <a:pt x="62" y="221"/>
                    </a:lnTo>
                    <a:lnTo>
                      <a:pt x="60" y="219"/>
                    </a:lnTo>
                    <a:lnTo>
                      <a:pt x="60" y="213"/>
                    </a:lnTo>
                    <a:lnTo>
                      <a:pt x="60" y="209"/>
                    </a:lnTo>
                    <a:lnTo>
                      <a:pt x="62" y="206"/>
                    </a:lnTo>
                    <a:lnTo>
                      <a:pt x="64" y="204"/>
                    </a:lnTo>
                    <a:lnTo>
                      <a:pt x="64" y="184"/>
                    </a:lnTo>
                    <a:lnTo>
                      <a:pt x="64" y="165"/>
                    </a:lnTo>
                    <a:lnTo>
                      <a:pt x="62" y="163"/>
                    </a:lnTo>
                    <a:lnTo>
                      <a:pt x="60" y="161"/>
                    </a:lnTo>
                    <a:lnTo>
                      <a:pt x="56" y="158"/>
                    </a:lnTo>
                    <a:lnTo>
                      <a:pt x="54" y="156"/>
                    </a:lnTo>
                    <a:lnTo>
                      <a:pt x="52" y="154"/>
                    </a:lnTo>
                    <a:lnTo>
                      <a:pt x="48" y="150"/>
                    </a:lnTo>
                    <a:lnTo>
                      <a:pt x="37" y="148"/>
                    </a:lnTo>
                    <a:lnTo>
                      <a:pt x="25" y="146"/>
                    </a:lnTo>
                    <a:lnTo>
                      <a:pt x="21" y="144"/>
                    </a:lnTo>
                    <a:lnTo>
                      <a:pt x="19" y="140"/>
                    </a:lnTo>
                    <a:lnTo>
                      <a:pt x="19" y="138"/>
                    </a:lnTo>
                    <a:lnTo>
                      <a:pt x="19" y="136"/>
                    </a:lnTo>
                    <a:lnTo>
                      <a:pt x="19" y="131"/>
                    </a:lnTo>
                    <a:lnTo>
                      <a:pt x="19" y="127"/>
                    </a:lnTo>
                    <a:lnTo>
                      <a:pt x="29" y="121"/>
                    </a:lnTo>
                    <a:lnTo>
                      <a:pt x="40" y="117"/>
                    </a:lnTo>
                    <a:lnTo>
                      <a:pt x="40" y="112"/>
                    </a:lnTo>
                    <a:lnTo>
                      <a:pt x="40" y="108"/>
                    </a:lnTo>
                    <a:lnTo>
                      <a:pt x="25" y="102"/>
                    </a:lnTo>
                    <a:lnTo>
                      <a:pt x="10" y="98"/>
                    </a:lnTo>
                    <a:lnTo>
                      <a:pt x="6" y="92"/>
                    </a:lnTo>
                    <a:lnTo>
                      <a:pt x="0" y="88"/>
                    </a:lnTo>
                    <a:lnTo>
                      <a:pt x="0" y="83"/>
                    </a:lnTo>
                    <a:lnTo>
                      <a:pt x="0" y="79"/>
                    </a:lnTo>
                    <a:lnTo>
                      <a:pt x="6" y="79"/>
                    </a:lnTo>
                    <a:lnTo>
                      <a:pt x="10" y="79"/>
                    </a:lnTo>
                    <a:lnTo>
                      <a:pt x="16" y="73"/>
                    </a:lnTo>
                    <a:lnTo>
                      <a:pt x="19" y="69"/>
                    </a:lnTo>
                    <a:lnTo>
                      <a:pt x="25" y="69"/>
                    </a:lnTo>
                    <a:lnTo>
                      <a:pt x="31" y="69"/>
                    </a:lnTo>
                    <a:lnTo>
                      <a:pt x="35" y="69"/>
                    </a:lnTo>
                    <a:lnTo>
                      <a:pt x="40" y="69"/>
                    </a:lnTo>
                    <a:lnTo>
                      <a:pt x="40" y="73"/>
                    </a:lnTo>
                    <a:lnTo>
                      <a:pt x="42" y="77"/>
                    </a:lnTo>
                    <a:lnTo>
                      <a:pt x="48" y="79"/>
                    </a:lnTo>
                    <a:lnTo>
                      <a:pt x="60" y="79"/>
                    </a:lnTo>
                    <a:lnTo>
                      <a:pt x="60" y="73"/>
                    </a:lnTo>
                    <a:lnTo>
                      <a:pt x="60" y="69"/>
                    </a:lnTo>
                    <a:lnTo>
                      <a:pt x="65" y="73"/>
                    </a:lnTo>
                    <a:lnTo>
                      <a:pt x="71" y="77"/>
                    </a:lnTo>
                    <a:lnTo>
                      <a:pt x="73" y="85"/>
                    </a:lnTo>
                    <a:lnTo>
                      <a:pt x="79" y="98"/>
                    </a:lnTo>
                    <a:lnTo>
                      <a:pt x="92" y="98"/>
                    </a:lnTo>
                    <a:lnTo>
                      <a:pt x="108" y="98"/>
                    </a:lnTo>
                    <a:lnTo>
                      <a:pt x="111" y="98"/>
                    </a:lnTo>
                    <a:lnTo>
                      <a:pt x="117" y="98"/>
                    </a:lnTo>
                    <a:lnTo>
                      <a:pt x="127" y="92"/>
                    </a:lnTo>
                    <a:lnTo>
                      <a:pt x="136" y="88"/>
                    </a:lnTo>
                    <a:lnTo>
                      <a:pt x="136" y="83"/>
                    </a:lnTo>
                    <a:lnTo>
                      <a:pt x="136" y="79"/>
                    </a:lnTo>
                    <a:lnTo>
                      <a:pt x="136" y="73"/>
                    </a:lnTo>
                    <a:lnTo>
                      <a:pt x="136" y="69"/>
                    </a:lnTo>
                    <a:lnTo>
                      <a:pt x="140" y="64"/>
                    </a:lnTo>
                    <a:lnTo>
                      <a:pt x="146" y="60"/>
                    </a:lnTo>
                    <a:lnTo>
                      <a:pt x="156" y="54"/>
                    </a:lnTo>
                    <a:lnTo>
                      <a:pt x="165" y="50"/>
                    </a:lnTo>
                    <a:lnTo>
                      <a:pt x="169" y="44"/>
                    </a:lnTo>
                    <a:lnTo>
                      <a:pt x="175" y="39"/>
                    </a:lnTo>
                    <a:lnTo>
                      <a:pt x="179" y="35"/>
                    </a:lnTo>
                    <a:lnTo>
                      <a:pt x="184" y="29"/>
                    </a:lnTo>
                    <a:lnTo>
                      <a:pt x="188" y="25"/>
                    </a:lnTo>
                    <a:lnTo>
                      <a:pt x="194" y="19"/>
                    </a:lnTo>
                    <a:lnTo>
                      <a:pt x="200" y="16"/>
                    </a:lnTo>
                    <a:lnTo>
                      <a:pt x="204" y="10"/>
                    </a:lnTo>
                    <a:lnTo>
                      <a:pt x="204" y="6"/>
                    </a:lnTo>
                    <a:lnTo>
                      <a:pt x="204" y="0"/>
                    </a:lnTo>
                    <a:lnTo>
                      <a:pt x="209" y="0"/>
                    </a:lnTo>
                    <a:lnTo>
                      <a:pt x="213" y="0"/>
                    </a:lnTo>
                    <a:lnTo>
                      <a:pt x="215" y="0"/>
                    </a:lnTo>
                    <a:lnTo>
                      <a:pt x="219" y="0"/>
                    </a:lnTo>
                    <a:lnTo>
                      <a:pt x="221" y="2"/>
                    </a:lnTo>
                    <a:lnTo>
                      <a:pt x="223" y="6"/>
                    </a:lnTo>
                    <a:lnTo>
                      <a:pt x="230" y="8"/>
                    </a:lnTo>
                    <a:lnTo>
                      <a:pt x="238" y="10"/>
                    </a:lnTo>
                    <a:lnTo>
                      <a:pt x="240" y="14"/>
                    </a:lnTo>
                    <a:lnTo>
                      <a:pt x="242" y="16"/>
                    </a:lnTo>
                    <a:lnTo>
                      <a:pt x="269" y="17"/>
                    </a:lnTo>
                    <a:lnTo>
                      <a:pt x="296" y="19"/>
                    </a:lnTo>
                    <a:lnTo>
                      <a:pt x="298" y="23"/>
                    </a:lnTo>
                    <a:lnTo>
                      <a:pt x="301" y="25"/>
                    </a:lnTo>
                    <a:lnTo>
                      <a:pt x="303" y="33"/>
                    </a:lnTo>
                    <a:lnTo>
                      <a:pt x="305" y="39"/>
                    </a:lnTo>
                    <a:lnTo>
                      <a:pt x="307" y="42"/>
                    </a:lnTo>
                    <a:lnTo>
                      <a:pt x="311" y="44"/>
                    </a:lnTo>
                    <a:lnTo>
                      <a:pt x="311" y="48"/>
                    </a:lnTo>
                    <a:lnTo>
                      <a:pt x="311" y="54"/>
                    </a:lnTo>
                    <a:lnTo>
                      <a:pt x="307" y="56"/>
                    </a:lnTo>
                    <a:lnTo>
                      <a:pt x="305" y="60"/>
                    </a:lnTo>
                    <a:lnTo>
                      <a:pt x="303" y="62"/>
                    </a:lnTo>
                    <a:lnTo>
                      <a:pt x="301" y="64"/>
                    </a:lnTo>
                    <a:lnTo>
                      <a:pt x="298" y="65"/>
                    </a:lnTo>
                    <a:lnTo>
                      <a:pt x="296" y="69"/>
                    </a:lnTo>
                    <a:lnTo>
                      <a:pt x="294" y="75"/>
                    </a:lnTo>
                    <a:lnTo>
                      <a:pt x="292" y="83"/>
                    </a:lnTo>
                    <a:lnTo>
                      <a:pt x="288" y="85"/>
                    </a:lnTo>
                    <a:lnTo>
                      <a:pt x="286" y="88"/>
                    </a:lnTo>
                    <a:lnTo>
                      <a:pt x="284" y="113"/>
                    </a:lnTo>
                    <a:lnTo>
                      <a:pt x="280" y="140"/>
                    </a:lnTo>
                    <a:lnTo>
                      <a:pt x="278" y="144"/>
                    </a:lnTo>
                    <a:lnTo>
                      <a:pt x="276" y="146"/>
                    </a:lnTo>
                    <a:lnTo>
                      <a:pt x="250" y="148"/>
                    </a:lnTo>
                    <a:lnTo>
                      <a:pt x="223" y="150"/>
                    </a:lnTo>
                    <a:lnTo>
                      <a:pt x="221" y="154"/>
                    </a:lnTo>
                    <a:lnTo>
                      <a:pt x="219" y="156"/>
                    </a:lnTo>
                    <a:lnTo>
                      <a:pt x="219" y="165"/>
                    </a:lnTo>
                    <a:lnTo>
                      <a:pt x="219" y="175"/>
                    </a:lnTo>
                    <a:lnTo>
                      <a:pt x="221" y="177"/>
                    </a:lnTo>
                    <a:lnTo>
                      <a:pt x="223" y="179"/>
                    </a:lnTo>
                    <a:lnTo>
                      <a:pt x="225" y="183"/>
                    </a:lnTo>
                    <a:lnTo>
                      <a:pt x="229" y="184"/>
                    </a:lnTo>
                    <a:lnTo>
                      <a:pt x="230" y="186"/>
                    </a:lnTo>
                    <a:lnTo>
                      <a:pt x="232" y="190"/>
                    </a:lnTo>
                    <a:lnTo>
                      <a:pt x="232" y="194"/>
                    </a:lnTo>
                    <a:lnTo>
                      <a:pt x="232" y="200"/>
                    </a:lnTo>
                    <a:lnTo>
                      <a:pt x="230" y="202"/>
                    </a:lnTo>
                    <a:lnTo>
                      <a:pt x="229" y="204"/>
                    </a:lnTo>
                    <a:lnTo>
                      <a:pt x="229" y="219"/>
                    </a:lnTo>
                    <a:lnTo>
                      <a:pt x="229" y="232"/>
                    </a:lnTo>
                    <a:lnTo>
                      <a:pt x="230" y="234"/>
                    </a:lnTo>
                    <a:lnTo>
                      <a:pt x="232" y="238"/>
                    </a:lnTo>
                    <a:lnTo>
                      <a:pt x="236" y="244"/>
                    </a:lnTo>
                    <a:lnTo>
                      <a:pt x="238" y="252"/>
                    </a:lnTo>
                    <a:lnTo>
                      <a:pt x="240" y="255"/>
                    </a:lnTo>
                    <a:lnTo>
                      <a:pt x="242" y="257"/>
                    </a:lnTo>
                    <a:lnTo>
                      <a:pt x="246" y="259"/>
                    </a:lnTo>
                    <a:lnTo>
                      <a:pt x="248" y="261"/>
                    </a:lnTo>
                    <a:lnTo>
                      <a:pt x="250" y="265"/>
                    </a:lnTo>
                    <a:lnTo>
                      <a:pt x="252" y="267"/>
                    </a:lnTo>
                    <a:lnTo>
                      <a:pt x="253" y="269"/>
                    </a:lnTo>
                    <a:lnTo>
                      <a:pt x="257" y="271"/>
                    </a:lnTo>
                    <a:lnTo>
                      <a:pt x="259" y="275"/>
                    </a:lnTo>
                    <a:lnTo>
                      <a:pt x="261" y="277"/>
                    </a:lnTo>
                    <a:lnTo>
                      <a:pt x="271" y="280"/>
                    </a:lnTo>
                    <a:lnTo>
                      <a:pt x="280" y="286"/>
                    </a:lnTo>
                    <a:lnTo>
                      <a:pt x="278" y="288"/>
                    </a:lnTo>
                    <a:lnTo>
                      <a:pt x="276" y="292"/>
                    </a:lnTo>
                    <a:lnTo>
                      <a:pt x="275" y="298"/>
                    </a:lnTo>
                    <a:lnTo>
                      <a:pt x="273" y="305"/>
                    </a:lnTo>
                    <a:lnTo>
                      <a:pt x="269" y="307"/>
                    </a:lnTo>
                    <a:lnTo>
                      <a:pt x="267" y="311"/>
                    </a:lnTo>
                    <a:lnTo>
                      <a:pt x="255" y="313"/>
                    </a:lnTo>
                    <a:lnTo>
                      <a:pt x="242" y="315"/>
                    </a:lnTo>
                    <a:lnTo>
                      <a:pt x="240" y="317"/>
                    </a:lnTo>
                    <a:lnTo>
                      <a:pt x="238" y="321"/>
                    </a:lnTo>
                    <a:lnTo>
                      <a:pt x="230" y="321"/>
                    </a:lnTo>
                    <a:lnTo>
                      <a:pt x="223" y="321"/>
                    </a:lnTo>
                    <a:lnTo>
                      <a:pt x="223" y="326"/>
                    </a:lnTo>
                    <a:lnTo>
                      <a:pt x="223" y="334"/>
                    </a:lnTo>
                    <a:lnTo>
                      <a:pt x="221" y="336"/>
                    </a:lnTo>
                    <a:lnTo>
                      <a:pt x="219" y="340"/>
                    </a:lnTo>
                    <a:lnTo>
                      <a:pt x="215" y="342"/>
                    </a:lnTo>
                    <a:lnTo>
                      <a:pt x="213" y="344"/>
                    </a:lnTo>
                    <a:lnTo>
                      <a:pt x="211" y="346"/>
                    </a:lnTo>
                    <a:lnTo>
                      <a:pt x="209" y="349"/>
                    </a:lnTo>
                  </a:path>
                </a:pathLst>
              </a:custGeom>
              <a:grpFill/>
              <a:ln w="3175">
                <a:solidFill>
                  <a:srgbClr val="FF8300"/>
                </a:solidFill>
                <a:round/>
                <a:headEnd/>
                <a:tailEnd/>
              </a:ln>
            </p:spPr>
            <p:txBody>
              <a:bodyPr/>
              <a:lstStyle/>
              <a:p>
                <a:pPr>
                  <a:defRPr/>
                </a:pPr>
                <a:endParaRPr lang="en-GB" sz="1400">
                  <a:solidFill>
                    <a:schemeClr val="tx2"/>
                  </a:solidFill>
                </a:endParaRPr>
              </a:p>
            </p:txBody>
          </p:sp>
          <p:sp>
            <p:nvSpPr>
              <p:cNvPr id="428" name="Freeform 313"/>
              <p:cNvSpPr>
                <a:spLocks/>
              </p:cNvSpPr>
              <p:nvPr>
                <p:custDataLst>
                  <p:tags r:id="rId73"/>
                </p:custDataLst>
              </p:nvPr>
            </p:nvSpPr>
            <p:spPr bwMode="gray">
              <a:xfrm>
                <a:off x="1245002" y="5011645"/>
                <a:ext cx="448709" cy="395756"/>
              </a:xfrm>
              <a:custGeom>
                <a:avLst/>
                <a:gdLst>
                  <a:gd name="T0" fmla="*/ 2147483647 w 330"/>
                  <a:gd name="T1" fmla="*/ 2147483647 h 299"/>
                  <a:gd name="T2" fmla="*/ 2147483647 w 330"/>
                  <a:gd name="T3" fmla="*/ 2147483647 h 299"/>
                  <a:gd name="T4" fmla="*/ 2147483647 w 330"/>
                  <a:gd name="T5" fmla="*/ 2147483647 h 299"/>
                  <a:gd name="T6" fmla="*/ 2147483647 w 330"/>
                  <a:gd name="T7" fmla="*/ 2147483647 h 299"/>
                  <a:gd name="T8" fmla="*/ 2147483647 w 330"/>
                  <a:gd name="T9" fmla="*/ 2147483647 h 299"/>
                  <a:gd name="T10" fmla="*/ 2147483647 w 330"/>
                  <a:gd name="T11" fmla="*/ 2147483647 h 299"/>
                  <a:gd name="T12" fmla="*/ 2147483647 w 330"/>
                  <a:gd name="T13" fmla="*/ 2147483647 h 299"/>
                  <a:gd name="T14" fmla="*/ 0 w 330"/>
                  <a:gd name="T15" fmla="*/ 2147483647 h 299"/>
                  <a:gd name="T16" fmla="*/ 2147483647 w 330"/>
                  <a:gd name="T17" fmla="*/ 2147483647 h 299"/>
                  <a:gd name="T18" fmla="*/ 2147483647 w 330"/>
                  <a:gd name="T19" fmla="*/ 2147483647 h 299"/>
                  <a:gd name="T20" fmla="*/ 2147483647 w 330"/>
                  <a:gd name="T21" fmla="*/ 2147483647 h 299"/>
                  <a:gd name="T22" fmla="*/ 2147483647 w 330"/>
                  <a:gd name="T23" fmla="*/ 2147483647 h 299"/>
                  <a:gd name="T24" fmla="*/ 2147483647 w 330"/>
                  <a:gd name="T25" fmla="*/ 2147483647 h 299"/>
                  <a:gd name="T26" fmla="*/ 2147483647 w 330"/>
                  <a:gd name="T27" fmla="*/ 2147483647 h 299"/>
                  <a:gd name="T28" fmla="*/ 2147483647 w 330"/>
                  <a:gd name="T29" fmla="*/ 2147483647 h 299"/>
                  <a:gd name="T30" fmla="*/ 2147483647 w 330"/>
                  <a:gd name="T31" fmla="*/ 2147483647 h 299"/>
                  <a:gd name="T32" fmla="*/ 2147483647 w 330"/>
                  <a:gd name="T33" fmla="*/ 2147483647 h 299"/>
                  <a:gd name="T34" fmla="*/ 2147483647 w 330"/>
                  <a:gd name="T35" fmla="*/ 2147483647 h 299"/>
                  <a:gd name="T36" fmla="*/ 2147483647 w 330"/>
                  <a:gd name="T37" fmla="*/ 2147483647 h 299"/>
                  <a:gd name="T38" fmla="*/ 2147483647 w 330"/>
                  <a:gd name="T39" fmla="*/ 2147483647 h 299"/>
                  <a:gd name="T40" fmla="*/ 2147483647 w 330"/>
                  <a:gd name="T41" fmla="*/ 2147483647 h 299"/>
                  <a:gd name="T42" fmla="*/ 2147483647 w 330"/>
                  <a:gd name="T43" fmla="*/ 2147483647 h 299"/>
                  <a:gd name="T44" fmla="*/ 2147483647 w 330"/>
                  <a:gd name="T45" fmla="*/ 0 h 299"/>
                  <a:gd name="T46" fmla="*/ 2147483647 w 330"/>
                  <a:gd name="T47" fmla="*/ 2147483647 h 299"/>
                  <a:gd name="T48" fmla="*/ 2147483647 w 330"/>
                  <a:gd name="T49" fmla="*/ 2147483647 h 299"/>
                  <a:gd name="T50" fmla="*/ 2147483647 w 330"/>
                  <a:gd name="T51" fmla="*/ 2147483647 h 299"/>
                  <a:gd name="T52" fmla="*/ 2147483647 w 330"/>
                  <a:gd name="T53" fmla="*/ 2147483647 h 299"/>
                  <a:gd name="T54" fmla="*/ 2147483647 w 330"/>
                  <a:gd name="T55" fmla="*/ 2147483647 h 299"/>
                  <a:gd name="T56" fmla="*/ 2147483647 w 330"/>
                  <a:gd name="T57" fmla="*/ 2147483647 h 299"/>
                  <a:gd name="T58" fmla="*/ 2147483647 w 330"/>
                  <a:gd name="T59" fmla="*/ 2147483647 h 299"/>
                  <a:gd name="T60" fmla="*/ 2147483647 w 330"/>
                  <a:gd name="T61" fmla="*/ 2147483647 h 299"/>
                  <a:gd name="T62" fmla="*/ 2147483647 w 330"/>
                  <a:gd name="T63" fmla="*/ 2147483647 h 299"/>
                  <a:gd name="T64" fmla="*/ 2147483647 w 330"/>
                  <a:gd name="T65" fmla="*/ 2147483647 h 299"/>
                  <a:gd name="T66" fmla="*/ 2147483647 w 330"/>
                  <a:gd name="T67" fmla="*/ 2147483647 h 299"/>
                  <a:gd name="T68" fmla="*/ 2147483647 w 330"/>
                  <a:gd name="T69" fmla="*/ 2147483647 h 299"/>
                  <a:gd name="T70" fmla="*/ 2147483647 w 330"/>
                  <a:gd name="T71" fmla="*/ 2147483647 h 299"/>
                  <a:gd name="T72" fmla="*/ 2147483647 w 330"/>
                  <a:gd name="T73" fmla="*/ 2147483647 h 299"/>
                  <a:gd name="T74" fmla="*/ 2147483647 w 330"/>
                  <a:gd name="T75" fmla="*/ 2147483647 h 299"/>
                  <a:gd name="T76" fmla="*/ 2147483647 w 330"/>
                  <a:gd name="T77" fmla="*/ 2147483647 h 299"/>
                  <a:gd name="T78" fmla="*/ 2147483647 w 330"/>
                  <a:gd name="T79" fmla="*/ 2147483647 h 299"/>
                  <a:gd name="T80" fmla="*/ 2147483647 w 330"/>
                  <a:gd name="T81" fmla="*/ 2147483647 h 299"/>
                  <a:gd name="T82" fmla="*/ 2147483647 w 330"/>
                  <a:gd name="T83" fmla="*/ 2147483647 h 299"/>
                  <a:gd name="T84" fmla="*/ 2147483647 w 330"/>
                  <a:gd name="T85" fmla="*/ 2147483647 h 299"/>
                  <a:gd name="T86" fmla="*/ 2147483647 w 330"/>
                  <a:gd name="T87" fmla="*/ 2147483647 h 299"/>
                  <a:gd name="T88" fmla="*/ 2147483647 w 330"/>
                  <a:gd name="T89" fmla="*/ 2147483647 h 299"/>
                  <a:gd name="T90" fmla="*/ 2147483647 w 330"/>
                  <a:gd name="T91" fmla="*/ 2147483647 h 299"/>
                  <a:gd name="T92" fmla="*/ 2147483647 w 330"/>
                  <a:gd name="T93" fmla="*/ 2147483647 h 299"/>
                  <a:gd name="T94" fmla="*/ 2147483647 w 330"/>
                  <a:gd name="T95" fmla="*/ 2147483647 h 299"/>
                  <a:gd name="T96" fmla="*/ 2147483647 w 330"/>
                  <a:gd name="T97" fmla="*/ 2147483647 h 299"/>
                  <a:gd name="T98" fmla="*/ 2147483647 w 330"/>
                  <a:gd name="T99" fmla="*/ 2147483647 h 299"/>
                  <a:gd name="T100" fmla="*/ 2147483647 w 330"/>
                  <a:gd name="T101" fmla="*/ 2147483647 h 299"/>
                  <a:gd name="T102" fmla="*/ 2147483647 w 330"/>
                  <a:gd name="T103" fmla="*/ 2147483647 h 299"/>
                  <a:gd name="T104" fmla="*/ 2147483647 w 330"/>
                  <a:gd name="T105" fmla="*/ 2147483647 h 299"/>
                  <a:gd name="T106" fmla="*/ 2147483647 w 330"/>
                  <a:gd name="T107" fmla="*/ 2147483647 h 299"/>
                  <a:gd name="T108" fmla="*/ 2147483647 w 330"/>
                  <a:gd name="T109" fmla="*/ 2147483647 h 299"/>
                  <a:gd name="T110" fmla="*/ 2147483647 w 330"/>
                  <a:gd name="T111" fmla="*/ 2147483647 h 299"/>
                  <a:gd name="T112" fmla="*/ 2147483647 w 330"/>
                  <a:gd name="T113" fmla="*/ 2147483647 h 299"/>
                  <a:gd name="T114" fmla="*/ 2147483647 w 330"/>
                  <a:gd name="T115" fmla="*/ 2147483647 h 299"/>
                  <a:gd name="T116" fmla="*/ 2147483647 w 330"/>
                  <a:gd name="T117" fmla="*/ 2147483647 h 299"/>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330"/>
                  <a:gd name="T178" fmla="*/ 0 h 299"/>
                  <a:gd name="T179" fmla="*/ 330 w 330"/>
                  <a:gd name="T180" fmla="*/ 299 h 299"/>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330" h="299">
                    <a:moveTo>
                      <a:pt x="34" y="299"/>
                    </a:moveTo>
                    <a:lnTo>
                      <a:pt x="30" y="297"/>
                    </a:lnTo>
                    <a:lnTo>
                      <a:pt x="29" y="295"/>
                    </a:lnTo>
                    <a:lnTo>
                      <a:pt x="27" y="293"/>
                    </a:lnTo>
                    <a:lnTo>
                      <a:pt x="25" y="290"/>
                    </a:lnTo>
                    <a:lnTo>
                      <a:pt x="23" y="288"/>
                    </a:lnTo>
                    <a:lnTo>
                      <a:pt x="19" y="286"/>
                    </a:lnTo>
                    <a:lnTo>
                      <a:pt x="17" y="278"/>
                    </a:lnTo>
                    <a:lnTo>
                      <a:pt x="15" y="270"/>
                    </a:lnTo>
                    <a:lnTo>
                      <a:pt x="13" y="268"/>
                    </a:lnTo>
                    <a:lnTo>
                      <a:pt x="9" y="267"/>
                    </a:lnTo>
                    <a:lnTo>
                      <a:pt x="9" y="257"/>
                    </a:lnTo>
                    <a:lnTo>
                      <a:pt x="9" y="247"/>
                    </a:lnTo>
                    <a:lnTo>
                      <a:pt x="13" y="244"/>
                    </a:lnTo>
                    <a:lnTo>
                      <a:pt x="15" y="242"/>
                    </a:lnTo>
                    <a:lnTo>
                      <a:pt x="15" y="232"/>
                    </a:lnTo>
                    <a:lnTo>
                      <a:pt x="15" y="222"/>
                    </a:lnTo>
                    <a:lnTo>
                      <a:pt x="13" y="221"/>
                    </a:lnTo>
                    <a:lnTo>
                      <a:pt x="9" y="217"/>
                    </a:lnTo>
                    <a:lnTo>
                      <a:pt x="7" y="215"/>
                    </a:lnTo>
                    <a:lnTo>
                      <a:pt x="6" y="213"/>
                    </a:lnTo>
                    <a:lnTo>
                      <a:pt x="2" y="211"/>
                    </a:lnTo>
                    <a:lnTo>
                      <a:pt x="0" y="209"/>
                    </a:lnTo>
                    <a:lnTo>
                      <a:pt x="0" y="203"/>
                    </a:lnTo>
                    <a:lnTo>
                      <a:pt x="0" y="199"/>
                    </a:lnTo>
                    <a:lnTo>
                      <a:pt x="2" y="196"/>
                    </a:lnTo>
                    <a:lnTo>
                      <a:pt x="6" y="194"/>
                    </a:lnTo>
                    <a:lnTo>
                      <a:pt x="30" y="192"/>
                    </a:lnTo>
                    <a:lnTo>
                      <a:pt x="57" y="188"/>
                    </a:lnTo>
                    <a:lnTo>
                      <a:pt x="61" y="186"/>
                    </a:lnTo>
                    <a:lnTo>
                      <a:pt x="63" y="184"/>
                    </a:lnTo>
                    <a:lnTo>
                      <a:pt x="65" y="157"/>
                    </a:lnTo>
                    <a:lnTo>
                      <a:pt x="69" y="130"/>
                    </a:lnTo>
                    <a:lnTo>
                      <a:pt x="71" y="128"/>
                    </a:lnTo>
                    <a:lnTo>
                      <a:pt x="73" y="126"/>
                    </a:lnTo>
                    <a:lnTo>
                      <a:pt x="75" y="119"/>
                    </a:lnTo>
                    <a:lnTo>
                      <a:pt x="78" y="111"/>
                    </a:lnTo>
                    <a:lnTo>
                      <a:pt x="80" y="109"/>
                    </a:lnTo>
                    <a:lnTo>
                      <a:pt x="82" y="107"/>
                    </a:lnTo>
                    <a:lnTo>
                      <a:pt x="84" y="103"/>
                    </a:lnTo>
                    <a:lnTo>
                      <a:pt x="88" y="102"/>
                    </a:lnTo>
                    <a:lnTo>
                      <a:pt x="90" y="100"/>
                    </a:lnTo>
                    <a:lnTo>
                      <a:pt x="92" y="98"/>
                    </a:lnTo>
                    <a:lnTo>
                      <a:pt x="96" y="94"/>
                    </a:lnTo>
                    <a:lnTo>
                      <a:pt x="96" y="88"/>
                    </a:lnTo>
                    <a:lnTo>
                      <a:pt x="96" y="80"/>
                    </a:lnTo>
                    <a:lnTo>
                      <a:pt x="92" y="77"/>
                    </a:lnTo>
                    <a:lnTo>
                      <a:pt x="90" y="75"/>
                    </a:lnTo>
                    <a:lnTo>
                      <a:pt x="88" y="73"/>
                    </a:lnTo>
                    <a:lnTo>
                      <a:pt x="84" y="65"/>
                    </a:lnTo>
                    <a:lnTo>
                      <a:pt x="82" y="57"/>
                    </a:lnTo>
                    <a:lnTo>
                      <a:pt x="80" y="55"/>
                    </a:lnTo>
                    <a:lnTo>
                      <a:pt x="78" y="54"/>
                    </a:lnTo>
                    <a:lnTo>
                      <a:pt x="80" y="52"/>
                    </a:lnTo>
                    <a:lnTo>
                      <a:pt x="82" y="48"/>
                    </a:lnTo>
                    <a:lnTo>
                      <a:pt x="84" y="40"/>
                    </a:lnTo>
                    <a:lnTo>
                      <a:pt x="88" y="34"/>
                    </a:lnTo>
                    <a:lnTo>
                      <a:pt x="90" y="31"/>
                    </a:lnTo>
                    <a:lnTo>
                      <a:pt x="92" y="29"/>
                    </a:lnTo>
                    <a:lnTo>
                      <a:pt x="94" y="21"/>
                    </a:lnTo>
                    <a:lnTo>
                      <a:pt x="98" y="15"/>
                    </a:lnTo>
                    <a:lnTo>
                      <a:pt x="100" y="11"/>
                    </a:lnTo>
                    <a:lnTo>
                      <a:pt x="101" y="9"/>
                    </a:lnTo>
                    <a:lnTo>
                      <a:pt x="103" y="8"/>
                    </a:lnTo>
                    <a:lnTo>
                      <a:pt x="107" y="6"/>
                    </a:lnTo>
                    <a:lnTo>
                      <a:pt x="109" y="2"/>
                    </a:lnTo>
                    <a:lnTo>
                      <a:pt x="111" y="0"/>
                    </a:lnTo>
                    <a:lnTo>
                      <a:pt x="130" y="0"/>
                    </a:lnTo>
                    <a:lnTo>
                      <a:pt x="149" y="0"/>
                    </a:lnTo>
                    <a:lnTo>
                      <a:pt x="153" y="2"/>
                    </a:lnTo>
                    <a:lnTo>
                      <a:pt x="155" y="6"/>
                    </a:lnTo>
                    <a:lnTo>
                      <a:pt x="157" y="8"/>
                    </a:lnTo>
                    <a:lnTo>
                      <a:pt x="161" y="9"/>
                    </a:lnTo>
                    <a:lnTo>
                      <a:pt x="163" y="11"/>
                    </a:lnTo>
                    <a:lnTo>
                      <a:pt x="165" y="15"/>
                    </a:lnTo>
                    <a:lnTo>
                      <a:pt x="174" y="17"/>
                    </a:lnTo>
                    <a:lnTo>
                      <a:pt x="184" y="19"/>
                    </a:lnTo>
                    <a:lnTo>
                      <a:pt x="186" y="29"/>
                    </a:lnTo>
                    <a:lnTo>
                      <a:pt x="190" y="38"/>
                    </a:lnTo>
                    <a:lnTo>
                      <a:pt x="192" y="40"/>
                    </a:lnTo>
                    <a:lnTo>
                      <a:pt x="194" y="44"/>
                    </a:lnTo>
                    <a:lnTo>
                      <a:pt x="195" y="46"/>
                    </a:lnTo>
                    <a:lnTo>
                      <a:pt x="199" y="48"/>
                    </a:lnTo>
                    <a:lnTo>
                      <a:pt x="201" y="52"/>
                    </a:lnTo>
                    <a:lnTo>
                      <a:pt x="203" y="54"/>
                    </a:lnTo>
                    <a:lnTo>
                      <a:pt x="205" y="55"/>
                    </a:lnTo>
                    <a:lnTo>
                      <a:pt x="209" y="57"/>
                    </a:lnTo>
                    <a:lnTo>
                      <a:pt x="211" y="61"/>
                    </a:lnTo>
                    <a:lnTo>
                      <a:pt x="213" y="63"/>
                    </a:lnTo>
                    <a:lnTo>
                      <a:pt x="220" y="65"/>
                    </a:lnTo>
                    <a:lnTo>
                      <a:pt x="228" y="67"/>
                    </a:lnTo>
                    <a:lnTo>
                      <a:pt x="230" y="71"/>
                    </a:lnTo>
                    <a:lnTo>
                      <a:pt x="232" y="73"/>
                    </a:lnTo>
                    <a:lnTo>
                      <a:pt x="240" y="75"/>
                    </a:lnTo>
                    <a:lnTo>
                      <a:pt x="247" y="77"/>
                    </a:lnTo>
                    <a:lnTo>
                      <a:pt x="249" y="80"/>
                    </a:lnTo>
                    <a:lnTo>
                      <a:pt x="251" y="82"/>
                    </a:lnTo>
                    <a:lnTo>
                      <a:pt x="255" y="84"/>
                    </a:lnTo>
                    <a:lnTo>
                      <a:pt x="257" y="88"/>
                    </a:lnTo>
                    <a:lnTo>
                      <a:pt x="259" y="90"/>
                    </a:lnTo>
                    <a:lnTo>
                      <a:pt x="261" y="92"/>
                    </a:lnTo>
                    <a:lnTo>
                      <a:pt x="263" y="94"/>
                    </a:lnTo>
                    <a:lnTo>
                      <a:pt x="266" y="98"/>
                    </a:lnTo>
                    <a:lnTo>
                      <a:pt x="268" y="100"/>
                    </a:lnTo>
                    <a:lnTo>
                      <a:pt x="270" y="102"/>
                    </a:lnTo>
                    <a:lnTo>
                      <a:pt x="270" y="111"/>
                    </a:lnTo>
                    <a:lnTo>
                      <a:pt x="270" y="121"/>
                    </a:lnTo>
                    <a:lnTo>
                      <a:pt x="268" y="123"/>
                    </a:lnTo>
                    <a:lnTo>
                      <a:pt x="266" y="126"/>
                    </a:lnTo>
                    <a:lnTo>
                      <a:pt x="263" y="128"/>
                    </a:lnTo>
                    <a:lnTo>
                      <a:pt x="261" y="130"/>
                    </a:lnTo>
                    <a:lnTo>
                      <a:pt x="259" y="132"/>
                    </a:lnTo>
                    <a:lnTo>
                      <a:pt x="257" y="136"/>
                    </a:lnTo>
                    <a:lnTo>
                      <a:pt x="257" y="140"/>
                    </a:lnTo>
                    <a:lnTo>
                      <a:pt x="257" y="146"/>
                    </a:lnTo>
                    <a:lnTo>
                      <a:pt x="259" y="148"/>
                    </a:lnTo>
                    <a:lnTo>
                      <a:pt x="261" y="150"/>
                    </a:lnTo>
                    <a:lnTo>
                      <a:pt x="274" y="151"/>
                    </a:lnTo>
                    <a:lnTo>
                      <a:pt x="286" y="155"/>
                    </a:lnTo>
                    <a:lnTo>
                      <a:pt x="288" y="157"/>
                    </a:lnTo>
                    <a:lnTo>
                      <a:pt x="289" y="159"/>
                    </a:lnTo>
                    <a:lnTo>
                      <a:pt x="289" y="173"/>
                    </a:lnTo>
                    <a:lnTo>
                      <a:pt x="289" y="184"/>
                    </a:lnTo>
                    <a:lnTo>
                      <a:pt x="297" y="184"/>
                    </a:lnTo>
                    <a:lnTo>
                      <a:pt x="305" y="184"/>
                    </a:lnTo>
                    <a:lnTo>
                      <a:pt x="307" y="186"/>
                    </a:lnTo>
                    <a:lnTo>
                      <a:pt x="311" y="188"/>
                    </a:lnTo>
                    <a:lnTo>
                      <a:pt x="316" y="192"/>
                    </a:lnTo>
                    <a:lnTo>
                      <a:pt x="324" y="194"/>
                    </a:lnTo>
                    <a:lnTo>
                      <a:pt x="326" y="196"/>
                    </a:lnTo>
                    <a:lnTo>
                      <a:pt x="330" y="199"/>
                    </a:lnTo>
                    <a:lnTo>
                      <a:pt x="330" y="201"/>
                    </a:lnTo>
                    <a:lnTo>
                      <a:pt x="330" y="203"/>
                    </a:lnTo>
                    <a:lnTo>
                      <a:pt x="309" y="213"/>
                    </a:lnTo>
                    <a:lnTo>
                      <a:pt x="291" y="221"/>
                    </a:lnTo>
                    <a:lnTo>
                      <a:pt x="276" y="228"/>
                    </a:lnTo>
                    <a:lnTo>
                      <a:pt x="263" y="238"/>
                    </a:lnTo>
                    <a:lnTo>
                      <a:pt x="251" y="247"/>
                    </a:lnTo>
                    <a:lnTo>
                      <a:pt x="240" y="259"/>
                    </a:lnTo>
                    <a:lnTo>
                      <a:pt x="226" y="272"/>
                    </a:lnTo>
                    <a:lnTo>
                      <a:pt x="213" y="290"/>
                    </a:lnTo>
                    <a:lnTo>
                      <a:pt x="211" y="290"/>
                    </a:lnTo>
                    <a:lnTo>
                      <a:pt x="209" y="290"/>
                    </a:lnTo>
                    <a:lnTo>
                      <a:pt x="205" y="288"/>
                    </a:lnTo>
                    <a:lnTo>
                      <a:pt x="203" y="286"/>
                    </a:lnTo>
                    <a:lnTo>
                      <a:pt x="197" y="286"/>
                    </a:lnTo>
                    <a:lnTo>
                      <a:pt x="194" y="286"/>
                    </a:lnTo>
                    <a:lnTo>
                      <a:pt x="192" y="288"/>
                    </a:lnTo>
                    <a:lnTo>
                      <a:pt x="190" y="290"/>
                    </a:lnTo>
                    <a:lnTo>
                      <a:pt x="178" y="290"/>
                    </a:lnTo>
                    <a:lnTo>
                      <a:pt x="169" y="290"/>
                    </a:lnTo>
                    <a:lnTo>
                      <a:pt x="167" y="288"/>
                    </a:lnTo>
                    <a:lnTo>
                      <a:pt x="165" y="286"/>
                    </a:lnTo>
                    <a:lnTo>
                      <a:pt x="155" y="286"/>
                    </a:lnTo>
                    <a:lnTo>
                      <a:pt x="146" y="286"/>
                    </a:lnTo>
                    <a:lnTo>
                      <a:pt x="144" y="288"/>
                    </a:lnTo>
                    <a:lnTo>
                      <a:pt x="140" y="290"/>
                    </a:lnTo>
                    <a:lnTo>
                      <a:pt x="130" y="290"/>
                    </a:lnTo>
                    <a:lnTo>
                      <a:pt x="121" y="290"/>
                    </a:lnTo>
                    <a:lnTo>
                      <a:pt x="119" y="288"/>
                    </a:lnTo>
                    <a:lnTo>
                      <a:pt x="117" y="286"/>
                    </a:lnTo>
                    <a:lnTo>
                      <a:pt x="113" y="284"/>
                    </a:lnTo>
                    <a:lnTo>
                      <a:pt x="111" y="280"/>
                    </a:lnTo>
                    <a:lnTo>
                      <a:pt x="109" y="278"/>
                    </a:lnTo>
                    <a:lnTo>
                      <a:pt x="107" y="276"/>
                    </a:lnTo>
                    <a:lnTo>
                      <a:pt x="101" y="276"/>
                    </a:lnTo>
                    <a:lnTo>
                      <a:pt x="98" y="276"/>
                    </a:lnTo>
                    <a:lnTo>
                      <a:pt x="94" y="278"/>
                    </a:lnTo>
                    <a:lnTo>
                      <a:pt x="92" y="280"/>
                    </a:lnTo>
                    <a:lnTo>
                      <a:pt x="90" y="284"/>
                    </a:lnTo>
                    <a:lnTo>
                      <a:pt x="88" y="286"/>
                    </a:lnTo>
                    <a:lnTo>
                      <a:pt x="84" y="288"/>
                    </a:lnTo>
                    <a:lnTo>
                      <a:pt x="82" y="290"/>
                    </a:lnTo>
                    <a:lnTo>
                      <a:pt x="61" y="293"/>
                    </a:lnTo>
                    <a:lnTo>
                      <a:pt x="38" y="295"/>
                    </a:lnTo>
                    <a:lnTo>
                      <a:pt x="36" y="297"/>
                    </a:lnTo>
                    <a:lnTo>
                      <a:pt x="34" y="299"/>
                    </a:lnTo>
                  </a:path>
                </a:pathLst>
              </a:custGeom>
              <a:grpFill/>
              <a:ln w="3175">
                <a:solidFill>
                  <a:srgbClr val="FF8300"/>
                </a:solidFill>
                <a:round/>
                <a:headEnd/>
                <a:tailEnd/>
              </a:ln>
            </p:spPr>
            <p:txBody>
              <a:bodyPr/>
              <a:lstStyle/>
              <a:p>
                <a:pPr>
                  <a:defRPr/>
                </a:pPr>
                <a:endParaRPr lang="en-GB" sz="1400">
                  <a:solidFill>
                    <a:schemeClr val="tx2"/>
                  </a:solidFill>
                </a:endParaRPr>
              </a:p>
            </p:txBody>
          </p:sp>
          <p:sp>
            <p:nvSpPr>
              <p:cNvPr id="429" name="Freeform 192"/>
              <p:cNvSpPr>
                <a:spLocks noChangeArrowheads="1"/>
              </p:cNvSpPr>
              <p:nvPr>
                <p:custDataLst>
                  <p:tags r:id="rId74"/>
                </p:custDataLst>
              </p:nvPr>
            </p:nvSpPr>
            <p:spPr bwMode="gray">
              <a:xfrm>
                <a:off x="806048" y="5305675"/>
                <a:ext cx="121235" cy="188123"/>
              </a:xfrm>
              <a:custGeom>
                <a:avLst/>
                <a:gdLst>
                  <a:gd name="T0" fmla="*/ 28353 w 138370"/>
                  <a:gd name="T1" fmla="*/ 204787 h 214312"/>
                  <a:gd name="T2" fmla="*/ 51768 w 138370"/>
                  <a:gd name="T3" fmla="*/ 176212 h 214312"/>
                  <a:gd name="T4" fmla="*/ 65818 w 138370"/>
                  <a:gd name="T5" fmla="*/ 166687 h 214312"/>
                  <a:gd name="T6" fmla="*/ 70501 w 138370"/>
                  <a:gd name="T7" fmla="*/ 152400 h 214312"/>
                  <a:gd name="T8" fmla="*/ 75184 w 138370"/>
                  <a:gd name="T9" fmla="*/ 166687 h 214312"/>
                  <a:gd name="T10" fmla="*/ 84551 w 138370"/>
                  <a:gd name="T11" fmla="*/ 185737 h 214312"/>
                  <a:gd name="T12" fmla="*/ 103284 w 138370"/>
                  <a:gd name="T13" fmla="*/ 214312 h 214312"/>
                  <a:gd name="T14" fmla="*/ 117332 w 138370"/>
                  <a:gd name="T15" fmla="*/ 209550 h 214312"/>
                  <a:gd name="T16" fmla="*/ 136064 w 138370"/>
                  <a:gd name="T17" fmla="*/ 180975 h 214312"/>
                  <a:gd name="T18" fmla="*/ 131383 w 138370"/>
                  <a:gd name="T19" fmla="*/ 104775 h 214312"/>
                  <a:gd name="T20" fmla="*/ 117332 w 138370"/>
                  <a:gd name="T21" fmla="*/ 57150 h 214312"/>
                  <a:gd name="T22" fmla="*/ 107966 w 138370"/>
                  <a:gd name="T23" fmla="*/ 28575 h 214312"/>
                  <a:gd name="T24" fmla="*/ 75184 w 138370"/>
                  <a:gd name="T25" fmla="*/ 14287 h 214312"/>
                  <a:gd name="T26" fmla="*/ 47086 w 138370"/>
                  <a:gd name="T27" fmla="*/ 0 h 214312"/>
                  <a:gd name="T28" fmla="*/ 33035 w 138370"/>
                  <a:gd name="T29" fmla="*/ 4762 h 214312"/>
                  <a:gd name="T30" fmla="*/ 28353 w 138370"/>
                  <a:gd name="T31" fmla="*/ 19050 h 214312"/>
                  <a:gd name="T32" fmla="*/ 61135 w 138370"/>
                  <a:gd name="T33" fmla="*/ 38100 h 214312"/>
                  <a:gd name="T34" fmla="*/ 75184 w 138370"/>
                  <a:gd name="T35" fmla="*/ 47625 h 214312"/>
                  <a:gd name="T36" fmla="*/ 61135 w 138370"/>
                  <a:gd name="T37" fmla="*/ 95250 h 214312"/>
                  <a:gd name="T38" fmla="*/ 56452 w 138370"/>
                  <a:gd name="T39" fmla="*/ 109537 h 214312"/>
                  <a:gd name="T40" fmla="*/ 23669 w 138370"/>
                  <a:gd name="T41" fmla="*/ 119062 h 214312"/>
                  <a:gd name="T42" fmla="*/ 9621 w 138370"/>
                  <a:gd name="T43" fmla="*/ 133350 h 214312"/>
                  <a:gd name="T44" fmla="*/ 9621 w 138370"/>
                  <a:gd name="T45" fmla="*/ 190500 h 214312"/>
                  <a:gd name="T46" fmla="*/ 28353 w 138370"/>
                  <a:gd name="T47" fmla="*/ 204787 h 214312"/>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38370"/>
                  <a:gd name="T73" fmla="*/ 0 h 214312"/>
                  <a:gd name="T74" fmla="*/ 138370 w 138370"/>
                  <a:gd name="T75" fmla="*/ 214312 h 214312"/>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38370" h="214312">
                    <a:moveTo>
                      <a:pt x="28833" y="204787"/>
                    </a:moveTo>
                    <a:cubicBezTo>
                      <a:pt x="35977" y="202406"/>
                      <a:pt x="38896" y="187669"/>
                      <a:pt x="52645" y="176212"/>
                    </a:cubicBezTo>
                    <a:cubicBezTo>
                      <a:pt x="57042" y="172548"/>
                      <a:pt x="62170" y="169862"/>
                      <a:pt x="66933" y="166687"/>
                    </a:cubicBezTo>
                    <a:cubicBezTo>
                      <a:pt x="68520" y="161925"/>
                      <a:pt x="66675" y="152400"/>
                      <a:pt x="71695" y="152400"/>
                    </a:cubicBezTo>
                    <a:cubicBezTo>
                      <a:pt x="76715" y="152400"/>
                      <a:pt x="74480" y="162073"/>
                      <a:pt x="76458" y="166687"/>
                    </a:cubicBezTo>
                    <a:cubicBezTo>
                      <a:pt x="79255" y="173212"/>
                      <a:pt x="82330" y="179649"/>
                      <a:pt x="85983" y="185737"/>
                    </a:cubicBezTo>
                    <a:cubicBezTo>
                      <a:pt x="91873" y="195553"/>
                      <a:pt x="105033" y="214312"/>
                      <a:pt x="105033" y="214312"/>
                    </a:cubicBezTo>
                    <a:cubicBezTo>
                      <a:pt x="109795" y="212725"/>
                      <a:pt x="115770" y="213100"/>
                      <a:pt x="119320" y="209550"/>
                    </a:cubicBezTo>
                    <a:cubicBezTo>
                      <a:pt x="127415" y="201455"/>
                      <a:pt x="138370" y="180975"/>
                      <a:pt x="138370" y="180975"/>
                    </a:cubicBezTo>
                    <a:cubicBezTo>
                      <a:pt x="136783" y="155575"/>
                      <a:pt x="136140" y="130098"/>
                      <a:pt x="133608" y="104775"/>
                    </a:cubicBezTo>
                    <a:cubicBezTo>
                      <a:pt x="132580" y="94496"/>
                      <a:pt x="121450" y="63540"/>
                      <a:pt x="119320" y="57150"/>
                    </a:cubicBezTo>
                    <a:cubicBezTo>
                      <a:pt x="119319" y="57148"/>
                      <a:pt x="109797" y="28577"/>
                      <a:pt x="109795" y="28575"/>
                    </a:cubicBezTo>
                    <a:cubicBezTo>
                      <a:pt x="90062" y="15419"/>
                      <a:pt x="101061" y="20438"/>
                      <a:pt x="76458" y="14287"/>
                    </a:cubicBezTo>
                    <a:cubicBezTo>
                      <a:pt x="69234" y="9471"/>
                      <a:pt x="57742" y="0"/>
                      <a:pt x="47883" y="0"/>
                    </a:cubicBezTo>
                    <a:cubicBezTo>
                      <a:pt x="42863" y="0"/>
                      <a:pt x="38358" y="3175"/>
                      <a:pt x="33595" y="4762"/>
                    </a:cubicBezTo>
                    <a:cubicBezTo>
                      <a:pt x="32008" y="9525"/>
                      <a:pt x="28008" y="14098"/>
                      <a:pt x="28833" y="19050"/>
                    </a:cubicBezTo>
                    <a:cubicBezTo>
                      <a:pt x="31974" y="37897"/>
                      <a:pt x="48123" y="35290"/>
                      <a:pt x="62170" y="38100"/>
                    </a:cubicBezTo>
                    <a:cubicBezTo>
                      <a:pt x="66933" y="41275"/>
                      <a:pt x="75216" y="42037"/>
                      <a:pt x="76458" y="47625"/>
                    </a:cubicBezTo>
                    <a:cubicBezTo>
                      <a:pt x="81565" y="70608"/>
                      <a:pt x="72476" y="79791"/>
                      <a:pt x="62170" y="95250"/>
                    </a:cubicBezTo>
                    <a:cubicBezTo>
                      <a:pt x="60583" y="100012"/>
                      <a:pt x="60958" y="105987"/>
                      <a:pt x="57408" y="109537"/>
                    </a:cubicBezTo>
                    <a:cubicBezTo>
                      <a:pt x="55129" y="111816"/>
                      <a:pt x="24237" y="119020"/>
                      <a:pt x="24070" y="119062"/>
                    </a:cubicBezTo>
                    <a:cubicBezTo>
                      <a:pt x="19308" y="123825"/>
                      <a:pt x="13519" y="127746"/>
                      <a:pt x="9783" y="133350"/>
                    </a:cubicBezTo>
                    <a:cubicBezTo>
                      <a:pt x="0" y="148024"/>
                      <a:pt x="5820" y="180593"/>
                      <a:pt x="9783" y="190500"/>
                    </a:cubicBezTo>
                    <a:cubicBezTo>
                      <a:pt x="12089" y="196266"/>
                      <a:pt x="21689" y="207168"/>
                      <a:pt x="28833" y="204787"/>
                    </a:cubicBezTo>
                    <a:close/>
                  </a:path>
                </a:pathLst>
              </a:custGeom>
              <a:grpFill/>
              <a:ln w="3175">
                <a:solidFill>
                  <a:srgbClr val="FF8300"/>
                </a:solidFill>
                <a:round/>
                <a:headEnd/>
                <a:tailEnd/>
              </a:ln>
            </p:spPr>
            <p:txBody>
              <a:bodyPr/>
              <a:lstStyle/>
              <a:p>
                <a:pPr>
                  <a:defRPr/>
                </a:pPr>
                <a:endParaRPr lang="nl-NL" sz="1400">
                  <a:solidFill>
                    <a:schemeClr val="tx2"/>
                  </a:solidFill>
                </a:endParaRPr>
              </a:p>
            </p:txBody>
          </p:sp>
          <p:sp>
            <p:nvSpPr>
              <p:cNvPr id="430" name="Freeform 132"/>
              <p:cNvSpPr>
                <a:spLocks noChangeArrowheads="1"/>
              </p:cNvSpPr>
              <p:nvPr>
                <p:custDataLst>
                  <p:tags r:id="rId75"/>
                </p:custDataLst>
              </p:nvPr>
            </p:nvSpPr>
            <p:spPr bwMode="gray">
              <a:xfrm>
                <a:off x="1529278" y="4412437"/>
                <a:ext cx="72462" cy="78036"/>
              </a:xfrm>
              <a:custGeom>
                <a:avLst/>
                <a:gdLst>
                  <a:gd name="T0" fmla="*/ 34197 w 81962"/>
                  <a:gd name="T1" fmla="*/ 0 h 88938"/>
                  <a:gd name="T2" fmla="*/ 13292 w 81962"/>
                  <a:gd name="T3" fmla="*/ 12635 h 88938"/>
                  <a:gd name="T4" fmla="*/ 13292 w 81962"/>
                  <a:gd name="T5" fmla="*/ 63149 h 88938"/>
                  <a:gd name="T6" fmla="*/ 20256 w 81962"/>
                  <a:gd name="T7" fmla="*/ 82095 h 88938"/>
                  <a:gd name="T8" fmla="*/ 41165 w 81962"/>
                  <a:gd name="T9" fmla="*/ 88406 h 88938"/>
                  <a:gd name="T10" fmla="*/ 82973 w 81962"/>
                  <a:gd name="T11" fmla="*/ 82095 h 88938"/>
                  <a:gd name="T12" fmla="*/ 89944 w 81962"/>
                  <a:gd name="T13" fmla="*/ 63149 h 88938"/>
                  <a:gd name="T14" fmla="*/ 62074 w 81962"/>
                  <a:gd name="T15" fmla="*/ 18946 h 88938"/>
                  <a:gd name="T16" fmla="*/ 48133 w 81962"/>
                  <a:gd name="T17" fmla="*/ 0 h 88938"/>
                  <a:gd name="T18" fmla="*/ 34197 w 81962"/>
                  <a:gd name="T19" fmla="*/ 0 h 8893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81962"/>
                  <a:gd name="T31" fmla="*/ 0 h 88938"/>
                  <a:gd name="T32" fmla="*/ 81962 w 81962"/>
                  <a:gd name="T33" fmla="*/ 88938 h 8893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81962" h="88938">
                    <a:moveTo>
                      <a:pt x="31162" y="0"/>
                    </a:moveTo>
                    <a:cubicBezTo>
                      <a:pt x="24812" y="4233"/>
                      <a:pt x="16880" y="6741"/>
                      <a:pt x="12112" y="12700"/>
                    </a:cubicBezTo>
                    <a:cubicBezTo>
                      <a:pt x="0" y="27840"/>
                      <a:pt x="8237" y="48001"/>
                      <a:pt x="12112" y="63500"/>
                    </a:cubicBezTo>
                    <a:cubicBezTo>
                      <a:pt x="13735" y="69994"/>
                      <a:pt x="13729" y="77817"/>
                      <a:pt x="18462" y="82550"/>
                    </a:cubicBezTo>
                    <a:cubicBezTo>
                      <a:pt x="23195" y="87283"/>
                      <a:pt x="31162" y="86783"/>
                      <a:pt x="37512" y="88900"/>
                    </a:cubicBezTo>
                    <a:cubicBezTo>
                      <a:pt x="50212" y="86783"/>
                      <a:pt x="64433" y="88938"/>
                      <a:pt x="75612" y="82550"/>
                    </a:cubicBezTo>
                    <a:cubicBezTo>
                      <a:pt x="81424" y="79229"/>
                      <a:pt x="81962" y="70193"/>
                      <a:pt x="81962" y="63500"/>
                    </a:cubicBezTo>
                    <a:cubicBezTo>
                      <a:pt x="81962" y="34719"/>
                      <a:pt x="73008" y="38785"/>
                      <a:pt x="56562" y="19050"/>
                    </a:cubicBezTo>
                    <a:cubicBezTo>
                      <a:pt x="51676" y="13187"/>
                      <a:pt x="48095" y="6350"/>
                      <a:pt x="43862" y="0"/>
                    </a:cubicBezTo>
                    <a:lnTo>
                      <a:pt x="31162" y="0"/>
                    </a:lnTo>
                    <a:close/>
                  </a:path>
                </a:pathLst>
              </a:custGeom>
              <a:grpFill/>
              <a:ln w="3175">
                <a:solidFill>
                  <a:srgbClr val="FF8300"/>
                </a:solidFill>
                <a:round/>
                <a:headEnd/>
                <a:tailEnd/>
              </a:ln>
            </p:spPr>
            <p:txBody>
              <a:bodyPr/>
              <a:lstStyle/>
              <a:p>
                <a:pPr>
                  <a:defRPr/>
                </a:pPr>
                <a:endParaRPr lang="nl-NL" sz="1400">
                  <a:solidFill>
                    <a:schemeClr val="tx2"/>
                  </a:solidFill>
                </a:endParaRPr>
              </a:p>
            </p:txBody>
          </p:sp>
          <p:sp>
            <p:nvSpPr>
              <p:cNvPr id="431" name="Freeform 13"/>
              <p:cNvSpPr/>
              <p:nvPr/>
            </p:nvSpPr>
            <p:spPr bwMode="gray">
              <a:xfrm>
                <a:off x="3091784" y="4771961"/>
                <a:ext cx="1301151" cy="693967"/>
              </a:xfrm>
              <a:custGeom>
                <a:avLst/>
                <a:gdLst>
                  <a:gd name="connsiteX0" fmla="*/ 65443 w 1482287"/>
                  <a:gd name="connsiteY0" fmla="*/ 85725 h 790575"/>
                  <a:gd name="connsiteX1" fmla="*/ 67824 w 1482287"/>
                  <a:gd name="connsiteY1" fmla="*/ 111919 h 790575"/>
                  <a:gd name="connsiteX2" fmla="*/ 70205 w 1482287"/>
                  <a:gd name="connsiteY2" fmla="*/ 119063 h 790575"/>
                  <a:gd name="connsiteX3" fmla="*/ 72587 w 1482287"/>
                  <a:gd name="connsiteY3" fmla="*/ 128588 h 790575"/>
                  <a:gd name="connsiteX4" fmla="*/ 77349 w 1482287"/>
                  <a:gd name="connsiteY4" fmla="*/ 142875 h 790575"/>
                  <a:gd name="connsiteX5" fmla="*/ 79730 w 1482287"/>
                  <a:gd name="connsiteY5" fmla="*/ 154781 h 790575"/>
                  <a:gd name="connsiteX6" fmla="*/ 86874 w 1482287"/>
                  <a:gd name="connsiteY6" fmla="*/ 176213 h 790575"/>
                  <a:gd name="connsiteX7" fmla="*/ 89255 w 1482287"/>
                  <a:gd name="connsiteY7" fmla="*/ 183356 h 790575"/>
                  <a:gd name="connsiteX8" fmla="*/ 91637 w 1482287"/>
                  <a:gd name="connsiteY8" fmla="*/ 192881 h 790575"/>
                  <a:gd name="connsiteX9" fmla="*/ 98780 w 1482287"/>
                  <a:gd name="connsiteY9" fmla="*/ 207169 h 790575"/>
                  <a:gd name="connsiteX10" fmla="*/ 103543 w 1482287"/>
                  <a:gd name="connsiteY10" fmla="*/ 216694 h 790575"/>
                  <a:gd name="connsiteX11" fmla="*/ 117830 w 1482287"/>
                  <a:gd name="connsiteY11" fmla="*/ 230981 h 790575"/>
                  <a:gd name="connsiteX12" fmla="*/ 120212 w 1482287"/>
                  <a:gd name="connsiteY12" fmla="*/ 238125 h 790575"/>
                  <a:gd name="connsiteX13" fmla="*/ 124974 w 1482287"/>
                  <a:gd name="connsiteY13" fmla="*/ 245269 h 790575"/>
                  <a:gd name="connsiteX14" fmla="*/ 129737 w 1482287"/>
                  <a:gd name="connsiteY14" fmla="*/ 259556 h 790575"/>
                  <a:gd name="connsiteX15" fmla="*/ 132118 w 1482287"/>
                  <a:gd name="connsiteY15" fmla="*/ 266700 h 790575"/>
                  <a:gd name="connsiteX16" fmla="*/ 129737 w 1482287"/>
                  <a:gd name="connsiteY16" fmla="*/ 359569 h 790575"/>
                  <a:gd name="connsiteX17" fmla="*/ 127355 w 1482287"/>
                  <a:gd name="connsiteY17" fmla="*/ 366713 h 790575"/>
                  <a:gd name="connsiteX18" fmla="*/ 113068 w 1482287"/>
                  <a:gd name="connsiteY18" fmla="*/ 378619 h 790575"/>
                  <a:gd name="connsiteX19" fmla="*/ 94018 w 1482287"/>
                  <a:gd name="connsiteY19" fmla="*/ 400050 h 790575"/>
                  <a:gd name="connsiteX20" fmla="*/ 86874 w 1482287"/>
                  <a:gd name="connsiteY20" fmla="*/ 407194 h 790575"/>
                  <a:gd name="connsiteX21" fmla="*/ 63062 w 1482287"/>
                  <a:gd name="connsiteY21" fmla="*/ 414338 h 790575"/>
                  <a:gd name="connsiteX22" fmla="*/ 46393 w 1482287"/>
                  <a:gd name="connsiteY22" fmla="*/ 419100 h 790575"/>
                  <a:gd name="connsiteX23" fmla="*/ 22580 w 1482287"/>
                  <a:gd name="connsiteY23" fmla="*/ 442913 h 790575"/>
                  <a:gd name="connsiteX24" fmla="*/ 17818 w 1482287"/>
                  <a:gd name="connsiteY24" fmla="*/ 450056 h 790575"/>
                  <a:gd name="connsiteX25" fmla="*/ 13055 w 1482287"/>
                  <a:gd name="connsiteY25" fmla="*/ 457200 h 790575"/>
                  <a:gd name="connsiteX26" fmla="*/ 10674 w 1482287"/>
                  <a:gd name="connsiteY26" fmla="*/ 466725 h 790575"/>
                  <a:gd name="connsiteX27" fmla="*/ 1149 w 1482287"/>
                  <a:gd name="connsiteY27" fmla="*/ 476250 h 790575"/>
                  <a:gd name="connsiteX28" fmla="*/ 3530 w 1482287"/>
                  <a:gd name="connsiteY28" fmla="*/ 485775 h 790575"/>
                  <a:gd name="connsiteX29" fmla="*/ 8293 w 1482287"/>
                  <a:gd name="connsiteY29" fmla="*/ 502444 h 790575"/>
                  <a:gd name="connsiteX30" fmla="*/ 10674 w 1482287"/>
                  <a:gd name="connsiteY30" fmla="*/ 571500 h 790575"/>
                  <a:gd name="connsiteX31" fmla="*/ 22580 w 1482287"/>
                  <a:gd name="connsiteY31" fmla="*/ 592931 h 790575"/>
                  <a:gd name="connsiteX32" fmla="*/ 32105 w 1482287"/>
                  <a:gd name="connsiteY32" fmla="*/ 600075 h 790575"/>
                  <a:gd name="connsiteX33" fmla="*/ 36868 w 1482287"/>
                  <a:gd name="connsiteY33" fmla="*/ 607219 h 790575"/>
                  <a:gd name="connsiteX34" fmla="*/ 60680 w 1482287"/>
                  <a:gd name="connsiteY34" fmla="*/ 621506 h 790575"/>
                  <a:gd name="connsiteX35" fmla="*/ 65443 w 1482287"/>
                  <a:gd name="connsiteY35" fmla="*/ 628650 h 790575"/>
                  <a:gd name="connsiteX36" fmla="*/ 86874 w 1482287"/>
                  <a:gd name="connsiteY36" fmla="*/ 638175 h 790575"/>
                  <a:gd name="connsiteX37" fmla="*/ 94018 w 1482287"/>
                  <a:gd name="connsiteY37" fmla="*/ 640556 h 790575"/>
                  <a:gd name="connsiteX38" fmla="*/ 101162 w 1482287"/>
                  <a:gd name="connsiteY38" fmla="*/ 647700 h 790575"/>
                  <a:gd name="connsiteX39" fmla="*/ 115449 w 1482287"/>
                  <a:gd name="connsiteY39" fmla="*/ 657225 h 790575"/>
                  <a:gd name="connsiteX40" fmla="*/ 129737 w 1482287"/>
                  <a:gd name="connsiteY40" fmla="*/ 669131 h 790575"/>
                  <a:gd name="connsiteX41" fmla="*/ 141643 w 1482287"/>
                  <a:gd name="connsiteY41" fmla="*/ 683419 h 790575"/>
                  <a:gd name="connsiteX42" fmla="*/ 144024 w 1482287"/>
                  <a:gd name="connsiteY42" fmla="*/ 690563 h 790575"/>
                  <a:gd name="connsiteX43" fmla="*/ 148787 w 1482287"/>
                  <a:gd name="connsiteY43" fmla="*/ 709613 h 790575"/>
                  <a:gd name="connsiteX44" fmla="*/ 153549 w 1482287"/>
                  <a:gd name="connsiteY44" fmla="*/ 716756 h 790575"/>
                  <a:gd name="connsiteX45" fmla="*/ 160693 w 1482287"/>
                  <a:gd name="connsiteY45" fmla="*/ 726281 h 790575"/>
                  <a:gd name="connsiteX46" fmla="*/ 174980 w 1482287"/>
                  <a:gd name="connsiteY46" fmla="*/ 733425 h 790575"/>
                  <a:gd name="connsiteX47" fmla="*/ 217843 w 1482287"/>
                  <a:gd name="connsiteY47" fmla="*/ 735806 h 790575"/>
                  <a:gd name="connsiteX48" fmla="*/ 267849 w 1482287"/>
                  <a:gd name="connsiteY48" fmla="*/ 735806 h 790575"/>
                  <a:gd name="connsiteX49" fmla="*/ 286899 w 1482287"/>
                  <a:gd name="connsiteY49" fmla="*/ 740569 h 790575"/>
                  <a:gd name="connsiteX50" fmla="*/ 301187 w 1482287"/>
                  <a:gd name="connsiteY50" fmla="*/ 752475 h 790575"/>
                  <a:gd name="connsiteX51" fmla="*/ 308330 w 1482287"/>
                  <a:gd name="connsiteY51" fmla="*/ 757238 h 790575"/>
                  <a:gd name="connsiteX52" fmla="*/ 322618 w 1482287"/>
                  <a:gd name="connsiteY52" fmla="*/ 785813 h 790575"/>
                  <a:gd name="connsiteX53" fmla="*/ 329762 w 1482287"/>
                  <a:gd name="connsiteY53" fmla="*/ 790575 h 790575"/>
                  <a:gd name="connsiteX54" fmla="*/ 334524 w 1482287"/>
                  <a:gd name="connsiteY54" fmla="*/ 783431 h 790575"/>
                  <a:gd name="connsiteX55" fmla="*/ 341668 w 1482287"/>
                  <a:gd name="connsiteY55" fmla="*/ 776288 h 790575"/>
                  <a:gd name="connsiteX56" fmla="*/ 348812 w 1482287"/>
                  <a:gd name="connsiteY56" fmla="*/ 752475 h 790575"/>
                  <a:gd name="connsiteX57" fmla="*/ 353574 w 1482287"/>
                  <a:gd name="connsiteY57" fmla="*/ 738188 h 790575"/>
                  <a:gd name="connsiteX58" fmla="*/ 365480 w 1482287"/>
                  <a:gd name="connsiteY58" fmla="*/ 723900 h 790575"/>
                  <a:gd name="connsiteX59" fmla="*/ 370243 w 1482287"/>
                  <a:gd name="connsiteY59" fmla="*/ 716756 h 790575"/>
                  <a:gd name="connsiteX60" fmla="*/ 384530 w 1482287"/>
                  <a:gd name="connsiteY60" fmla="*/ 709613 h 790575"/>
                  <a:gd name="connsiteX61" fmla="*/ 391674 w 1482287"/>
                  <a:gd name="connsiteY61" fmla="*/ 702469 h 790575"/>
                  <a:gd name="connsiteX62" fmla="*/ 398818 w 1482287"/>
                  <a:gd name="connsiteY62" fmla="*/ 697706 h 790575"/>
                  <a:gd name="connsiteX63" fmla="*/ 403580 w 1482287"/>
                  <a:gd name="connsiteY63" fmla="*/ 690563 h 790575"/>
                  <a:gd name="connsiteX64" fmla="*/ 413105 w 1482287"/>
                  <a:gd name="connsiteY64" fmla="*/ 683419 h 790575"/>
                  <a:gd name="connsiteX65" fmla="*/ 425012 w 1482287"/>
                  <a:gd name="connsiteY65" fmla="*/ 669131 h 790575"/>
                  <a:gd name="connsiteX66" fmla="*/ 436918 w 1482287"/>
                  <a:gd name="connsiteY66" fmla="*/ 659606 h 790575"/>
                  <a:gd name="connsiteX67" fmla="*/ 441680 w 1482287"/>
                  <a:gd name="connsiteY67" fmla="*/ 652463 h 790575"/>
                  <a:gd name="connsiteX68" fmla="*/ 448824 w 1482287"/>
                  <a:gd name="connsiteY68" fmla="*/ 645319 h 790575"/>
                  <a:gd name="connsiteX69" fmla="*/ 451205 w 1482287"/>
                  <a:gd name="connsiteY69" fmla="*/ 638175 h 790575"/>
                  <a:gd name="connsiteX70" fmla="*/ 448824 w 1482287"/>
                  <a:gd name="connsiteY70" fmla="*/ 607219 h 790575"/>
                  <a:gd name="connsiteX71" fmla="*/ 441680 w 1482287"/>
                  <a:gd name="connsiteY71" fmla="*/ 602456 h 790575"/>
                  <a:gd name="connsiteX72" fmla="*/ 422630 w 1482287"/>
                  <a:gd name="connsiteY72" fmla="*/ 585788 h 790575"/>
                  <a:gd name="connsiteX73" fmla="*/ 403580 w 1482287"/>
                  <a:gd name="connsiteY73" fmla="*/ 573881 h 790575"/>
                  <a:gd name="connsiteX74" fmla="*/ 389293 w 1482287"/>
                  <a:gd name="connsiteY74" fmla="*/ 564356 h 790575"/>
                  <a:gd name="connsiteX75" fmla="*/ 386912 w 1482287"/>
                  <a:gd name="connsiteY75" fmla="*/ 557213 h 790575"/>
                  <a:gd name="connsiteX76" fmla="*/ 401199 w 1482287"/>
                  <a:gd name="connsiteY76" fmla="*/ 533400 h 790575"/>
                  <a:gd name="connsiteX77" fmla="*/ 408343 w 1482287"/>
                  <a:gd name="connsiteY77" fmla="*/ 528638 h 790575"/>
                  <a:gd name="connsiteX78" fmla="*/ 413105 w 1482287"/>
                  <a:gd name="connsiteY78" fmla="*/ 514350 h 790575"/>
                  <a:gd name="connsiteX79" fmla="*/ 415487 w 1482287"/>
                  <a:gd name="connsiteY79" fmla="*/ 495300 h 790575"/>
                  <a:gd name="connsiteX80" fmla="*/ 417868 w 1482287"/>
                  <a:gd name="connsiteY80" fmla="*/ 483394 h 790575"/>
                  <a:gd name="connsiteX81" fmla="*/ 422630 w 1482287"/>
                  <a:gd name="connsiteY81" fmla="*/ 457200 h 790575"/>
                  <a:gd name="connsiteX82" fmla="*/ 425012 w 1482287"/>
                  <a:gd name="connsiteY82" fmla="*/ 450056 h 790575"/>
                  <a:gd name="connsiteX83" fmla="*/ 439299 w 1482287"/>
                  <a:gd name="connsiteY83" fmla="*/ 440531 h 790575"/>
                  <a:gd name="connsiteX84" fmla="*/ 475018 w 1482287"/>
                  <a:gd name="connsiteY84" fmla="*/ 442913 h 790575"/>
                  <a:gd name="connsiteX85" fmla="*/ 482162 w 1482287"/>
                  <a:gd name="connsiteY85" fmla="*/ 447675 h 790575"/>
                  <a:gd name="connsiteX86" fmla="*/ 484543 w 1482287"/>
                  <a:gd name="connsiteY86" fmla="*/ 476250 h 790575"/>
                  <a:gd name="connsiteX87" fmla="*/ 486924 w 1482287"/>
                  <a:gd name="connsiteY87" fmla="*/ 483394 h 790575"/>
                  <a:gd name="connsiteX88" fmla="*/ 501212 w 1482287"/>
                  <a:gd name="connsiteY88" fmla="*/ 488156 h 790575"/>
                  <a:gd name="connsiteX89" fmla="*/ 525024 w 1482287"/>
                  <a:gd name="connsiteY89" fmla="*/ 492919 h 790575"/>
                  <a:gd name="connsiteX90" fmla="*/ 563124 w 1482287"/>
                  <a:gd name="connsiteY90" fmla="*/ 500063 h 790575"/>
                  <a:gd name="connsiteX91" fmla="*/ 575030 w 1482287"/>
                  <a:gd name="connsiteY91" fmla="*/ 502444 h 790575"/>
                  <a:gd name="connsiteX92" fmla="*/ 620274 w 1482287"/>
                  <a:gd name="connsiteY92" fmla="*/ 504825 h 790575"/>
                  <a:gd name="connsiteX93" fmla="*/ 644087 w 1482287"/>
                  <a:gd name="connsiteY93" fmla="*/ 511969 h 790575"/>
                  <a:gd name="connsiteX94" fmla="*/ 663137 w 1482287"/>
                  <a:gd name="connsiteY94" fmla="*/ 516731 h 790575"/>
                  <a:gd name="connsiteX95" fmla="*/ 701237 w 1482287"/>
                  <a:gd name="connsiteY95" fmla="*/ 519113 h 790575"/>
                  <a:gd name="connsiteX96" fmla="*/ 727430 w 1482287"/>
                  <a:gd name="connsiteY96" fmla="*/ 519113 h 790575"/>
                  <a:gd name="connsiteX97" fmla="*/ 732193 w 1482287"/>
                  <a:gd name="connsiteY97" fmla="*/ 511969 h 790575"/>
                  <a:gd name="connsiteX98" fmla="*/ 739337 w 1482287"/>
                  <a:gd name="connsiteY98" fmla="*/ 507206 h 790575"/>
                  <a:gd name="connsiteX99" fmla="*/ 741718 w 1482287"/>
                  <a:gd name="connsiteY99" fmla="*/ 500063 h 790575"/>
                  <a:gd name="connsiteX100" fmla="*/ 748862 w 1482287"/>
                  <a:gd name="connsiteY100" fmla="*/ 485775 h 790575"/>
                  <a:gd name="connsiteX101" fmla="*/ 751243 w 1482287"/>
                  <a:gd name="connsiteY101" fmla="*/ 464344 h 790575"/>
                  <a:gd name="connsiteX102" fmla="*/ 758387 w 1482287"/>
                  <a:gd name="connsiteY102" fmla="*/ 450056 h 790575"/>
                  <a:gd name="connsiteX103" fmla="*/ 765530 w 1482287"/>
                  <a:gd name="connsiteY103" fmla="*/ 442913 h 790575"/>
                  <a:gd name="connsiteX104" fmla="*/ 770293 w 1482287"/>
                  <a:gd name="connsiteY104" fmla="*/ 435769 h 790575"/>
                  <a:gd name="connsiteX105" fmla="*/ 772674 w 1482287"/>
                  <a:gd name="connsiteY105" fmla="*/ 428625 h 790575"/>
                  <a:gd name="connsiteX106" fmla="*/ 779818 w 1482287"/>
                  <a:gd name="connsiteY106" fmla="*/ 409575 h 790575"/>
                  <a:gd name="connsiteX107" fmla="*/ 786962 w 1482287"/>
                  <a:gd name="connsiteY107" fmla="*/ 407194 h 790575"/>
                  <a:gd name="connsiteX108" fmla="*/ 803630 w 1482287"/>
                  <a:gd name="connsiteY108" fmla="*/ 397669 h 790575"/>
                  <a:gd name="connsiteX109" fmla="*/ 827443 w 1482287"/>
                  <a:gd name="connsiteY109" fmla="*/ 383381 h 790575"/>
                  <a:gd name="connsiteX110" fmla="*/ 856018 w 1482287"/>
                  <a:gd name="connsiteY110" fmla="*/ 376238 h 790575"/>
                  <a:gd name="connsiteX111" fmla="*/ 863162 w 1482287"/>
                  <a:gd name="connsiteY111" fmla="*/ 373856 h 790575"/>
                  <a:gd name="connsiteX112" fmla="*/ 867924 w 1482287"/>
                  <a:gd name="connsiteY112" fmla="*/ 359569 h 790575"/>
                  <a:gd name="connsiteX113" fmla="*/ 870305 w 1482287"/>
                  <a:gd name="connsiteY113" fmla="*/ 323850 h 790575"/>
                  <a:gd name="connsiteX114" fmla="*/ 884593 w 1482287"/>
                  <a:gd name="connsiteY114" fmla="*/ 295275 h 790575"/>
                  <a:gd name="connsiteX115" fmla="*/ 889355 w 1482287"/>
                  <a:gd name="connsiteY115" fmla="*/ 288131 h 790575"/>
                  <a:gd name="connsiteX116" fmla="*/ 896499 w 1482287"/>
                  <a:gd name="connsiteY116" fmla="*/ 280988 h 790575"/>
                  <a:gd name="connsiteX117" fmla="*/ 910787 w 1482287"/>
                  <a:gd name="connsiteY117" fmla="*/ 264319 h 790575"/>
                  <a:gd name="connsiteX118" fmla="*/ 925074 w 1482287"/>
                  <a:gd name="connsiteY118" fmla="*/ 254794 h 790575"/>
                  <a:gd name="connsiteX119" fmla="*/ 932218 w 1482287"/>
                  <a:gd name="connsiteY119" fmla="*/ 250031 h 790575"/>
                  <a:gd name="connsiteX120" fmla="*/ 936980 w 1482287"/>
                  <a:gd name="connsiteY120" fmla="*/ 242888 h 790575"/>
                  <a:gd name="connsiteX121" fmla="*/ 951268 w 1482287"/>
                  <a:gd name="connsiteY121" fmla="*/ 233363 h 790575"/>
                  <a:gd name="connsiteX122" fmla="*/ 1041755 w 1482287"/>
                  <a:gd name="connsiteY122" fmla="*/ 235744 h 790575"/>
                  <a:gd name="connsiteX123" fmla="*/ 1056043 w 1482287"/>
                  <a:gd name="connsiteY123" fmla="*/ 245269 h 790575"/>
                  <a:gd name="connsiteX124" fmla="*/ 1070330 w 1482287"/>
                  <a:gd name="connsiteY124" fmla="*/ 254794 h 790575"/>
                  <a:gd name="connsiteX125" fmla="*/ 1077474 w 1482287"/>
                  <a:gd name="connsiteY125" fmla="*/ 259556 h 790575"/>
                  <a:gd name="connsiteX126" fmla="*/ 1094143 w 1482287"/>
                  <a:gd name="connsiteY126" fmla="*/ 264319 h 790575"/>
                  <a:gd name="connsiteX127" fmla="*/ 1110812 w 1482287"/>
                  <a:gd name="connsiteY127" fmla="*/ 266700 h 790575"/>
                  <a:gd name="connsiteX128" fmla="*/ 1127480 w 1482287"/>
                  <a:gd name="connsiteY128" fmla="*/ 271463 h 790575"/>
                  <a:gd name="connsiteX129" fmla="*/ 1144149 w 1482287"/>
                  <a:gd name="connsiteY129" fmla="*/ 273844 h 790575"/>
                  <a:gd name="connsiteX130" fmla="*/ 1160818 w 1482287"/>
                  <a:gd name="connsiteY130" fmla="*/ 278606 h 790575"/>
                  <a:gd name="connsiteX131" fmla="*/ 1167962 w 1482287"/>
                  <a:gd name="connsiteY131" fmla="*/ 283369 h 790575"/>
                  <a:gd name="connsiteX132" fmla="*/ 1189393 w 1482287"/>
                  <a:gd name="connsiteY132" fmla="*/ 288131 h 790575"/>
                  <a:gd name="connsiteX133" fmla="*/ 1227493 w 1482287"/>
                  <a:gd name="connsiteY133" fmla="*/ 292894 h 790575"/>
                  <a:gd name="connsiteX134" fmla="*/ 1265593 w 1482287"/>
                  <a:gd name="connsiteY134" fmla="*/ 290513 h 790575"/>
                  <a:gd name="connsiteX135" fmla="*/ 1279880 w 1482287"/>
                  <a:gd name="connsiteY135" fmla="*/ 285750 h 790575"/>
                  <a:gd name="connsiteX136" fmla="*/ 1287024 w 1482287"/>
                  <a:gd name="connsiteY136" fmla="*/ 283369 h 790575"/>
                  <a:gd name="connsiteX137" fmla="*/ 1353699 w 1482287"/>
                  <a:gd name="connsiteY137" fmla="*/ 280988 h 790575"/>
                  <a:gd name="connsiteX138" fmla="*/ 1370368 w 1482287"/>
                  <a:gd name="connsiteY138" fmla="*/ 276225 h 790575"/>
                  <a:gd name="connsiteX139" fmla="*/ 1377512 w 1482287"/>
                  <a:gd name="connsiteY139" fmla="*/ 271463 h 790575"/>
                  <a:gd name="connsiteX140" fmla="*/ 1410849 w 1482287"/>
                  <a:gd name="connsiteY140" fmla="*/ 261938 h 790575"/>
                  <a:gd name="connsiteX141" fmla="*/ 1441805 w 1482287"/>
                  <a:gd name="connsiteY141" fmla="*/ 254794 h 790575"/>
                  <a:gd name="connsiteX142" fmla="*/ 1448949 w 1482287"/>
                  <a:gd name="connsiteY142" fmla="*/ 247650 h 790575"/>
                  <a:gd name="connsiteX143" fmla="*/ 1463237 w 1482287"/>
                  <a:gd name="connsiteY143" fmla="*/ 238125 h 790575"/>
                  <a:gd name="connsiteX144" fmla="*/ 1482287 w 1482287"/>
                  <a:gd name="connsiteY144" fmla="*/ 216694 h 790575"/>
                  <a:gd name="connsiteX145" fmla="*/ 1479905 w 1482287"/>
                  <a:gd name="connsiteY145" fmla="*/ 200025 h 790575"/>
                  <a:gd name="connsiteX146" fmla="*/ 1460855 w 1482287"/>
                  <a:gd name="connsiteY146" fmla="*/ 190500 h 790575"/>
                  <a:gd name="connsiteX147" fmla="*/ 1451330 w 1482287"/>
                  <a:gd name="connsiteY147" fmla="*/ 183356 h 790575"/>
                  <a:gd name="connsiteX148" fmla="*/ 1441805 w 1482287"/>
                  <a:gd name="connsiteY148" fmla="*/ 180975 h 790575"/>
                  <a:gd name="connsiteX149" fmla="*/ 1434662 w 1482287"/>
                  <a:gd name="connsiteY149" fmla="*/ 178594 h 790575"/>
                  <a:gd name="connsiteX150" fmla="*/ 1427518 w 1482287"/>
                  <a:gd name="connsiteY150" fmla="*/ 145256 h 790575"/>
                  <a:gd name="connsiteX151" fmla="*/ 1422755 w 1482287"/>
                  <a:gd name="connsiteY151" fmla="*/ 130969 h 790575"/>
                  <a:gd name="connsiteX152" fmla="*/ 1417993 w 1482287"/>
                  <a:gd name="connsiteY152" fmla="*/ 114300 h 790575"/>
                  <a:gd name="connsiteX153" fmla="*/ 1422755 w 1482287"/>
                  <a:gd name="connsiteY153" fmla="*/ 57150 h 790575"/>
                  <a:gd name="connsiteX154" fmla="*/ 1425137 w 1482287"/>
                  <a:gd name="connsiteY154" fmla="*/ 45244 h 790575"/>
                  <a:gd name="connsiteX155" fmla="*/ 1432280 w 1482287"/>
                  <a:gd name="connsiteY155" fmla="*/ 40481 h 790575"/>
                  <a:gd name="connsiteX156" fmla="*/ 1437043 w 1482287"/>
                  <a:gd name="connsiteY156" fmla="*/ 33338 h 790575"/>
                  <a:gd name="connsiteX157" fmla="*/ 1444187 w 1482287"/>
                  <a:gd name="connsiteY157" fmla="*/ 28575 h 790575"/>
                  <a:gd name="connsiteX158" fmla="*/ 1446568 w 1482287"/>
                  <a:gd name="connsiteY158" fmla="*/ 21431 h 790575"/>
                  <a:gd name="connsiteX159" fmla="*/ 1456093 w 1482287"/>
                  <a:gd name="connsiteY159" fmla="*/ 7144 h 790575"/>
                  <a:gd name="connsiteX160" fmla="*/ 1456093 w 1482287"/>
                  <a:gd name="connsiteY160" fmla="*/ 7144 h 790575"/>
                  <a:gd name="connsiteX161" fmla="*/ 1463237 w 1482287"/>
                  <a:gd name="connsiteY161" fmla="*/ 0 h 790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Lst>
                <a:rect l="l" t="t" r="r" b="b"/>
                <a:pathLst>
                  <a:path w="1482287" h="790575">
                    <a:moveTo>
                      <a:pt x="65443" y="85725"/>
                    </a:moveTo>
                    <a:cubicBezTo>
                      <a:pt x="66237" y="94456"/>
                      <a:pt x="66584" y="103240"/>
                      <a:pt x="67824" y="111919"/>
                    </a:cubicBezTo>
                    <a:cubicBezTo>
                      <a:pt x="68179" y="114404"/>
                      <a:pt x="69515" y="116649"/>
                      <a:pt x="70205" y="119063"/>
                    </a:cubicBezTo>
                    <a:cubicBezTo>
                      <a:pt x="71104" y="122210"/>
                      <a:pt x="71647" y="125453"/>
                      <a:pt x="72587" y="128588"/>
                    </a:cubicBezTo>
                    <a:cubicBezTo>
                      <a:pt x="74030" y="133396"/>
                      <a:pt x="76365" y="137953"/>
                      <a:pt x="77349" y="142875"/>
                    </a:cubicBezTo>
                    <a:cubicBezTo>
                      <a:pt x="78143" y="146844"/>
                      <a:pt x="78665" y="150876"/>
                      <a:pt x="79730" y="154781"/>
                    </a:cubicBezTo>
                    <a:cubicBezTo>
                      <a:pt x="81711" y="162046"/>
                      <a:pt x="84493" y="169069"/>
                      <a:pt x="86874" y="176213"/>
                    </a:cubicBezTo>
                    <a:cubicBezTo>
                      <a:pt x="87668" y="178594"/>
                      <a:pt x="88646" y="180921"/>
                      <a:pt x="89255" y="183356"/>
                    </a:cubicBezTo>
                    <a:cubicBezTo>
                      <a:pt x="90049" y="186531"/>
                      <a:pt x="90738" y="189734"/>
                      <a:pt x="91637" y="192881"/>
                    </a:cubicBezTo>
                    <a:cubicBezTo>
                      <a:pt x="94756" y="203796"/>
                      <a:pt x="92816" y="196732"/>
                      <a:pt x="98780" y="207169"/>
                    </a:cubicBezTo>
                    <a:cubicBezTo>
                      <a:pt x="100541" y="210251"/>
                      <a:pt x="101325" y="213922"/>
                      <a:pt x="103543" y="216694"/>
                    </a:cubicBezTo>
                    <a:cubicBezTo>
                      <a:pt x="107750" y="221953"/>
                      <a:pt x="117830" y="230981"/>
                      <a:pt x="117830" y="230981"/>
                    </a:cubicBezTo>
                    <a:cubicBezTo>
                      <a:pt x="118624" y="233362"/>
                      <a:pt x="119089" y="235880"/>
                      <a:pt x="120212" y="238125"/>
                    </a:cubicBezTo>
                    <a:cubicBezTo>
                      <a:pt x="121492" y="240685"/>
                      <a:pt x="123812" y="242654"/>
                      <a:pt x="124974" y="245269"/>
                    </a:cubicBezTo>
                    <a:cubicBezTo>
                      <a:pt x="127013" y="249856"/>
                      <a:pt x="128149" y="254794"/>
                      <a:pt x="129737" y="259556"/>
                    </a:cubicBezTo>
                    <a:lnTo>
                      <a:pt x="132118" y="266700"/>
                    </a:lnTo>
                    <a:cubicBezTo>
                      <a:pt x="131324" y="297656"/>
                      <a:pt x="131210" y="328638"/>
                      <a:pt x="129737" y="359569"/>
                    </a:cubicBezTo>
                    <a:cubicBezTo>
                      <a:pt x="129618" y="362076"/>
                      <a:pt x="128747" y="364624"/>
                      <a:pt x="127355" y="366713"/>
                    </a:cubicBezTo>
                    <a:cubicBezTo>
                      <a:pt x="123688" y="372213"/>
                      <a:pt x="118339" y="375105"/>
                      <a:pt x="113068" y="378619"/>
                    </a:cubicBezTo>
                    <a:cubicBezTo>
                      <a:pt x="104569" y="391367"/>
                      <a:pt x="110329" y="383739"/>
                      <a:pt x="94018" y="400050"/>
                    </a:cubicBezTo>
                    <a:cubicBezTo>
                      <a:pt x="91637" y="402431"/>
                      <a:pt x="90069" y="406129"/>
                      <a:pt x="86874" y="407194"/>
                    </a:cubicBezTo>
                    <a:cubicBezTo>
                      <a:pt x="52930" y="418508"/>
                      <a:pt x="88248" y="407141"/>
                      <a:pt x="63062" y="414338"/>
                    </a:cubicBezTo>
                    <a:cubicBezTo>
                      <a:pt x="39189" y="421160"/>
                      <a:pt x="76117" y="411670"/>
                      <a:pt x="46393" y="419100"/>
                    </a:cubicBezTo>
                    <a:cubicBezTo>
                      <a:pt x="27342" y="431800"/>
                      <a:pt x="35280" y="423862"/>
                      <a:pt x="22580" y="442913"/>
                    </a:cubicBezTo>
                    <a:lnTo>
                      <a:pt x="17818" y="450056"/>
                    </a:lnTo>
                    <a:lnTo>
                      <a:pt x="13055" y="457200"/>
                    </a:lnTo>
                    <a:cubicBezTo>
                      <a:pt x="12261" y="460375"/>
                      <a:pt x="12408" y="463950"/>
                      <a:pt x="10674" y="466725"/>
                    </a:cubicBezTo>
                    <a:cubicBezTo>
                      <a:pt x="8294" y="470533"/>
                      <a:pt x="2726" y="472046"/>
                      <a:pt x="1149" y="476250"/>
                    </a:cubicBezTo>
                    <a:cubicBezTo>
                      <a:pt x="0" y="479314"/>
                      <a:pt x="2631" y="482628"/>
                      <a:pt x="3530" y="485775"/>
                    </a:cubicBezTo>
                    <a:cubicBezTo>
                      <a:pt x="10363" y="509688"/>
                      <a:pt x="850" y="472669"/>
                      <a:pt x="8293" y="502444"/>
                    </a:cubicBezTo>
                    <a:cubicBezTo>
                      <a:pt x="9087" y="525463"/>
                      <a:pt x="8707" y="548552"/>
                      <a:pt x="10674" y="571500"/>
                    </a:cubicBezTo>
                    <a:cubicBezTo>
                      <a:pt x="11619" y="582519"/>
                      <a:pt x="15162" y="586573"/>
                      <a:pt x="22580" y="592931"/>
                    </a:cubicBezTo>
                    <a:cubicBezTo>
                      <a:pt x="25593" y="595514"/>
                      <a:pt x="29299" y="597269"/>
                      <a:pt x="32105" y="600075"/>
                    </a:cubicBezTo>
                    <a:cubicBezTo>
                      <a:pt x="34129" y="602099"/>
                      <a:pt x="34714" y="605334"/>
                      <a:pt x="36868" y="607219"/>
                    </a:cubicBezTo>
                    <a:cubicBezTo>
                      <a:pt x="44533" y="613926"/>
                      <a:pt x="51974" y="617154"/>
                      <a:pt x="60680" y="621506"/>
                    </a:cubicBezTo>
                    <a:cubicBezTo>
                      <a:pt x="62268" y="623887"/>
                      <a:pt x="63419" y="626626"/>
                      <a:pt x="65443" y="628650"/>
                    </a:cubicBezTo>
                    <a:cubicBezTo>
                      <a:pt x="71104" y="634311"/>
                      <a:pt x="79798" y="635817"/>
                      <a:pt x="86874" y="638175"/>
                    </a:cubicBezTo>
                    <a:lnTo>
                      <a:pt x="94018" y="640556"/>
                    </a:lnTo>
                    <a:cubicBezTo>
                      <a:pt x="96399" y="642937"/>
                      <a:pt x="98504" y="645632"/>
                      <a:pt x="101162" y="647700"/>
                    </a:cubicBezTo>
                    <a:cubicBezTo>
                      <a:pt x="105680" y="651214"/>
                      <a:pt x="111402" y="653178"/>
                      <a:pt x="115449" y="657225"/>
                    </a:cubicBezTo>
                    <a:cubicBezTo>
                      <a:pt x="136329" y="678105"/>
                      <a:pt x="109838" y="652548"/>
                      <a:pt x="129737" y="669131"/>
                    </a:cubicBezTo>
                    <a:cubicBezTo>
                      <a:pt x="136610" y="674858"/>
                      <a:pt x="136962" y="676397"/>
                      <a:pt x="141643" y="683419"/>
                    </a:cubicBezTo>
                    <a:cubicBezTo>
                      <a:pt x="142437" y="685800"/>
                      <a:pt x="143415" y="688128"/>
                      <a:pt x="144024" y="690563"/>
                    </a:cubicBezTo>
                    <a:cubicBezTo>
                      <a:pt x="145384" y="696004"/>
                      <a:pt x="146063" y="704166"/>
                      <a:pt x="148787" y="709613"/>
                    </a:cubicBezTo>
                    <a:cubicBezTo>
                      <a:pt x="150067" y="712172"/>
                      <a:pt x="151886" y="714427"/>
                      <a:pt x="153549" y="716756"/>
                    </a:cubicBezTo>
                    <a:cubicBezTo>
                      <a:pt x="155856" y="719986"/>
                      <a:pt x="157887" y="723475"/>
                      <a:pt x="160693" y="726281"/>
                    </a:cubicBezTo>
                    <a:cubicBezTo>
                      <a:pt x="163566" y="729154"/>
                      <a:pt x="170698" y="733017"/>
                      <a:pt x="174980" y="733425"/>
                    </a:cubicBezTo>
                    <a:cubicBezTo>
                      <a:pt x="189225" y="734782"/>
                      <a:pt x="203555" y="735012"/>
                      <a:pt x="217843" y="735806"/>
                    </a:cubicBezTo>
                    <a:cubicBezTo>
                      <a:pt x="249247" y="733391"/>
                      <a:pt x="242198" y="731859"/>
                      <a:pt x="267849" y="735806"/>
                    </a:cubicBezTo>
                    <a:cubicBezTo>
                      <a:pt x="271770" y="736409"/>
                      <a:pt x="282394" y="738317"/>
                      <a:pt x="286899" y="740569"/>
                    </a:cubicBezTo>
                    <a:cubicBezTo>
                      <a:pt x="295767" y="745002"/>
                      <a:pt x="293288" y="745892"/>
                      <a:pt x="301187" y="752475"/>
                    </a:cubicBezTo>
                    <a:cubicBezTo>
                      <a:pt x="303385" y="754307"/>
                      <a:pt x="305949" y="755650"/>
                      <a:pt x="308330" y="757238"/>
                    </a:cubicBezTo>
                    <a:cubicBezTo>
                      <a:pt x="311046" y="765386"/>
                      <a:pt x="314706" y="780539"/>
                      <a:pt x="322618" y="785813"/>
                    </a:cubicBezTo>
                    <a:lnTo>
                      <a:pt x="329762" y="790575"/>
                    </a:lnTo>
                    <a:cubicBezTo>
                      <a:pt x="331349" y="788194"/>
                      <a:pt x="332692" y="785630"/>
                      <a:pt x="334524" y="783431"/>
                    </a:cubicBezTo>
                    <a:cubicBezTo>
                      <a:pt x="336680" y="780844"/>
                      <a:pt x="340033" y="779232"/>
                      <a:pt x="341668" y="776288"/>
                    </a:cubicBezTo>
                    <a:cubicBezTo>
                      <a:pt x="345323" y="769708"/>
                      <a:pt x="346608" y="759821"/>
                      <a:pt x="348812" y="752475"/>
                    </a:cubicBezTo>
                    <a:cubicBezTo>
                      <a:pt x="350255" y="747667"/>
                      <a:pt x="350789" y="742365"/>
                      <a:pt x="353574" y="738188"/>
                    </a:cubicBezTo>
                    <a:cubicBezTo>
                      <a:pt x="365400" y="720450"/>
                      <a:pt x="350201" y="742236"/>
                      <a:pt x="365480" y="723900"/>
                    </a:cubicBezTo>
                    <a:cubicBezTo>
                      <a:pt x="367312" y="721701"/>
                      <a:pt x="368219" y="718780"/>
                      <a:pt x="370243" y="716756"/>
                    </a:cubicBezTo>
                    <a:cubicBezTo>
                      <a:pt x="374858" y="712141"/>
                      <a:pt x="378721" y="711549"/>
                      <a:pt x="384530" y="709613"/>
                    </a:cubicBezTo>
                    <a:cubicBezTo>
                      <a:pt x="386911" y="707232"/>
                      <a:pt x="389087" y="704625"/>
                      <a:pt x="391674" y="702469"/>
                    </a:cubicBezTo>
                    <a:cubicBezTo>
                      <a:pt x="393873" y="700637"/>
                      <a:pt x="396794" y="699730"/>
                      <a:pt x="398818" y="697706"/>
                    </a:cubicBezTo>
                    <a:cubicBezTo>
                      <a:pt x="400841" y="695683"/>
                      <a:pt x="401557" y="692586"/>
                      <a:pt x="403580" y="690563"/>
                    </a:cubicBezTo>
                    <a:cubicBezTo>
                      <a:pt x="406386" y="687757"/>
                      <a:pt x="409930" y="685800"/>
                      <a:pt x="413105" y="683419"/>
                    </a:cubicBezTo>
                    <a:cubicBezTo>
                      <a:pt x="423323" y="662985"/>
                      <a:pt x="411548" y="682595"/>
                      <a:pt x="425012" y="669131"/>
                    </a:cubicBezTo>
                    <a:cubicBezTo>
                      <a:pt x="435783" y="658360"/>
                      <a:pt x="423010" y="664243"/>
                      <a:pt x="436918" y="659606"/>
                    </a:cubicBezTo>
                    <a:cubicBezTo>
                      <a:pt x="438505" y="657225"/>
                      <a:pt x="439848" y="654661"/>
                      <a:pt x="441680" y="652463"/>
                    </a:cubicBezTo>
                    <a:cubicBezTo>
                      <a:pt x="443836" y="649876"/>
                      <a:pt x="446956" y="648121"/>
                      <a:pt x="448824" y="645319"/>
                    </a:cubicBezTo>
                    <a:cubicBezTo>
                      <a:pt x="450216" y="643230"/>
                      <a:pt x="450411" y="640556"/>
                      <a:pt x="451205" y="638175"/>
                    </a:cubicBezTo>
                    <a:cubicBezTo>
                      <a:pt x="450411" y="627856"/>
                      <a:pt x="451491" y="617219"/>
                      <a:pt x="448824" y="607219"/>
                    </a:cubicBezTo>
                    <a:cubicBezTo>
                      <a:pt x="448087" y="604454"/>
                      <a:pt x="443704" y="604480"/>
                      <a:pt x="441680" y="602456"/>
                    </a:cubicBezTo>
                    <a:cubicBezTo>
                      <a:pt x="428582" y="589358"/>
                      <a:pt x="449623" y="599286"/>
                      <a:pt x="422630" y="585788"/>
                    </a:cubicBezTo>
                    <a:cubicBezTo>
                      <a:pt x="406790" y="577867"/>
                      <a:pt x="419037" y="584701"/>
                      <a:pt x="403580" y="573881"/>
                    </a:cubicBezTo>
                    <a:cubicBezTo>
                      <a:pt x="398891" y="570599"/>
                      <a:pt x="389293" y="564356"/>
                      <a:pt x="389293" y="564356"/>
                    </a:cubicBezTo>
                    <a:cubicBezTo>
                      <a:pt x="388499" y="561975"/>
                      <a:pt x="386912" y="559723"/>
                      <a:pt x="386912" y="557213"/>
                    </a:cubicBezTo>
                    <a:cubicBezTo>
                      <a:pt x="386912" y="547705"/>
                      <a:pt x="394401" y="539065"/>
                      <a:pt x="401199" y="533400"/>
                    </a:cubicBezTo>
                    <a:cubicBezTo>
                      <a:pt x="403398" y="531568"/>
                      <a:pt x="405962" y="530225"/>
                      <a:pt x="408343" y="528638"/>
                    </a:cubicBezTo>
                    <a:cubicBezTo>
                      <a:pt x="409930" y="523875"/>
                      <a:pt x="412482" y="519331"/>
                      <a:pt x="413105" y="514350"/>
                    </a:cubicBezTo>
                    <a:cubicBezTo>
                      <a:pt x="413899" y="508000"/>
                      <a:pt x="414514" y="501625"/>
                      <a:pt x="415487" y="495300"/>
                    </a:cubicBezTo>
                    <a:cubicBezTo>
                      <a:pt x="416102" y="491300"/>
                      <a:pt x="417122" y="487372"/>
                      <a:pt x="417868" y="483394"/>
                    </a:cubicBezTo>
                    <a:cubicBezTo>
                      <a:pt x="419503" y="474672"/>
                      <a:pt x="420771" y="465877"/>
                      <a:pt x="422630" y="457200"/>
                    </a:cubicBezTo>
                    <a:cubicBezTo>
                      <a:pt x="423156" y="454746"/>
                      <a:pt x="423237" y="451831"/>
                      <a:pt x="425012" y="450056"/>
                    </a:cubicBezTo>
                    <a:cubicBezTo>
                      <a:pt x="429059" y="446009"/>
                      <a:pt x="439299" y="440531"/>
                      <a:pt x="439299" y="440531"/>
                    </a:cubicBezTo>
                    <a:cubicBezTo>
                      <a:pt x="451205" y="441325"/>
                      <a:pt x="463248" y="440951"/>
                      <a:pt x="475018" y="442913"/>
                    </a:cubicBezTo>
                    <a:cubicBezTo>
                      <a:pt x="477841" y="443384"/>
                      <a:pt x="481376" y="444923"/>
                      <a:pt x="482162" y="447675"/>
                    </a:cubicBezTo>
                    <a:cubicBezTo>
                      <a:pt x="484788" y="456865"/>
                      <a:pt x="483280" y="466776"/>
                      <a:pt x="484543" y="476250"/>
                    </a:cubicBezTo>
                    <a:cubicBezTo>
                      <a:pt x="484875" y="478738"/>
                      <a:pt x="484881" y="481935"/>
                      <a:pt x="486924" y="483394"/>
                    </a:cubicBezTo>
                    <a:cubicBezTo>
                      <a:pt x="491009" y="486312"/>
                      <a:pt x="496449" y="486568"/>
                      <a:pt x="501212" y="488156"/>
                    </a:cubicBezTo>
                    <a:cubicBezTo>
                      <a:pt x="513688" y="492315"/>
                      <a:pt x="505852" y="490180"/>
                      <a:pt x="525024" y="492919"/>
                    </a:cubicBezTo>
                    <a:cubicBezTo>
                      <a:pt x="549901" y="501210"/>
                      <a:pt x="529516" y="495581"/>
                      <a:pt x="563124" y="500063"/>
                    </a:cubicBezTo>
                    <a:cubicBezTo>
                      <a:pt x="567136" y="500598"/>
                      <a:pt x="570997" y="502108"/>
                      <a:pt x="575030" y="502444"/>
                    </a:cubicBezTo>
                    <a:cubicBezTo>
                      <a:pt x="590080" y="503698"/>
                      <a:pt x="605193" y="504031"/>
                      <a:pt x="620274" y="504825"/>
                    </a:cubicBezTo>
                    <a:cubicBezTo>
                      <a:pt x="634671" y="508424"/>
                      <a:pt x="626693" y="506171"/>
                      <a:pt x="644087" y="511969"/>
                    </a:cubicBezTo>
                    <a:cubicBezTo>
                      <a:pt x="651151" y="514324"/>
                      <a:pt x="655089" y="515964"/>
                      <a:pt x="663137" y="516731"/>
                    </a:cubicBezTo>
                    <a:cubicBezTo>
                      <a:pt x="675804" y="517938"/>
                      <a:pt x="688537" y="518319"/>
                      <a:pt x="701237" y="519113"/>
                    </a:cubicBezTo>
                    <a:cubicBezTo>
                      <a:pt x="707931" y="520069"/>
                      <a:pt x="720166" y="523956"/>
                      <a:pt x="727430" y="519113"/>
                    </a:cubicBezTo>
                    <a:cubicBezTo>
                      <a:pt x="729811" y="517525"/>
                      <a:pt x="730169" y="513993"/>
                      <a:pt x="732193" y="511969"/>
                    </a:cubicBezTo>
                    <a:cubicBezTo>
                      <a:pt x="734217" y="509945"/>
                      <a:pt x="736956" y="508794"/>
                      <a:pt x="739337" y="507206"/>
                    </a:cubicBezTo>
                    <a:cubicBezTo>
                      <a:pt x="740131" y="504825"/>
                      <a:pt x="740596" y="502308"/>
                      <a:pt x="741718" y="500063"/>
                    </a:cubicBezTo>
                    <a:cubicBezTo>
                      <a:pt x="750952" y="481594"/>
                      <a:pt x="742873" y="503736"/>
                      <a:pt x="748862" y="485775"/>
                    </a:cubicBezTo>
                    <a:cubicBezTo>
                      <a:pt x="749656" y="478631"/>
                      <a:pt x="750061" y="471434"/>
                      <a:pt x="751243" y="464344"/>
                    </a:cubicBezTo>
                    <a:cubicBezTo>
                      <a:pt x="752138" y="458973"/>
                      <a:pt x="754958" y="454171"/>
                      <a:pt x="758387" y="450056"/>
                    </a:cubicBezTo>
                    <a:cubicBezTo>
                      <a:pt x="760543" y="447469"/>
                      <a:pt x="763374" y="445500"/>
                      <a:pt x="765530" y="442913"/>
                    </a:cubicBezTo>
                    <a:cubicBezTo>
                      <a:pt x="767362" y="440714"/>
                      <a:pt x="768705" y="438150"/>
                      <a:pt x="770293" y="435769"/>
                    </a:cubicBezTo>
                    <a:cubicBezTo>
                      <a:pt x="771087" y="433388"/>
                      <a:pt x="772065" y="431060"/>
                      <a:pt x="772674" y="428625"/>
                    </a:cubicBezTo>
                    <a:cubicBezTo>
                      <a:pt x="774368" y="421847"/>
                      <a:pt x="773692" y="414475"/>
                      <a:pt x="779818" y="409575"/>
                    </a:cubicBezTo>
                    <a:cubicBezTo>
                      <a:pt x="781778" y="408007"/>
                      <a:pt x="784581" y="407988"/>
                      <a:pt x="786962" y="407194"/>
                    </a:cubicBezTo>
                    <a:cubicBezTo>
                      <a:pt x="811637" y="390740"/>
                      <a:pt x="773462" y="415769"/>
                      <a:pt x="803630" y="397669"/>
                    </a:cubicBezTo>
                    <a:cubicBezTo>
                      <a:pt x="814806" y="390964"/>
                      <a:pt x="816560" y="387734"/>
                      <a:pt x="827443" y="383381"/>
                    </a:cubicBezTo>
                    <a:cubicBezTo>
                      <a:pt x="840918" y="377991"/>
                      <a:pt x="841965" y="378580"/>
                      <a:pt x="856018" y="376238"/>
                    </a:cubicBezTo>
                    <a:cubicBezTo>
                      <a:pt x="858399" y="375444"/>
                      <a:pt x="861703" y="375899"/>
                      <a:pt x="863162" y="373856"/>
                    </a:cubicBezTo>
                    <a:cubicBezTo>
                      <a:pt x="866080" y="369771"/>
                      <a:pt x="867924" y="359569"/>
                      <a:pt x="867924" y="359569"/>
                    </a:cubicBezTo>
                    <a:cubicBezTo>
                      <a:pt x="868718" y="347663"/>
                      <a:pt x="868617" y="335663"/>
                      <a:pt x="870305" y="323850"/>
                    </a:cubicBezTo>
                    <a:cubicBezTo>
                      <a:pt x="872097" y="311304"/>
                      <a:pt x="877735" y="305563"/>
                      <a:pt x="884593" y="295275"/>
                    </a:cubicBezTo>
                    <a:cubicBezTo>
                      <a:pt x="886180" y="292894"/>
                      <a:pt x="887331" y="290155"/>
                      <a:pt x="889355" y="288131"/>
                    </a:cubicBezTo>
                    <a:cubicBezTo>
                      <a:pt x="891736" y="285750"/>
                      <a:pt x="894307" y="283545"/>
                      <a:pt x="896499" y="280988"/>
                    </a:cubicBezTo>
                    <a:cubicBezTo>
                      <a:pt x="902892" y="273531"/>
                      <a:pt x="903189" y="270229"/>
                      <a:pt x="910787" y="264319"/>
                    </a:cubicBezTo>
                    <a:cubicBezTo>
                      <a:pt x="915305" y="260805"/>
                      <a:pt x="920312" y="257969"/>
                      <a:pt x="925074" y="254794"/>
                    </a:cubicBezTo>
                    <a:lnTo>
                      <a:pt x="932218" y="250031"/>
                    </a:lnTo>
                    <a:cubicBezTo>
                      <a:pt x="933805" y="247650"/>
                      <a:pt x="934826" y="244772"/>
                      <a:pt x="936980" y="242888"/>
                    </a:cubicBezTo>
                    <a:cubicBezTo>
                      <a:pt x="941288" y="239119"/>
                      <a:pt x="951268" y="233363"/>
                      <a:pt x="951268" y="233363"/>
                    </a:cubicBezTo>
                    <a:lnTo>
                      <a:pt x="1041755" y="235744"/>
                    </a:lnTo>
                    <a:cubicBezTo>
                      <a:pt x="1047442" y="236390"/>
                      <a:pt x="1051280" y="242094"/>
                      <a:pt x="1056043" y="245269"/>
                    </a:cubicBezTo>
                    <a:lnTo>
                      <a:pt x="1070330" y="254794"/>
                    </a:lnTo>
                    <a:cubicBezTo>
                      <a:pt x="1072711" y="256382"/>
                      <a:pt x="1074759" y="258651"/>
                      <a:pt x="1077474" y="259556"/>
                    </a:cubicBezTo>
                    <a:cubicBezTo>
                      <a:pt x="1083598" y="261598"/>
                      <a:pt x="1087560" y="263122"/>
                      <a:pt x="1094143" y="264319"/>
                    </a:cubicBezTo>
                    <a:cubicBezTo>
                      <a:pt x="1099665" y="265323"/>
                      <a:pt x="1105256" y="265906"/>
                      <a:pt x="1110812" y="266700"/>
                    </a:cubicBezTo>
                    <a:cubicBezTo>
                      <a:pt x="1116928" y="268739"/>
                      <a:pt x="1120908" y="270268"/>
                      <a:pt x="1127480" y="271463"/>
                    </a:cubicBezTo>
                    <a:cubicBezTo>
                      <a:pt x="1133002" y="272467"/>
                      <a:pt x="1138627" y="272840"/>
                      <a:pt x="1144149" y="273844"/>
                    </a:cubicBezTo>
                    <a:cubicBezTo>
                      <a:pt x="1150727" y="275040"/>
                      <a:pt x="1154698" y="276566"/>
                      <a:pt x="1160818" y="278606"/>
                    </a:cubicBezTo>
                    <a:cubicBezTo>
                      <a:pt x="1163199" y="280194"/>
                      <a:pt x="1165402" y="282089"/>
                      <a:pt x="1167962" y="283369"/>
                    </a:cubicBezTo>
                    <a:cubicBezTo>
                      <a:pt x="1173507" y="286142"/>
                      <a:pt x="1184516" y="287521"/>
                      <a:pt x="1189393" y="288131"/>
                    </a:cubicBezTo>
                    <a:lnTo>
                      <a:pt x="1227493" y="292894"/>
                    </a:lnTo>
                    <a:cubicBezTo>
                      <a:pt x="1240193" y="292100"/>
                      <a:pt x="1252985" y="292232"/>
                      <a:pt x="1265593" y="290513"/>
                    </a:cubicBezTo>
                    <a:cubicBezTo>
                      <a:pt x="1270567" y="289835"/>
                      <a:pt x="1275118" y="287338"/>
                      <a:pt x="1279880" y="285750"/>
                    </a:cubicBezTo>
                    <a:cubicBezTo>
                      <a:pt x="1282261" y="284956"/>
                      <a:pt x="1284515" y="283459"/>
                      <a:pt x="1287024" y="283369"/>
                    </a:cubicBezTo>
                    <a:lnTo>
                      <a:pt x="1353699" y="280988"/>
                    </a:lnTo>
                    <a:cubicBezTo>
                      <a:pt x="1356746" y="280226"/>
                      <a:pt x="1366955" y="277931"/>
                      <a:pt x="1370368" y="276225"/>
                    </a:cubicBezTo>
                    <a:cubicBezTo>
                      <a:pt x="1372928" y="274945"/>
                      <a:pt x="1374897" y="272625"/>
                      <a:pt x="1377512" y="271463"/>
                    </a:cubicBezTo>
                    <a:cubicBezTo>
                      <a:pt x="1391286" y="265341"/>
                      <a:pt x="1395694" y="266990"/>
                      <a:pt x="1410849" y="261938"/>
                    </a:cubicBezTo>
                    <a:cubicBezTo>
                      <a:pt x="1430461" y="255400"/>
                      <a:pt x="1420167" y="257885"/>
                      <a:pt x="1441805" y="254794"/>
                    </a:cubicBezTo>
                    <a:cubicBezTo>
                      <a:pt x="1444186" y="252413"/>
                      <a:pt x="1446291" y="249718"/>
                      <a:pt x="1448949" y="247650"/>
                    </a:cubicBezTo>
                    <a:cubicBezTo>
                      <a:pt x="1453467" y="244136"/>
                      <a:pt x="1459190" y="242172"/>
                      <a:pt x="1463237" y="238125"/>
                    </a:cubicBezTo>
                    <a:cubicBezTo>
                      <a:pt x="1479548" y="221814"/>
                      <a:pt x="1473788" y="229442"/>
                      <a:pt x="1482287" y="216694"/>
                    </a:cubicBezTo>
                    <a:cubicBezTo>
                      <a:pt x="1481493" y="211138"/>
                      <a:pt x="1482185" y="205154"/>
                      <a:pt x="1479905" y="200025"/>
                    </a:cubicBezTo>
                    <a:cubicBezTo>
                      <a:pt x="1478308" y="196433"/>
                      <a:pt x="1461820" y="191036"/>
                      <a:pt x="1460855" y="190500"/>
                    </a:cubicBezTo>
                    <a:cubicBezTo>
                      <a:pt x="1457386" y="188573"/>
                      <a:pt x="1454880" y="185131"/>
                      <a:pt x="1451330" y="183356"/>
                    </a:cubicBezTo>
                    <a:cubicBezTo>
                      <a:pt x="1448403" y="181892"/>
                      <a:pt x="1444952" y="181874"/>
                      <a:pt x="1441805" y="180975"/>
                    </a:cubicBezTo>
                    <a:cubicBezTo>
                      <a:pt x="1439392" y="180286"/>
                      <a:pt x="1437043" y="179388"/>
                      <a:pt x="1434662" y="178594"/>
                    </a:cubicBezTo>
                    <a:cubicBezTo>
                      <a:pt x="1423161" y="144093"/>
                      <a:pt x="1436531" y="187314"/>
                      <a:pt x="1427518" y="145256"/>
                    </a:cubicBezTo>
                    <a:cubicBezTo>
                      <a:pt x="1426466" y="140347"/>
                      <a:pt x="1424343" y="135731"/>
                      <a:pt x="1422755" y="130969"/>
                    </a:cubicBezTo>
                    <a:cubicBezTo>
                      <a:pt x="1419341" y="120728"/>
                      <a:pt x="1420980" y="126250"/>
                      <a:pt x="1417993" y="114300"/>
                    </a:cubicBezTo>
                    <a:cubicBezTo>
                      <a:pt x="1421512" y="43906"/>
                      <a:pt x="1416319" y="86111"/>
                      <a:pt x="1422755" y="57150"/>
                    </a:cubicBezTo>
                    <a:cubicBezTo>
                      <a:pt x="1423633" y="53199"/>
                      <a:pt x="1423129" y="48758"/>
                      <a:pt x="1425137" y="45244"/>
                    </a:cubicBezTo>
                    <a:cubicBezTo>
                      <a:pt x="1426557" y="42759"/>
                      <a:pt x="1429899" y="42069"/>
                      <a:pt x="1432280" y="40481"/>
                    </a:cubicBezTo>
                    <a:cubicBezTo>
                      <a:pt x="1433868" y="38100"/>
                      <a:pt x="1435019" y="35362"/>
                      <a:pt x="1437043" y="33338"/>
                    </a:cubicBezTo>
                    <a:cubicBezTo>
                      <a:pt x="1439067" y="31314"/>
                      <a:pt x="1442399" y="30810"/>
                      <a:pt x="1444187" y="28575"/>
                    </a:cubicBezTo>
                    <a:cubicBezTo>
                      <a:pt x="1445755" y="26615"/>
                      <a:pt x="1445349" y="23625"/>
                      <a:pt x="1446568" y="21431"/>
                    </a:cubicBezTo>
                    <a:cubicBezTo>
                      <a:pt x="1449348" y="16428"/>
                      <a:pt x="1452918" y="11906"/>
                      <a:pt x="1456093" y="7144"/>
                    </a:cubicBezTo>
                    <a:lnTo>
                      <a:pt x="1456093" y="7144"/>
                    </a:lnTo>
                    <a:lnTo>
                      <a:pt x="1463237" y="0"/>
                    </a:lnTo>
                  </a:path>
                </a:pathLst>
              </a:custGeom>
              <a:grpFill/>
              <a:ln w="3175">
                <a:solidFill>
                  <a:srgbClr val="FF8300"/>
                </a:solidFill>
                <a:round/>
                <a:headEnd/>
                <a:tailEnd/>
              </a:ln>
            </p:spPr>
            <p:txBody>
              <a:bodyPr/>
              <a:lstStyle/>
              <a:p>
                <a:pPr>
                  <a:defRPr/>
                </a:pPr>
                <a:endParaRPr lang="en-GB" sz="1400">
                  <a:solidFill>
                    <a:schemeClr val="tx2"/>
                  </a:solidFill>
                </a:endParaRPr>
              </a:p>
            </p:txBody>
          </p:sp>
        </p:grpSp>
        <p:sp>
          <p:nvSpPr>
            <p:cNvPr id="171" name="Rechteck 170"/>
            <p:cNvSpPr/>
            <p:nvPr/>
          </p:nvSpPr>
          <p:spPr>
            <a:xfrm>
              <a:off x="3443936" y="2398265"/>
              <a:ext cx="764736" cy="184666"/>
            </a:xfrm>
            <a:prstGeom prst="rect">
              <a:avLst/>
            </a:prstGeom>
            <a:solidFill>
              <a:schemeClr val="accent2"/>
            </a:solidFill>
            <a:ln>
              <a:solidFill>
                <a:srgbClr val="FFFFFF"/>
              </a:solidFill>
            </a:ln>
          </p:spPr>
          <p:txBody>
            <a:bodyPr wrap="square" lIns="0" tIns="0" rIns="0" bIns="0">
              <a:spAutoFit/>
            </a:bodyPr>
            <a:lstStyle/>
            <a:p>
              <a:pPr algn="ctr"/>
              <a:r>
                <a:rPr lang="ru-RU" sz="1200" b="1" dirty="0" smtClean="0">
                  <a:solidFill>
                    <a:srgbClr val="FFFFFF"/>
                  </a:solidFill>
                </a:rPr>
                <a:t>РОССИЯ</a:t>
              </a:r>
              <a:r>
                <a:rPr lang="de-DE" sz="1200" b="1" dirty="0" smtClean="0">
                  <a:solidFill>
                    <a:srgbClr val="FFFFFF"/>
                  </a:solidFill>
                </a:rPr>
                <a:t>  </a:t>
              </a:r>
              <a:endParaRPr lang="de-DE" sz="1200" b="1" dirty="0">
                <a:solidFill>
                  <a:srgbClr val="FFFFFF"/>
                </a:solidFill>
              </a:endParaRPr>
            </a:p>
          </p:txBody>
        </p:sp>
        <p:sp>
          <p:nvSpPr>
            <p:cNvPr id="70" name="Freihandform 69"/>
            <p:cNvSpPr/>
            <p:nvPr/>
          </p:nvSpPr>
          <p:spPr>
            <a:xfrm flipH="1">
              <a:off x="2366752" y="2476101"/>
              <a:ext cx="1020313" cy="417062"/>
            </a:xfrm>
            <a:custGeom>
              <a:avLst/>
              <a:gdLst>
                <a:gd name="connsiteX0" fmla="*/ 0 w 1555845"/>
                <a:gd name="connsiteY0" fmla="*/ 0 h 450376"/>
                <a:gd name="connsiteX1" fmla="*/ 1105469 w 1555845"/>
                <a:gd name="connsiteY1" fmla="*/ 0 h 450376"/>
                <a:gd name="connsiteX2" fmla="*/ 1555845 w 1555845"/>
                <a:gd name="connsiteY2" fmla="*/ 450376 h 450376"/>
                <a:gd name="connsiteX0" fmla="*/ 0 w 1555845"/>
                <a:gd name="connsiteY0" fmla="*/ 0 h 450376"/>
                <a:gd name="connsiteX1" fmla="*/ 1105468 w 1555845"/>
                <a:gd name="connsiteY1" fmla="*/ 7369 h 450376"/>
                <a:gd name="connsiteX2" fmla="*/ 1555845 w 1555845"/>
                <a:gd name="connsiteY2" fmla="*/ 450376 h 450376"/>
              </a:gdLst>
              <a:ahLst/>
              <a:cxnLst>
                <a:cxn ang="0">
                  <a:pos x="connsiteX0" y="connsiteY0"/>
                </a:cxn>
                <a:cxn ang="0">
                  <a:pos x="connsiteX1" y="connsiteY1"/>
                </a:cxn>
                <a:cxn ang="0">
                  <a:pos x="connsiteX2" y="connsiteY2"/>
                </a:cxn>
              </a:cxnLst>
              <a:rect l="l" t="t" r="r" b="b"/>
              <a:pathLst>
                <a:path w="1555845" h="450376">
                  <a:moveTo>
                    <a:pt x="0" y="0"/>
                  </a:moveTo>
                  <a:lnTo>
                    <a:pt x="1105468" y="7369"/>
                  </a:lnTo>
                  <a:lnTo>
                    <a:pt x="1555845" y="450376"/>
                  </a:lnTo>
                </a:path>
              </a:pathLst>
            </a:custGeom>
            <a:ln w="12700" cmpd="sng">
              <a:solidFill>
                <a:srgbClr val="FF8300"/>
              </a:solidFill>
              <a:prstDash val="sysDash"/>
              <a:headEnd type="none"/>
              <a:tailEnd type="ova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de-DE"/>
            </a:p>
          </p:txBody>
        </p:sp>
      </p:grpSp>
      <p:sp>
        <p:nvSpPr>
          <p:cNvPr id="227" name="Rechteck 226"/>
          <p:cNvSpPr/>
          <p:nvPr/>
        </p:nvSpPr>
        <p:spPr>
          <a:xfrm>
            <a:off x="2824713" y="3063587"/>
            <a:ext cx="104390" cy="81349"/>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cxnSp>
        <p:nvCxnSpPr>
          <p:cNvPr id="174" name="Straight Connector 41"/>
          <p:cNvCxnSpPr/>
          <p:nvPr/>
        </p:nvCxnSpPr>
        <p:spPr>
          <a:xfrm>
            <a:off x="2366755" y="3099452"/>
            <a:ext cx="2273042" cy="0"/>
          </a:xfrm>
          <a:prstGeom prst="line">
            <a:avLst/>
          </a:prstGeom>
          <a:ln w="12700" cmpd="sng">
            <a:solidFill>
              <a:srgbClr val="FF8300"/>
            </a:solidFill>
            <a:prstDash val="sysDash"/>
            <a:headEnd type="oval"/>
            <a:tailEnd type="none"/>
          </a:ln>
        </p:spPr>
        <p:style>
          <a:lnRef idx="2">
            <a:schemeClr val="accent1"/>
          </a:lnRef>
          <a:fillRef idx="0">
            <a:schemeClr val="accent1"/>
          </a:fillRef>
          <a:effectRef idx="1">
            <a:schemeClr val="accent1"/>
          </a:effectRef>
          <a:fontRef idx="minor">
            <a:schemeClr val="tx1"/>
          </a:fontRef>
        </p:style>
      </p:cxnSp>
      <p:sp>
        <p:nvSpPr>
          <p:cNvPr id="228" name="Rechteck 227"/>
          <p:cNvSpPr/>
          <p:nvPr/>
        </p:nvSpPr>
        <p:spPr>
          <a:xfrm>
            <a:off x="2824713" y="4101812"/>
            <a:ext cx="104390" cy="81349"/>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sp>
        <p:nvSpPr>
          <p:cNvPr id="229" name="Rechteck 228"/>
          <p:cNvSpPr/>
          <p:nvPr/>
        </p:nvSpPr>
        <p:spPr>
          <a:xfrm>
            <a:off x="2824713" y="4428043"/>
            <a:ext cx="104390" cy="81349"/>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cxnSp>
        <p:nvCxnSpPr>
          <p:cNvPr id="176" name="Straight Connector 41"/>
          <p:cNvCxnSpPr/>
          <p:nvPr/>
        </p:nvCxnSpPr>
        <p:spPr>
          <a:xfrm>
            <a:off x="2366755" y="4146925"/>
            <a:ext cx="1229086" cy="0"/>
          </a:xfrm>
          <a:prstGeom prst="line">
            <a:avLst/>
          </a:prstGeom>
          <a:ln w="12700" cmpd="sng">
            <a:solidFill>
              <a:srgbClr val="FF8300"/>
            </a:solidFill>
            <a:prstDash val="sysDash"/>
            <a:headEnd type="oval"/>
            <a:tailEnd type="none"/>
          </a:ln>
        </p:spPr>
        <p:style>
          <a:lnRef idx="2">
            <a:schemeClr val="accent1"/>
          </a:lnRef>
          <a:fillRef idx="0">
            <a:schemeClr val="accent1"/>
          </a:fillRef>
          <a:effectRef idx="1">
            <a:schemeClr val="accent1"/>
          </a:effectRef>
          <a:fontRef idx="minor">
            <a:schemeClr val="tx1"/>
          </a:fontRef>
        </p:style>
      </p:cxnSp>
      <p:sp>
        <p:nvSpPr>
          <p:cNvPr id="225" name="Freihandform 224"/>
          <p:cNvSpPr/>
          <p:nvPr/>
        </p:nvSpPr>
        <p:spPr>
          <a:xfrm flipH="1">
            <a:off x="2366750" y="4458944"/>
            <a:ext cx="2333713" cy="208531"/>
          </a:xfrm>
          <a:custGeom>
            <a:avLst/>
            <a:gdLst>
              <a:gd name="connsiteX0" fmla="*/ 0 w 1555845"/>
              <a:gd name="connsiteY0" fmla="*/ 0 h 450376"/>
              <a:gd name="connsiteX1" fmla="*/ 1105469 w 1555845"/>
              <a:gd name="connsiteY1" fmla="*/ 0 h 450376"/>
              <a:gd name="connsiteX2" fmla="*/ 1555845 w 1555845"/>
              <a:gd name="connsiteY2" fmla="*/ 450376 h 450376"/>
              <a:gd name="connsiteX0" fmla="*/ 0 w 1555845"/>
              <a:gd name="connsiteY0" fmla="*/ 0 h 450376"/>
              <a:gd name="connsiteX1" fmla="*/ 1396286 w 1555845"/>
              <a:gd name="connsiteY1" fmla="*/ 0 h 450376"/>
              <a:gd name="connsiteX2" fmla="*/ 1555845 w 1555845"/>
              <a:gd name="connsiteY2" fmla="*/ 450376 h 450376"/>
            </a:gdLst>
            <a:ahLst/>
            <a:cxnLst>
              <a:cxn ang="0">
                <a:pos x="connsiteX0" y="connsiteY0"/>
              </a:cxn>
              <a:cxn ang="0">
                <a:pos x="connsiteX1" y="connsiteY1"/>
              </a:cxn>
              <a:cxn ang="0">
                <a:pos x="connsiteX2" y="connsiteY2"/>
              </a:cxn>
            </a:cxnLst>
            <a:rect l="l" t="t" r="r" b="b"/>
            <a:pathLst>
              <a:path w="1555845" h="450376">
                <a:moveTo>
                  <a:pt x="0" y="0"/>
                </a:moveTo>
                <a:lnTo>
                  <a:pt x="1396286" y="0"/>
                </a:lnTo>
                <a:lnTo>
                  <a:pt x="1555845" y="450376"/>
                </a:lnTo>
              </a:path>
            </a:pathLst>
          </a:custGeom>
          <a:ln w="12700" cmpd="sng">
            <a:solidFill>
              <a:srgbClr val="FF8300"/>
            </a:solidFill>
            <a:prstDash val="sysDash"/>
            <a:headEnd type="none"/>
            <a:tailEnd type="ova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de-DE"/>
          </a:p>
        </p:txBody>
      </p:sp>
    </p:spTree>
    <p:extLst>
      <p:ext uri="{BB962C8B-B14F-4D97-AF65-F5344CB8AC3E}">
        <p14:creationId xmlns:p14="http://schemas.microsoft.com/office/powerpoint/2010/main" val="190236017"/>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 name="Rectangle 101"/>
          <p:cNvSpPr/>
          <p:nvPr/>
        </p:nvSpPr>
        <p:spPr>
          <a:xfrm>
            <a:off x="2555776" y="1491630"/>
            <a:ext cx="3332085" cy="1341348"/>
          </a:xfrm>
          <a:prstGeom prst="rect">
            <a:avLst/>
          </a:prstGeom>
          <a:noFill/>
          <a:ln w="9525" cap="flat" cmpd="sng" algn="ctr">
            <a:noFill/>
            <a:prstDash val="solid"/>
          </a:ln>
          <a:effectLst/>
        </p:spPr>
        <p:txBody>
          <a:bodyPr rot="0" spcFirstLastPara="0" vertOverflow="overflow" horzOverflow="overflow" vert="horz" wrap="square" lIns="90000" tIns="45720" rIns="90000" bIns="45720" numCol="1" spcCol="0" rtlCol="0" fromWordArt="0" anchor="ctr" anchorCtr="0" forceAA="0" compatLnSpc="1">
            <a:prstTxWarp prst="textNoShape">
              <a:avLst/>
            </a:prstTxWarp>
            <a:noAutofit/>
          </a:bodyPr>
          <a:lstStyle/>
          <a:p>
            <a:pPr marL="152400" marR="0" lvl="0" indent="-152400" defTabSz="914400" eaLnBrk="1" fontAlgn="auto" latinLnBrk="0" hangingPunct="1">
              <a:lnSpc>
                <a:spcPct val="93000"/>
              </a:lnSpc>
              <a:spcBef>
                <a:spcPts val="300"/>
              </a:spcBef>
              <a:spcAft>
                <a:spcPts val="0"/>
              </a:spcAft>
              <a:buClr>
                <a:schemeClr val="accent1"/>
              </a:buClr>
              <a:buSzTx/>
              <a:buFont typeface="Arial" panose="020B0604020202020204" pitchFamily="34" charset="0"/>
              <a:buChar char="•"/>
              <a:tabLst/>
              <a:defRPr/>
            </a:pPr>
            <a:r>
              <a:rPr lang="ru-RU" sz="1400" kern="0" dirty="0" smtClean="0">
                <a:solidFill>
                  <a:srgbClr val="5F5F5F"/>
                </a:solidFill>
                <a:latin typeface="Calibri"/>
              </a:rPr>
              <a:t>Допинговый скандал– привел к международному осуждению, запретам и контрмерам.</a:t>
            </a:r>
            <a:endParaRPr lang="en-US" sz="1400" kern="0" dirty="0" smtClean="0">
              <a:solidFill>
                <a:srgbClr val="5F5F5F"/>
              </a:solidFill>
              <a:latin typeface="Calibri"/>
            </a:endParaRPr>
          </a:p>
          <a:p>
            <a:pPr marL="152400" marR="0" lvl="0" indent="-152400" defTabSz="914400" eaLnBrk="1" fontAlgn="auto" latinLnBrk="0" hangingPunct="1">
              <a:lnSpc>
                <a:spcPct val="93000"/>
              </a:lnSpc>
              <a:spcBef>
                <a:spcPts val="300"/>
              </a:spcBef>
              <a:spcAft>
                <a:spcPts val="0"/>
              </a:spcAft>
              <a:buClr>
                <a:schemeClr val="accent1"/>
              </a:buClr>
              <a:buSzTx/>
              <a:buFont typeface="Arial" panose="020B0604020202020204" pitchFamily="34" charset="0"/>
              <a:buChar char="•"/>
              <a:tabLst/>
              <a:defRPr/>
            </a:pPr>
            <a:r>
              <a:rPr kumimoji="0" lang="ru-RU" sz="1400" b="0" i="0" u="none" strike="noStrike" kern="0" cap="none" spc="0" normalizeH="0" baseline="0" noProof="0" dirty="0" smtClean="0">
                <a:ln>
                  <a:noFill/>
                </a:ln>
                <a:solidFill>
                  <a:srgbClr val="5F5F5F"/>
                </a:solidFill>
                <a:effectLst/>
                <a:uLnTx/>
                <a:uFillTx/>
                <a:latin typeface="Calibri"/>
              </a:rPr>
              <a:t>Множество</a:t>
            </a:r>
            <a:r>
              <a:rPr kumimoji="0" lang="ru-RU" sz="1400" b="0" i="0" u="none" strike="noStrike" kern="0" cap="none" spc="0" normalizeH="0" noProof="0" dirty="0" smtClean="0">
                <a:ln>
                  <a:noFill/>
                </a:ln>
                <a:solidFill>
                  <a:srgbClr val="5F5F5F"/>
                </a:solidFill>
                <a:effectLst/>
                <a:uLnTx/>
                <a:uFillTx/>
                <a:latin typeface="Calibri"/>
              </a:rPr>
              <a:t> крупных российских команд и спортивных организаций до сих пор существуют полностью за счет государственных средств</a:t>
            </a:r>
            <a:r>
              <a:rPr lang="ru-RU" sz="1400" kern="0" dirty="0">
                <a:solidFill>
                  <a:srgbClr val="5F5F5F"/>
                </a:solidFill>
                <a:latin typeface="Calibri"/>
              </a:rPr>
              <a:t>.</a:t>
            </a:r>
            <a:endParaRPr kumimoji="0" lang="ru-RU" sz="1400" b="0" i="0" u="none" strike="noStrike" kern="0" cap="none" spc="0" normalizeH="0" noProof="0" dirty="0" smtClean="0">
              <a:ln>
                <a:noFill/>
              </a:ln>
              <a:solidFill>
                <a:srgbClr val="5F5F5F"/>
              </a:solidFill>
              <a:effectLst/>
              <a:uLnTx/>
              <a:uFillTx/>
              <a:latin typeface="Calibri"/>
            </a:endParaRPr>
          </a:p>
        </p:txBody>
      </p:sp>
      <p:sp>
        <p:nvSpPr>
          <p:cNvPr id="103" name="Rectangle 102"/>
          <p:cNvSpPr/>
          <p:nvPr/>
        </p:nvSpPr>
        <p:spPr>
          <a:xfrm>
            <a:off x="2627783" y="3076047"/>
            <a:ext cx="3301069" cy="1354763"/>
          </a:xfrm>
          <a:prstGeom prst="rect">
            <a:avLst/>
          </a:prstGeom>
          <a:noFill/>
          <a:ln w="9525" cap="flat" cmpd="sng" algn="ctr">
            <a:noFill/>
            <a:prstDash val="solid"/>
          </a:ln>
          <a:effectLst/>
        </p:spPr>
        <p:txBody>
          <a:bodyPr rot="0" spcFirstLastPara="0" vertOverflow="overflow" horzOverflow="overflow" vert="horz" wrap="square" lIns="90000" tIns="45720" rIns="90000" bIns="45720" numCol="1" spcCol="0" rtlCol="0" fromWordArt="0" anchor="ctr" anchorCtr="0" forceAA="0" compatLnSpc="1">
            <a:prstTxWarp prst="textNoShape">
              <a:avLst/>
            </a:prstTxWarp>
            <a:noAutofit/>
          </a:bodyPr>
          <a:lstStyle/>
          <a:p>
            <a:pPr marL="152400" marR="0" lvl="0" indent="-152400" defTabSz="914400" eaLnBrk="1" fontAlgn="auto" latinLnBrk="0" hangingPunct="1">
              <a:lnSpc>
                <a:spcPct val="93000"/>
              </a:lnSpc>
              <a:spcBef>
                <a:spcPts val="300"/>
              </a:spcBef>
              <a:spcAft>
                <a:spcPts val="0"/>
              </a:spcAft>
              <a:buClr>
                <a:schemeClr val="accent1"/>
              </a:buClr>
              <a:buSzTx/>
              <a:buFont typeface="Arial" panose="020B0604020202020204" pitchFamily="34" charset="0"/>
              <a:buChar char="•"/>
              <a:tabLst/>
              <a:defRPr/>
            </a:pPr>
            <a:r>
              <a:rPr lang="ru-RU" sz="1400" kern="0" noProof="0" dirty="0" smtClean="0">
                <a:solidFill>
                  <a:srgbClr val="5F5F5F"/>
                </a:solidFill>
                <a:latin typeface="Calibri"/>
              </a:rPr>
              <a:t>Большая численность населения.</a:t>
            </a:r>
            <a:endParaRPr kumimoji="0" lang="en-US" sz="1400" b="0" i="0" u="none" strike="noStrike" kern="0" cap="none" spc="0" normalizeH="0" baseline="0" noProof="0" dirty="0" smtClean="0">
              <a:ln>
                <a:noFill/>
              </a:ln>
              <a:solidFill>
                <a:srgbClr val="5F5F5F"/>
              </a:solidFill>
              <a:effectLst/>
              <a:uLnTx/>
              <a:uFillTx/>
              <a:latin typeface="Calibri"/>
            </a:endParaRPr>
          </a:p>
          <a:p>
            <a:pPr marL="152400" marR="0" lvl="0" indent="-152400" defTabSz="914400" eaLnBrk="1" fontAlgn="auto" latinLnBrk="0" hangingPunct="1">
              <a:lnSpc>
                <a:spcPct val="93000"/>
              </a:lnSpc>
              <a:spcBef>
                <a:spcPts val="300"/>
              </a:spcBef>
              <a:spcAft>
                <a:spcPts val="0"/>
              </a:spcAft>
              <a:buClr>
                <a:schemeClr val="accent1"/>
              </a:buClr>
              <a:buSzTx/>
              <a:buFont typeface="Arial" panose="020B0604020202020204" pitchFamily="34" charset="0"/>
              <a:buChar char="•"/>
              <a:tabLst/>
              <a:defRPr/>
            </a:pPr>
            <a:r>
              <a:rPr kumimoji="0" lang="ru-RU" sz="1400" b="0" i="0" u="none" strike="noStrike" kern="0" cap="none" spc="0" normalizeH="0" baseline="0" noProof="0" dirty="0" smtClean="0">
                <a:ln>
                  <a:noFill/>
                </a:ln>
                <a:solidFill>
                  <a:srgbClr val="5F5F5F"/>
                </a:solidFill>
                <a:effectLst/>
                <a:uLnTx/>
                <a:uFillTx/>
                <a:latin typeface="Calibri"/>
              </a:rPr>
              <a:t>Крупные события </a:t>
            </a:r>
            <a:r>
              <a:rPr kumimoji="0" lang="en-US" sz="1400" b="0" i="0" u="none" strike="noStrike" kern="0" cap="none" spc="0" normalizeH="0" baseline="0" noProof="0" dirty="0" smtClean="0">
                <a:ln>
                  <a:noFill/>
                </a:ln>
                <a:solidFill>
                  <a:srgbClr val="5F5F5F"/>
                </a:solidFill>
                <a:effectLst/>
                <a:uLnTx/>
                <a:uFillTx/>
                <a:latin typeface="Calibri"/>
              </a:rPr>
              <a:t>–</a:t>
            </a:r>
            <a:r>
              <a:rPr kumimoji="0" lang="en-US" sz="1400" b="0" i="0" u="none" strike="noStrike" kern="0" cap="none" spc="0" normalizeH="0" noProof="0" dirty="0" smtClean="0">
                <a:ln>
                  <a:noFill/>
                </a:ln>
                <a:solidFill>
                  <a:srgbClr val="5F5F5F"/>
                </a:solidFill>
                <a:effectLst/>
                <a:uLnTx/>
                <a:uFillTx/>
                <a:latin typeface="Calibri"/>
              </a:rPr>
              <a:t> </a:t>
            </a:r>
            <a:r>
              <a:rPr kumimoji="0" lang="ru-RU" sz="1400" b="1" i="0" u="none" strike="noStrike" kern="0" cap="none" spc="0" normalizeH="0" noProof="0" dirty="0" smtClean="0">
                <a:ln>
                  <a:noFill/>
                </a:ln>
                <a:solidFill>
                  <a:srgbClr val="5F5F5F"/>
                </a:solidFill>
                <a:effectLst/>
                <a:uLnTx/>
                <a:uFillTx/>
                <a:latin typeface="Calibri"/>
              </a:rPr>
              <a:t>Кубок Мира ФИФА 2018</a:t>
            </a:r>
            <a:r>
              <a:rPr lang="ru-RU" sz="1400" b="1" kern="0" dirty="0">
                <a:solidFill>
                  <a:srgbClr val="5F5F5F"/>
                </a:solidFill>
                <a:latin typeface="Calibri"/>
              </a:rPr>
              <a:t> </a:t>
            </a:r>
            <a:r>
              <a:rPr kumimoji="0" lang="ru-RU" sz="1400" b="0" i="0" u="none" strike="noStrike" kern="0" cap="none" spc="0" normalizeH="0" noProof="0" dirty="0" smtClean="0">
                <a:ln>
                  <a:noFill/>
                </a:ln>
                <a:solidFill>
                  <a:srgbClr val="5F5F5F"/>
                </a:solidFill>
                <a:effectLst/>
                <a:uLnTx/>
                <a:uFillTx/>
                <a:latin typeface="Calibri"/>
              </a:rPr>
              <a:t>в скором времени</a:t>
            </a:r>
            <a:r>
              <a:rPr kumimoji="0" lang="en-US" sz="1400" b="0" i="0" u="none" strike="noStrike" kern="0" cap="none" spc="0" normalizeH="0" noProof="0" dirty="0" smtClean="0">
                <a:ln>
                  <a:noFill/>
                </a:ln>
                <a:solidFill>
                  <a:srgbClr val="5F5F5F"/>
                </a:solidFill>
                <a:effectLst/>
                <a:uLnTx/>
                <a:uFillTx/>
                <a:latin typeface="Calibri"/>
              </a:rPr>
              <a:t>,</a:t>
            </a:r>
            <a:r>
              <a:rPr kumimoji="0" lang="ru-RU" sz="1400" b="0" i="0" u="none" strike="noStrike" kern="0" cap="none" spc="0" normalizeH="0" noProof="0" dirty="0" smtClean="0">
                <a:ln>
                  <a:noFill/>
                </a:ln>
                <a:solidFill>
                  <a:srgbClr val="5F5F5F"/>
                </a:solidFill>
                <a:effectLst/>
                <a:uLnTx/>
                <a:uFillTx/>
                <a:latin typeface="Calibri"/>
              </a:rPr>
              <a:t> будут построены новые арены.</a:t>
            </a:r>
            <a:endParaRPr lang="ru-RU" sz="1400" kern="0" dirty="0">
              <a:solidFill>
                <a:srgbClr val="5F5F5F"/>
              </a:solidFill>
              <a:latin typeface="Calibri"/>
            </a:endParaRPr>
          </a:p>
          <a:p>
            <a:pPr marL="152400" marR="0" lvl="0" indent="-152400" defTabSz="914400" eaLnBrk="1" fontAlgn="auto" latinLnBrk="0" hangingPunct="1">
              <a:lnSpc>
                <a:spcPct val="93000"/>
              </a:lnSpc>
              <a:spcBef>
                <a:spcPts val="300"/>
              </a:spcBef>
              <a:spcAft>
                <a:spcPts val="0"/>
              </a:spcAft>
              <a:buClr>
                <a:schemeClr val="accent1"/>
              </a:buClr>
              <a:buSzTx/>
              <a:buFont typeface="Arial" panose="020B0604020202020204" pitchFamily="34" charset="0"/>
              <a:buChar char="•"/>
              <a:tabLst/>
              <a:defRPr/>
            </a:pPr>
            <a:r>
              <a:rPr lang="ru-RU" sz="1400" kern="0" dirty="0" smtClean="0">
                <a:solidFill>
                  <a:srgbClr val="5F5F5F"/>
                </a:solidFill>
              </a:rPr>
              <a:t>Множество клубов и лиг переходят на профессиональную основу.</a:t>
            </a:r>
            <a:endParaRPr lang="en-SG" sz="1400" kern="0" dirty="0">
              <a:solidFill>
                <a:srgbClr val="5F5F5F"/>
              </a:solidFill>
            </a:endParaRPr>
          </a:p>
        </p:txBody>
      </p:sp>
      <p:sp>
        <p:nvSpPr>
          <p:cNvPr id="104" name="Rectangle 103"/>
          <p:cNvSpPr/>
          <p:nvPr/>
        </p:nvSpPr>
        <p:spPr>
          <a:xfrm>
            <a:off x="6027400" y="1634900"/>
            <a:ext cx="2187954" cy="1342287"/>
          </a:xfrm>
          <a:prstGeom prst="rect">
            <a:avLst/>
          </a:prstGeom>
          <a:solidFill>
            <a:schemeClr val="accent2"/>
          </a:solidFill>
          <a:ln w="9525" cap="flat" cmpd="sng" algn="ctr">
            <a:noFill/>
            <a:prstDash val="solid"/>
          </a:ln>
          <a:effectLst/>
        </p:spPr>
        <p:txBody>
          <a:bodyPr rot="0" spcFirstLastPara="0" vertOverflow="overflow" horzOverflow="overflow" vert="horz" wrap="square" lIns="91440" tIns="108000" rIns="91440" bIns="45720" numCol="1" spcCol="0" rtlCol="0" fromWordArt="0" anchor="ctr" anchorCtr="0" forceAA="0" compatLnSpc="1">
            <a:prstTxWarp prst="textNoShape">
              <a:avLst/>
            </a:prstTxWarp>
            <a:noAutofit/>
          </a:bodyPr>
          <a:lstStyle/>
          <a:p>
            <a:pPr marL="0" lvl="3" algn="ctr">
              <a:lnSpc>
                <a:spcPct val="93000"/>
              </a:lnSpc>
              <a:defRPr/>
            </a:pPr>
            <a:r>
              <a:rPr lang="ru-RU" sz="1600" b="1" kern="0" dirty="0" smtClean="0">
                <a:solidFill>
                  <a:schemeClr val="bg1"/>
                </a:solidFill>
              </a:rPr>
              <a:t>РОССИЙСКИЙ РЫНОК СПОРТА ОЦЕНЕНИВЕТСЯ В </a:t>
            </a:r>
            <a:endParaRPr lang="en-US" sz="1600" b="1" kern="0" dirty="0" smtClean="0">
              <a:solidFill>
                <a:schemeClr val="bg1"/>
              </a:solidFill>
            </a:endParaRPr>
          </a:p>
          <a:p>
            <a:pPr marL="0" lvl="3" algn="ctr">
              <a:lnSpc>
                <a:spcPct val="93000"/>
              </a:lnSpc>
              <a:defRPr/>
            </a:pPr>
            <a:r>
              <a:rPr lang="en-GB" sz="3600" b="1" kern="0" dirty="0" smtClean="0">
                <a:solidFill>
                  <a:schemeClr val="bg1"/>
                </a:solidFill>
              </a:rPr>
              <a:t>€</a:t>
            </a:r>
            <a:r>
              <a:rPr lang="en-US" sz="3600" b="1" kern="0" dirty="0" smtClean="0">
                <a:solidFill>
                  <a:schemeClr val="bg1"/>
                </a:solidFill>
              </a:rPr>
              <a:t>950M</a:t>
            </a:r>
            <a:r>
              <a:rPr lang="en-US" sz="3600" kern="0" dirty="0" smtClean="0">
                <a:solidFill>
                  <a:schemeClr val="bg1"/>
                </a:solidFill>
              </a:rPr>
              <a:t> </a:t>
            </a:r>
            <a:endParaRPr lang="en-US" sz="3600" kern="0" dirty="0">
              <a:solidFill>
                <a:schemeClr val="bg1"/>
              </a:solidFill>
            </a:endParaRPr>
          </a:p>
        </p:txBody>
      </p:sp>
      <p:grpSp>
        <p:nvGrpSpPr>
          <p:cNvPr id="105" name="Group 104"/>
          <p:cNvGrpSpPr/>
          <p:nvPr/>
        </p:nvGrpSpPr>
        <p:grpSpPr>
          <a:xfrm>
            <a:off x="6027400" y="3082285"/>
            <a:ext cx="2187954" cy="1342287"/>
            <a:chOff x="6027400" y="3082284"/>
            <a:chExt cx="2187954" cy="1342287"/>
          </a:xfrm>
        </p:grpSpPr>
        <p:sp>
          <p:nvSpPr>
            <p:cNvPr id="106" name="Rectangle 105"/>
            <p:cNvSpPr/>
            <p:nvPr/>
          </p:nvSpPr>
          <p:spPr>
            <a:xfrm>
              <a:off x="6027400" y="3082284"/>
              <a:ext cx="2187954" cy="1342287"/>
            </a:xfrm>
            <a:prstGeom prst="rect">
              <a:avLst/>
            </a:prstGeom>
            <a:solidFill>
              <a:schemeClr val="bg1">
                <a:lumMod val="95000"/>
              </a:scheme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lvl="3" algn="ctr">
                <a:lnSpc>
                  <a:spcPct val="93000"/>
                </a:lnSpc>
                <a:defRPr/>
              </a:pPr>
              <a:endParaRPr lang="en-US" sz="3600" kern="0" dirty="0">
                <a:solidFill>
                  <a:srgbClr val="009DD9"/>
                </a:solidFill>
              </a:endParaRPr>
            </a:p>
          </p:txBody>
        </p:sp>
        <p:pic>
          <p:nvPicPr>
            <p:cNvPr id="107" name="Picture 4" descr="Image result for fifa russia 2018"/>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693613" y="3291830"/>
              <a:ext cx="836648" cy="923196"/>
            </a:xfrm>
            <a:prstGeom prst="rect">
              <a:avLst/>
            </a:prstGeom>
            <a:noFill/>
            <a:extLst>
              <a:ext uri="{909E8E84-426E-40DD-AFC4-6F175D3DCCD1}">
                <a14:hiddenFill xmlns:a14="http://schemas.microsoft.com/office/drawing/2010/main">
                  <a:solidFill>
                    <a:srgbClr val="FFFFFF"/>
                  </a:solidFill>
                </a14:hiddenFill>
              </a:ext>
            </a:extLst>
          </p:spPr>
        </p:pic>
      </p:grpSp>
      <p:sp>
        <p:nvSpPr>
          <p:cNvPr id="2" name="Titel 1"/>
          <p:cNvSpPr>
            <a:spLocks noGrp="1"/>
          </p:cNvSpPr>
          <p:nvPr>
            <p:ph type="title"/>
          </p:nvPr>
        </p:nvSpPr>
        <p:spPr>
          <a:xfrm>
            <a:off x="522287" y="484770"/>
            <a:ext cx="8278269" cy="664797"/>
          </a:xfrm>
        </p:spPr>
        <p:txBody>
          <a:bodyPr/>
          <a:lstStyle/>
          <a:p>
            <a:r>
              <a:rPr lang="ru-RU" b="1" dirty="0" smtClean="0"/>
              <a:t>Российский рынок спорта</a:t>
            </a:r>
            <a:r>
              <a:rPr lang="ru-RU" dirty="0" smtClean="0"/>
              <a:t> 10ЫЙ среди крупнейших в мире и имеет огромный потенциал</a:t>
            </a:r>
            <a:endParaRPr lang="de-DE" dirty="0"/>
          </a:p>
        </p:txBody>
      </p:sp>
      <p:grpSp>
        <p:nvGrpSpPr>
          <p:cNvPr id="6" name="Gruppieren 5"/>
          <p:cNvGrpSpPr/>
          <p:nvPr/>
        </p:nvGrpSpPr>
        <p:grpSpPr>
          <a:xfrm>
            <a:off x="531497" y="1648030"/>
            <a:ext cx="1952271" cy="509015"/>
            <a:chOff x="531497" y="1648030"/>
            <a:chExt cx="1952271" cy="509015"/>
          </a:xfrm>
        </p:grpSpPr>
        <p:sp>
          <p:nvSpPr>
            <p:cNvPr id="34" name="Pentagon 83"/>
            <p:cNvSpPr/>
            <p:nvPr/>
          </p:nvSpPr>
          <p:spPr>
            <a:xfrm>
              <a:off x="911567" y="1693244"/>
              <a:ext cx="1572201" cy="421973"/>
            </a:xfrm>
            <a:prstGeom prst="homePlate">
              <a:avLst/>
            </a:prstGeom>
            <a:solidFill>
              <a:schemeClr val="accent2"/>
            </a:solidFill>
            <a:ln w="9525" cap="flat" cmpd="sng" algn="ctr">
              <a:noFill/>
              <a:prstDash val="solid"/>
            </a:ln>
            <a:effectLst/>
          </p:spPr>
          <p:txBody>
            <a:bodyPr rot="0" spcFirstLastPara="0" vertOverflow="overflow" horzOverflow="overflow" vert="horz" wrap="square" lIns="216000" tIns="45720" rIns="0" bIns="45720" numCol="1" spcCol="0" rtlCol="0" fromWordArt="0" anchor="ctr" anchorCtr="0" forceAA="0" compatLnSpc="1">
              <a:prstTxWarp prst="textNoShape">
                <a:avLst/>
              </a:prstTxWarp>
              <a:noAutofit/>
            </a:bodyPr>
            <a:lstStyle/>
            <a:p>
              <a:pPr lvl="0">
                <a:lnSpc>
                  <a:spcPts val="1300"/>
                </a:lnSpc>
                <a:defRPr/>
              </a:pPr>
              <a:r>
                <a:rPr lang="ru-RU" sz="1100" b="1" kern="0" dirty="0" smtClean="0">
                  <a:solidFill>
                    <a:srgbClr val="FFFFFF"/>
                  </a:solidFill>
                </a:rPr>
                <a:t>СЛОЖНОСТИ </a:t>
              </a:r>
              <a:endParaRPr lang="en-US" sz="1100" b="1" kern="0" dirty="0">
                <a:solidFill>
                  <a:srgbClr val="FFFFFF"/>
                </a:solidFill>
              </a:endParaRPr>
            </a:p>
          </p:txBody>
        </p:sp>
        <p:sp>
          <p:nvSpPr>
            <p:cNvPr id="35" name="Oval 85"/>
            <p:cNvSpPr>
              <a:spLocks noChangeAspect="1"/>
            </p:cNvSpPr>
            <p:nvPr/>
          </p:nvSpPr>
          <p:spPr>
            <a:xfrm>
              <a:off x="531497" y="1648030"/>
              <a:ext cx="509015" cy="509015"/>
            </a:xfrm>
            <a:prstGeom prst="ellipse">
              <a:avLst/>
            </a:prstGeom>
            <a:solidFill>
              <a:schemeClr val="tx2"/>
            </a:solidFill>
            <a:ln w="28575">
              <a:solidFill>
                <a:srgbClr val="FFFFFF"/>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sp>
          <p:nvSpPr>
            <p:cNvPr id="36" name="Freeform 9"/>
            <p:cNvSpPr>
              <a:spLocks/>
            </p:cNvSpPr>
            <p:nvPr/>
          </p:nvSpPr>
          <p:spPr bwMode="auto">
            <a:xfrm flipV="1">
              <a:off x="665420" y="1827881"/>
              <a:ext cx="248851" cy="149311"/>
            </a:xfrm>
            <a:custGeom>
              <a:avLst/>
              <a:gdLst>
                <a:gd name="T0" fmla="*/ 1830 w 2073"/>
                <a:gd name="T1" fmla="*/ 692 h 1242"/>
                <a:gd name="T2" fmla="*/ 243 w 2073"/>
                <a:gd name="T3" fmla="*/ 692 h 1242"/>
                <a:gd name="T4" fmla="*/ 243 w 2073"/>
                <a:gd name="T5" fmla="*/ 712 h 1242"/>
                <a:gd name="T6" fmla="*/ 243 w 2073"/>
                <a:gd name="T7" fmla="*/ 1179 h 1242"/>
                <a:gd name="T8" fmla="*/ 180 w 2073"/>
                <a:gd name="T9" fmla="*/ 1242 h 1242"/>
                <a:gd name="T10" fmla="*/ 53 w 2073"/>
                <a:gd name="T11" fmla="*/ 1242 h 1242"/>
                <a:gd name="T12" fmla="*/ 0 w 2073"/>
                <a:gd name="T13" fmla="*/ 1189 h 1242"/>
                <a:gd name="T14" fmla="*/ 0 w 2073"/>
                <a:gd name="T15" fmla="*/ 54 h 1242"/>
                <a:gd name="T16" fmla="*/ 53 w 2073"/>
                <a:gd name="T17" fmla="*/ 0 h 1242"/>
                <a:gd name="T18" fmla="*/ 189 w 2073"/>
                <a:gd name="T19" fmla="*/ 0 h 1242"/>
                <a:gd name="T20" fmla="*/ 243 w 2073"/>
                <a:gd name="T21" fmla="*/ 54 h 1242"/>
                <a:gd name="T22" fmla="*/ 243 w 2073"/>
                <a:gd name="T23" fmla="*/ 459 h 1242"/>
                <a:gd name="T24" fmla="*/ 243 w 2073"/>
                <a:gd name="T25" fmla="*/ 478 h 1242"/>
                <a:gd name="T26" fmla="*/ 1830 w 2073"/>
                <a:gd name="T27" fmla="*/ 478 h 1242"/>
                <a:gd name="T28" fmla="*/ 1830 w 2073"/>
                <a:gd name="T29" fmla="*/ 460 h 1242"/>
                <a:gd name="T30" fmla="*/ 1830 w 2073"/>
                <a:gd name="T31" fmla="*/ 59 h 1242"/>
                <a:gd name="T32" fmla="*/ 1889 w 2073"/>
                <a:gd name="T33" fmla="*/ 0 h 1242"/>
                <a:gd name="T34" fmla="*/ 2018 w 2073"/>
                <a:gd name="T35" fmla="*/ 0 h 1242"/>
                <a:gd name="T36" fmla="*/ 2073 w 2073"/>
                <a:gd name="T37" fmla="*/ 55 h 1242"/>
                <a:gd name="T38" fmla="*/ 2073 w 2073"/>
                <a:gd name="T39" fmla="*/ 1186 h 1242"/>
                <a:gd name="T40" fmla="*/ 2017 w 2073"/>
                <a:gd name="T41" fmla="*/ 1242 h 1242"/>
                <a:gd name="T42" fmla="*/ 1888 w 2073"/>
                <a:gd name="T43" fmla="*/ 1242 h 1242"/>
                <a:gd name="T44" fmla="*/ 1830 w 2073"/>
                <a:gd name="T45" fmla="*/ 1185 h 1242"/>
                <a:gd name="T46" fmla="*/ 1830 w 2073"/>
                <a:gd name="T47" fmla="*/ 712 h 1242"/>
                <a:gd name="T48" fmla="*/ 1830 w 2073"/>
                <a:gd name="T49" fmla="*/ 692 h 1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73" h="1242">
                  <a:moveTo>
                    <a:pt x="1830" y="692"/>
                  </a:moveTo>
                  <a:cubicBezTo>
                    <a:pt x="1300" y="692"/>
                    <a:pt x="773" y="692"/>
                    <a:pt x="243" y="692"/>
                  </a:cubicBezTo>
                  <a:cubicBezTo>
                    <a:pt x="243" y="700"/>
                    <a:pt x="243" y="706"/>
                    <a:pt x="243" y="712"/>
                  </a:cubicBezTo>
                  <a:cubicBezTo>
                    <a:pt x="243" y="868"/>
                    <a:pt x="243" y="1023"/>
                    <a:pt x="243" y="1179"/>
                  </a:cubicBezTo>
                  <a:cubicBezTo>
                    <a:pt x="243" y="1226"/>
                    <a:pt x="227" y="1242"/>
                    <a:pt x="180" y="1242"/>
                  </a:cubicBezTo>
                  <a:cubicBezTo>
                    <a:pt x="138" y="1242"/>
                    <a:pt x="95" y="1242"/>
                    <a:pt x="53" y="1242"/>
                  </a:cubicBezTo>
                  <a:cubicBezTo>
                    <a:pt x="19" y="1242"/>
                    <a:pt x="0" y="1223"/>
                    <a:pt x="0" y="1189"/>
                  </a:cubicBezTo>
                  <a:cubicBezTo>
                    <a:pt x="0" y="811"/>
                    <a:pt x="0" y="432"/>
                    <a:pt x="0" y="54"/>
                  </a:cubicBezTo>
                  <a:cubicBezTo>
                    <a:pt x="0" y="20"/>
                    <a:pt x="19" y="0"/>
                    <a:pt x="53" y="0"/>
                  </a:cubicBezTo>
                  <a:cubicBezTo>
                    <a:pt x="98" y="0"/>
                    <a:pt x="143" y="0"/>
                    <a:pt x="189" y="0"/>
                  </a:cubicBezTo>
                  <a:cubicBezTo>
                    <a:pt x="223" y="0"/>
                    <a:pt x="243" y="20"/>
                    <a:pt x="243" y="54"/>
                  </a:cubicBezTo>
                  <a:cubicBezTo>
                    <a:pt x="243" y="189"/>
                    <a:pt x="243" y="324"/>
                    <a:pt x="243" y="459"/>
                  </a:cubicBezTo>
                  <a:cubicBezTo>
                    <a:pt x="243" y="465"/>
                    <a:pt x="243" y="471"/>
                    <a:pt x="243" y="478"/>
                  </a:cubicBezTo>
                  <a:cubicBezTo>
                    <a:pt x="772" y="478"/>
                    <a:pt x="1300" y="478"/>
                    <a:pt x="1830" y="478"/>
                  </a:cubicBezTo>
                  <a:cubicBezTo>
                    <a:pt x="1830" y="472"/>
                    <a:pt x="1830" y="466"/>
                    <a:pt x="1830" y="460"/>
                  </a:cubicBezTo>
                  <a:cubicBezTo>
                    <a:pt x="1830" y="327"/>
                    <a:pt x="1830" y="193"/>
                    <a:pt x="1830" y="59"/>
                  </a:cubicBezTo>
                  <a:cubicBezTo>
                    <a:pt x="1830" y="18"/>
                    <a:pt x="1848" y="0"/>
                    <a:pt x="1889" y="0"/>
                  </a:cubicBezTo>
                  <a:cubicBezTo>
                    <a:pt x="1932" y="0"/>
                    <a:pt x="1975" y="0"/>
                    <a:pt x="2018" y="0"/>
                  </a:cubicBezTo>
                  <a:cubicBezTo>
                    <a:pt x="2054" y="0"/>
                    <a:pt x="2073" y="19"/>
                    <a:pt x="2073" y="55"/>
                  </a:cubicBezTo>
                  <a:cubicBezTo>
                    <a:pt x="2073" y="432"/>
                    <a:pt x="2073" y="809"/>
                    <a:pt x="2073" y="1186"/>
                  </a:cubicBezTo>
                  <a:cubicBezTo>
                    <a:pt x="2073" y="1224"/>
                    <a:pt x="2055" y="1242"/>
                    <a:pt x="2017" y="1242"/>
                  </a:cubicBezTo>
                  <a:cubicBezTo>
                    <a:pt x="1974" y="1242"/>
                    <a:pt x="1931" y="1242"/>
                    <a:pt x="1888" y="1242"/>
                  </a:cubicBezTo>
                  <a:cubicBezTo>
                    <a:pt x="1848" y="1242"/>
                    <a:pt x="1830" y="1224"/>
                    <a:pt x="1830" y="1185"/>
                  </a:cubicBezTo>
                  <a:cubicBezTo>
                    <a:pt x="1830" y="1027"/>
                    <a:pt x="1830" y="870"/>
                    <a:pt x="1830" y="712"/>
                  </a:cubicBezTo>
                  <a:cubicBezTo>
                    <a:pt x="1830" y="706"/>
                    <a:pt x="1830" y="700"/>
                    <a:pt x="1830" y="69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10"/>
            <p:cNvSpPr>
              <a:spLocks/>
            </p:cNvSpPr>
            <p:nvPr/>
          </p:nvSpPr>
          <p:spPr bwMode="auto">
            <a:xfrm flipV="1">
              <a:off x="634221" y="1837724"/>
              <a:ext cx="24514" cy="129626"/>
            </a:xfrm>
            <a:custGeom>
              <a:avLst/>
              <a:gdLst>
                <a:gd name="T0" fmla="*/ 0 w 204"/>
                <a:gd name="T1" fmla="*/ 540 h 1078"/>
                <a:gd name="T2" fmla="*/ 0 w 204"/>
                <a:gd name="T3" fmla="*/ 52 h 1078"/>
                <a:gd name="T4" fmla="*/ 52 w 204"/>
                <a:gd name="T5" fmla="*/ 0 h 1078"/>
                <a:gd name="T6" fmla="*/ 157 w 204"/>
                <a:gd name="T7" fmla="*/ 0 h 1078"/>
                <a:gd name="T8" fmla="*/ 204 w 204"/>
                <a:gd name="T9" fmla="*/ 48 h 1078"/>
                <a:gd name="T10" fmla="*/ 204 w 204"/>
                <a:gd name="T11" fmla="*/ 1030 h 1078"/>
                <a:gd name="T12" fmla="*/ 156 w 204"/>
                <a:gd name="T13" fmla="*/ 1078 h 1078"/>
                <a:gd name="T14" fmla="*/ 48 w 204"/>
                <a:gd name="T15" fmla="*/ 1078 h 1078"/>
                <a:gd name="T16" fmla="*/ 0 w 204"/>
                <a:gd name="T17" fmla="*/ 1030 h 1078"/>
                <a:gd name="T18" fmla="*/ 0 w 204"/>
                <a:gd name="T19" fmla="*/ 540 h 10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4" h="1078">
                  <a:moveTo>
                    <a:pt x="0" y="540"/>
                  </a:moveTo>
                  <a:cubicBezTo>
                    <a:pt x="0" y="377"/>
                    <a:pt x="0" y="215"/>
                    <a:pt x="0" y="52"/>
                  </a:cubicBezTo>
                  <a:cubicBezTo>
                    <a:pt x="0" y="15"/>
                    <a:pt x="15" y="0"/>
                    <a:pt x="52" y="0"/>
                  </a:cubicBezTo>
                  <a:cubicBezTo>
                    <a:pt x="87" y="0"/>
                    <a:pt x="122" y="0"/>
                    <a:pt x="157" y="0"/>
                  </a:cubicBezTo>
                  <a:cubicBezTo>
                    <a:pt x="188" y="1"/>
                    <a:pt x="204" y="17"/>
                    <a:pt x="204" y="48"/>
                  </a:cubicBezTo>
                  <a:cubicBezTo>
                    <a:pt x="204" y="375"/>
                    <a:pt x="204" y="703"/>
                    <a:pt x="204" y="1030"/>
                  </a:cubicBezTo>
                  <a:cubicBezTo>
                    <a:pt x="204" y="1062"/>
                    <a:pt x="188" y="1078"/>
                    <a:pt x="156" y="1078"/>
                  </a:cubicBezTo>
                  <a:cubicBezTo>
                    <a:pt x="120" y="1078"/>
                    <a:pt x="84" y="1078"/>
                    <a:pt x="48" y="1078"/>
                  </a:cubicBezTo>
                  <a:cubicBezTo>
                    <a:pt x="16" y="1078"/>
                    <a:pt x="0" y="1062"/>
                    <a:pt x="0" y="1030"/>
                  </a:cubicBezTo>
                  <a:cubicBezTo>
                    <a:pt x="0" y="867"/>
                    <a:pt x="0" y="703"/>
                    <a:pt x="0" y="54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11"/>
            <p:cNvSpPr>
              <a:spLocks/>
            </p:cNvSpPr>
            <p:nvPr/>
          </p:nvSpPr>
          <p:spPr bwMode="auto">
            <a:xfrm flipV="1">
              <a:off x="920957" y="1837724"/>
              <a:ext cx="24514" cy="129626"/>
            </a:xfrm>
            <a:custGeom>
              <a:avLst/>
              <a:gdLst>
                <a:gd name="T0" fmla="*/ 204 w 204"/>
                <a:gd name="T1" fmla="*/ 539 h 1078"/>
                <a:gd name="T2" fmla="*/ 204 w 204"/>
                <a:gd name="T3" fmla="*/ 1025 h 1078"/>
                <a:gd name="T4" fmla="*/ 151 w 204"/>
                <a:gd name="T5" fmla="*/ 1078 h 1078"/>
                <a:gd name="T6" fmla="*/ 55 w 204"/>
                <a:gd name="T7" fmla="*/ 1078 h 1078"/>
                <a:gd name="T8" fmla="*/ 0 w 204"/>
                <a:gd name="T9" fmla="*/ 1025 h 1078"/>
                <a:gd name="T10" fmla="*/ 0 w 204"/>
                <a:gd name="T11" fmla="*/ 473 h 1078"/>
                <a:gd name="T12" fmla="*/ 0 w 204"/>
                <a:gd name="T13" fmla="*/ 54 h 1078"/>
                <a:gd name="T14" fmla="*/ 54 w 204"/>
                <a:gd name="T15" fmla="*/ 0 h 1078"/>
                <a:gd name="T16" fmla="*/ 149 w 204"/>
                <a:gd name="T17" fmla="*/ 0 h 1078"/>
                <a:gd name="T18" fmla="*/ 204 w 204"/>
                <a:gd name="T19" fmla="*/ 55 h 1078"/>
                <a:gd name="T20" fmla="*/ 204 w 204"/>
                <a:gd name="T21" fmla="*/ 539 h 10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4" h="1078">
                  <a:moveTo>
                    <a:pt x="204" y="539"/>
                  </a:moveTo>
                  <a:cubicBezTo>
                    <a:pt x="204" y="701"/>
                    <a:pt x="204" y="863"/>
                    <a:pt x="204" y="1025"/>
                  </a:cubicBezTo>
                  <a:cubicBezTo>
                    <a:pt x="204" y="1064"/>
                    <a:pt x="190" y="1078"/>
                    <a:pt x="151" y="1078"/>
                  </a:cubicBezTo>
                  <a:cubicBezTo>
                    <a:pt x="119" y="1078"/>
                    <a:pt x="87" y="1078"/>
                    <a:pt x="55" y="1078"/>
                  </a:cubicBezTo>
                  <a:cubicBezTo>
                    <a:pt x="14" y="1078"/>
                    <a:pt x="0" y="1065"/>
                    <a:pt x="0" y="1025"/>
                  </a:cubicBezTo>
                  <a:cubicBezTo>
                    <a:pt x="0" y="841"/>
                    <a:pt x="0" y="657"/>
                    <a:pt x="0" y="473"/>
                  </a:cubicBezTo>
                  <a:cubicBezTo>
                    <a:pt x="0" y="333"/>
                    <a:pt x="0" y="194"/>
                    <a:pt x="0" y="54"/>
                  </a:cubicBezTo>
                  <a:cubicBezTo>
                    <a:pt x="0" y="14"/>
                    <a:pt x="14" y="0"/>
                    <a:pt x="54" y="0"/>
                  </a:cubicBezTo>
                  <a:cubicBezTo>
                    <a:pt x="86" y="0"/>
                    <a:pt x="117" y="0"/>
                    <a:pt x="149" y="0"/>
                  </a:cubicBezTo>
                  <a:cubicBezTo>
                    <a:pt x="191" y="0"/>
                    <a:pt x="204" y="13"/>
                    <a:pt x="204" y="55"/>
                  </a:cubicBezTo>
                  <a:cubicBezTo>
                    <a:pt x="204" y="216"/>
                    <a:pt x="204" y="378"/>
                    <a:pt x="204" y="53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12"/>
            <p:cNvSpPr>
              <a:spLocks/>
            </p:cNvSpPr>
            <p:nvPr/>
          </p:nvSpPr>
          <p:spPr bwMode="auto">
            <a:xfrm flipV="1">
              <a:off x="951414" y="1852580"/>
              <a:ext cx="20242" cy="100098"/>
            </a:xfrm>
            <a:custGeom>
              <a:avLst/>
              <a:gdLst>
                <a:gd name="T0" fmla="*/ 168 w 168"/>
                <a:gd name="T1" fmla="*/ 417 h 832"/>
                <a:gd name="T2" fmla="*/ 168 w 168"/>
                <a:gd name="T3" fmla="*/ 791 h 832"/>
                <a:gd name="T4" fmla="*/ 126 w 168"/>
                <a:gd name="T5" fmla="*/ 832 h 832"/>
                <a:gd name="T6" fmla="*/ 39 w 168"/>
                <a:gd name="T7" fmla="*/ 832 h 832"/>
                <a:gd name="T8" fmla="*/ 0 w 168"/>
                <a:gd name="T9" fmla="*/ 794 h 832"/>
                <a:gd name="T10" fmla="*/ 0 w 168"/>
                <a:gd name="T11" fmla="*/ 40 h 832"/>
                <a:gd name="T12" fmla="*/ 39 w 168"/>
                <a:gd name="T13" fmla="*/ 0 h 832"/>
                <a:gd name="T14" fmla="*/ 130 w 168"/>
                <a:gd name="T15" fmla="*/ 0 h 832"/>
                <a:gd name="T16" fmla="*/ 168 w 168"/>
                <a:gd name="T17" fmla="*/ 39 h 832"/>
                <a:gd name="T18" fmla="*/ 168 w 168"/>
                <a:gd name="T19" fmla="*/ 417 h 8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8" h="832">
                  <a:moveTo>
                    <a:pt x="168" y="417"/>
                  </a:moveTo>
                  <a:cubicBezTo>
                    <a:pt x="168" y="542"/>
                    <a:pt x="168" y="666"/>
                    <a:pt x="168" y="791"/>
                  </a:cubicBezTo>
                  <a:cubicBezTo>
                    <a:pt x="168" y="821"/>
                    <a:pt x="156" y="832"/>
                    <a:pt x="126" y="832"/>
                  </a:cubicBezTo>
                  <a:cubicBezTo>
                    <a:pt x="97" y="832"/>
                    <a:pt x="68" y="832"/>
                    <a:pt x="39" y="832"/>
                  </a:cubicBezTo>
                  <a:cubicBezTo>
                    <a:pt x="14" y="832"/>
                    <a:pt x="0" y="819"/>
                    <a:pt x="0" y="794"/>
                  </a:cubicBezTo>
                  <a:cubicBezTo>
                    <a:pt x="0" y="542"/>
                    <a:pt x="0" y="291"/>
                    <a:pt x="0" y="40"/>
                  </a:cubicBezTo>
                  <a:cubicBezTo>
                    <a:pt x="0" y="13"/>
                    <a:pt x="13" y="0"/>
                    <a:pt x="39" y="0"/>
                  </a:cubicBezTo>
                  <a:cubicBezTo>
                    <a:pt x="69" y="0"/>
                    <a:pt x="100" y="0"/>
                    <a:pt x="130" y="0"/>
                  </a:cubicBezTo>
                  <a:cubicBezTo>
                    <a:pt x="156" y="0"/>
                    <a:pt x="168" y="13"/>
                    <a:pt x="168" y="39"/>
                  </a:cubicBezTo>
                  <a:cubicBezTo>
                    <a:pt x="168" y="165"/>
                    <a:pt x="168" y="291"/>
                    <a:pt x="168" y="41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13"/>
            <p:cNvSpPr>
              <a:spLocks/>
            </p:cNvSpPr>
            <p:nvPr/>
          </p:nvSpPr>
          <p:spPr bwMode="auto">
            <a:xfrm flipV="1">
              <a:off x="608036" y="1852580"/>
              <a:ext cx="20242" cy="100098"/>
            </a:xfrm>
            <a:custGeom>
              <a:avLst/>
              <a:gdLst>
                <a:gd name="T0" fmla="*/ 0 w 168"/>
                <a:gd name="T1" fmla="*/ 416 h 832"/>
                <a:gd name="T2" fmla="*/ 0 w 168"/>
                <a:gd name="T3" fmla="*/ 43 h 832"/>
                <a:gd name="T4" fmla="*/ 43 w 168"/>
                <a:gd name="T5" fmla="*/ 0 h 832"/>
                <a:gd name="T6" fmla="*/ 127 w 168"/>
                <a:gd name="T7" fmla="*/ 0 h 832"/>
                <a:gd name="T8" fmla="*/ 168 w 168"/>
                <a:gd name="T9" fmla="*/ 41 h 832"/>
                <a:gd name="T10" fmla="*/ 168 w 168"/>
                <a:gd name="T11" fmla="*/ 791 h 832"/>
                <a:gd name="T12" fmla="*/ 126 w 168"/>
                <a:gd name="T13" fmla="*/ 832 h 832"/>
                <a:gd name="T14" fmla="*/ 42 w 168"/>
                <a:gd name="T15" fmla="*/ 832 h 832"/>
                <a:gd name="T16" fmla="*/ 0 w 168"/>
                <a:gd name="T17" fmla="*/ 791 h 832"/>
                <a:gd name="T18" fmla="*/ 0 w 168"/>
                <a:gd name="T19" fmla="*/ 416 h 8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8" h="832">
                  <a:moveTo>
                    <a:pt x="0" y="416"/>
                  </a:moveTo>
                  <a:cubicBezTo>
                    <a:pt x="0" y="291"/>
                    <a:pt x="0" y="167"/>
                    <a:pt x="0" y="43"/>
                  </a:cubicBezTo>
                  <a:cubicBezTo>
                    <a:pt x="0" y="12"/>
                    <a:pt x="12" y="0"/>
                    <a:pt x="43" y="0"/>
                  </a:cubicBezTo>
                  <a:cubicBezTo>
                    <a:pt x="71" y="0"/>
                    <a:pt x="99" y="0"/>
                    <a:pt x="127" y="0"/>
                  </a:cubicBezTo>
                  <a:cubicBezTo>
                    <a:pt x="156" y="0"/>
                    <a:pt x="168" y="12"/>
                    <a:pt x="168" y="41"/>
                  </a:cubicBezTo>
                  <a:cubicBezTo>
                    <a:pt x="168" y="291"/>
                    <a:pt x="168" y="541"/>
                    <a:pt x="168" y="791"/>
                  </a:cubicBezTo>
                  <a:cubicBezTo>
                    <a:pt x="168" y="820"/>
                    <a:pt x="156" y="832"/>
                    <a:pt x="126" y="832"/>
                  </a:cubicBezTo>
                  <a:cubicBezTo>
                    <a:pt x="98" y="832"/>
                    <a:pt x="70" y="832"/>
                    <a:pt x="42" y="832"/>
                  </a:cubicBezTo>
                  <a:cubicBezTo>
                    <a:pt x="12" y="832"/>
                    <a:pt x="0" y="820"/>
                    <a:pt x="0" y="791"/>
                  </a:cubicBezTo>
                  <a:cubicBezTo>
                    <a:pt x="0" y="666"/>
                    <a:pt x="0" y="541"/>
                    <a:pt x="0" y="41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14"/>
            <p:cNvSpPr>
              <a:spLocks/>
            </p:cNvSpPr>
            <p:nvPr/>
          </p:nvSpPr>
          <p:spPr bwMode="auto">
            <a:xfrm flipV="1">
              <a:off x="588165" y="1880251"/>
              <a:ext cx="14671" cy="44570"/>
            </a:xfrm>
            <a:custGeom>
              <a:avLst/>
              <a:gdLst>
                <a:gd name="T0" fmla="*/ 0 w 122"/>
                <a:gd name="T1" fmla="*/ 184 h 371"/>
                <a:gd name="T2" fmla="*/ 0 w 122"/>
                <a:gd name="T3" fmla="*/ 24 h 371"/>
                <a:gd name="T4" fmla="*/ 20 w 122"/>
                <a:gd name="T5" fmla="*/ 1 h 371"/>
                <a:gd name="T6" fmla="*/ 101 w 122"/>
                <a:gd name="T7" fmla="*/ 1 h 371"/>
                <a:gd name="T8" fmla="*/ 122 w 122"/>
                <a:gd name="T9" fmla="*/ 24 h 371"/>
                <a:gd name="T10" fmla="*/ 122 w 122"/>
                <a:gd name="T11" fmla="*/ 346 h 371"/>
                <a:gd name="T12" fmla="*/ 100 w 122"/>
                <a:gd name="T13" fmla="*/ 370 h 371"/>
                <a:gd name="T14" fmla="*/ 22 w 122"/>
                <a:gd name="T15" fmla="*/ 370 h 371"/>
                <a:gd name="T16" fmla="*/ 0 w 122"/>
                <a:gd name="T17" fmla="*/ 346 h 371"/>
                <a:gd name="T18" fmla="*/ 0 w 122"/>
                <a:gd name="T19" fmla="*/ 184 h 3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2" h="371">
                  <a:moveTo>
                    <a:pt x="0" y="184"/>
                  </a:moveTo>
                  <a:cubicBezTo>
                    <a:pt x="0" y="131"/>
                    <a:pt x="0" y="78"/>
                    <a:pt x="0" y="24"/>
                  </a:cubicBezTo>
                  <a:cubicBezTo>
                    <a:pt x="0" y="8"/>
                    <a:pt x="4" y="2"/>
                    <a:pt x="20" y="1"/>
                  </a:cubicBezTo>
                  <a:cubicBezTo>
                    <a:pt x="47" y="0"/>
                    <a:pt x="74" y="0"/>
                    <a:pt x="101" y="1"/>
                  </a:cubicBezTo>
                  <a:cubicBezTo>
                    <a:pt x="117" y="2"/>
                    <a:pt x="122" y="8"/>
                    <a:pt x="122" y="24"/>
                  </a:cubicBezTo>
                  <a:cubicBezTo>
                    <a:pt x="122" y="132"/>
                    <a:pt x="122" y="239"/>
                    <a:pt x="122" y="346"/>
                  </a:cubicBezTo>
                  <a:cubicBezTo>
                    <a:pt x="122" y="363"/>
                    <a:pt x="116" y="369"/>
                    <a:pt x="100" y="370"/>
                  </a:cubicBezTo>
                  <a:cubicBezTo>
                    <a:pt x="74" y="371"/>
                    <a:pt x="48" y="371"/>
                    <a:pt x="22" y="370"/>
                  </a:cubicBezTo>
                  <a:cubicBezTo>
                    <a:pt x="5" y="369"/>
                    <a:pt x="0" y="363"/>
                    <a:pt x="0" y="346"/>
                  </a:cubicBezTo>
                  <a:cubicBezTo>
                    <a:pt x="0" y="292"/>
                    <a:pt x="0" y="238"/>
                    <a:pt x="0" y="1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15"/>
            <p:cNvSpPr>
              <a:spLocks/>
            </p:cNvSpPr>
            <p:nvPr/>
          </p:nvSpPr>
          <p:spPr bwMode="auto">
            <a:xfrm flipV="1">
              <a:off x="977413" y="1880251"/>
              <a:ext cx="14671" cy="44385"/>
            </a:xfrm>
            <a:custGeom>
              <a:avLst/>
              <a:gdLst>
                <a:gd name="T0" fmla="*/ 123 w 123"/>
                <a:gd name="T1" fmla="*/ 185 h 370"/>
                <a:gd name="T2" fmla="*/ 123 w 123"/>
                <a:gd name="T3" fmla="*/ 345 h 370"/>
                <a:gd name="T4" fmla="*/ 101 w 123"/>
                <a:gd name="T5" fmla="*/ 369 h 370"/>
                <a:gd name="T6" fmla="*/ 22 w 123"/>
                <a:gd name="T7" fmla="*/ 369 h 370"/>
                <a:gd name="T8" fmla="*/ 1 w 123"/>
                <a:gd name="T9" fmla="*/ 346 h 370"/>
                <a:gd name="T10" fmla="*/ 0 w 123"/>
                <a:gd name="T11" fmla="*/ 22 h 370"/>
                <a:gd name="T12" fmla="*/ 19 w 123"/>
                <a:gd name="T13" fmla="*/ 0 h 370"/>
                <a:gd name="T14" fmla="*/ 103 w 123"/>
                <a:gd name="T15" fmla="*/ 0 h 370"/>
                <a:gd name="T16" fmla="*/ 123 w 123"/>
                <a:gd name="T17" fmla="*/ 23 h 370"/>
                <a:gd name="T18" fmla="*/ 123 w 123"/>
                <a:gd name="T19" fmla="*/ 185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3" h="370">
                  <a:moveTo>
                    <a:pt x="123" y="185"/>
                  </a:moveTo>
                  <a:cubicBezTo>
                    <a:pt x="123" y="238"/>
                    <a:pt x="123" y="292"/>
                    <a:pt x="123" y="345"/>
                  </a:cubicBezTo>
                  <a:cubicBezTo>
                    <a:pt x="123" y="362"/>
                    <a:pt x="117" y="368"/>
                    <a:pt x="101" y="369"/>
                  </a:cubicBezTo>
                  <a:cubicBezTo>
                    <a:pt x="74" y="370"/>
                    <a:pt x="48" y="370"/>
                    <a:pt x="22" y="369"/>
                  </a:cubicBezTo>
                  <a:cubicBezTo>
                    <a:pt x="6" y="368"/>
                    <a:pt x="1" y="361"/>
                    <a:pt x="1" y="346"/>
                  </a:cubicBezTo>
                  <a:cubicBezTo>
                    <a:pt x="0" y="238"/>
                    <a:pt x="1" y="130"/>
                    <a:pt x="0" y="22"/>
                  </a:cubicBezTo>
                  <a:cubicBezTo>
                    <a:pt x="0" y="8"/>
                    <a:pt x="6" y="1"/>
                    <a:pt x="19" y="0"/>
                  </a:cubicBezTo>
                  <a:cubicBezTo>
                    <a:pt x="47" y="0"/>
                    <a:pt x="75" y="0"/>
                    <a:pt x="103" y="0"/>
                  </a:cubicBezTo>
                  <a:cubicBezTo>
                    <a:pt x="117" y="1"/>
                    <a:pt x="123" y="8"/>
                    <a:pt x="123" y="23"/>
                  </a:cubicBezTo>
                  <a:cubicBezTo>
                    <a:pt x="122" y="77"/>
                    <a:pt x="123" y="131"/>
                    <a:pt x="123" y="18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 name="Gruppieren 4"/>
          <p:cNvGrpSpPr/>
          <p:nvPr/>
        </p:nvGrpSpPr>
        <p:grpSpPr>
          <a:xfrm>
            <a:off x="531497" y="3142855"/>
            <a:ext cx="1952271" cy="509015"/>
            <a:chOff x="531497" y="3142855"/>
            <a:chExt cx="1952271" cy="509015"/>
          </a:xfrm>
        </p:grpSpPr>
        <p:sp>
          <p:nvSpPr>
            <p:cNvPr id="43" name="Pentagon 83"/>
            <p:cNvSpPr/>
            <p:nvPr/>
          </p:nvSpPr>
          <p:spPr>
            <a:xfrm>
              <a:off x="911567" y="3188069"/>
              <a:ext cx="1572201" cy="421973"/>
            </a:xfrm>
            <a:prstGeom prst="homePlate">
              <a:avLst/>
            </a:prstGeom>
            <a:solidFill>
              <a:schemeClr val="accent2"/>
            </a:solidFill>
            <a:ln w="9525" cap="flat" cmpd="sng" algn="ctr">
              <a:noFill/>
              <a:prstDash val="solid"/>
            </a:ln>
            <a:effectLst/>
          </p:spPr>
          <p:txBody>
            <a:bodyPr rot="0" spcFirstLastPara="0" vertOverflow="overflow" horzOverflow="overflow" vert="horz" wrap="square" lIns="216000" tIns="45720" rIns="0" bIns="45720" numCol="1" spcCol="0" rtlCol="0" fromWordArt="0" anchor="ctr" anchorCtr="0" forceAA="0" compatLnSpc="1">
              <a:prstTxWarp prst="textNoShape">
                <a:avLst/>
              </a:prstTxWarp>
              <a:noAutofit/>
            </a:bodyPr>
            <a:lstStyle/>
            <a:p>
              <a:pPr lvl="0">
                <a:lnSpc>
                  <a:spcPts val="1300"/>
                </a:lnSpc>
                <a:defRPr/>
              </a:pPr>
              <a:r>
                <a:rPr lang="ru-RU" sz="1100" b="1" kern="0" dirty="0" smtClean="0">
                  <a:solidFill>
                    <a:srgbClr val="FFFFFF"/>
                  </a:solidFill>
                </a:rPr>
                <a:t>ВОЗМОЖНОСТИ</a:t>
              </a:r>
              <a:endParaRPr lang="en-US" sz="1100" b="1" kern="0" dirty="0">
                <a:solidFill>
                  <a:srgbClr val="FFFFFF"/>
                </a:solidFill>
              </a:endParaRPr>
            </a:p>
          </p:txBody>
        </p:sp>
        <p:sp>
          <p:nvSpPr>
            <p:cNvPr id="44" name="Oval 85"/>
            <p:cNvSpPr>
              <a:spLocks noChangeAspect="1"/>
            </p:cNvSpPr>
            <p:nvPr/>
          </p:nvSpPr>
          <p:spPr>
            <a:xfrm>
              <a:off x="531497" y="3142855"/>
              <a:ext cx="509015" cy="509015"/>
            </a:xfrm>
            <a:prstGeom prst="ellipse">
              <a:avLst/>
            </a:prstGeom>
            <a:solidFill>
              <a:schemeClr val="tx2"/>
            </a:solidFill>
            <a:ln w="28575">
              <a:solidFill>
                <a:srgbClr val="FFFFFF"/>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grpSp>
          <p:nvGrpSpPr>
            <p:cNvPr id="4" name="Gruppieren 3"/>
            <p:cNvGrpSpPr/>
            <p:nvPr/>
          </p:nvGrpSpPr>
          <p:grpSpPr>
            <a:xfrm>
              <a:off x="602836" y="3216378"/>
              <a:ext cx="344074" cy="330773"/>
              <a:chOff x="733093" y="4034402"/>
              <a:chExt cx="344074" cy="330773"/>
            </a:xfrm>
          </p:grpSpPr>
          <p:sp>
            <p:nvSpPr>
              <p:cNvPr id="45" name="Freeform 20"/>
              <p:cNvSpPr>
                <a:spLocks noChangeAspect="1"/>
              </p:cNvSpPr>
              <p:nvPr/>
            </p:nvSpPr>
            <p:spPr bwMode="auto">
              <a:xfrm>
                <a:off x="825612" y="4118456"/>
                <a:ext cx="158431" cy="197133"/>
              </a:xfrm>
              <a:custGeom>
                <a:avLst/>
                <a:gdLst>
                  <a:gd name="T0" fmla="*/ 132 w 263"/>
                  <a:gd name="T1" fmla="*/ 0 h 327"/>
                  <a:gd name="T2" fmla="*/ 0 w 263"/>
                  <a:gd name="T3" fmla="*/ 118 h 327"/>
                  <a:gd name="T4" fmla="*/ 23 w 263"/>
                  <a:gd name="T5" fmla="*/ 184 h 327"/>
                  <a:gd name="T6" fmla="*/ 51 w 263"/>
                  <a:gd name="T7" fmla="*/ 226 h 327"/>
                  <a:gd name="T8" fmla="*/ 72 w 263"/>
                  <a:gd name="T9" fmla="*/ 274 h 327"/>
                  <a:gd name="T10" fmla="*/ 72 w 263"/>
                  <a:gd name="T11" fmla="*/ 307 h 327"/>
                  <a:gd name="T12" fmla="*/ 105 w 263"/>
                  <a:gd name="T13" fmla="*/ 327 h 327"/>
                  <a:gd name="T14" fmla="*/ 113 w 263"/>
                  <a:gd name="T15" fmla="*/ 327 h 327"/>
                  <a:gd name="T16" fmla="*/ 151 w 263"/>
                  <a:gd name="T17" fmla="*/ 327 h 327"/>
                  <a:gd name="T18" fmla="*/ 158 w 263"/>
                  <a:gd name="T19" fmla="*/ 327 h 327"/>
                  <a:gd name="T20" fmla="*/ 192 w 263"/>
                  <a:gd name="T21" fmla="*/ 307 h 327"/>
                  <a:gd name="T22" fmla="*/ 192 w 263"/>
                  <a:gd name="T23" fmla="*/ 274 h 327"/>
                  <a:gd name="T24" fmla="*/ 212 w 263"/>
                  <a:gd name="T25" fmla="*/ 226 h 327"/>
                  <a:gd name="T26" fmla="*/ 242 w 263"/>
                  <a:gd name="T27" fmla="*/ 183 h 327"/>
                  <a:gd name="T28" fmla="*/ 263 w 263"/>
                  <a:gd name="T29" fmla="*/ 118 h 327"/>
                  <a:gd name="T30" fmla="*/ 132 w 263"/>
                  <a:gd name="T31" fmla="*/ 0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63" h="327">
                    <a:moveTo>
                      <a:pt x="132" y="0"/>
                    </a:moveTo>
                    <a:cubicBezTo>
                      <a:pt x="59" y="0"/>
                      <a:pt x="0" y="53"/>
                      <a:pt x="0" y="118"/>
                    </a:cubicBezTo>
                    <a:cubicBezTo>
                      <a:pt x="0" y="143"/>
                      <a:pt x="8" y="165"/>
                      <a:pt x="23" y="184"/>
                    </a:cubicBezTo>
                    <a:cubicBezTo>
                      <a:pt x="27" y="192"/>
                      <a:pt x="35" y="204"/>
                      <a:pt x="51" y="226"/>
                    </a:cubicBezTo>
                    <a:cubicBezTo>
                      <a:pt x="62" y="240"/>
                      <a:pt x="72" y="257"/>
                      <a:pt x="72" y="274"/>
                    </a:cubicBezTo>
                    <a:cubicBezTo>
                      <a:pt x="72" y="307"/>
                      <a:pt x="72" y="307"/>
                      <a:pt x="72" y="307"/>
                    </a:cubicBezTo>
                    <a:cubicBezTo>
                      <a:pt x="72" y="311"/>
                      <a:pt x="81" y="327"/>
                      <a:pt x="105" y="327"/>
                    </a:cubicBezTo>
                    <a:cubicBezTo>
                      <a:pt x="113" y="327"/>
                      <a:pt x="113" y="327"/>
                      <a:pt x="113" y="327"/>
                    </a:cubicBezTo>
                    <a:cubicBezTo>
                      <a:pt x="134" y="327"/>
                      <a:pt x="151" y="327"/>
                      <a:pt x="151" y="327"/>
                    </a:cubicBezTo>
                    <a:cubicBezTo>
                      <a:pt x="158" y="327"/>
                      <a:pt x="158" y="327"/>
                      <a:pt x="158" y="327"/>
                    </a:cubicBezTo>
                    <a:cubicBezTo>
                      <a:pt x="182" y="327"/>
                      <a:pt x="192" y="311"/>
                      <a:pt x="192" y="307"/>
                    </a:cubicBezTo>
                    <a:cubicBezTo>
                      <a:pt x="192" y="274"/>
                      <a:pt x="192" y="274"/>
                      <a:pt x="192" y="274"/>
                    </a:cubicBezTo>
                    <a:cubicBezTo>
                      <a:pt x="192" y="257"/>
                      <a:pt x="202" y="240"/>
                      <a:pt x="212" y="226"/>
                    </a:cubicBezTo>
                    <a:cubicBezTo>
                      <a:pt x="229" y="203"/>
                      <a:pt x="237" y="191"/>
                      <a:pt x="242" y="183"/>
                    </a:cubicBezTo>
                    <a:cubicBezTo>
                      <a:pt x="255" y="164"/>
                      <a:pt x="263" y="142"/>
                      <a:pt x="263" y="118"/>
                    </a:cubicBezTo>
                    <a:cubicBezTo>
                      <a:pt x="263" y="53"/>
                      <a:pt x="204" y="0"/>
                      <a:pt x="132" y="0"/>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de-DE"/>
              </a:p>
            </p:txBody>
          </p:sp>
          <p:sp>
            <p:nvSpPr>
              <p:cNvPr id="46" name="Freeform 21"/>
              <p:cNvSpPr>
                <a:spLocks noChangeAspect="1"/>
              </p:cNvSpPr>
              <p:nvPr/>
            </p:nvSpPr>
            <p:spPr bwMode="auto">
              <a:xfrm>
                <a:off x="871569" y="4330102"/>
                <a:ext cx="66517" cy="6652"/>
              </a:xfrm>
              <a:custGeom>
                <a:avLst/>
                <a:gdLst>
                  <a:gd name="T0" fmla="*/ 106 w 111"/>
                  <a:gd name="T1" fmla="*/ 11 h 11"/>
                  <a:gd name="T2" fmla="*/ 5 w 111"/>
                  <a:gd name="T3" fmla="*/ 11 h 11"/>
                  <a:gd name="T4" fmla="*/ 0 w 111"/>
                  <a:gd name="T5" fmla="*/ 5 h 11"/>
                  <a:gd name="T6" fmla="*/ 5 w 111"/>
                  <a:gd name="T7" fmla="*/ 0 h 11"/>
                  <a:gd name="T8" fmla="*/ 106 w 111"/>
                  <a:gd name="T9" fmla="*/ 0 h 11"/>
                  <a:gd name="T10" fmla="*/ 111 w 111"/>
                  <a:gd name="T11" fmla="*/ 5 h 11"/>
                  <a:gd name="T12" fmla="*/ 106 w 111"/>
                  <a:gd name="T13" fmla="*/ 11 h 11"/>
                </a:gdLst>
                <a:ahLst/>
                <a:cxnLst>
                  <a:cxn ang="0">
                    <a:pos x="T0" y="T1"/>
                  </a:cxn>
                  <a:cxn ang="0">
                    <a:pos x="T2" y="T3"/>
                  </a:cxn>
                  <a:cxn ang="0">
                    <a:pos x="T4" y="T5"/>
                  </a:cxn>
                  <a:cxn ang="0">
                    <a:pos x="T6" y="T7"/>
                  </a:cxn>
                  <a:cxn ang="0">
                    <a:pos x="T8" y="T9"/>
                  </a:cxn>
                  <a:cxn ang="0">
                    <a:pos x="T10" y="T11"/>
                  </a:cxn>
                  <a:cxn ang="0">
                    <a:pos x="T12" y="T13"/>
                  </a:cxn>
                </a:cxnLst>
                <a:rect l="0" t="0" r="r" b="b"/>
                <a:pathLst>
                  <a:path w="111" h="11">
                    <a:moveTo>
                      <a:pt x="106" y="11"/>
                    </a:moveTo>
                    <a:cubicBezTo>
                      <a:pt x="5" y="11"/>
                      <a:pt x="5" y="11"/>
                      <a:pt x="5" y="11"/>
                    </a:cubicBezTo>
                    <a:cubicBezTo>
                      <a:pt x="2" y="11"/>
                      <a:pt x="0" y="8"/>
                      <a:pt x="0" y="5"/>
                    </a:cubicBezTo>
                    <a:cubicBezTo>
                      <a:pt x="0" y="3"/>
                      <a:pt x="2" y="0"/>
                      <a:pt x="5" y="0"/>
                    </a:cubicBezTo>
                    <a:cubicBezTo>
                      <a:pt x="106" y="0"/>
                      <a:pt x="106" y="0"/>
                      <a:pt x="106" y="0"/>
                    </a:cubicBezTo>
                    <a:cubicBezTo>
                      <a:pt x="109" y="0"/>
                      <a:pt x="111" y="3"/>
                      <a:pt x="111" y="5"/>
                    </a:cubicBezTo>
                    <a:cubicBezTo>
                      <a:pt x="111" y="8"/>
                      <a:pt x="109" y="11"/>
                      <a:pt x="106" y="11"/>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de-DE"/>
              </a:p>
            </p:txBody>
          </p:sp>
          <p:sp>
            <p:nvSpPr>
              <p:cNvPr id="47" name="Freeform 22"/>
              <p:cNvSpPr>
                <a:spLocks noChangeAspect="1"/>
              </p:cNvSpPr>
              <p:nvPr/>
            </p:nvSpPr>
            <p:spPr bwMode="auto">
              <a:xfrm>
                <a:off x="873988" y="4344615"/>
                <a:ext cx="62284" cy="6047"/>
              </a:xfrm>
              <a:custGeom>
                <a:avLst/>
                <a:gdLst>
                  <a:gd name="T0" fmla="*/ 99 w 104"/>
                  <a:gd name="T1" fmla="*/ 10 h 10"/>
                  <a:gd name="T2" fmla="*/ 5 w 104"/>
                  <a:gd name="T3" fmla="*/ 10 h 10"/>
                  <a:gd name="T4" fmla="*/ 0 w 104"/>
                  <a:gd name="T5" fmla="*/ 5 h 10"/>
                  <a:gd name="T6" fmla="*/ 5 w 104"/>
                  <a:gd name="T7" fmla="*/ 0 h 10"/>
                  <a:gd name="T8" fmla="*/ 99 w 104"/>
                  <a:gd name="T9" fmla="*/ 0 h 10"/>
                  <a:gd name="T10" fmla="*/ 104 w 104"/>
                  <a:gd name="T11" fmla="*/ 5 h 10"/>
                  <a:gd name="T12" fmla="*/ 99 w 104"/>
                  <a:gd name="T13" fmla="*/ 10 h 10"/>
                </a:gdLst>
                <a:ahLst/>
                <a:cxnLst>
                  <a:cxn ang="0">
                    <a:pos x="T0" y="T1"/>
                  </a:cxn>
                  <a:cxn ang="0">
                    <a:pos x="T2" y="T3"/>
                  </a:cxn>
                  <a:cxn ang="0">
                    <a:pos x="T4" y="T5"/>
                  </a:cxn>
                  <a:cxn ang="0">
                    <a:pos x="T6" y="T7"/>
                  </a:cxn>
                  <a:cxn ang="0">
                    <a:pos x="T8" y="T9"/>
                  </a:cxn>
                  <a:cxn ang="0">
                    <a:pos x="T10" y="T11"/>
                  </a:cxn>
                  <a:cxn ang="0">
                    <a:pos x="T12" y="T13"/>
                  </a:cxn>
                </a:cxnLst>
                <a:rect l="0" t="0" r="r" b="b"/>
                <a:pathLst>
                  <a:path w="104" h="10">
                    <a:moveTo>
                      <a:pt x="99" y="10"/>
                    </a:moveTo>
                    <a:cubicBezTo>
                      <a:pt x="5" y="10"/>
                      <a:pt x="5" y="10"/>
                      <a:pt x="5" y="10"/>
                    </a:cubicBezTo>
                    <a:cubicBezTo>
                      <a:pt x="2" y="10"/>
                      <a:pt x="0" y="8"/>
                      <a:pt x="0" y="5"/>
                    </a:cubicBezTo>
                    <a:cubicBezTo>
                      <a:pt x="0" y="2"/>
                      <a:pt x="2" y="0"/>
                      <a:pt x="5" y="0"/>
                    </a:cubicBezTo>
                    <a:cubicBezTo>
                      <a:pt x="99" y="0"/>
                      <a:pt x="99" y="0"/>
                      <a:pt x="99" y="0"/>
                    </a:cubicBezTo>
                    <a:cubicBezTo>
                      <a:pt x="101" y="0"/>
                      <a:pt x="104" y="2"/>
                      <a:pt x="104" y="5"/>
                    </a:cubicBezTo>
                    <a:cubicBezTo>
                      <a:pt x="104" y="8"/>
                      <a:pt x="101" y="10"/>
                      <a:pt x="99" y="10"/>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de-DE"/>
              </a:p>
            </p:txBody>
          </p:sp>
          <p:sp>
            <p:nvSpPr>
              <p:cNvPr id="48" name="Freeform 23"/>
              <p:cNvSpPr>
                <a:spLocks noChangeAspect="1"/>
              </p:cNvSpPr>
              <p:nvPr/>
            </p:nvSpPr>
            <p:spPr bwMode="auto">
              <a:xfrm>
                <a:off x="877616" y="4358523"/>
                <a:ext cx="55028" cy="6652"/>
              </a:xfrm>
              <a:custGeom>
                <a:avLst/>
                <a:gdLst>
                  <a:gd name="T0" fmla="*/ 87 w 92"/>
                  <a:gd name="T1" fmla="*/ 11 h 11"/>
                  <a:gd name="T2" fmla="*/ 5 w 92"/>
                  <a:gd name="T3" fmla="*/ 11 h 11"/>
                  <a:gd name="T4" fmla="*/ 0 w 92"/>
                  <a:gd name="T5" fmla="*/ 6 h 11"/>
                  <a:gd name="T6" fmla="*/ 5 w 92"/>
                  <a:gd name="T7" fmla="*/ 0 h 11"/>
                  <a:gd name="T8" fmla="*/ 87 w 92"/>
                  <a:gd name="T9" fmla="*/ 0 h 11"/>
                  <a:gd name="T10" fmla="*/ 92 w 92"/>
                  <a:gd name="T11" fmla="*/ 6 h 11"/>
                  <a:gd name="T12" fmla="*/ 87 w 92"/>
                  <a:gd name="T13" fmla="*/ 11 h 11"/>
                </a:gdLst>
                <a:ahLst/>
                <a:cxnLst>
                  <a:cxn ang="0">
                    <a:pos x="T0" y="T1"/>
                  </a:cxn>
                  <a:cxn ang="0">
                    <a:pos x="T2" y="T3"/>
                  </a:cxn>
                  <a:cxn ang="0">
                    <a:pos x="T4" y="T5"/>
                  </a:cxn>
                  <a:cxn ang="0">
                    <a:pos x="T6" y="T7"/>
                  </a:cxn>
                  <a:cxn ang="0">
                    <a:pos x="T8" y="T9"/>
                  </a:cxn>
                  <a:cxn ang="0">
                    <a:pos x="T10" y="T11"/>
                  </a:cxn>
                  <a:cxn ang="0">
                    <a:pos x="T12" y="T13"/>
                  </a:cxn>
                </a:cxnLst>
                <a:rect l="0" t="0" r="r" b="b"/>
                <a:pathLst>
                  <a:path w="92" h="11">
                    <a:moveTo>
                      <a:pt x="87" y="11"/>
                    </a:moveTo>
                    <a:cubicBezTo>
                      <a:pt x="5" y="11"/>
                      <a:pt x="5" y="11"/>
                      <a:pt x="5" y="11"/>
                    </a:cubicBezTo>
                    <a:cubicBezTo>
                      <a:pt x="2" y="11"/>
                      <a:pt x="0" y="8"/>
                      <a:pt x="0" y="6"/>
                    </a:cubicBezTo>
                    <a:cubicBezTo>
                      <a:pt x="0" y="3"/>
                      <a:pt x="2" y="0"/>
                      <a:pt x="5" y="0"/>
                    </a:cubicBezTo>
                    <a:cubicBezTo>
                      <a:pt x="87" y="0"/>
                      <a:pt x="87" y="0"/>
                      <a:pt x="87" y="0"/>
                    </a:cubicBezTo>
                    <a:cubicBezTo>
                      <a:pt x="90" y="0"/>
                      <a:pt x="92" y="3"/>
                      <a:pt x="92" y="6"/>
                    </a:cubicBezTo>
                    <a:cubicBezTo>
                      <a:pt x="92" y="8"/>
                      <a:pt x="90" y="11"/>
                      <a:pt x="87" y="11"/>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de-DE"/>
              </a:p>
            </p:txBody>
          </p:sp>
          <p:sp>
            <p:nvSpPr>
              <p:cNvPr id="49" name="Freeform 24"/>
              <p:cNvSpPr>
                <a:spLocks noChangeAspect="1" noEditPoints="1"/>
              </p:cNvSpPr>
              <p:nvPr/>
            </p:nvSpPr>
            <p:spPr bwMode="auto">
              <a:xfrm>
                <a:off x="733093" y="4034402"/>
                <a:ext cx="344074" cy="181411"/>
              </a:xfrm>
              <a:custGeom>
                <a:avLst/>
                <a:gdLst>
                  <a:gd name="T0" fmla="*/ 85 w 570"/>
                  <a:gd name="T1" fmla="*/ 301 h 301"/>
                  <a:gd name="T2" fmla="*/ 22 w 570"/>
                  <a:gd name="T3" fmla="*/ 301 h 301"/>
                  <a:gd name="T4" fmla="*/ 22 w 570"/>
                  <a:gd name="T5" fmla="*/ 269 h 301"/>
                  <a:gd name="T6" fmla="*/ 85 w 570"/>
                  <a:gd name="T7" fmla="*/ 269 h 301"/>
                  <a:gd name="T8" fmla="*/ 85 w 570"/>
                  <a:gd name="T9" fmla="*/ 301 h 301"/>
                  <a:gd name="T10" fmla="*/ 110 w 570"/>
                  <a:gd name="T11" fmla="*/ 87 h 301"/>
                  <a:gd name="T12" fmla="*/ 155 w 570"/>
                  <a:gd name="T13" fmla="*/ 132 h 301"/>
                  <a:gd name="T14" fmla="*/ 132 w 570"/>
                  <a:gd name="T15" fmla="*/ 155 h 301"/>
                  <a:gd name="T16" fmla="*/ 87 w 570"/>
                  <a:gd name="T17" fmla="*/ 110 h 301"/>
                  <a:gd name="T18" fmla="*/ 110 w 570"/>
                  <a:gd name="T19" fmla="*/ 87 h 301"/>
                  <a:gd name="T20" fmla="*/ 301 w 570"/>
                  <a:gd name="T21" fmla="*/ 21 h 301"/>
                  <a:gd name="T22" fmla="*/ 301 w 570"/>
                  <a:gd name="T23" fmla="*/ 85 h 301"/>
                  <a:gd name="T24" fmla="*/ 269 w 570"/>
                  <a:gd name="T25" fmla="*/ 85 h 301"/>
                  <a:gd name="T26" fmla="*/ 269 w 570"/>
                  <a:gd name="T27" fmla="*/ 21 h 301"/>
                  <a:gd name="T28" fmla="*/ 301 w 570"/>
                  <a:gd name="T29" fmla="*/ 21 h 301"/>
                  <a:gd name="T30" fmla="*/ 483 w 570"/>
                  <a:gd name="T31" fmla="*/ 110 h 301"/>
                  <a:gd name="T32" fmla="*/ 438 w 570"/>
                  <a:gd name="T33" fmla="*/ 155 h 301"/>
                  <a:gd name="T34" fmla="*/ 415 w 570"/>
                  <a:gd name="T35" fmla="*/ 132 h 301"/>
                  <a:gd name="T36" fmla="*/ 460 w 570"/>
                  <a:gd name="T37" fmla="*/ 87 h 301"/>
                  <a:gd name="T38" fmla="*/ 483 w 570"/>
                  <a:gd name="T39" fmla="*/ 110 h 301"/>
                  <a:gd name="T40" fmla="*/ 548 w 570"/>
                  <a:gd name="T41" fmla="*/ 301 h 301"/>
                  <a:gd name="T42" fmla="*/ 485 w 570"/>
                  <a:gd name="T43" fmla="*/ 301 h 301"/>
                  <a:gd name="T44" fmla="*/ 485 w 570"/>
                  <a:gd name="T45" fmla="*/ 269 h 301"/>
                  <a:gd name="T46" fmla="*/ 548 w 570"/>
                  <a:gd name="T47" fmla="*/ 269 h 301"/>
                  <a:gd name="T48" fmla="*/ 548 w 570"/>
                  <a:gd name="T49" fmla="*/ 301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70" h="301">
                    <a:moveTo>
                      <a:pt x="85" y="301"/>
                    </a:moveTo>
                    <a:cubicBezTo>
                      <a:pt x="22" y="301"/>
                      <a:pt x="22" y="301"/>
                      <a:pt x="22" y="301"/>
                    </a:cubicBezTo>
                    <a:cubicBezTo>
                      <a:pt x="0" y="301"/>
                      <a:pt x="0" y="269"/>
                      <a:pt x="22" y="269"/>
                    </a:cubicBezTo>
                    <a:cubicBezTo>
                      <a:pt x="85" y="269"/>
                      <a:pt x="85" y="269"/>
                      <a:pt x="85" y="269"/>
                    </a:cubicBezTo>
                    <a:cubicBezTo>
                      <a:pt x="107" y="269"/>
                      <a:pt x="107" y="301"/>
                      <a:pt x="85" y="301"/>
                    </a:cubicBezTo>
                    <a:close/>
                    <a:moveTo>
                      <a:pt x="110" y="87"/>
                    </a:moveTo>
                    <a:cubicBezTo>
                      <a:pt x="155" y="132"/>
                      <a:pt x="155" y="132"/>
                      <a:pt x="155" y="132"/>
                    </a:cubicBezTo>
                    <a:cubicBezTo>
                      <a:pt x="170" y="147"/>
                      <a:pt x="147" y="170"/>
                      <a:pt x="132" y="155"/>
                    </a:cubicBezTo>
                    <a:cubicBezTo>
                      <a:pt x="87" y="110"/>
                      <a:pt x="87" y="110"/>
                      <a:pt x="87" y="110"/>
                    </a:cubicBezTo>
                    <a:cubicBezTo>
                      <a:pt x="72" y="95"/>
                      <a:pt x="95" y="72"/>
                      <a:pt x="110" y="87"/>
                    </a:cubicBezTo>
                    <a:close/>
                    <a:moveTo>
                      <a:pt x="301" y="21"/>
                    </a:moveTo>
                    <a:cubicBezTo>
                      <a:pt x="301" y="85"/>
                      <a:pt x="301" y="85"/>
                      <a:pt x="301" y="85"/>
                    </a:cubicBezTo>
                    <a:cubicBezTo>
                      <a:pt x="301" y="106"/>
                      <a:pt x="269" y="106"/>
                      <a:pt x="269" y="85"/>
                    </a:cubicBezTo>
                    <a:cubicBezTo>
                      <a:pt x="269" y="21"/>
                      <a:pt x="269" y="21"/>
                      <a:pt x="269" y="21"/>
                    </a:cubicBezTo>
                    <a:cubicBezTo>
                      <a:pt x="269" y="0"/>
                      <a:pt x="301" y="0"/>
                      <a:pt x="301" y="21"/>
                    </a:cubicBezTo>
                    <a:close/>
                    <a:moveTo>
                      <a:pt x="483" y="110"/>
                    </a:moveTo>
                    <a:cubicBezTo>
                      <a:pt x="438" y="155"/>
                      <a:pt x="438" y="155"/>
                      <a:pt x="438" y="155"/>
                    </a:cubicBezTo>
                    <a:cubicBezTo>
                      <a:pt x="423" y="170"/>
                      <a:pt x="400" y="147"/>
                      <a:pt x="415" y="132"/>
                    </a:cubicBezTo>
                    <a:cubicBezTo>
                      <a:pt x="460" y="87"/>
                      <a:pt x="460" y="87"/>
                      <a:pt x="460" y="87"/>
                    </a:cubicBezTo>
                    <a:cubicBezTo>
                      <a:pt x="475" y="72"/>
                      <a:pt x="498" y="95"/>
                      <a:pt x="483" y="110"/>
                    </a:cubicBezTo>
                    <a:close/>
                    <a:moveTo>
                      <a:pt x="548" y="301"/>
                    </a:moveTo>
                    <a:cubicBezTo>
                      <a:pt x="485" y="301"/>
                      <a:pt x="485" y="301"/>
                      <a:pt x="485" y="301"/>
                    </a:cubicBezTo>
                    <a:cubicBezTo>
                      <a:pt x="464" y="301"/>
                      <a:pt x="464" y="269"/>
                      <a:pt x="485" y="269"/>
                    </a:cubicBezTo>
                    <a:cubicBezTo>
                      <a:pt x="548" y="269"/>
                      <a:pt x="548" y="269"/>
                      <a:pt x="548" y="269"/>
                    </a:cubicBezTo>
                    <a:cubicBezTo>
                      <a:pt x="570" y="269"/>
                      <a:pt x="570" y="301"/>
                      <a:pt x="548" y="301"/>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de-DE"/>
              </a:p>
            </p:txBody>
          </p:sp>
        </p:grpSp>
      </p:grpSp>
      <p:grpSp>
        <p:nvGrpSpPr>
          <p:cNvPr id="30" name="Gruppieren 29"/>
          <p:cNvGrpSpPr>
            <a:grpSpLocks noChangeAspect="1"/>
          </p:cNvGrpSpPr>
          <p:nvPr/>
        </p:nvGrpSpPr>
        <p:grpSpPr>
          <a:xfrm>
            <a:off x="539748" y="4876006"/>
            <a:ext cx="719884" cy="215444"/>
            <a:chOff x="539748" y="4876006"/>
            <a:chExt cx="719884" cy="215444"/>
          </a:xfrm>
        </p:grpSpPr>
        <p:sp>
          <p:nvSpPr>
            <p:cNvPr id="31" name="Textfeld 30"/>
            <p:cNvSpPr txBox="1"/>
            <p:nvPr userDrawn="1"/>
          </p:nvSpPr>
          <p:spPr>
            <a:xfrm>
              <a:off x="539750" y="4876006"/>
              <a:ext cx="719882" cy="215444"/>
            </a:xfrm>
            <a:prstGeom prst="rect">
              <a:avLst/>
            </a:prstGeom>
            <a:noFill/>
          </p:spPr>
          <p:txBody>
            <a:bodyPr wrap="square" rtlCol="0">
              <a:spAutoFit/>
            </a:bodyPr>
            <a:lstStyle/>
            <a:p>
              <a:pPr algn="ctr"/>
              <a:r>
                <a:rPr lang="ru-RU" sz="800" kern="1300" spc="80" dirty="0" smtClean="0"/>
                <a:t>ТРЕНД</a:t>
              </a:r>
              <a:r>
                <a:rPr lang="de-DE" sz="800" kern="1300" spc="80" baseline="0" dirty="0" smtClean="0"/>
                <a:t> </a:t>
              </a:r>
              <a:r>
                <a:rPr lang="de-DE" sz="800" b="1" kern="1300" spc="80" baseline="0" dirty="0" smtClean="0"/>
                <a:t>01</a:t>
              </a:r>
            </a:p>
          </p:txBody>
        </p:sp>
        <p:sp>
          <p:nvSpPr>
            <p:cNvPr id="32" name="Gleichschenkliges Dreieck 31"/>
            <p:cNvSpPr/>
            <p:nvPr userDrawn="1"/>
          </p:nvSpPr>
          <p:spPr>
            <a:xfrm rot="16200000" flipH="1" flipV="1">
              <a:off x="534004" y="4938683"/>
              <a:ext cx="83300" cy="71811"/>
            </a:xfrm>
            <a:prstGeom prst="triangl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sp>
          <p:nvSpPr>
            <p:cNvPr id="33" name="Gleichschenkliges Dreieck 32"/>
            <p:cNvSpPr/>
            <p:nvPr userDrawn="1"/>
          </p:nvSpPr>
          <p:spPr>
            <a:xfrm rot="5400000" flipV="1">
              <a:off x="1182077" y="4938684"/>
              <a:ext cx="83300" cy="71811"/>
            </a:xfrm>
            <a:prstGeom prst="triangl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grpSp>
    </p:spTree>
    <p:extLst>
      <p:ext uri="{BB962C8B-B14F-4D97-AF65-F5344CB8AC3E}">
        <p14:creationId xmlns:p14="http://schemas.microsoft.com/office/powerpoint/2010/main" val="1054990859"/>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 name="Gruppieren 13"/>
          <p:cNvGrpSpPr>
            <a:grpSpLocks noChangeAspect="1"/>
          </p:cNvGrpSpPr>
          <p:nvPr/>
        </p:nvGrpSpPr>
        <p:grpSpPr>
          <a:xfrm>
            <a:off x="539748" y="4876006"/>
            <a:ext cx="719884" cy="215444"/>
            <a:chOff x="539748" y="4876006"/>
            <a:chExt cx="719884" cy="215444"/>
          </a:xfrm>
        </p:grpSpPr>
        <p:sp>
          <p:nvSpPr>
            <p:cNvPr id="15" name="Textfeld 14"/>
            <p:cNvSpPr txBox="1"/>
            <p:nvPr userDrawn="1"/>
          </p:nvSpPr>
          <p:spPr>
            <a:xfrm>
              <a:off x="539750" y="4876006"/>
              <a:ext cx="719882" cy="215444"/>
            </a:xfrm>
            <a:prstGeom prst="rect">
              <a:avLst/>
            </a:prstGeom>
            <a:noFill/>
          </p:spPr>
          <p:txBody>
            <a:bodyPr wrap="square" rtlCol="0">
              <a:spAutoFit/>
            </a:bodyPr>
            <a:lstStyle/>
            <a:p>
              <a:pPr algn="ctr"/>
              <a:r>
                <a:rPr lang="de-DE" sz="800" kern="1300" spc="80" baseline="0" dirty="0" smtClean="0">
                  <a:solidFill>
                    <a:srgbClr val="FFFFFF"/>
                  </a:solidFill>
                </a:rPr>
                <a:t>T</a:t>
              </a:r>
              <a:r>
                <a:rPr lang="ru-RU" sz="800" kern="1300" spc="80" baseline="0" dirty="0" smtClean="0">
                  <a:solidFill>
                    <a:srgbClr val="FFFFFF"/>
                  </a:solidFill>
                </a:rPr>
                <a:t>РЕНД</a:t>
              </a:r>
              <a:r>
                <a:rPr lang="de-DE" sz="800" kern="1300" spc="80" baseline="0" dirty="0" smtClean="0">
                  <a:solidFill>
                    <a:srgbClr val="FFFFFF"/>
                  </a:solidFill>
                </a:rPr>
                <a:t> </a:t>
              </a:r>
              <a:r>
                <a:rPr lang="de-DE" sz="800" b="1" kern="1300" spc="80" baseline="0" dirty="0" smtClean="0">
                  <a:solidFill>
                    <a:srgbClr val="FFFFFF"/>
                  </a:solidFill>
                </a:rPr>
                <a:t>01</a:t>
              </a:r>
            </a:p>
          </p:txBody>
        </p:sp>
        <p:sp>
          <p:nvSpPr>
            <p:cNvPr id="16" name="Gleichschenkliges Dreieck 15"/>
            <p:cNvSpPr/>
            <p:nvPr userDrawn="1"/>
          </p:nvSpPr>
          <p:spPr>
            <a:xfrm rot="16200000" flipH="1" flipV="1">
              <a:off x="534004" y="4938683"/>
              <a:ext cx="83300" cy="71811"/>
            </a:xfrm>
            <a:prstGeom prst="triangle">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solidFill>
                  <a:srgbClr val="FFFFFF"/>
                </a:solidFill>
              </a:endParaRPr>
            </a:p>
          </p:txBody>
        </p:sp>
        <p:sp>
          <p:nvSpPr>
            <p:cNvPr id="17" name="Gleichschenkliges Dreieck 16"/>
            <p:cNvSpPr/>
            <p:nvPr userDrawn="1"/>
          </p:nvSpPr>
          <p:spPr>
            <a:xfrm rot="5400000" flipV="1">
              <a:off x="1182077" y="4938684"/>
              <a:ext cx="83300" cy="71811"/>
            </a:xfrm>
            <a:prstGeom prst="triangle">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solidFill>
                  <a:srgbClr val="FFFFFF"/>
                </a:solidFill>
              </a:endParaRPr>
            </a:p>
          </p:txBody>
        </p:sp>
      </p:grpSp>
      <p:sp>
        <p:nvSpPr>
          <p:cNvPr id="4" name="Textfeld 3"/>
          <p:cNvSpPr txBox="1"/>
          <p:nvPr/>
        </p:nvSpPr>
        <p:spPr>
          <a:xfrm>
            <a:off x="2771800" y="1537439"/>
            <a:ext cx="4680520" cy="646331"/>
          </a:xfrm>
          <a:prstGeom prst="rect">
            <a:avLst/>
          </a:prstGeom>
          <a:noFill/>
        </p:spPr>
        <p:txBody>
          <a:bodyPr wrap="square" rtlCol="0">
            <a:spAutoFit/>
          </a:bodyPr>
          <a:lstStyle/>
          <a:p>
            <a:r>
              <a:rPr lang="ru-RU" dirty="0" smtClean="0">
                <a:solidFill>
                  <a:srgbClr val="FFFFFF"/>
                </a:solidFill>
              </a:rPr>
              <a:t>Спортивный мир меняется, открываются новые возможности в развивающихся рынках</a:t>
            </a:r>
            <a:endParaRPr lang="de-DE" dirty="0" err="1" smtClean="0">
              <a:solidFill>
                <a:srgbClr val="FFFFFF"/>
              </a:solidFill>
            </a:endParaRPr>
          </a:p>
        </p:txBody>
      </p:sp>
      <p:grpSp>
        <p:nvGrpSpPr>
          <p:cNvPr id="18" name="Gruppieren 17"/>
          <p:cNvGrpSpPr/>
          <p:nvPr/>
        </p:nvGrpSpPr>
        <p:grpSpPr>
          <a:xfrm rot="16200000">
            <a:off x="1955651" y="1640436"/>
            <a:ext cx="456109" cy="456109"/>
            <a:chOff x="1357632" y="1654339"/>
            <a:chExt cx="579118" cy="579118"/>
          </a:xfrm>
        </p:grpSpPr>
        <p:sp>
          <p:nvSpPr>
            <p:cNvPr id="9" name="Ellipse 8"/>
            <p:cNvSpPr/>
            <p:nvPr/>
          </p:nvSpPr>
          <p:spPr>
            <a:xfrm>
              <a:off x="1357632" y="1654339"/>
              <a:ext cx="579118" cy="579118"/>
            </a:xfrm>
            <a:prstGeom prst="ellipse">
              <a:avLst/>
            </a:prstGeom>
            <a:solidFill>
              <a:schemeClr val="accent2"/>
            </a:solidFill>
            <a:ln w="28575">
              <a:solidFill>
                <a:srgbClr val="FFFFFF"/>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sp>
          <p:nvSpPr>
            <p:cNvPr id="20" name="Gleichschenkliges Dreieck 19"/>
            <p:cNvSpPr/>
            <p:nvPr/>
          </p:nvSpPr>
          <p:spPr>
            <a:xfrm flipV="1">
              <a:off x="1507419" y="1869460"/>
              <a:ext cx="279546" cy="240988"/>
            </a:xfrm>
            <a:prstGeom prst="triangle">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grpSp>
      <p:cxnSp>
        <p:nvCxnSpPr>
          <p:cNvPr id="11" name="Gerade Verbindung 10"/>
          <p:cNvCxnSpPr/>
          <p:nvPr/>
        </p:nvCxnSpPr>
        <p:spPr>
          <a:xfrm flipV="1">
            <a:off x="2873048" y="1446625"/>
            <a:ext cx="818166" cy="1"/>
          </a:xfrm>
          <a:prstGeom prst="line">
            <a:avLst/>
          </a:prstGeom>
          <a:ln w="57150">
            <a:solidFill>
              <a:schemeClr val="accent2"/>
            </a:solidFill>
          </a:ln>
        </p:spPr>
        <p:style>
          <a:lnRef idx="2">
            <a:schemeClr val="accent1"/>
          </a:lnRef>
          <a:fillRef idx="0">
            <a:schemeClr val="accent1"/>
          </a:fillRef>
          <a:effectRef idx="1">
            <a:schemeClr val="accent1"/>
          </a:effectRef>
          <a:fontRef idx="minor">
            <a:schemeClr val="tx1"/>
          </a:fontRef>
        </p:style>
      </p:cxnSp>
      <p:sp>
        <p:nvSpPr>
          <p:cNvPr id="8" name="Textfeld 7"/>
          <p:cNvSpPr txBox="1"/>
          <p:nvPr/>
        </p:nvSpPr>
        <p:spPr>
          <a:xfrm>
            <a:off x="2771800" y="3868999"/>
            <a:ext cx="5040560" cy="553998"/>
          </a:xfrm>
          <a:prstGeom prst="rect">
            <a:avLst/>
          </a:prstGeom>
          <a:noFill/>
        </p:spPr>
        <p:txBody>
          <a:bodyPr wrap="square" rtlCol="0">
            <a:spAutoFit/>
          </a:bodyPr>
          <a:lstStyle/>
          <a:p>
            <a:pPr marL="0" lvl="1"/>
            <a:r>
              <a:rPr lang="ru-RU" dirty="0" smtClean="0">
                <a:solidFill>
                  <a:srgbClr val="FFFFFF"/>
                </a:solidFill>
              </a:rPr>
              <a:t>Активация опыта развитых стран – ключ к успеху</a:t>
            </a:r>
            <a:endParaRPr lang="en-US" dirty="0">
              <a:solidFill>
                <a:srgbClr val="FFFFFF"/>
              </a:solidFill>
            </a:endParaRPr>
          </a:p>
          <a:p>
            <a:endParaRPr lang="de-DE" sz="1200" dirty="0" err="1" smtClean="0">
              <a:solidFill>
                <a:srgbClr val="FFFFFF"/>
              </a:solidFill>
            </a:endParaRPr>
          </a:p>
        </p:txBody>
      </p:sp>
      <p:sp>
        <p:nvSpPr>
          <p:cNvPr id="2" name="Titel 1"/>
          <p:cNvSpPr>
            <a:spLocks noGrp="1"/>
          </p:cNvSpPr>
          <p:nvPr>
            <p:ph type="title"/>
          </p:nvPr>
        </p:nvSpPr>
        <p:spPr>
          <a:xfrm>
            <a:off x="0" y="483069"/>
            <a:ext cx="9144000" cy="332399"/>
          </a:xfrm>
        </p:spPr>
        <p:txBody>
          <a:bodyPr/>
          <a:lstStyle/>
          <a:p>
            <a:pPr algn="ctr"/>
            <a:r>
              <a:rPr lang="ru-RU" dirty="0" smtClean="0">
                <a:solidFill>
                  <a:srgbClr val="FFFFFF"/>
                </a:solidFill>
              </a:rPr>
              <a:t>Какие </a:t>
            </a:r>
            <a:r>
              <a:rPr lang="ru-RU" b="1" dirty="0" smtClean="0">
                <a:solidFill>
                  <a:schemeClr val="accent2"/>
                </a:solidFill>
              </a:rPr>
              <a:t>перспективы</a:t>
            </a:r>
            <a:r>
              <a:rPr lang="en-US" b="1" dirty="0" smtClean="0">
                <a:solidFill>
                  <a:schemeClr val="accent2"/>
                </a:solidFill>
              </a:rPr>
              <a:t>?</a:t>
            </a:r>
            <a:endParaRPr lang="de-DE" b="1" dirty="0">
              <a:solidFill>
                <a:schemeClr val="accent2"/>
              </a:solidFill>
            </a:endParaRPr>
          </a:p>
        </p:txBody>
      </p:sp>
      <p:sp>
        <p:nvSpPr>
          <p:cNvPr id="3" name="Rechteck 2"/>
          <p:cNvSpPr/>
          <p:nvPr/>
        </p:nvSpPr>
        <p:spPr>
          <a:xfrm>
            <a:off x="4210464" y="1549647"/>
            <a:ext cx="2258325" cy="276519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sp>
        <p:nvSpPr>
          <p:cNvPr id="6" name="Textfeld 5"/>
          <p:cNvSpPr txBox="1"/>
          <p:nvPr/>
        </p:nvSpPr>
        <p:spPr>
          <a:xfrm>
            <a:off x="2771800" y="2703515"/>
            <a:ext cx="4958994" cy="923330"/>
          </a:xfrm>
          <a:prstGeom prst="rect">
            <a:avLst/>
          </a:prstGeom>
          <a:noFill/>
        </p:spPr>
        <p:txBody>
          <a:bodyPr wrap="square" rtlCol="0">
            <a:spAutoFit/>
          </a:bodyPr>
          <a:lstStyle/>
          <a:p>
            <a:r>
              <a:rPr lang="ru-RU" dirty="0" smtClean="0">
                <a:solidFill>
                  <a:srgbClr val="FFFFFF"/>
                </a:solidFill>
              </a:rPr>
              <a:t>Правильное партнерство в нужный момент будет иметь ключевое значение – очень важно управлять рисками</a:t>
            </a:r>
            <a:endParaRPr lang="de-DE" dirty="0" err="1" smtClean="0">
              <a:solidFill>
                <a:srgbClr val="FFFFFF"/>
              </a:solidFill>
            </a:endParaRPr>
          </a:p>
        </p:txBody>
      </p:sp>
      <p:grpSp>
        <p:nvGrpSpPr>
          <p:cNvPr id="32" name="Gruppieren 31"/>
          <p:cNvGrpSpPr/>
          <p:nvPr/>
        </p:nvGrpSpPr>
        <p:grpSpPr>
          <a:xfrm rot="16200000">
            <a:off x="1955651" y="2779151"/>
            <a:ext cx="456109" cy="456109"/>
            <a:chOff x="1357632" y="1654339"/>
            <a:chExt cx="579118" cy="579118"/>
          </a:xfrm>
        </p:grpSpPr>
        <p:sp>
          <p:nvSpPr>
            <p:cNvPr id="33" name="Ellipse 32"/>
            <p:cNvSpPr/>
            <p:nvPr/>
          </p:nvSpPr>
          <p:spPr>
            <a:xfrm>
              <a:off x="1357632" y="1654339"/>
              <a:ext cx="579118" cy="579118"/>
            </a:xfrm>
            <a:prstGeom prst="ellipse">
              <a:avLst/>
            </a:prstGeom>
            <a:solidFill>
              <a:schemeClr val="accent2"/>
            </a:solidFill>
            <a:ln w="28575">
              <a:solidFill>
                <a:srgbClr val="FFFFFF"/>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sp>
          <p:nvSpPr>
            <p:cNvPr id="40" name="Gleichschenkliges Dreieck 39"/>
            <p:cNvSpPr/>
            <p:nvPr/>
          </p:nvSpPr>
          <p:spPr>
            <a:xfrm flipV="1">
              <a:off x="1507419" y="1869460"/>
              <a:ext cx="279546" cy="240988"/>
            </a:xfrm>
            <a:prstGeom prst="triangle">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grpSp>
      <p:grpSp>
        <p:nvGrpSpPr>
          <p:cNvPr id="41" name="Gruppieren 40"/>
          <p:cNvGrpSpPr/>
          <p:nvPr/>
        </p:nvGrpSpPr>
        <p:grpSpPr>
          <a:xfrm rot="16200000">
            <a:off x="1955651" y="3917866"/>
            <a:ext cx="456109" cy="456109"/>
            <a:chOff x="1357632" y="1654339"/>
            <a:chExt cx="579118" cy="579118"/>
          </a:xfrm>
        </p:grpSpPr>
        <p:sp>
          <p:nvSpPr>
            <p:cNvPr id="42" name="Ellipse 41"/>
            <p:cNvSpPr/>
            <p:nvPr/>
          </p:nvSpPr>
          <p:spPr>
            <a:xfrm>
              <a:off x="1357632" y="1654339"/>
              <a:ext cx="579118" cy="579118"/>
            </a:xfrm>
            <a:prstGeom prst="ellipse">
              <a:avLst/>
            </a:prstGeom>
            <a:solidFill>
              <a:schemeClr val="accent2"/>
            </a:solidFill>
            <a:ln w="28575">
              <a:solidFill>
                <a:srgbClr val="FFFFFF"/>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sp>
          <p:nvSpPr>
            <p:cNvPr id="43" name="Gleichschenkliges Dreieck 42"/>
            <p:cNvSpPr/>
            <p:nvPr/>
          </p:nvSpPr>
          <p:spPr>
            <a:xfrm flipV="1">
              <a:off x="1507419" y="1869460"/>
              <a:ext cx="279546" cy="240988"/>
            </a:xfrm>
            <a:prstGeom prst="triangle">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grpSp>
      <p:cxnSp>
        <p:nvCxnSpPr>
          <p:cNvPr id="44" name="Gerade Verbindung 43"/>
          <p:cNvCxnSpPr/>
          <p:nvPr/>
        </p:nvCxnSpPr>
        <p:spPr>
          <a:xfrm flipV="1">
            <a:off x="2873048" y="2585312"/>
            <a:ext cx="818166" cy="1"/>
          </a:xfrm>
          <a:prstGeom prst="line">
            <a:avLst/>
          </a:prstGeom>
          <a:ln w="57150">
            <a:solidFill>
              <a:schemeClr val="accent2"/>
            </a:solidFill>
          </a:ln>
        </p:spPr>
        <p:style>
          <a:lnRef idx="2">
            <a:schemeClr val="accent1"/>
          </a:lnRef>
          <a:fillRef idx="0">
            <a:schemeClr val="accent1"/>
          </a:fillRef>
          <a:effectRef idx="1">
            <a:schemeClr val="accent1"/>
          </a:effectRef>
          <a:fontRef idx="minor">
            <a:schemeClr val="tx1"/>
          </a:fontRef>
        </p:style>
      </p:cxnSp>
      <p:cxnSp>
        <p:nvCxnSpPr>
          <p:cNvPr id="45" name="Gerade Verbindung 44"/>
          <p:cNvCxnSpPr/>
          <p:nvPr/>
        </p:nvCxnSpPr>
        <p:spPr>
          <a:xfrm flipV="1">
            <a:off x="2873048" y="3744997"/>
            <a:ext cx="818166" cy="1"/>
          </a:xfrm>
          <a:prstGeom prst="line">
            <a:avLst/>
          </a:prstGeom>
          <a:ln w="57150">
            <a:solidFill>
              <a:schemeClr val="accent2"/>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659723449"/>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hteck 7"/>
          <p:cNvSpPr/>
          <p:nvPr/>
        </p:nvSpPr>
        <p:spPr>
          <a:xfrm>
            <a:off x="3775972" y="1995686"/>
            <a:ext cx="3676347" cy="449487"/>
          </a:xfrm>
          <a:prstGeom prst="rect">
            <a:avLst/>
          </a:prstGeom>
          <a:solidFill>
            <a:srgbClr val="8DC63F"/>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sp>
        <p:nvSpPr>
          <p:cNvPr id="9" name="Rechteck 8"/>
          <p:cNvSpPr/>
          <p:nvPr/>
        </p:nvSpPr>
        <p:spPr>
          <a:xfrm>
            <a:off x="3775972" y="2509744"/>
            <a:ext cx="3766357" cy="449487"/>
          </a:xfrm>
          <a:prstGeom prst="rect">
            <a:avLst/>
          </a:prstGeom>
          <a:solidFill>
            <a:srgbClr val="8DC63F"/>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sp>
        <p:nvSpPr>
          <p:cNvPr id="10" name="Rechteck 9"/>
          <p:cNvSpPr/>
          <p:nvPr/>
        </p:nvSpPr>
        <p:spPr>
          <a:xfrm>
            <a:off x="3775972" y="3016820"/>
            <a:ext cx="1966157" cy="449487"/>
          </a:xfrm>
          <a:prstGeom prst="rect">
            <a:avLst/>
          </a:prstGeom>
          <a:solidFill>
            <a:srgbClr val="8DC63F"/>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cxnSp>
        <p:nvCxnSpPr>
          <p:cNvPr id="12" name="Gerade Verbindung 11"/>
          <p:cNvCxnSpPr/>
          <p:nvPr/>
        </p:nvCxnSpPr>
        <p:spPr>
          <a:xfrm>
            <a:off x="2227293" y="1509628"/>
            <a:ext cx="1152128" cy="0"/>
          </a:xfrm>
          <a:prstGeom prst="line">
            <a:avLst/>
          </a:prstGeom>
          <a:ln w="57150">
            <a:solidFill>
              <a:srgbClr val="8DC63F"/>
            </a:solidFill>
          </a:ln>
        </p:spPr>
        <p:style>
          <a:lnRef idx="2">
            <a:schemeClr val="accent1"/>
          </a:lnRef>
          <a:fillRef idx="0">
            <a:schemeClr val="accent1"/>
          </a:fillRef>
          <a:effectRef idx="1">
            <a:schemeClr val="accent1"/>
          </a:effectRef>
          <a:fontRef idx="minor">
            <a:schemeClr val="tx1"/>
          </a:fontRef>
        </p:style>
      </p:cxnSp>
      <p:cxnSp>
        <p:nvCxnSpPr>
          <p:cNvPr id="13" name="Gerade Verbindung 12"/>
          <p:cNvCxnSpPr/>
          <p:nvPr/>
        </p:nvCxnSpPr>
        <p:spPr>
          <a:xfrm>
            <a:off x="2227293" y="3435846"/>
            <a:ext cx="1152128" cy="0"/>
          </a:xfrm>
          <a:prstGeom prst="line">
            <a:avLst/>
          </a:prstGeom>
          <a:ln w="57150">
            <a:solidFill>
              <a:srgbClr val="8DC63F"/>
            </a:solidFill>
          </a:ln>
        </p:spPr>
        <p:style>
          <a:lnRef idx="2">
            <a:schemeClr val="accent1"/>
          </a:lnRef>
          <a:fillRef idx="0">
            <a:schemeClr val="accent1"/>
          </a:fillRef>
          <a:effectRef idx="1">
            <a:schemeClr val="accent1"/>
          </a:effectRef>
          <a:fontRef idx="minor">
            <a:schemeClr val="tx1"/>
          </a:fontRef>
        </p:style>
      </p:cxnSp>
      <p:sp>
        <p:nvSpPr>
          <p:cNvPr id="14" name="Textfeld 13"/>
          <p:cNvSpPr txBox="1"/>
          <p:nvPr/>
        </p:nvSpPr>
        <p:spPr>
          <a:xfrm>
            <a:off x="2138729" y="1005572"/>
            <a:ext cx="2481383" cy="2862322"/>
          </a:xfrm>
          <a:prstGeom prst="rect">
            <a:avLst/>
          </a:prstGeom>
          <a:noFill/>
        </p:spPr>
        <p:txBody>
          <a:bodyPr wrap="square" rtlCol="0">
            <a:spAutoFit/>
          </a:bodyPr>
          <a:lstStyle/>
          <a:p>
            <a:r>
              <a:rPr lang="de-DE" sz="18000" dirty="0" smtClean="0"/>
              <a:t>2</a:t>
            </a:r>
          </a:p>
        </p:txBody>
      </p:sp>
      <p:sp>
        <p:nvSpPr>
          <p:cNvPr id="16" name="Rechteck 15"/>
          <p:cNvSpPr/>
          <p:nvPr/>
        </p:nvSpPr>
        <p:spPr>
          <a:xfrm>
            <a:off x="8622450" y="4641980"/>
            <a:ext cx="450050" cy="50152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sp>
        <p:nvSpPr>
          <p:cNvPr id="11" name="Rechteck 10"/>
          <p:cNvSpPr/>
          <p:nvPr/>
        </p:nvSpPr>
        <p:spPr>
          <a:xfrm>
            <a:off x="3759417" y="1882091"/>
            <a:ext cx="4268967" cy="1631216"/>
          </a:xfrm>
          <a:prstGeom prst="rect">
            <a:avLst/>
          </a:prstGeom>
        </p:spPr>
        <p:txBody>
          <a:bodyPr wrap="square">
            <a:spAutoFit/>
          </a:bodyPr>
          <a:lstStyle/>
          <a:p>
            <a:pPr>
              <a:lnSpc>
                <a:spcPts val="4000"/>
              </a:lnSpc>
              <a:buClr>
                <a:srgbClr val="7DBA00"/>
              </a:buClr>
            </a:pPr>
            <a:r>
              <a:rPr lang="ru-RU" sz="2400" dirty="0" smtClean="0">
                <a:solidFill>
                  <a:srgbClr val="FFFFFF"/>
                </a:solidFill>
              </a:rPr>
              <a:t>ПРАВООБЛАДАТЕЛИ БЕРУТ </a:t>
            </a:r>
            <a:r>
              <a:rPr lang="ru-RU" sz="2400" dirty="0">
                <a:solidFill>
                  <a:srgbClr val="FFFFFF"/>
                </a:solidFill>
              </a:rPr>
              <a:t>ПОД КОНТРОЛЬ КОНТЕНТ И ПЕРЕГОВОРЫ</a:t>
            </a:r>
          </a:p>
        </p:txBody>
      </p:sp>
    </p:spTree>
    <p:extLst>
      <p:ext uri="{BB962C8B-B14F-4D97-AF65-F5344CB8AC3E}">
        <p14:creationId xmlns:p14="http://schemas.microsoft.com/office/powerpoint/2010/main" val="2905710803"/>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itle 2"/>
          <p:cNvSpPr txBox="1">
            <a:spLocks/>
          </p:cNvSpPr>
          <p:nvPr/>
        </p:nvSpPr>
        <p:spPr>
          <a:xfrm>
            <a:off x="323616" y="4371952"/>
            <a:ext cx="8165571" cy="560612"/>
          </a:xfrm>
          <a:prstGeom prst="rect">
            <a:avLst/>
          </a:prstGeom>
        </p:spPr>
        <p:txBody>
          <a:bodyPr vert="horz" wrap="square" lIns="0" tIns="0" rIns="0" bIns="0" rtlCol="0" anchor="b" anchorCtr="0">
            <a:noAutofit/>
          </a:bodyPr>
          <a:lstStyle>
            <a:lvl1pPr algn="l" defTabSz="457200" rtl="0" eaLnBrk="1" latinLnBrk="0" hangingPunct="1">
              <a:lnSpc>
                <a:spcPct val="75000"/>
              </a:lnSpc>
              <a:spcBef>
                <a:spcPct val="0"/>
              </a:spcBef>
              <a:buNone/>
              <a:defRPr sz="3000" kern="1200" cap="all" baseline="0">
                <a:solidFill>
                  <a:srgbClr val="009DD9"/>
                </a:solidFill>
                <a:latin typeface="+mj-lt"/>
                <a:ea typeface="+mj-ea"/>
                <a:cs typeface="+mj-cs"/>
              </a:defRPr>
            </a:lvl1pPr>
          </a:lstStyle>
          <a:p>
            <a:pPr marL="0" marR="0" lvl="0" indent="0" algn="ctr" defTabSz="457200" rtl="0" eaLnBrk="1" fontAlgn="auto" latinLnBrk="0" hangingPunct="1">
              <a:lnSpc>
                <a:spcPct val="75000"/>
              </a:lnSpc>
              <a:spcBef>
                <a:spcPct val="0"/>
              </a:spcBef>
              <a:spcAft>
                <a:spcPts val="0"/>
              </a:spcAft>
              <a:buClrTx/>
              <a:buSzTx/>
              <a:buFontTx/>
              <a:buNone/>
              <a:tabLst/>
              <a:defRPr/>
            </a:pPr>
            <a:endParaRPr kumimoji="0" lang="en-US" sz="2800" b="1" i="0" u="none" strike="noStrike" kern="1200" cap="all" spc="0" normalizeH="0" baseline="0" noProof="0" dirty="0">
              <a:ln>
                <a:noFill/>
              </a:ln>
              <a:solidFill>
                <a:srgbClr val="009DD9"/>
              </a:solidFill>
              <a:effectLst/>
              <a:uLnTx/>
              <a:uFillTx/>
              <a:latin typeface="Calibri"/>
              <a:ea typeface="+mj-ea"/>
              <a:cs typeface="+mj-cs"/>
            </a:endParaRPr>
          </a:p>
        </p:txBody>
      </p:sp>
      <p:sp>
        <p:nvSpPr>
          <p:cNvPr id="72" name="Rechteck 9"/>
          <p:cNvSpPr/>
          <p:nvPr/>
        </p:nvSpPr>
        <p:spPr>
          <a:xfrm>
            <a:off x="522287" y="1581639"/>
            <a:ext cx="8276049" cy="3065829"/>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sp>
        <p:nvSpPr>
          <p:cNvPr id="73" name="Title 2"/>
          <p:cNvSpPr txBox="1">
            <a:spLocks/>
          </p:cNvSpPr>
          <p:nvPr/>
        </p:nvSpPr>
        <p:spPr>
          <a:xfrm>
            <a:off x="524247" y="4081368"/>
            <a:ext cx="8274089" cy="560612"/>
          </a:xfrm>
          <a:prstGeom prst="rect">
            <a:avLst/>
          </a:prstGeom>
        </p:spPr>
        <p:txBody>
          <a:bodyPr vert="horz" wrap="square" lIns="0" tIns="0" rIns="0" bIns="0" rtlCol="0" anchor="ctr" anchorCtr="0">
            <a:noAutofit/>
          </a:bodyPr>
          <a:lstStyle>
            <a:lvl1pPr algn="l" defTabSz="457200" rtl="0" eaLnBrk="1" latinLnBrk="0" hangingPunct="1">
              <a:lnSpc>
                <a:spcPct val="75000"/>
              </a:lnSpc>
              <a:spcBef>
                <a:spcPct val="0"/>
              </a:spcBef>
              <a:buNone/>
              <a:defRPr sz="3000" kern="1200" cap="all" baseline="0">
                <a:solidFill>
                  <a:srgbClr val="009DD9"/>
                </a:solidFill>
                <a:latin typeface="+mj-lt"/>
                <a:ea typeface="+mj-ea"/>
                <a:cs typeface="+mj-cs"/>
              </a:defRPr>
            </a:lvl1pPr>
          </a:lstStyle>
          <a:p>
            <a:pPr marL="0" marR="0" lvl="0" indent="0" algn="ctr" defTabSz="457200" rtl="0" eaLnBrk="1" fontAlgn="auto" latinLnBrk="0" hangingPunct="1">
              <a:lnSpc>
                <a:spcPct val="75000"/>
              </a:lnSpc>
              <a:spcBef>
                <a:spcPct val="0"/>
              </a:spcBef>
              <a:spcAft>
                <a:spcPts val="0"/>
              </a:spcAft>
              <a:buClrTx/>
              <a:buSzTx/>
              <a:buFontTx/>
              <a:buNone/>
              <a:tabLst/>
              <a:defRPr/>
            </a:pPr>
            <a:r>
              <a:rPr lang="ru-RU" sz="1800" noProof="0" dirty="0" smtClean="0">
                <a:solidFill>
                  <a:srgbClr val="007FC7"/>
                </a:solidFill>
                <a:latin typeface="Calibri"/>
              </a:rPr>
              <a:t>…КАЖДЫЙ</a:t>
            </a:r>
            <a:r>
              <a:rPr lang="ru-RU" sz="1800" b="1" noProof="0" dirty="0" smtClean="0">
                <a:solidFill>
                  <a:srgbClr val="007FC7"/>
                </a:solidFill>
                <a:latin typeface="Calibri"/>
              </a:rPr>
              <a:t> ПРОИЗВОДИТ КОНТЕНТ</a:t>
            </a:r>
            <a:endParaRPr kumimoji="0" lang="en-US" sz="1800" b="1" i="0" u="none" strike="noStrike" kern="1200" cap="all" spc="0" normalizeH="0" baseline="0" noProof="0" dirty="0">
              <a:ln>
                <a:noFill/>
              </a:ln>
              <a:solidFill>
                <a:srgbClr val="007FC7"/>
              </a:solidFill>
              <a:effectLst/>
              <a:uLnTx/>
              <a:uFillTx/>
              <a:latin typeface="Calibri"/>
              <a:ea typeface="+mj-ea"/>
              <a:cs typeface="+mj-cs"/>
            </a:endParaRPr>
          </a:p>
        </p:txBody>
      </p:sp>
      <p:sp>
        <p:nvSpPr>
          <p:cNvPr id="3" name="Titel 2"/>
          <p:cNvSpPr>
            <a:spLocks noGrp="1"/>
          </p:cNvSpPr>
          <p:nvPr>
            <p:ph type="title"/>
          </p:nvPr>
        </p:nvSpPr>
        <p:spPr>
          <a:xfrm>
            <a:off x="522287" y="484770"/>
            <a:ext cx="8278269" cy="664797"/>
          </a:xfrm>
        </p:spPr>
        <p:txBody>
          <a:bodyPr/>
          <a:lstStyle/>
          <a:p>
            <a:r>
              <a:rPr lang="ru-RU" dirty="0" smtClean="0"/>
              <a:t>МЫ ВИДИМ как ценен </a:t>
            </a:r>
            <a:r>
              <a:rPr lang="ru-RU" b="1" dirty="0" smtClean="0"/>
              <a:t>вовлекающий КОНТЕНТ </a:t>
            </a:r>
            <a:r>
              <a:rPr lang="ru-RU" dirty="0" smtClean="0"/>
              <a:t>ДЛЯ ВСЕХ ЗАИНТЕРЕСОВАННЫХ СТОРОН </a:t>
            </a:r>
            <a:endParaRPr lang="de-DE" dirty="0"/>
          </a:p>
        </p:txBody>
      </p:sp>
      <p:grpSp>
        <p:nvGrpSpPr>
          <p:cNvPr id="22" name="Gruppieren 21"/>
          <p:cNvGrpSpPr>
            <a:grpSpLocks noChangeAspect="1"/>
          </p:cNvGrpSpPr>
          <p:nvPr/>
        </p:nvGrpSpPr>
        <p:grpSpPr>
          <a:xfrm>
            <a:off x="539748" y="4876006"/>
            <a:ext cx="719884" cy="215444"/>
            <a:chOff x="539748" y="4876006"/>
            <a:chExt cx="719884" cy="215444"/>
          </a:xfrm>
        </p:grpSpPr>
        <p:sp>
          <p:nvSpPr>
            <p:cNvPr id="23" name="Textfeld 22"/>
            <p:cNvSpPr txBox="1"/>
            <p:nvPr userDrawn="1"/>
          </p:nvSpPr>
          <p:spPr>
            <a:xfrm>
              <a:off x="539750" y="4876006"/>
              <a:ext cx="719882" cy="215444"/>
            </a:xfrm>
            <a:prstGeom prst="rect">
              <a:avLst/>
            </a:prstGeom>
            <a:noFill/>
          </p:spPr>
          <p:txBody>
            <a:bodyPr wrap="square" rtlCol="0">
              <a:spAutoFit/>
            </a:bodyPr>
            <a:lstStyle/>
            <a:p>
              <a:pPr algn="ctr"/>
              <a:r>
                <a:rPr lang="ru-RU" sz="800" kern="1300" spc="80" dirty="0" smtClean="0"/>
                <a:t>ТРЕНД</a:t>
              </a:r>
              <a:r>
                <a:rPr lang="de-DE" sz="800" kern="1300" spc="80" baseline="0" dirty="0" smtClean="0"/>
                <a:t> </a:t>
              </a:r>
              <a:r>
                <a:rPr lang="de-DE" sz="800" b="1" kern="1300" spc="80" baseline="0" dirty="0" smtClean="0"/>
                <a:t>02</a:t>
              </a:r>
            </a:p>
          </p:txBody>
        </p:sp>
        <p:sp>
          <p:nvSpPr>
            <p:cNvPr id="24" name="Gleichschenkliges Dreieck 23"/>
            <p:cNvSpPr/>
            <p:nvPr userDrawn="1"/>
          </p:nvSpPr>
          <p:spPr>
            <a:xfrm rot="16200000" flipH="1" flipV="1">
              <a:off x="534004" y="4938683"/>
              <a:ext cx="83300" cy="71811"/>
            </a:xfrm>
            <a:prstGeom prst="triangl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sp>
          <p:nvSpPr>
            <p:cNvPr id="25" name="Gleichschenkliges Dreieck 24"/>
            <p:cNvSpPr/>
            <p:nvPr userDrawn="1"/>
          </p:nvSpPr>
          <p:spPr>
            <a:xfrm rot="5400000" flipV="1">
              <a:off x="1182077" y="4938684"/>
              <a:ext cx="83300" cy="71811"/>
            </a:xfrm>
            <a:prstGeom prst="triangl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grpSp>
      <p:grpSp>
        <p:nvGrpSpPr>
          <p:cNvPr id="77" name="Gruppieren 26"/>
          <p:cNvGrpSpPr/>
          <p:nvPr/>
        </p:nvGrpSpPr>
        <p:grpSpPr>
          <a:xfrm>
            <a:off x="2666863" y="1581638"/>
            <a:ext cx="1938526" cy="1035115"/>
            <a:chOff x="940043" y="1221601"/>
            <a:chExt cx="1696743" cy="1035115"/>
          </a:xfrm>
        </p:grpSpPr>
        <p:sp>
          <p:nvSpPr>
            <p:cNvPr id="78" name="Richtungspfeil 27"/>
            <p:cNvSpPr/>
            <p:nvPr/>
          </p:nvSpPr>
          <p:spPr>
            <a:xfrm rot="5400000">
              <a:off x="1270857" y="890787"/>
              <a:ext cx="1035115" cy="1696743"/>
            </a:xfrm>
            <a:prstGeom prst="homePlate">
              <a:avLst>
                <a:gd name="adj" fmla="val 26076"/>
              </a:avLst>
            </a:prstGeom>
            <a:solidFill>
              <a:srgbClr val="8DC63F"/>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sp>
          <p:nvSpPr>
            <p:cNvPr id="79" name="Rectangle 2"/>
            <p:cNvSpPr/>
            <p:nvPr/>
          </p:nvSpPr>
          <p:spPr>
            <a:xfrm>
              <a:off x="940482" y="1237117"/>
              <a:ext cx="1692684" cy="779129"/>
            </a:xfrm>
            <a:prstGeom prst="rect">
              <a:avLst/>
            </a:prstGeom>
            <a:noFill/>
            <a:ln w="9525" cap="flat" cmpd="sng" algn="ctr">
              <a:no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lvl="0" algn="ctr">
                <a:defRPr/>
              </a:pPr>
              <a:r>
                <a:rPr lang="ru-RU" sz="1400" b="1" kern="0" dirty="0" smtClean="0">
                  <a:solidFill>
                    <a:srgbClr val="FFFFFF"/>
                  </a:solidFill>
                </a:rPr>
                <a:t>СПОРТСМЕНЫ</a:t>
              </a:r>
              <a:r>
                <a:rPr lang="en-AU" sz="1400" b="1" kern="0" dirty="0" smtClean="0">
                  <a:solidFill>
                    <a:srgbClr val="FFFFFF"/>
                  </a:solidFill>
                </a:rPr>
                <a:t>/</a:t>
              </a:r>
              <a:endParaRPr lang="en-AU" sz="1400" b="1" kern="0" dirty="0">
                <a:solidFill>
                  <a:srgbClr val="FFFFFF"/>
                </a:solidFill>
              </a:endParaRPr>
            </a:p>
            <a:p>
              <a:pPr lvl="0" algn="ctr">
                <a:defRPr/>
              </a:pPr>
              <a:r>
                <a:rPr lang="ru-RU" sz="1400" b="1" kern="0" dirty="0" smtClean="0">
                  <a:solidFill>
                    <a:srgbClr val="FFFFFF"/>
                  </a:solidFill>
                </a:rPr>
                <a:t>ВЛИЯТЕЛЬНЫЕ ЛИЦА</a:t>
              </a:r>
              <a:endParaRPr lang="en-AU" sz="1400" b="1" kern="0" dirty="0">
                <a:solidFill>
                  <a:srgbClr val="FFFFFF"/>
                </a:solidFill>
              </a:endParaRPr>
            </a:p>
          </p:txBody>
        </p:sp>
      </p:grpSp>
      <p:pic>
        <p:nvPicPr>
          <p:cNvPr id="27" name="Picture 2" descr="Image result for ronaldo app"/>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683451" y="2761003"/>
            <a:ext cx="1917803" cy="1125973"/>
          </a:xfrm>
          <a:prstGeom prst="rect">
            <a:avLst/>
          </a:prstGeom>
          <a:noFill/>
          <a:extLst>
            <a:ext uri="{909E8E84-426E-40DD-AFC4-6F175D3DCCD1}">
              <a14:hiddenFill xmlns:a14="http://schemas.microsoft.com/office/drawing/2010/main">
                <a:solidFill>
                  <a:srgbClr val="FFFFFF"/>
                </a:solidFill>
              </a14:hiddenFill>
            </a:ext>
          </a:extLst>
        </p:spPr>
      </p:pic>
      <p:grpSp>
        <p:nvGrpSpPr>
          <p:cNvPr id="74" name="Gruppieren 7"/>
          <p:cNvGrpSpPr/>
          <p:nvPr/>
        </p:nvGrpSpPr>
        <p:grpSpPr>
          <a:xfrm>
            <a:off x="499054" y="1581638"/>
            <a:ext cx="1961402" cy="1035115"/>
            <a:chOff x="920019" y="1221600"/>
            <a:chExt cx="1716766" cy="1035115"/>
          </a:xfrm>
        </p:grpSpPr>
        <p:sp>
          <p:nvSpPr>
            <p:cNvPr id="75" name="Richtungspfeil 6"/>
            <p:cNvSpPr/>
            <p:nvPr/>
          </p:nvSpPr>
          <p:spPr>
            <a:xfrm rot="5400000">
              <a:off x="1270856" y="890786"/>
              <a:ext cx="1035115" cy="1696743"/>
            </a:xfrm>
            <a:prstGeom prst="homePlate">
              <a:avLst>
                <a:gd name="adj" fmla="val 26076"/>
              </a:avLst>
            </a:prstGeom>
            <a:solidFill>
              <a:srgbClr val="218535"/>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sp>
          <p:nvSpPr>
            <p:cNvPr id="76" name="Rectangle 75"/>
            <p:cNvSpPr/>
            <p:nvPr/>
          </p:nvSpPr>
          <p:spPr>
            <a:xfrm>
              <a:off x="920019" y="1237116"/>
              <a:ext cx="1692684" cy="779129"/>
            </a:xfrm>
            <a:prstGeom prst="rect">
              <a:avLst/>
            </a:prstGeom>
            <a:noFill/>
            <a:ln w="9525" cap="flat" cmpd="sng" algn="ctr">
              <a:no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dirty="0" smtClean="0">
                  <a:solidFill>
                    <a:srgbClr val="FFFFFF"/>
                  </a:solidFill>
                  <a:latin typeface="Calibri"/>
                </a:rPr>
                <a:t>ПРАВООБЛАДАТЕЛИ</a:t>
              </a:r>
              <a:endParaRPr kumimoji="0" lang="en-AU" sz="1400" b="1" i="0" u="none" strike="noStrike" kern="0" cap="none" spc="0" normalizeH="0" baseline="0" noProof="0" dirty="0" smtClean="0">
                <a:ln>
                  <a:noFill/>
                </a:ln>
                <a:solidFill>
                  <a:srgbClr val="FFFFFF"/>
                </a:solidFill>
                <a:effectLst/>
                <a:uLnTx/>
                <a:uFillTx/>
                <a:latin typeface="Calibri"/>
                <a:ea typeface="+mn-ea"/>
                <a:cs typeface="+mn-cs"/>
              </a:endParaRPr>
            </a:p>
          </p:txBody>
        </p:sp>
      </p:grpSp>
      <p:pic>
        <p:nvPicPr>
          <p:cNvPr id="28" name="Picture 4" descr="Image result for nba tv"/>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21930" y="2754034"/>
            <a:ext cx="1938527" cy="1134017"/>
          </a:xfrm>
          <a:prstGeom prst="rect">
            <a:avLst/>
          </a:prstGeom>
          <a:noFill/>
          <a:extLst>
            <a:ext uri="{909E8E84-426E-40DD-AFC4-6F175D3DCCD1}">
              <a14:hiddenFill xmlns:a14="http://schemas.microsoft.com/office/drawing/2010/main">
                <a:solidFill>
                  <a:srgbClr val="FFFFFF"/>
                </a:solidFill>
              </a14:hiddenFill>
            </a:ext>
          </a:extLst>
        </p:spPr>
      </p:pic>
      <p:grpSp>
        <p:nvGrpSpPr>
          <p:cNvPr id="80" name="Gruppieren 29"/>
          <p:cNvGrpSpPr/>
          <p:nvPr/>
        </p:nvGrpSpPr>
        <p:grpSpPr>
          <a:xfrm>
            <a:off x="4755290" y="1581638"/>
            <a:ext cx="1938526" cy="1035115"/>
            <a:chOff x="940042" y="1221600"/>
            <a:chExt cx="1696743" cy="1035115"/>
          </a:xfrm>
        </p:grpSpPr>
        <p:sp>
          <p:nvSpPr>
            <p:cNvPr id="81" name="Richtungspfeil 30"/>
            <p:cNvSpPr/>
            <p:nvPr/>
          </p:nvSpPr>
          <p:spPr>
            <a:xfrm rot="5400000">
              <a:off x="1270856" y="890786"/>
              <a:ext cx="1035115" cy="1696743"/>
            </a:xfrm>
            <a:prstGeom prst="homePlate">
              <a:avLst>
                <a:gd name="adj" fmla="val 26076"/>
              </a:avLst>
            </a:prstGeom>
            <a:solidFill>
              <a:srgbClr val="C4DF9B"/>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de-DE"/>
            </a:p>
          </p:txBody>
        </p:sp>
        <p:sp>
          <p:nvSpPr>
            <p:cNvPr id="82" name="Rectangle 2"/>
            <p:cNvSpPr/>
            <p:nvPr/>
          </p:nvSpPr>
          <p:spPr>
            <a:xfrm>
              <a:off x="940482" y="1237117"/>
              <a:ext cx="1692684" cy="779129"/>
            </a:xfrm>
            <a:prstGeom prst="rect">
              <a:avLst/>
            </a:prstGeom>
            <a:noFill/>
            <a:ln w="9525" cap="flat" cmpd="sng" algn="ctr">
              <a:no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lvl="0" algn="ctr">
                <a:defRPr/>
              </a:pPr>
              <a:r>
                <a:rPr lang="ru-RU" sz="1400" b="1" kern="0" dirty="0" smtClean="0"/>
                <a:t>СПОНСОРЫ</a:t>
              </a:r>
              <a:endParaRPr lang="en-AU" sz="1400" b="1" kern="0" dirty="0"/>
            </a:p>
          </p:txBody>
        </p:sp>
      </p:grpSp>
      <p:pic>
        <p:nvPicPr>
          <p:cNvPr id="30" name="Picture 6" descr="Image result for samsung school of rugby"/>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755794" y="2751770"/>
            <a:ext cx="1933888" cy="1136629"/>
          </a:xfrm>
          <a:prstGeom prst="rect">
            <a:avLst/>
          </a:prstGeom>
          <a:noFill/>
          <a:extLst>
            <a:ext uri="{909E8E84-426E-40DD-AFC4-6F175D3DCCD1}">
              <a14:hiddenFill xmlns:a14="http://schemas.microsoft.com/office/drawing/2010/main">
                <a:solidFill>
                  <a:srgbClr val="FFFFFF"/>
                </a:solidFill>
              </a14:hiddenFill>
            </a:ext>
          </a:extLst>
        </p:spPr>
      </p:pic>
      <p:grpSp>
        <p:nvGrpSpPr>
          <p:cNvPr id="83" name="Gruppieren 32"/>
          <p:cNvGrpSpPr/>
          <p:nvPr/>
        </p:nvGrpSpPr>
        <p:grpSpPr>
          <a:xfrm>
            <a:off x="6863944" y="1581638"/>
            <a:ext cx="1938526" cy="1035115"/>
            <a:chOff x="940042" y="1221600"/>
            <a:chExt cx="1696743" cy="1035115"/>
          </a:xfrm>
        </p:grpSpPr>
        <p:sp>
          <p:nvSpPr>
            <p:cNvPr id="84" name="Richtungspfeil 33"/>
            <p:cNvSpPr/>
            <p:nvPr/>
          </p:nvSpPr>
          <p:spPr>
            <a:xfrm rot="5400000">
              <a:off x="1270856" y="890786"/>
              <a:ext cx="1035115" cy="1696743"/>
            </a:xfrm>
            <a:prstGeom prst="homePlate">
              <a:avLst>
                <a:gd name="adj" fmla="val 26076"/>
              </a:avLst>
            </a:prstGeom>
            <a:solidFill>
              <a:srgbClr val="E0EED0"/>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sp>
          <p:nvSpPr>
            <p:cNvPr id="85" name="Rectangle 2"/>
            <p:cNvSpPr/>
            <p:nvPr/>
          </p:nvSpPr>
          <p:spPr>
            <a:xfrm>
              <a:off x="940482" y="1237117"/>
              <a:ext cx="1692684" cy="779129"/>
            </a:xfrm>
            <a:prstGeom prst="rect">
              <a:avLst/>
            </a:prstGeom>
            <a:noFill/>
            <a:ln w="9525" cap="flat" cmpd="sng" algn="ctr">
              <a:no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lvl="0" algn="ctr">
                <a:defRPr/>
              </a:pPr>
              <a:r>
                <a:rPr lang="ru-RU" sz="1400" b="1" kern="0" dirty="0" smtClean="0"/>
                <a:t>СМИ</a:t>
              </a:r>
              <a:endParaRPr lang="en-AU" sz="1400" b="1" kern="0" dirty="0"/>
            </a:p>
          </p:txBody>
        </p:sp>
      </p:grpSp>
      <p:pic>
        <p:nvPicPr>
          <p:cNvPr id="31" name="Picture 8" descr="Image result for bt sport app"/>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864446" y="2763270"/>
            <a:ext cx="1933889" cy="112335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42752025"/>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7" descr="Image result for BUDWEISE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66556" y="2396732"/>
            <a:ext cx="1256746" cy="407186"/>
          </a:xfrm>
          <a:prstGeom prst="rect">
            <a:avLst/>
          </a:prstGeom>
          <a:noFill/>
          <a:extLst>
            <a:ext uri="{909E8E84-426E-40DD-AFC4-6F175D3DCCD1}">
              <a14:hiddenFill xmlns:a14="http://schemas.microsoft.com/office/drawing/2010/main">
                <a:solidFill>
                  <a:srgbClr val="FFFFFF"/>
                </a:solidFill>
              </a14:hiddenFill>
            </a:ext>
          </a:extLst>
        </p:spPr>
      </p:pic>
      <p:pic>
        <p:nvPicPr>
          <p:cNvPr id="4098" name="Picture 2" descr="Image result for nba"/>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10684" y="3027287"/>
            <a:ext cx="1185866" cy="1185866"/>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p:cNvSpPr/>
          <p:nvPr/>
        </p:nvSpPr>
        <p:spPr>
          <a:xfrm>
            <a:off x="1556665" y="2387714"/>
            <a:ext cx="4725525" cy="1538883"/>
          </a:xfrm>
          <a:prstGeom prst="rect">
            <a:avLst/>
          </a:prstGeom>
        </p:spPr>
        <p:txBody>
          <a:bodyPr wrap="square" lIns="0" tIns="0" rIns="0" bIns="0">
            <a:spAutoFit/>
          </a:bodyPr>
          <a:lstStyle/>
          <a:p>
            <a:pPr marL="639763" lvl="2" indent="-182563" defTabSz="271463">
              <a:lnSpc>
                <a:spcPts val="1800"/>
              </a:lnSpc>
              <a:spcBef>
                <a:spcPts val="600"/>
              </a:spcBef>
              <a:buClr>
                <a:srgbClr val="009DD9"/>
              </a:buClr>
              <a:buFont typeface="Arial" panose="020B0604020202020204" pitchFamily="34" charset="0"/>
              <a:buChar char="•"/>
            </a:pPr>
            <a:r>
              <a:rPr lang="ru-RU" sz="1400" kern="0" dirty="0" smtClean="0">
                <a:solidFill>
                  <a:srgbClr val="5F5F5F"/>
                </a:solidFill>
              </a:rPr>
              <a:t>Сотрудничество НБА и САН </a:t>
            </a:r>
            <a:r>
              <a:rPr lang="ru-RU" sz="1400" kern="0" dirty="0" err="1" smtClean="0">
                <a:solidFill>
                  <a:srgbClr val="5F5F5F"/>
                </a:solidFill>
              </a:rPr>
              <a:t>ИнБев</a:t>
            </a:r>
            <a:r>
              <a:rPr lang="ru-RU" sz="1400" kern="0" dirty="0">
                <a:solidFill>
                  <a:srgbClr val="5F5F5F"/>
                </a:solidFill>
              </a:rPr>
              <a:t> </a:t>
            </a:r>
            <a:r>
              <a:rPr lang="ru-RU" sz="1400" kern="0" dirty="0" smtClean="0">
                <a:solidFill>
                  <a:srgbClr val="5F5F5F"/>
                </a:solidFill>
              </a:rPr>
              <a:t>предполагает широкое использование встраиваемого контента.</a:t>
            </a:r>
            <a:endParaRPr lang="en-AU" sz="1400" kern="0" dirty="0">
              <a:solidFill>
                <a:srgbClr val="5F5F5F"/>
              </a:solidFill>
            </a:endParaRPr>
          </a:p>
          <a:p>
            <a:pPr marL="625475" lvl="2" indent="-168275" defTabSz="271463">
              <a:lnSpc>
                <a:spcPts val="1800"/>
              </a:lnSpc>
              <a:spcBef>
                <a:spcPts val="600"/>
              </a:spcBef>
              <a:buClr>
                <a:srgbClr val="009DD9"/>
              </a:buClr>
              <a:buFont typeface="Arial" panose="020B0604020202020204" pitchFamily="34" charset="0"/>
              <a:buChar char="•"/>
            </a:pPr>
            <a:r>
              <a:rPr lang="ru-RU" sz="1400" kern="0" dirty="0" smtClean="0">
                <a:solidFill>
                  <a:srgbClr val="5F5F5F"/>
                </a:solidFill>
              </a:rPr>
              <a:t>Будвайзер сотрудничает в создании «оригинального </a:t>
            </a:r>
            <a:r>
              <a:rPr lang="en-US" sz="1400" kern="0" dirty="0" smtClean="0">
                <a:solidFill>
                  <a:srgbClr val="5F5F5F"/>
                </a:solidFill>
              </a:rPr>
              <a:t>digital</a:t>
            </a:r>
            <a:r>
              <a:rPr lang="ru-RU" sz="1400" kern="0" dirty="0" smtClean="0">
                <a:solidFill>
                  <a:srgbClr val="5F5F5F"/>
                </a:solidFill>
              </a:rPr>
              <a:t>  контента» для платформ НБА</a:t>
            </a:r>
            <a:endParaRPr lang="en-US" sz="1400" kern="0" dirty="0" smtClean="0">
              <a:solidFill>
                <a:srgbClr val="5F5F5F"/>
              </a:solidFill>
            </a:endParaRPr>
          </a:p>
          <a:p>
            <a:pPr marL="625475" lvl="2" indent="-168275" defTabSz="271463">
              <a:lnSpc>
                <a:spcPts val="1800"/>
              </a:lnSpc>
              <a:spcBef>
                <a:spcPts val="600"/>
              </a:spcBef>
              <a:buClr>
                <a:srgbClr val="009DD9"/>
              </a:buClr>
              <a:buFont typeface="Arial" panose="020B0604020202020204" pitchFamily="34" charset="0"/>
              <a:buChar char="•"/>
            </a:pPr>
            <a:r>
              <a:rPr lang="ru-RU" sz="1400" kern="0" dirty="0" smtClean="0">
                <a:solidFill>
                  <a:srgbClr val="5F5F5F"/>
                </a:solidFill>
              </a:rPr>
              <a:t>Целью является – «донести основной посыл бренда через баскетбол».</a:t>
            </a:r>
            <a:endParaRPr lang="en-AU" sz="1400" kern="0" dirty="0">
              <a:solidFill>
                <a:srgbClr val="5F5F5F"/>
              </a:solidFill>
            </a:endParaRPr>
          </a:p>
        </p:txBody>
      </p:sp>
      <p:pic>
        <p:nvPicPr>
          <p:cNvPr id="5122" name="Picture 2"/>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533877" y="3623429"/>
            <a:ext cx="2268812" cy="117944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123" name="Picture 3"/>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533876" y="2213943"/>
            <a:ext cx="2268812" cy="127604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Titel 2"/>
          <p:cNvSpPr>
            <a:spLocks noGrp="1"/>
          </p:cNvSpPr>
          <p:nvPr>
            <p:ph type="title"/>
          </p:nvPr>
        </p:nvSpPr>
        <p:spPr>
          <a:xfrm>
            <a:off x="522287" y="484770"/>
            <a:ext cx="8278269" cy="664797"/>
          </a:xfrm>
        </p:spPr>
        <p:txBody>
          <a:bodyPr/>
          <a:lstStyle/>
          <a:p>
            <a:r>
              <a:rPr lang="ru-RU" dirty="0" smtClean="0"/>
              <a:t>Результатом </a:t>
            </a:r>
            <a:r>
              <a:rPr lang="ru-RU" b="1" dirty="0" smtClean="0"/>
              <a:t>Синергии</a:t>
            </a:r>
            <a:r>
              <a:rPr lang="ru-RU" dirty="0" smtClean="0"/>
              <a:t> правообладателя и бренда становится </a:t>
            </a:r>
            <a:r>
              <a:rPr lang="ru-RU" b="1" dirty="0" smtClean="0"/>
              <a:t>совместный контент</a:t>
            </a:r>
            <a:endParaRPr lang="en-US" b="1" dirty="0"/>
          </a:p>
        </p:txBody>
      </p:sp>
      <p:sp>
        <p:nvSpPr>
          <p:cNvPr id="4" name="TextBox 3"/>
          <p:cNvSpPr txBox="1"/>
          <p:nvPr/>
        </p:nvSpPr>
        <p:spPr>
          <a:xfrm>
            <a:off x="1884289" y="1497128"/>
            <a:ext cx="5072975" cy="338554"/>
          </a:xfrm>
          <a:prstGeom prst="rect">
            <a:avLst/>
          </a:prstGeom>
          <a:noFill/>
        </p:spPr>
        <p:txBody>
          <a:bodyPr wrap="square" rtlCol="0">
            <a:spAutoFit/>
          </a:bodyPr>
          <a:lstStyle/>
          <a:p>
            <a:r>
              <a:rPr lang="ru-RU" sz="1600" b="1" kern="0" dirty="0" smtClean="0">
                <a:solidFill>
                  <a:srgbClr val="8DC63F"/>
                </a:solidFill>
              </a:rPr>
              <a:t>ОГОВОРЕННЫЙ КОНТЕНТ</a:t>
            </a:r>
            <a:r>
              <a:rPr lang="en-US" sz="1600" b="1" kern="0" dirty="0" smtClean="0">
                <a:solidFill>
                  <a:srgbClr val="8DC63F"/>
                </a:solidFill>
              </a:rPr>
              <a:t>/</a:t>
            </a:r>
            <a:r>
              <a:rPr lang="ru-RU" sz="1600" b="1" kern="0" dirty="0" smtClean="0">
                <a:solidFill>
                  <a:srgbClr val="8DC63F"/>
                </a:solidFill>
              </a:rPr>
              <a:t>СОСТАВЛЕНИЕ ПРОГРАММ</a:t>
            </a:r>
            <a:endParaRPr lang="de-DE" sz="1200" b="1" dirty="0" err="1" smtClean="0">
              <a:solidFill>
                <a:srgbClr val="8DC63F"/>
              </a:solidFill>
            </a:endParaRPr>
          </a:p>
        </p:txBody>
      </p:sp>
      <p:cxnSp>
        <p:nvCxnSpPr>
          <p:cNvPr id="13" name="Straight Connector 14"/>
          <p:cNvCxnSpPr/>
          <p:nvPr/>
        </p:nvCxnSpPr>
        <p:spPr>
          <a:xfrm>
            <a:off x="539750" y="2076695"/>
            <a:ext cx="8260806" cy="0"/>
          </a:xfrm>
          <a:prstGeom prst="line">
            <a:avLst/>
          </a:prstGeom>
          <a:ln w="57150">
            <a:solidFill>
              <a:srgbClr val="000000"/>
            </a:solidFill>
            <a:prstDash val="solid"/>
          </a:ln>
        </p:spPr>
        <p:style>
          <a:lnRef idx="2">
            <a:schemeClr val="accent1"/>
          </a:lnRef>
          <a:fillRef idx="0">
            <a:schemeClr val="accent1"/>
          </a:fillRef>
          <a:effectRef idx="1">
            <a:schemeClr val="accent1"/>
          </a:effectRef>
          <a:fontRef idx="minor">
            <a:schemeClr val="tx1"/>
          </a:fontRef>
        </p:style>
      </p:cxnSp>
      <p:grpSp>
        <p:nvGrpSpPr>
          <p:cNvPr id="11" name="Gruppieren 10"/>
          <p:cNvGrpSpPr>
            <a:grpSpLocks noChangeAspect="1"/>
          </p:cNvGrpSpPr>
          <p:nvPr/>
        </p:nvGrpSpPr>
        <p:grpSpPr>
          <a:xfrm>
            <a:off x="539748" y="4876006"/>
            <a:ext cx="719884" cy="215444"/>
            <a:chOff x="539748" y="4876006"/>
            <a:chExt cx="719884" cy="215444"/>
          </a:xfrm>
        </p:grpSpPr>
        <p:sp>
          <p:nvSpPr>
            <p:cNvPr id="12" name="Textfeld 11"/>
            <p:cNvSpPr txBox="1"/>
            <p:nvPr userDrawn="1"/>
          </p:nvSpPr>
          <p:spPr>
            <a:xfrm>
              <a:off x="539750" y="4876006"/>
              <a:ext cx="719882" cy="215444"/>
            </a:xfrm>
            <a:prstGeom prst="rect">
              <a:avLst/>
            </a:prstGeom>
            <a:noFill/>
          </p:spPr>
          <p:txBody>
            <a:bodyPr wrap="square" rtlCol="0">
              <a:spAutoFit/>
            </a:bodyPr>
            <a:lstStyle/>
            <a:p>
              <a:pPr algn="ctr"/>
              <a:r>
                <a:rPr lang="ru-RU" sz="800" kern="1300" spc="80" dirty="0" smtClean="0"/>
                <a:t>ТРЕНД</a:t>
              </a:r>
              <a:r>
                <a:rPr lang="de-DE" sz="800" kern="1300" spc="80" baseline="0" dirty="0" smtClean="0"/>
                <a:t> </a:t>
              </a:r>
              <a:r>
                <a:rPr lang="de-DE" sz="800" b="1" kern="1300" spc="80" baseline="0" dirty="0" smtClean="0"/>
                <a:t>02</a:t>
              </a:r>
            </a:p>
          </p:txBody>
        </p:sp>
        <p:sp>
          <p:nvSpPr>
            <p:cNvPr id="14" name="Gleichschenkliges Dreieck 13"/>
            <p:cNvSpPr/>
            <p:nvPr userDrawn="1"/>
          </p:nvSpPr>
          <p:spPr>
            <a:xfrm rot="16200000" flipH="1" flipV="1">
              <a:off x="534004" y="4938683"/>
              <a:ext cx="83300" cy="71811"/>
            </a:xfrm>
            <a:prstGeom prst="triangl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sp>
          <p:nvSpPr>
            <p:cNvPr id="16" name="Gleichschenkliges Dreieck 15"/>
            <p:cNvSpPr/>
            <p:nvPr userDrawn="1"/>
          </p:nvSpPr>
          <p:spPr>
            <a:xfrm rot="5400000" flipV="1">
              <a:off x="1182077" y="4938684"/>
              <a:ext cx="83300" cy="71811"/>
            </a:xfrm>
            <a:prstGeom prst="triangl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grpSp>
      <p:sp>
        <p:nvSpPr>
          <p:cNvPr id="20" name="Rechteck 19"/>
          <p:cNvSpPr/>
          <p:nvPr/>
        </p:nvSpPr>
        <p:spPr>
          <a:xfrm>
            <a:off x="521982" y="198152"/>
            <a:ext cx="761427" cy="184666"/>
          </a:xfrm>
          <a:prstGeom prst="rect">
            <a:avLst/>
          </a:prstGeom>
        </p:spPr>
        <p:txBody>
          <a:bodyPr wrap="none" lIns="0" tIns="0" rIns="0" bIns="0">
            <a:spAutoFit/>
          </a:bodyPr>
          <a:lstStyle/>
          <a:p>
            <a:r>
              <a:rPr lang="ru-RU" sz="1200" b="1" dirty="0" smtClean="0"/>
              <a:t>НАПРИМЕР</a:t>
            </a:r>
            <a:endParaRPr lang="de-DE" sz="1200" b="1" dirty="0"/>
          </a:p>
        </p:txBody>
      </p:sp>
    </p:spTree>
    <p:extLst>
      <p:ext uri="{BB962C8B-B14F-4D97-AF65-F5344CB8AC3E}">
        <p14:creationId xmlns:p14="http://schemas.microsoft.com/office/powerpoint/2010/main" val="3002202284"/>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NAbFoVOBYE6ODy5sdnkOG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AxLpW3IeJEmiTPo_iLuK3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0UN8XmK1JUq1VDEhpfSI.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F2hgn3m2C0OlHQLbM4jXZ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SPoBGqZrTEKYu6TsIdGjw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O0e6_Ip.HUyxecFYHHPlp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TtlOOkttQkudCZiXEbEyr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40AARi0flEO9QSljrIMSJ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hAq4lRG5g0SdVbGrGmx.g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KArn9lKulU.tPWbB9CsNK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YLJZLf6V0EOYQ2vJpiuxp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Ab.pUMXMEOWTnIYbxcRo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c0AS4tOxPUyKC2w4Y.Dpx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HzGabMMSFUmsl7gfMmNEA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beXTEKmSj0GIXOXFDTyXM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BCvl4sewq0epmpNYczYN_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IAAeErwF5kC9BedKc7rpf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YhZVdDuVG0q1dgtDT9nqO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Wjhu2G3o80OCXPeU1njTt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6X7z1J1n3E2nCprbE.XYU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ztrDv4cmT0utVelRJT5I7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Q4tnZyDd5kiagmjNtrASq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jZ9VjZiKZkOUEdLQb5G9Y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ZFCM9YVykEKnm2QIZkq.n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zcRqcO1sYUKMuUUN2Aenp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MUwxUdD4lUuj_h78PCfmk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XwV8DJ3EhUutOiOspEF8x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nAlv7.bIQEOrtfsXDf_nE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WHesiLqxLk.Gd_5xhoZkX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F8YtW7ZbF0W84bhNi2m_8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WqW.sR64lEqLTvCzEqGml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MCqf0GJCjkanab_LNH7Kl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fWRWPqqEUk6KquaNjEDyv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ZPUac15LSUe5EpthcC6aj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jAkVF4q.PEO0cH6_duItq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yA6LqRePkU6hkSZZ.RPac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ep36prOQEKLArfHvJfey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bQFnlZfQoEewsZthThjb5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oyo9wRUCckaaHLA7_ziXe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u39mtLrRv0yeQ3wGtR5Fr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buhCLQYVH0Gv0It9.TUqB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2KxrfcKeeUyCCihyOwwt6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QJb1goSCPU2LsG4dF88tA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XzJObmqbZk23kDAVN1W0_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ZUnuYRjVe0qtku45PFOnv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3wUVfjOppkutKd2C0IDdW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lAN6AGhx4kKhDtfc9hR8K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RMoBrV_hlUuW5I_MLfTFu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d_XJtOY3t0SOS11Sn69P1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25jgOFt2RkK9lAZYtZ5xM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cyp3VLqK6kiM5.Ktswa2u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a70VbCESak._GR2BTJyim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i33V78WMnk2W8IoHozbI9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3FtGpU4eMkyx1CYlamlCj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cfdU9F3.V0OyTa9H9PcwT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B3ReKCB4t02qRAHsKwRuY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E_etW.krhEqHCVDd.xWKN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gCDaEYLTpUOt.6W9MnrEQ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bbcOSz0paEa4U2u61WeGn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KmLXK2OjT02vC3h4Fln4M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5CHPvsCNRUmq6oD4O637h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E4me3QW2ckewtkYWKfZGQ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QFpJCZ.NQ06fuI39jI4op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McXA5KwDc0KYDoqxEckuY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9We3W1Zd10OefHAWNjIi1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8o.TEuvVAUexIZSz6iHTS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l_PGioY0w0KttN1sfqZZD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6hXqmAD8M0CJqj5bqXayx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z63JHOvdcUq7YNTYvfJty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iBKMOKat0UCsAmIP8PbvO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6B3Y6wGWLk6Yer1zKFOz7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GlD.SXk1UE.DSEGcYQIeB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lPsKc1CUxkW4Bn6LiYTAvQ"/>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8FQUrlKK6kKHN.wf.Giua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ElRo_8Zf2EOxNT2mFHG_rQ"/>
</p:tagLst>
</file>

<file path=ppt/theme/theme1.xml><?xml version="1.0" encoding="utf-8"?>
<a:theme xmlns:a="http://schemas.openxmlformats.org/drawingml/2006/main" name="Nielsen Sports_Template_16-9">
  <a:themeElements>
    <a:clrScheme name="Nielsen">
      <a:dk1>
        <a:srgbClr val="5F5F5F"/>
      </a:dk1>
      <a:lt1>
        <a:srgbClr val="FFFFFF"/>
      </a:lt1>
      <a:dk2>
        <a:srgbClr val="000000"/>
      </a:dk2>
      <a:lt2>
        <a:srgbClr val="707276"/>
      </a:lt2>
      <a:accent1>
        <a:srgbClr val="009DD9"/>
      </a:accent1>
      <a:accent2>
        <a:srgbClr val="FF8300"/>
      </a:accent2>
      <a:accent3>
        <a:srgbClr val="B21DAC"/>
      </a:accent3>
      <a:accent4>
        <a:srgbClr val="D70036"/>
      </a:accent4>
      <a:accent5>
        <a:srgbClr val="707276"/>
      </a:accent5>
      <a:accent6>
        <a:srgbClr val="000000"/>
      </a:accent6>
      <a:hlink>
        <a:srgbClr val="B21DAC"/>
      </a:hlink>
      <a:folHlink>
        <a:srgbClr val="D70036"/>
      </a:folHlink>
    </a:clrScheme>
    <a:fontScheme name="Nielsen">
      <a:majorFont>
        <a:latin typeface="Calibri"/>
        <a:ea typeface=""/>
        <a:cs typeface=""/>
      </a:majorFont>
      <a:minorFont>
        <a:latin typeface="Calibr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a:defRPr sz="1200" dirty="0" err="1" smtClean="0"/>
        </a:defPPr>
      </a:lstStyle>
    </a:txDef>
  </a:objectDefaults>
  <a:extraClrSchemeLst/>
  <a:custClrLst>
    <a:custClr name="Yellow">
      <a:srgbClr val="FFCD00"/>
    </a:custClr>
    <a:custClr name="Dark Red">
      <a:srgbClr val="9B0C10"/>
    </a:custClr>
    <a:custClr name="Light Red">
      <a:srgbClr val="F69493"/>
    </a:custClr>
    <a:custClr name="Pale Red">
      <a:srgbClr val="FACAC7"/>
    </a:custClr>
    <a:custClr name="Dark Purple">
      <a:srgbClr val="80076B"/>
    </a:custClr>
    <a:custClr name="Light Purple">
      <a:srgbClr val="DE98D5"/>
    </a:custClr>
    <a:custClr name="Pale Purple">
      <a:srgbClr val="F0CCEB"/>
    </a:custClr>
    <a:custClr name="Dark Orange">
      <a:srgbClr val="F15722"/>
    </a:custClr>
    <a:custClr name="Light Orange">
      <a:srgbClr val="FCBC85"/>
    </a:custClr>
    <a:custClr name="Pale Orange">
      <a:srgbClr val="FEDBBD"/>
    </a:custClr>
    <a:custClr name="Dark Cyan">
      <a:srgbClr val="007FC7"/>
    </a:custClr>
    <a:custClr name="Light Cyan">
      <a:srgbClr val="6ECFF6"/>
    </a:custClr>
    <a:custClr name="Pale Cyan">
      <a:srgbClr val="B9E5FB"/>
    </a:custClr>
    <a:custClr name="Dark Green">
      <a:srgbClr val="218535"/>
    </a:custClr>
    <a:custClr name="Green">
      <a:srgbClr val="8DC63F"/>
    </a:custClr>
    <a:custClr name="Light Green">
      <a:srgbClr val="C4DF9B"/>
    </a:custClr>
    <a:custClr name="Pale Green">
      <a:srgbClr val="E0EED0"/>
    </a:custClr>
    <a:custClr name="Light Gray">
      <a:srgbClr val="B6B6B9"/>
    </a:custClr>
  </a:custClrLst>
</a:theme>
</file>

<file path=ppt/theme/theme2.xml><?xml version="1.0" encoding="utf-8"?>
<a:theme xmlns:a="http://schemas.openxmlformats.org/drawingml/2006/main" name="44_STANDARD MASTER SLIDES">
  <a:themeElements>
    <a:clrScheme name="Nielsen">
      <a:dk1>
        <a:srgbClr val="5F5F5F"/>
      </a:dk1>
      <a:lt1>
        <a:srgbClr val="FFFFFF"/>
      </a:lt1>
      <a:dk2>
        <a:srgbClr val="000000"/>
      </a:dk2>
      <a:lt2>
        <a:srgbClr val="707276"/>
      </a:lt2>
      <a:accent1>
        <a:srgbClr val="009DD9"/>
      </a:accent1>
      <a:accent2>
        <a:srgbClr val="FF8300"/>
      </a:accent2>
      <a:accent3>
        <a:srgbClr val="B21DAC"/>
      </a:accent3>
      <a:accent4>
        <a:srgbClr val="D70036"/>
      </a:accent4>
      <a:accent5>
        <a:srgbClr val="707276"/>
      </a:accent5>
      <a:accent6>
        <a:srgbClr val="000000"/>
      </a:accent6>
      <a:hlink>
        <a:srgbClr val="B21DAC"/>
      </a:hlink>
      <a:folHlink>
        <a:srgbClr val="D70036"/>
      </a:folHlink>
    </a:clrScheme>
    <a:fontScheme name="Nielsen">
      <a:majorFont>
        <a:latin typeface="Calibri"/>
        <a:ea typeface=""/>
        <a:cs typeface=""/>
      </a:majorFont>
      <a:minorFont>
        <a:latin typeface="Calibr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a:defRPr sz="1200" dirty="0" err="1" smtClean="0"/>
        </a:defPPr>
      </a:lstStyle>
    </a:txDef>
  </a:objectDefaults>
  <a:extraClrSchemeLst/>
  <a:custClrLst>
    <a:custClr name="Yellow">
      <a:srgbClr val="FFCD00"/>
    </a:custClr>
    <a:custClr name="Dark Red">
      <a:srgbClr val="9B0C10"/>
    </a:custClr>
    <a:custClr name="Light Red">
      <a:srgbClr val="F69493"/>
    </a:custClr>
    <a:custClr name="Pale Red">
      <a:srgbClr val="FACAC7"/>
    </a:custClr>
    <a:custClr name="Dark Purple">
      <a:srgbClr val="80076B"/>
    </a:custClr>
    <a:custClr name="Light Purple">
      <a:srgbClr val="DE98D5"/>
    </a:custClr>
    <a:custClr name="Pale Purple">
      <a:srgbClr val="F0CCEB"/>
    </a:custClr>
    <a:custClr name="Dark Orange">
      <a:srgbClr val="F15722"/>
    </a:custClr>
    <a:custClr name="Light Orange">
      <a:srgbClr val="FCBC85"/>
    </a:custClr>
    <a:custClr name="Pale Orange">
      <a:srgbClr val="FEDBBD"/>
    </a:custClr>
    <a:custClr name="Dark Cyan">
      <a:srgbClr val="007FC7"/>
    </a:custClr>
    <a:custClr name="Light Cyan">
      <a:srgbClr val="6ECFF6"/>
    </a:custClr>
    <a:custClr name="Pale Cyan">
      <a:srgbClr val="B9E5FB"/>
    </a:custClr>
    <a:custClr name="Dark Green">
      <a:srgbClr val="218535"/>
    </a:custClr>
    <a:custClr name="Green">
      <a:srgbClr val="8DC63F"/>
    </a:custClr>
    <a:custClr name="Light Green">
      <a:srgbClr val="C4DF9B"/>
    </a:custClr>
    <a:custClr name="Pale Green">
      <a:srgbClr val="E0EED0"/>
    </a:custClr>
    <a:custClr name="Light Gray">
      <a:srgbClr val="B6B6B9"/>
    </a:custClr>
  </a:custClr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Multicolor">
    <a:dk1>
      <a:srgbClr val="5F5F5F"/>
    </a:dk1>
    <a:lt1>
      <a:srgbClr val="FFFFFF"/>
    </a:lt1>
    <a:dk2>
      <a:srgbClr val="000000"/>
    </a:dk2>
    <a:lt2>
      <a:srgbClr val="707276"/>
    </a:lt2>
    <a:accent1>
      <a:srgbClr val="009DD9"/>
    </a:accent1>
    <a:accent2>
      <a:srgbClr val="FF8300"/>
    </a:accent2>
    <a:accent3>
      <a:srgbClr val="B21DAC"/>
    </a:accent3>
    <a:accent4>
      <a:srgbClr val="D70036"/>
    </a:accent4>
    <a:accent5>
      <a:srgbClr val="707276"/>
    </a:accent5>
    <a:accent6>
      <a:srgbClr val="000000"/>
    </a:accent6>
    <a:hlink>
      <a:srgbClr val="B21DAC"/>
    </a:hlink>
    <a:folHlink>
      <a:srgbClr val="D70036"/>
    </a:folHlink>
  </a:clrScheme>
</a:themeOverride>
</file>

<file path=ppt/theme/themeOverride10.xml><?xml version="1.0" encoding="utf-8"?>
<a:themeOverride xmlns:a="http://schemas.openxmlformats.org/drawingml/2006/main">
  <a:clrScheme name="Multicolor">
    <a:dk1>
      <a:srgbClr val="5F5F5F"/>
    </a:dk1>
    <a:lt1>
      <a:srgbClr val="FFFFFF"/>
    </a:lt1>
    <a:dk2>
      <a:srgbClr val="000000"/>
    </a:dk2>
    <a:lt2>
      <a:srgbClr val="707276"/>
    </a:lt2>
    <a:accent1>
      <a:srgbClr val="009DD9"/>
    </a:accent1>
    <a:accent2>
      <a:srgbClr val="FF8300"/>
    </a:accent2>
    <a:accent3>
      <a:srgbClr val="B21DAC"/>
    </a:accent3>
    <a:accent4>
      <a:srgbClr val="D70036"/>
    </a:accent4>
    <a:accent5>
      <a:srgbClr val="707276"/>
    </a:accent5>
    <a:accent6>
      <a:srgbClr val="000000"/>
    </a:accent6>
    <a:hlink>
      <a:srgbClr val="B21DAC"/>
    </a:hlink>
    <a:folHlink>
      <a:srgbClr val="D70036"/>
    </a:folHlink>
  </a:clrScheme>
</a:themeOverride>
</file>

<file path=ppt/theme/themeOverride11.xml><?xml version="1.0" encoding="utf-8"?>
<a:themeOverride xmlns:a="http://schemas.openxmlformats.org/drawingml/2006/main">
  <a:clrScheme name="Multicolor">
    <a:dk1>
      <a:srgbClr val="5F5F5F"/>
    </a:dk1>
    <a:lt1>
      <a:srgbClr val="FFFFFF"/>
    </a:lt1>
    <a:dk2>
      <a:srgbClr val="000000"/>
    </a:dk2>
    <a:lt2>
      <a:srgbClr val="707276"/>
    </a:lt2>
    <a:accent1>
      <a:srgbClr val="009DD9"/>
    </a:accent1>
    <a:accent2>
      <a:srgbClr val="FF8300"/>
    </a:accent2>
    <a:accent3>
      <a:srgbClr val="B21DAC"/>
    </a:accent3>
    <a:accent4>
      <a:srgbClr val="D70036"/>
    </a:accent4>
    <a:accent5>
      <a:srgbClr val="707276"/>
    </a:accent5>
    <a:accent6>
      <a:srgbClr val="000000"/>
    </a:accent6>
    <a:hlink>
      <a:srgbClr val="B21DAC"/>
    </a:hlink>
    <a:folHlink>
      <a:srgbClr val="D70036"/>
    </a:folHlink>
  </a:clrScheme>
</a:themeOverride>
</file>

<file path=ppt/theme/themeOverride12.xml><?xml version="1.0" encoding="utf-8"?>
<a:themeOverride xmlns:a="http://schemas.openxmlformats.org/drawingml/2006/main">
  <a:clrScheme name="Multicolor">
    <a:dk1>
      <a:srgbClr val="5F5F5F"/>
    </a:dk1>
    <a:lt1>
      <a:srgbClr val="FFFFFF"/>
    </a:lt1>
    <a:dk2>
      <a:srgbClr val="000000"/>
    </a:dk2>
    <a:lt2>
      <a:srgbClr val="707276"/>
    </a:lt2>
    <a:accent1>
      <a:srgbClr val="009DD9"/>
    </a:accent1>
    <a:accent2>
      <a:srgbClr val="FF8300"/>
    </a:accent2>
    <a:accent3>
      <a:srgbClr val="B21DAC"/>
    </a:accent3>
    <a:accent4>
      <a:srgbClr val="D70036"/>
    </a:accent4>
    <a:accent5>
      <a:srgbClr val="707276"/>
    </a:accent5>
    <a:accent6>
      <a:srgbClr val="000000"/>
    </a:accent6>
    <a:hlink>
      <a:srgbClr val="B21DAC"/>
    </a:hlink>
    <a:folHlink>
      <a:srgbClr val="D70036"/>
    </a:folHlink>
  </a:clrScheme>
</a:themeOverride>
</file>

<file path=ppt/theme/themeOverride13.xml><?xml version="1.0" encoding="utf-8"?>
<a:themeOverride xmlns:a="http://schemas.openxmlformats.org/drawingml/2006/main">
  <a:clrScheme name="Multicolor">
    <a:dk1>
      <a:srgbClr val="5F5F5F"/>
    </a:dk1>
    <a:lt1>
      <a:srgbClr val="FFFFFF"/>
    </a:lt1>
    <a:dk2>
      <a:srgbClr val="000000"/>
    </a:dk2>
    <a:lt2>
      <a:srgbClr val="707276"/>
    </a:lt2>
    <a:accent1>
      <a:srgbClr val="009DD9"/>
    </a:accent1>
    <a:accent2>
      <a:srgbClr val="FF8300"/>
    </a:accent2>
    <a:accent3>
      <a:srgbClr val="B21DAC"/>
    </a:accent3>
    <a:accent4>
      <a:srgbClr val="D70036"/>
    </a:accent4>
    <a:accent5>
      <a:srgbClr val="707276"/>
    </a:accent5>
    <a:accent6>
      <a:srgbClr val="000000"/>
    </a:accent6>
    <a:hlink>
      <a:srgbClr val="B21DAC"/>
    </a:hlink>
    <a:folHlink>
      <a:srgbClr val="D70036"/>
    </a:folHlink>
  </a:clrScheme>
</a:themeOverride>
</file>

<file path=ppt/theme/themeOverride14.xml><?xml version="1.0" encoding="utf-8"?>
<a:themeOverride xmlns:a="http://schemas.openxmlformats.org/drawingml/2006/main">
  <a:clrScheme name="Multicolor">
    <a:dk1>
      <a:srgbClr val="5F5F5F"/>
    </a:dk1>
    <a:lt1>
      <a:srgbClr val="FFFFFF"/>
    </a:lt1>
    <a:dk2>
      <a:srgbClr val="000000"/>
    </a:dk2>
    <a:lt2>
      <a:srgbClr val="707276"/>
    </a:lt2>
    <a:accent1>
      <a:srgbClr val="009DD9"/>
    </a:accent1>
    <a:accent2>
      <a:srgbClr val="FF8300"/>
    </a:accent2>
    <a:accent3>
      <a:srgbClr val="B21DAC"/>
    </a:accent3>
    <a:accent4>
      <a:srgbClr val="D70036"/>
    </a:accent4>
    <a:accent5>
      <a:srgbClr val="707276"/>
    </a:accent5>
    <a:accent6>
      <a:srgbClr val="000000"/>
    </a:accent6>
    <a:hlink>
      <a:srgbClr val="B21DAC"/>
    </a:hlink>
    <a:folHlink>
      <a:srgbClr val="D70036"/>
    </a:folHlink>
  </a:clrScheme>
</a:themeOverride>
</file>

<file path=ppt/theme/themeOverride2.xml><?xml version="1.0" encoding="utf-8"?>
<a:themeOverride xmlns:a="http://schemas.openxmlformats.org/drawingml/2006/main">
  <a:clrScheme name="Multicolor">
    <a:dk1>
      <a:srgbClr val="5F5F5F"/>
    </a:dk1>
    <a:lt1>
      <a:srgbClr val="FFFFFF"/>
    </a:lt1>
    <a:dk2>
      <a:srgbClr val="000000"/>
    </a:dk2>
    <a:lt2>
      <a:srgbClr val="707276"/>
    </a:lt2>
    <a:accent1>
      <a:srgbClr val="009DD9"/>
    </a:accent1>
    <a:accent2>
      <a:srgbClr val="FF8300"/>
    </a:accent2>
    <a:accent3>
      <a:srgbClr val="B21DAC"/>
    </a:accent3>
    <a:accent4>
      <a:srgbClr val="D70036"/>
    </a:accent4>
    <a:accent5>
      <a:srgbClr val="707276"/>
    </a:accent5>
    <a:accent6>
      <a:srgbClr val="000000"/>
    </a:accent6>
    <a:hlink>
      <a:srgbClr val="B21DAC"/>
    </a:hlink>
    <a:folHlink>
      <a:srgbClr val="D70036"/>
    </a:folHlink>
  </a:clrScheme>
</a:themeOverride>
</file>

<file path=ppt/theme/themeOverride3.xml><?xml version="1.0" encoding="utf-8"?>
<a:themeOverride xmlns:a="http://schemas.openxmlformats.org/drawingml/2006/main">
  <a:clrScheme name="Multicolor">
    <a:dk1>
      <a:srgbClr val="5F5F5F"/>
    </a:dk1>
    <a:lt1>
      <a:srgbClr val="FFFFFF"/>
    </a:lt1>
    <a:dk2>
      <a:srgbClr val="000000"/>
    </a:dk2>
    <a:lt2>
      <a:srgbClr val="707276"/>
    </a:lt2>
    <a:accent1>
      <a:srgbClr val="009DD9"/>
    </a:accent1>
    <a:accent2>
      <a:srgbClr val="FF8300"/>
    </a:accent2>
    <a:accent3>
      <a:srgbClr val="B21DAC"/>
    </a:accent3>
    <a:accent4>
      <a:srgbClr val="D70036"/>
    </a:accent4>
    <a:accent5>
      <a:srgbClr val="707276"/>
    </a:accent5>
    <a:accent6>
      <a:srgbClr val="000000"/>
    </a:accent6>
    <a:hlink>
      <a:srgbClr val="B21DAC"/>
    </a:hlink>
    <a:folHlink>
      <a:srgbClr val="D70036"/>
    </a:folHlink>
  </a:clrScheme>
</a:themeOverride>
</file>

<file path=ppt/theme/themeOverride4.xml><?xml version="1.0" encoding="utf-8"?>
<a:themeOverride xmlns:a="http://schemas.openxmlformats.org/drawingml/2006/main">
  <a:clrScheme name="Multicolor">
    <a:dk1>
      <a:srgbClr val="5F5F5F"/>
    </a:dk1>
    <a:lt1>
      <a:srgbClr val="FFFFFF"/>
    </a:lt1>
    <a:dk2>
      <a:srgbClr val="000000"/>
    </a:dk2>
    <a:lt2>
      <a:srgbClr val="707276"/>
    </a:lt2>
    <a:accent1>
      <a:srgbClr val="009DD9"/>
    </a:accent1>
    <a:accent2>
      <a:srgbClr val="FF8300"/>
    </a:accent2>
    <a:accent3>
      <a:srgbClr val="B21DAC"/>
    </a:accent3>
    <a:accent4>
      <a:srgbClr val="D70036"/>
    </a:accent4>
    <a:accent5>
      <a:srgbClr val="707276"/>
    </a:accent5>
    <a:accent6>
      <a:srgbClr val="000000"/>
    </a:accent6>
    <a:hlink>
      <a:srgbClr val="B21DAC"/>
    </a:hlink>
    <a:folHlink>
      <a:srgbClr val="D70036"/>
    </a:folHlink>
  </a:clrScheme>
</a:themeOverride>
</file>

<file path=ppt/theme/themeOverride5.xml><?xml version="1.0" encoding="utf-8"?>
<a:themeOverride xmlns:a="http://schemas.openxmlformats.org/drawingml/2006/main">
  <a:clrScheme name="Multicolor">
    <a:dk1>
      <a:srgbClr val="5F5F5F"/>
    </a:dk1>
    <a:lt1>
      <a:srgbClr val="FFFFFF"/>
    </a:lt1>
    <a:dk2>
      <a:srgbClr val="000000"/>
    </a:dk2>
    <a:lt2>
      <a:srgbClr val="707276"/>
    </a:lt2>
    <a:accent1>
      <a:srgbClr val="009DD9"/>
    </a:accent1>
    <a:accent2>
      <a:srgbClr val="FF8300"/>
    </a:accent2>
    <a:accent3>
      <a:srgbClr val="B21DAC"/>
    </a:accent3>
    <a:accent4>
      <a:srgbClr val="D70036"/>
    </a:accent4>
    <a:accent5>
      <a:srgbClr val="707276"/>
    </a:accent5>
    <a:accent6>
      <a:srgbClr val="000000"/>
    </a:accent6>
    <a:hlink>
      <a:srgbClr val="B21DAC"/>
    </a:hlink>
    <a:folHlink>
      <a:srgbClr val="D70036"/>
    </a:folHlink>
  </a:clrScheme>
</a:themeOverride>
</file>

<file path=ppt/theme/themeOverride6.xml><?xml version="1.0" encoding="utf-8"?>
<a:themeOverride xmlns:a="http://schemas.openxmlformats.org/drawingml/2006/main">
  <a:clrScheme name="Multicolor">
    <a:dk1>
      <a:srgbClr val="5F5F5F"/>
    </a:dk1>
    <a:lt1>
      <a:srgbClr val="FFFFFF"/>
    </a:lt1>
    <a:dk2>
      <a:srgbClr val="000000"/>
    </a:dk2>
    <a:lt2>
      <a:srgbClr val="707276"/>
    </a:lt2>
    <a:accent1>
      <a:srgbClr val="009DD9"/>
    </a:accent1>
    <a:accent2>
      <a:srgbClr val="FF8300"/>
    </a:accent2>
    <a:accent3>
      <a:srgbClr val="B21DAC"/>
    </a:accent3>
    <a:accent4>
      <a:srgbClr val="D70036"/>
    </a:accent4>
    <a:accent5>
      <a:srgbClr val="707276"/>
    </a:accent5>
    <a:accent6>
      <a:srgbClr val="000000"/>
    </a:accent6>
    <a:hlink>
      <a:srgbClr val="B21DAC"/>
    </a:hlink>
    <a:folHlink>
      <a:srgbClr val="D70036"/>
    </a:folHlink>
  </a:clrScheme>
</a:themeOverride>
</file>

<file path=ppt/theme/themeOverride7.xml><?xml version="1.0" encoding="utf-8"?>
<a:themeOverride xmlns:a="http://schemas.openxmlformats.org/drawingml/2006/main">
  <a:clrScheme name="Multicolor">
    <a:dk1>
      <a:srgbClr val="5F5F5F"/>
    </a:dk1>
    <a:lt1>
      <a:srgbClr val="FFFFFF"/>
    </a:lt1>
    <a:dk2>
      <a:srgbClr val="000000"/>
    </a:dk2>
    <a:lt2>
      <a:srgbClr val="707276"/>
    </a:lt2>
    <a:accent1>
      <a:srgbClr val="009DD9"/>
    </a:accent1>
    <a:accent2>
      <a:srgbClr val="FF8300"/>
    </a:accent2>
    <a:accent3>
      <a:srgbClr val="B21DAC"/>
    </a:accent3>
    <a:accent4>
      <a:srgbClr val="D70036"/>
    </a:accent4>
    <a:accent5>
      <a:srgbClr val="707276"/>
    </a:accent5>
    <a:accent6>
      <a:srgbClr val="000000"/>
    </a:accent6>
    <a:hlink>
      <a:srgbClr val="B21DAC"/>
    </a:hlink>
    <a:folHlink>
      <a:srgbClr val="D70036"/>
    </a:folHlink>
  </a:clrScheme>
</a:themeOverride>
</file>

<file path=ppt/theme/themeOverride8.xml><?xml version="1.0" encoding="utf-8"?>
<a:themeOverride xmlns:a="http://schemas.openxmlformats.org/drawingml/2006/main">
  <a:clrScheme name="Multicolor">
    <a:dk1>
      <a:srgbClr val="5F5F5F"/>
    </a:dk1>
    <a:lt1>
      <a:srgbClr val="FFFFFF"/>
    </a:lt1>
    <a:dk2>
      <a:srgbClr val="000000"/>
    </a:dk2>
    <a:lt2>
      <a:srgbClr val="707276"/>
    </a:lt2>
    <a:accent1>
      <a:srgbClr val="009DD9"/>
    </a:accent1>
    <a:accent2>
      <a:srgbClr val="FF8300"/>
    </a:accent2>
    <a:accent3>
      <a:srgbClr val="B21DAC"/>
    </a:accent3>
    <a:accent4>
      <a:srgbClr val="D70036"/>
    </a:accent4>
    <a:accent5>
      <a:srgbClr val="707276"/>
    </a:accent5>
    <a:accent6>
      <a:srgbClr val="000000"/>
    </a:accent6>
    <a:hlink>
      <a:srgbClr val="B21DAC"/>
    </a:hlink>
    <a:folHlink>
      <a:srgbClr val="D70036"/>
    </a:folHlink>
  </a:clrScheme>
</a:themeOverride>
</file>

<file path=ppt/theme/themeOverride9.xml><?xml version="1.0" encoding="utf-8"?>
<a:themeOverride xmlns:a="http://schemas.openxmlformats.org/drawingml/2006/main">
  <a:clrScheme name="Multicolor">
    <a:dk1>
      <a:srgbClr val="5F5F5F"/>
    </a:dk1>
    <a:lt1>
      <a:srgbClr val="FFFFFF"/>
    </a:lt1>
    <a:dk2>
      <a:srgbClr val="000000"/>
    </a:dk2>
    <a:lt2>
      <a:srgbClr val="707276"/>
    </a:lt2>
    <a:accent1>
      <a:srgbClr val="009DD9"/>
    </a:accent1>
    <a:accent2>
      <a:srgbClr val="FF8300"/>
    </a:accent2>
    <a:accent3>
      <a:srgbClr val="B21DAC"/>
    </a:accent3>
    <a:accent4>
      <a:srgbClr val="D70036"/>
    </a:accent4>
    <a:accent5>
      <a:srgbClr val="707276"/>
    </a:accent5>
    <a:accent6>
      <a:srgbClr val="000000"/>
    </a:accent6>
    <a:hlink>
      <a:srgbClr val="B21DAC"/>
    </a:hlink>
    <a:folHlink>
      <a:srgbClr val="D70036"/>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documentManagement>
    <TopicTitle1 xmlns="2e8c896f-fd84-491a-bb16-fb60357350f9">PPT &amp; Video Templates</TopicTitle1>
    <Details xmlns="2e8c896f-fd84-491a-bb16-fb60357350f9" xsi:nil="true"/>
    <PublishingRollupImage xmlns="http://schemas.microsoft.com/sharepoint/v3">&lt;img alt="" src="https://intranet.nielsen.com/company/marketing/MktgImages/ClientPPTTemplates.png" width="85" style="BORDER: 0px solid; "&gt;</PublishingRollupImage>
    <Country xmlns="2e8c896f-fd84-491a-bb16-fb60357350f9">*Global</Country>
    <FreshnessDate xmlns="2e8c896f-fd84-491a-bb16-fb60357350f9">2016-02-11T05:00:00+00:00</FreshnessDate>
    <Region xmlns="2e8c896f-fd84-491a-bb16-fb60357350f9">*Global</Region>
    <PrimaryContact xmlns="2e8c896f-fd84-491a-bb16-fb60357350f9">
      <UserInfo>
        <DisplayName>Brown, Skye</DisplayName>
        <AccountId>30962</AccountId>
        <AccountType/>
      </UserInfo>
    </PrimaryContact>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CC36975EE78FFA45854198783FD12947" ma:contentTypeVersion="10" ma:contentTypeDescription="Create a new document." ma:contentTypeScope="" ma:versionID="4f631062476a88e24d42dd952ceca2dc">
  <xsd:schema xmlns:xsd="http://www.w3.org/2001/XMLSchema" xmlns:xs="http://www.w3.org/2001/XMLSchema" xmlns:p="http://schemas.microsoft.com/office/2006/metadata/properties" xmlns:ns1="http://schemas.microsoft.com/sharepoint/v3" xmlns:ns2="2e8c896f-fd84-491a-bb16-fb60357350f9" targetNamespace="http://schemas.microsoft.com/office/2006/metadata/properties" ma:root="true" ma:fieldsID="8ba1b92874445071c1333c374350df06" ns1:_="" ns2:_="">
    <xsd:import namespace="http://schemas.microsoft.com/sharepoint/v3"/>
    <xsd:import namespace="2e8c896f-fd84-491a-bb16-fb60357350f9"/>
    <xsd:element name="properties">
      <xsd:complexType>
        <xsd:sequence>
          <xsd:element name="documentManagement">
            <xsd:complexType>
              <xsd:all>
                <xsd:element ref="ns2:Details" minOccurs="0"/>
                <xsd:element ref="ns2:FreshnessDate" minOccurs="0"/>
                <xsd:element ref="ns2:PrimaryContact"/>
                <xsd:element ref="ns2:Region" minOccurs="0"/>
                <xsd:element ref="ns2:Country" minOccurs="0"/>
                <xsd:element ref="ns2:TopicTitle1" minOccurs="0"/>
                <xsd:element ref="ns1:PublishingRollupImag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RollupImage" ma:index="14" nillable="true" ma:displayName="Rollup Image" ma:internalName="PublishingRollupImag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2e8c896f-fd84-491a-bb16-fb60357350f9" elementFormDefault="qualified">
    <xsd:import namespace="http://schemas.microsoft.com/office/2006/documentManagement/types"/>
    <xsd:import namespace="http://schemas.microsoft.com/office/infopath/2007/PartnerControls"/>
    <xsd:element name="Details" ma:index="2" nillable="true" ma:displayName="Details" ma:default="" ma:description="Description of the document if needed." ma:internalName="Details">
      <xsd:simpleType>
        <xsd:restriction base="dms:Note">
          <xsd:maxLength value="255"/>
        </xsd:restriction>
      </xsd:simpleType>
    </xsd:element>
    <xsd:element name="FreshnessDate" ma:index="3" nillable="true" ma:displayName="Freshness Date" ma:default="[today]" ma:description="Date originally created or the last date the document was reviewed and considered current." ma:format="DateOnly" ma:internalName="FreshnessDate">
      <xsd:simpleType>
        <xsd:restriction base="dms:DateTime"/>
      </xsd:simpleType>
    </xsd:element>
    <xsd:element name="PrimaryContact" ma:index="4" ma:displayName="Primary Contact" ma:description="Primary contact for this document.  This is not necessarily the author but the person to which users can contact with questions." ma:list="UserInfo" ma:SearchPeopleOnly="false" ma:SharePointGroup="0" ma:internalName="PrimaryContact"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xsd:element name="AccountType" type="xsd:string" minOccurs="0"/>
                  </xsd:sequence>
                </xsd:complexType>
              </xsd:element>
            </xsd:sequence>
          </xsd:extension>
        </xsd:complexContent>
      </xsd:complexType>
    </xsd:element>
    <xsd:element name="Region" ma:index="5" nillable="true" ma:displayName="Region" ma:default="*Global" ma:description="Nielsen company region." ma:format="RadioButtons" ma:internalName="Region">
      <xsd:simpleType>
        <xsd:restriction base="dms:Choice">
          <xsd:enumeration value="*Global"/>
          <xsd:enumeration value="AME"/>
          <xsd:enumeration value="Americas"/>
          <xsd:enumeration value="APMEA"/>
          <xsd:enumeration value="Europe"/>
          <xsd:enumeration value="Greater China"/>
          <xsd:enumeration value="India"/>
          <xsd:enumeration value="Latin America"/>
          <xsd:enumeration value="North America"/>
          <xsd:enumeration value="SEANAP"/>
        </xsd:restriction>
      </xsd:simpleType>
    </xsd:element>
    <xsd:element name="Country" ma:index="12" nillable="true" ma:displayName="Country" ma:default="*Global" ma:format="Dropdown" ma:internalName="Country">
      <xsd:simpleType>
        <xsd:restriction base="dms:Choice">
          <xsd:enumeration value="*Global"/>
          <xsd:enumeration value="Albania"/>
          <xsd:enumeration value="Algeria"/>
          <xsd:enumeration value="Argentina"/>
          <xsd:enumeration value="Armenia"/>
          <xsd:enumeration value="Australia"/>
          <xsd:enumeration value="Austria"/>
          <xsd:enumeration value="Azerbaijan"/>
          <xsd:enumeration value="Bahrain"/>
          <xsd:enumeration value="Balkans"/>
          <xsd:enumeration value="Baltic States"/>
          <xsd:enumeration value="Bangladesh"/>
          <xsd:enumeration value="Belarus"/>
          <xsd:enumeration value="Belgium"/>
          <xsd:enumeration value="Bolivia"/>
          <xsd:enumeration value="Bosnia"/>
          <xsd:enumeration value="Brazil"/>
          <xsd:enumeration value="Bulgaria"/>
          <xsd:enumeration value="Cameroon"/>
          <xsd:enumeration value="Canada"/>
          <xsd:enumeration value="Chile"/>
          <xsd:enumeration value="China"/>
          <xsd:enumeration value="Colombia"/>
          <xsd:enumeration value="Costa Rica"/>
          <xsd:enumeration value="Croatia"/>
          <xsd:enumeration value="Cyprus"/>
          <xsd:enumeration value="Czech Republic"/>
          <xsd:enumeration value="Denmark"/>
          <xsd:enumeration value="Dominican Republic"/>
          <xsd:enumeration value="Ecuador"/>
          <xsd:enumeration value="Egypt"/>
          <xsd:enumeration value="El Salvador"/>
          <xsd:enumeration value="Estonia"/>
          <xsd:enumeration value="Ethiopia"/>
          <xsd:enumeration value="Finland"/>
          <xsd:enumeration value="France"/>
          <xsd:enumeration value="Georgia"/>
          <xsd:enumeration value="Germany"/>
          <xsd:enumeration value="Ghana"/>
          <xsd:enumeration value="Greece"/>
          <xsd:enumeration value="Guatemala"/>
          <xsd:enumeration value="Honduras"/>
          <xsd:enumeration value="Hong Kong"/>
          <xsd:enumeration value="Hungary"/>
          <xsd:enumeration value="India"/>
          <xsd:enumeration value="Indonesia"/>
          <xsd:enumeration value="Ireland"/>
          <xsd:enumeration value="Israel"/>
          <xsd:enumeration value="Italy"/>
          <xsd:enumeration value="Ivory Coast"/>
          <xsd:enumeration value="Japan"/>
          <xsd:enumeration value="Jordan"/>
          <xsd:enumeration value="Kazakhstan"/>
          <xsd:enumeration value="Kenya"/>
          <xsd:enumeration value="Kuwait"/>
          <xsd:enumeration value="Kyrgystan"/>
          <xsd:enumeration value="Latvia"/>
          <xsd:enumeration value="Lebanon"/>
          <xsd:enumeration value="Libya"/>
          <xsd:enumeration value="Lithuania"/>
          <xsd:enumeration value="Macedonia"/>
          <xsd:enumeration value="Malaysia"/>
          <xsd:enumeration value="Mexico"/>
          <xsd:enumeration value="Moldova"/>
          <xsd:enumeration value="Mongolia"/>
          <xsd:enumeration value="Montenegro"/>
          <xsd:enumeration value="Morocco"/>
          <xsd:enumeration value="Multiple Countries"/>
          <xsd:enumeration value="N/A"/>
          <xsd:enumeration value="Namibia"/>
          <xsd:enumeration value="Nepal"/>
          <xsd:enumeration value="Netherlands, The"/>
          <xsd:enumeration value="New Zealand"/>
          <xsd:enumeration value="Nicaragua"/>
          <xsd:enumeration value="Nigeria"/>
          <xsd:enumeration value="Norway"/>
          <xsd:enumeration value="Oman"/>
          <xsd:enumeration value="Pakistan"/>
          <xsd:enumeration value="Panama"/>
          <xsd:enumeration value="Paraguay"/>
          <xsd:enumeration value="Peru"/>
          <xsd:enumeration value="Philippines"/>
          <xsd:enumeration value="Poland"/>
          <xsd:enumeration value="Portugal"/>
          <xsd:enumeration value="Puerto Rico"/>
          <xsd:enumeration value="Qatar"/>
          <xsd:enumeration value="Romania"/>
          <xsd:enumeration value="Russia"/>
          <xsd:enumeration value="Saudi Arabia"/>
          <xsd:enumeration value="Serbia"/>
          <xsd:enumeration value="Singapore"/>
          <xsd:enumeration value="Slovakia"/>
          <xsd:enumeration value="Slovenia"/>
          <xsd:enumeration value="South Africa"/>
          <xsd:enumeration value="South Korea"/>
          <xsd:enumeration value="Spain"/>
          <xsd:enumeration value="Sri Lanka"/>
          <xsd:enumeration value="Sweden"/>
          <xsd:enumeration value="Switzerland"/>
          <xsd:enumeration value="Syria"/>
          <xsd:enumeration value="Taiwan"/>
          <xsd:enumeration value="Tajikistan"/>
          <xsd:enumeration value="Tanzania"/>
          <xsd:enumeration value="Thailand"/>
          <xsd:enumeration value="Tunisia"/>
          <xsd:enumeration value="Turkemenistan"/>
          <xsd:enumeration value="Turkey"/>
          <xsd:enumeration value="Uganda"/>
          <xsd:enumeration value="Ukraine"/>
          <xsd:enumeration value="United Arab Emirates"/>
          <xsd:enumeration value="United Kingdom"/>
          <xsd:enumeration value="United States"/>
          <xsd:enumeration value="Uruguay"/>
          <xsd:enumeration value="Uzbekistan"/>
          <xsd:enumeration value="Venezuela"/>
          <xsd:enumeration value="Vietnam"/>
          <xsd:enumeration value="Yemen"/>
        </xsd:restriction>
      </xsd:simpleType>
    </xsd:element>
    <xsd:element name="TopicTitle1" ma:index="13" nillable="true" ma:displayName="Topic" ma:default="Sell Sheets" ma:description="Please select the relevant Topic." ma:format="RadioButtons" ma:internalName="TopicTitle1">
      <xsd:simpleType>
        <xsd:restriction base="dms:Choice">
          <xsd:enumeration value="Client Newsletter"/>
          <xsd:enumeration value="PPT &amp; Video Templates"/>
          <xsd:enumeration value="Event"/>
          <xsd:enumeration value="External Webinar"/>
          <xsd:enumeration value="General Message"/>
          <xsd:enumeration value="Internal Webinar"/>
          <xsd:enumeration value="Marketing"/>
          <xsd:enumeration value="Document Templates"/>
          <xsd:enumeration value="Client Team Resources"/>
          <xsd:enumeration value="Email Templates"/>
          <xsd:enumeration value="Sell Sheets"/>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8"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2E78DD3C-4482-4353-B4D2-0AEBAB8193DB}">
  <ds:schemaRefs>
    <ds:schemaRef ds:uri="http://schemas.openxmlformats.org/package/2006/metadata/core-properties"/>
    <ds:schemaRef ds:uri="http://purl.org/dc/dcmitype/"/>
    <ds:schemaRef ds:uri="http://schemas.microsoft.com/office/2006/documentManagement/types"/>
    <ds:schemaRef ds:uri="2e8c896f-fd84-491a-bb16-fb60357350f9"/>
    <ds:schemaRef ds:uri="http://purl.org/dc/elements/1.1/"/>
    <ds:schemaRef ds:uri="http://schemas.microsoft.com/office/2006/metadata/properties"/>
    <ds:schemaRef ds:uri="http://schemas.microsoft.com/sharepoint/v3"/>
    <ds:schemaRef ds:uri="http://purl.org/dc/terms/"/>
    <ds:schemaRef ds:uri="http://schemas.microsoft.com/office/infopath/2007/PartnerControls"/>
    <ds:schemaRef ds:uri="http://www.w3.org/XML/1998/namespace"/>
  </ds:schemaRefs>
</ds:datastoreItem>
</file>

<file path=customXml/itemProps2.xml><?xml version="1.0" encoding="utf-8"?>
<ds:datastoreItem xmlns:ds="http://schemas.openxmlformats.org/officeDocument/2006/customXml" ds:itemID="{AAB36ADC-C54F-4F66-AA9A-D674EAAB12E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2e8c896f-fd84-491a-bb16-fb60357350f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9220E7CE-EC27-445B-AEB1-CE1B2E0D6E95}">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Nielsen Sports_Template_16-9</Template>
  <TotalTime>1663</TotalTime>
  <Words>2160</Words>
  <Application>Microsoft Office PowerPoint</Application>
  <PresentationFormat>On-screen Show (16:9)</PresentationFormat>
  <Paragraphs>390</Paragraphs>
  <Slides>27</Slides>
  <Notes>16</Notes>
  <HiddenSlides>0</HiddenSlides>
  <MMClips>0</MMClips>
  <ScaleCrop>false</ScaleCrop>
  <HeadingPairs>
    <vt:vector size="6" baseType="variant">
      <vt:variant>
        <vt:lpstr>Theme</vt:lpstr>
      </vt:variant>
      <vt:variant>
        <vt:i4>2</vt:i4>
      </vt:variant>
      <vt:variant>
        <vt:lpstr>Embedded OLE Servers</vt:lpstr>
      </vt:variant>
      <vt:variant>
        <vt:i4>1</vt:i4>
      </vt:variant>
      <vt:variant>
        <vt:lpstr>Slide Titles</vt:lpstr>
      </vt:variant>
      <vt:variant>
        <vt:i4>27</vt:i4>
      </vt:variant>
    </vt:vector>
  </HeadingPairs>
  <TitlesOfParts>
    <vt:vector size="30" baseType="lpstr">
      <vt:lpstr>Nielsen Sports_Template_16-9</vt:lpstr>
      <vt:lpstr>44_STANDARD MASTER SLIDES</vt:lpstr>
      <vt:lpstr>think-cell Slide</vt:lpstr>
      <vt:lpstr>PowerPoint Presentation</vt:lpstr>
      <vt:lpstr>PowerPoint Presentation</vt:lpstr>
      <vt:lpstr>Глобальный рынок спорта Бьет рекорды</vt:lpstr>
      <vt:lpstr>КЛЮЧЕВЫЕ РЫНКИ ВЛИЯНИЕ КОТОРЫХ БУДЕТ РАСТИ…</vt:lpstr>
      <vt:lpstr>Российский рынок спорта 10ЫЙ среди крупнейших в мире и имеет огромный потенциал</vt:lpstr>
      <vt:lpstr>Какие перспективы?</vt:lpstr>
      <vt:lpstr>PowerPoint Presentation</vt:lpstr>
      <vt:lpstr>МЫ ВИДИМ как ценен вовлекающий КОНТЕНТ ДЛЯ ВСЕХ ЗАИНТЕРЕСОВАННЫХ СТОРОН </vt:lpstr>
      <vt:lpstr>Результатом Синергии правообладателя и бренда становится совместный контент</vt:lpstr>
      <vt:lpstr>Результатом Синергии правообладателя и бренда становится совместный контент</vt:lpstr>
      <vt:lpstr>Результатом Синергии правообладателя и бренда становится совместный контент</vt:lpstr>
      <vt:lpstr>Какие перспективы?</vt:lpstr>
      <vt:lpstr>PowerPoint Presentation</vt:lpstr>
      <vt:lpstr>Правообладатели используют технологии для связи с БОЛЕЛЬЩИКАМИ где бы они ни былИ…</vt:lpstr>
      <vt:lpstr>… и фанаты просматривают и делятся контентом в любое время через гаджеты и социальные сети</vt:lpstr>
      <vt:lpstr>Правообладатели все больше и больше фокусируются на монетизации </vt:lpstr>
      <vt:lpstr>… но понимание ценности взаимодействия между заинтересованными сторонами чрезвычайно важно  </vt:lpstr>
      <vt:lpstr>Есть много примеров как правообладатели извлекают прибыль из digital контента для болельщиков</vt:lpstr>
      <vt:lpstr>КАКИЕ перспективЫ?</vt:lpstr>
      <vt:lpstr>PowerPoint Presentation</vt:lpstr>
      <vt:lpstr>Данные – это ничто без правильной организации</vt:lpstr>
      <vt:lpstr>crm – ВАЖНЫЙ ИНСТРУМЕНТ ДЛЯ ПРАВООБЛАДАТЕЛЕЙ</vt:lpstr>
      <vt:lpstr>CRM – крайне мощный инструмент для оптимизации ВЗАИМОДЕЙСТВИЯ с болельщиками</vt:lpstr>
      <vt:lpstr>кливленд кавальерс – ИНДИВИДУАЛЬНАЯ БИЛЕТНАЯ СИСТЕМА И ВТОРИЧНЫЙ РЫНОК</vt:lpstr>
      <vt:lpstr>оклахома сити тандер – ПОВЫШЕНИЕ УДОВЛЕТВОРЕНИЯ БОЛЕЛЬЩИКОВ С ПОМОЩЬЮ crm</vt:lpstr>
      <vt:lpstr>сан франциско 49 – увеличили точки взаимодействия для сбора данных о поведении болельщиков </vt:lpstr>
      <vt:lpstr>Какие перспективы?</vt:lpstr>
    </vt:vector>
  </TitlesOfParts>
  <Company>Repucom</Company>
  <LinksUpToDate>false</LinksUpToDate>
  <SharedDoc>false</SharedDoc>
  <HyperlinkBase/>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Ina Wempen</dc:creator>
  <cp:lastModifiedBy>Glamazda, Sergey</cp:lastModifiedBy>
  <cp:revision>780</cp:revision>
  <cp:lastPrinted>2017-02-08T12:18:20Z</cp:lastPrinted>
  <dcterms:created xsi:type="dcterms:W3CDTF">2017-02-07T13:06:48Z</dcterms:created>
  <dcterms:modified xsi:type="dcterms:W3CDTF">2017-07-28T06:29:1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C36975EE78FFA45854198783FD12947</vt:lpwstr>
  </property>
</Properties>
</file>